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notesSlides/notesSlide13.xml" ContentType="application/vnd.openxmlformats-officedocument.presentationml.notesSlide+xml"/>
  <Override PartName="/ppt/tags/tag4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56" r:id="rId2"/>
    <p:sldId id="962" r:id="rId3"/>
    <p:sldId id="1018" r:id="rId4"/>
    <p:sldId id="1128" r:id="rId5"/>
    <p:sldId id="778" r:id="rId6"/>
    <p:sldId id="1129" r:id="rId7"/>
    <p:sldId id="1130" r:id="rId8"/>
    <p:sldId id="1131" r:id="rId9"/>
    <p:sldId id="779" r:id="rId10"/>
    <p:sldId id="1132" r:id="rId11"/>
    <p:sldId id="782" r:id="rId12"/>
    <p:sldId id="1133" r:id="rId13"/>
    <p:sldId id="725" r:id="rId14"/>
    <p:sldId id="726" r:id="rId15"/>
    <p:sldId id="339" r:id="rId16"/>
    <p:sldId id="1134" r:id="rId17"/>
    <p:sldId id="1135" r:id="rId18"/>
    <p:sldId id="1136" r:id="rId19"/>
    <p:sldId id="780" r:id="rId20"/>
    <p:sldId id="783" r:id="rId21"/>
    <p:sldId id="781" r:id="rId22"/>
    <p:sldId id="1137" r:id="rId23"/>
    <p:sldId id="1138" r:id="rId24"/>
    <p:sldId id="1881839193" r:id="rId25"/>
    <p:sldId id="1126" r:id="rId26"/>
    <p:sldId id="2147197189" r:id="rId27"/>
    <p:sldId id="2147197238" r:id="rId28"/>
    <p:sldId id="2147197190" r:id="rId29"/>
    <p:sldId id="2147197192" r:id="rId30"/>
    <p:sldId id="1139" r:id="rId31"/>
    <p:sldId id="1319" r:id="rId32"/>
    <p:sldId id="1326" r:id="rId33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85" d="100"/>
          <a:sy n="85" d="100"/>
        </p:scale>
        <p:origin x="499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6/11/relationships/changesInfo" Target="changesInfos/changesInfo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ano, Adam" userId="761e0deb-e58e-45dd-9299-188651193c66" providerId="ADAL" clId="{49C0B8AF-C72C-43F2-82D4-4C6F99F10990}"/>
    <pc:docChg chg="undo custSel addSld delSld modSld">
      <pc:chgData name="Stano, Adam" userId="761e0deb-e58e-45dd-9299-188651193c66" providerId="ADAL" clId="{49C0B8AF-C72C-43F2-82D4-4C6F99F10990}" dt="2023-12-15T14:45:22.176" v="458" actId="1076"/>
      <pc:docMkLst>
        <pc:docMk/>
      </pc:docMkLst>
      <pc:sldChg chg="modSp add mod">
        <pc:chgData name="Stano, Adam" userId="761e0deb-e58e-45dd-9299-188651193c66" providerId="ADAL" clId="{49C0B8AF-C72C-43F2-82D4-4C6F99F10990}" dt="2023-12-15T12:45:41.453" v="4" actId="1076"/>
        <pc:sldMkLst>
          <pc:docMk/>
          <pc:sldMk cId="569040143" sldId="256"/>
        </pc:sldMkLst>
        <pc:spChg chg="mod">
          <ac:chgData name="Stano, Adam" userId="761e0deb-e58e-45dd-9299-188651193c66" providerId="ADAL" clId="{49C0B8AF-C72C-43F2-82D4-4C6F99F10990}" dt="2023-12-15T12:45:41.453" v="4" actId="1076"/>
          <ac:spMkLst>
            <pc:docMk/>
            <pc:sldMk cId="569040143" sldId="256"/>
            <ac:spMk id="5" creationId="{48077C6B-5869-0A0B-D2BA-F923CEFE3B80}"/>
          </ac:spMkLst>
        </pc:spChg>
      </pc:sldChg>
      <pc:sldChg chg="modSp mod">
        <pc:chgData name="Stano, Adam" userId="761e0deb-e58e-45dd-9299-188651193c66" providerId="ADAL" clId="{49C0B8AF-C72C-43F2-82D4-4C6F99F10990}" dt="2023-12-15T14:43:57.289" v="430" actId="1076"/>
        <pc:sldMkLst>
          <pc:docMk/>
          <pc:sldMk cId="3275941180" sldId="339"/>
        </pc:sldMkLst>
        <pc:spChg chg="mod">
          <ac:chgData name="Stano, Adam" userId="761e0deb-e58e-45dd-9299-188651193c66" providerId="ADAL" clId="{49C0B8AF-C72C-43F2-82D4-4C6F99F10990}" dt="2023-12-15T14:43:51.672" v="429" actId="20577"/>
          <ac:spMkLst>
            <pc:docMk/>
            <pc:sldMk cId="3275941180" sldId="339"/>
            <ac:spMk id="3" creationId="{E7A3DE02-04A9-4D6D-AA94-860DDB722CD0}"/>
          </ac:spMkLst>
        </pc:spChg>
        <pc:spChg chg="mod">
          <ac:chgData name="Stano, Adam" userId="761e0deb-e58e-45dd-9299-188651193c66" providerId="ADAL" clId="{49C0B8AF-C72C-43F2-82D4-4C6F99F10990}" dt="2023-12-15T14:43:45.579" v="427" actId="20577"/>
          <ac:spMkLst>
            <pc:docMk/>
            <pc:sldMk cId="3275941180" sldId="339"/>
            <ac:spMk id="6" creationId="{A45CF0AB-44FD-46B1-8B21-70E2CCE8ED68}"/>
          </ac:spMkLst>
        </pc:spChg>
        <pc:picChg chg="mod">
          <ac:chgData name="Stano, Adam" userId="761e0deb-e58e-45dd-9299-188651193c66" providerId="ADAL" clId="{49C0B8AF-C72C-43F2-82D4-4C6F99F10990}" dt="2023-12-15T14:43:57.289" v="430" actId="1076"/>
          <ac:picMkLst>
            <pc:docMk/>
            <pc:sldMk cId="3275941180" sldId="339"/>
            <ac:picMk id="8" creationId="{2F3E72CA-DDD1-42D7-ACE9-1619911A56A3}"/>
          </ac:picMkLst>
        </pc:picChg>
      </pc:sldChg>
      <pc:sldChg chg="modSp mod">
        <pc:chgData name="Stano, Adam" userId="761e0deb-e58e-45dd-9299-188651193c66" providerId="ADAL" clId="{49C0B8AF-C72C-43F2-82D4-4C6F99F10990}" dt="2023-12-15T13:07:39.731" v="114" actId="1076"/>
        <pc:sldMkLst>
          <pc:docMk/>
          <pc:sldMk cId="215446032" sldId="778"/>
        </pc:sldMkLst>
        <pc:spChg chg="mod">
          <ac:chgData name="Stano, Adam" userId="761e0deb-e58e-45dd-9299-188651193c66" providerId="ADAL" clId="{49C0B8AF-C72C-43F2-82D4-4C6F99F10990}" dt="2023-12-15T13:07:26.879" v="108" actId="1076"/>
          <ac:spMkLst>
            <pc:docMk/>
            <pc:sldMk cId="215446032" sldId="778"/>
            <ac:spMk id="83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07:39.731" v="114" actId="1076"/>
          <ac:spMkLst>
            <pc:docMk/>
            <pc:sldMk cId="215446032" sldId="778"/>
            <ac:spMk id="95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07:32.857" v="112" actId="404"/>
          <ac:spMkLst>
            <pc:docMk/>
            <pc:sldMk cId="215446032" sldId="778"/>
            <ac:spMk id="96" creationId="{00000000-0000-0000-0000-000000000000}"/>
          </ac:spMkLst>
        </pc:spChg>
      </pc:sldChg>
      <pc:sldChg chg="modSp mod">
        <pc:chgData name="Stano, Adam" userId="761e0deb-e58e-45dd-9299-188651193c66" providerId="ADAL" clId="{49C0B8AF-C72C-43F2-82D4-4C6F99F10990}" dt="2023-12-15T13:10:24.589" v="182" actId="403"/>
        <pc:sldMkLst>
          <pc:docMk/>
          <pc:sldMk cId="726736797" sldId="779"/>
        </pc:sldMkLst>
        <pc:spChg chg="mod">
          <ac:chgData name="Stano, Adam" userId="761e0deb-e58e-45dd-9299-188651193c66" providerId="ADAL" clId="{49C0B8AF-C72C-43F2-82D4-4C6F99F10990}" dt="2023-12-15T13:10:24.589" v="182" actId="403"/>
          <ac:spMkLst>
            <pc:docMk/>
            <pc:sldMk cId="726736797" sldId="779"/>
            <ac:spMk id="83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10:20.164" v="180" actId="403"/>
          <ac:spMkLst>
            <pc:docMk/>
            <pc:sldMk cId="726736797" sldId="779"/>
            <ac:spMk id="95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10:16.186" v="179" actId="122"/>
          <ac:spMkLst>
            <pc:docMk/>
            <pc:sldMk cId="726736797" sldId="779"/>
            <ac:spMk id="96" creationId="{00000000-0000-0000-0000-000000000000}"/>
          </ac:spMkLst>
        </pc:spChg>
      </pc:sldChg>
      <pc:sldChg chg="modSp mod">
        <pc:chgData name="Stano, Adam" userId="761e0deb-e58e-45dd-9299-188651193c66" providerId="ADAL" clId="{49C0B8AF-C72C-43F2-82D4-4C6F99F10990}" dt="2023-12-15T14:44:51.751" v="455" actId="1076"/>
        <pc:sldMkLst>
          <pc:docMk/>
          <pc:sldMk cId="209889395" sldId="780"/>
        </pc:sldMkLst>
        <pc:spChg chg="mod">
          <ac:chgData name="Stano, Adam" userId="761e0deb-e58e-45dd-9299-188651193c66" providerId="ADAL" clId="{49C0B8AF-C72C-43F2-82D4-4C6F99F10990}" dt="2023-12-15T14:44:51.751" v="455" actId="1076"/>
          <ac:spMkLst>
            <pc:docMk/>
            <pc:sldMk cId="209889395" sldId="780"/>
            <ac:spMk id="95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4:44:48.481" v="454" actId="1076"/>
          <ac:spMkLst>
            <pc:docMk/>
            <pc:sldMk cId="209889395" sldId="780"/>
            <ac:spMk id="96" creationId="{00000000-0000-0000-0000-000000000000}"/>
          </ac:spMkLst>
        </pc:spChg>
      </pc:sldChg>
      <pc:sldChg chg="modSp mod">
        <pc:chgData name="Stano, Adam" userId="761e0deb-e58e-45dd-9299-188651193c66" providerId="ADAL" clId="{49C0B8AF-C72C-43F2-82D4-4C6F99F10990}" dt="2023-12-15T14:45:22.176" v="458" actId="1076"/>
        <pc:sldMkLst>
          <pc:docMk/>
          <pc:sldMk cId="1013751950" sldId="781"/>
        </pc:sldMkLst>
        <pc:spChg chg="mod">
          <ac:chgData name="Stano, Adam" userId="761e0deb-e58e-45dd-9299-188651193c66" providerId="ADAL" clId="{49C0B8AF-C72C-43F2-82D4-4C6F99F10990}" dt="2023-12-15T14:45:19.804" v="457" actId="1076"/>
          <ac:spMkLst>
            <pc:docMk/>
            <pc:sldMk cId="1013751950" sldId="781"/>
            <ac:spMk id="95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4:45:16.625" v="456" actId="1076"/>
          <ac:spMkLst>
            <pc:docMk/>
            <pc:sldMk cId="1013751950" sldId="781"/>
            <ac:spMk id="96" creationId="{00000000-0000-0000-0000-000000000000}"/>
          </ac:spMkLst>
        </pc:spChg>
        <pc:picChg chg="mod">
          <ac:chgData name="Stano, Adam" userId="761e0deb-e58e-45dd-9299-188651193c66" providerId="ADAL" clId="{49C0B8AF-C72C-43F2-82D4-4C6F99F10990}" dt="2023-12-15T14:45:22.176" v="458" actId="1076"/>
          <ac:picMkLst>
            <pc:docMk/>
            <pc:sldMk cId="1013751950" sldId="781"/>
            <ac:picMk id="4" creationId="{725D5352-F9A1-53BE-85A4-93B8C726384B}"/>
          </ac:picMkLst>
        </pc:picChg>
      </pc:sldChg>
      <pc:sldChg chg="modSp mod">
        <pc:chgData name="Stano, Adam" userId="761e0deb-e58e-45dd-9299-188651193c66" providerId="ADAL" clId="{49C0B8AF-C72C-43F2-82D4-4C6F99F10990}" dt="2023-12-15T13:11:02.593" v="187" actId="403"/>
        <pc:sldMkLst>
          <pc:docMk/>
          <pc:sldMk cId="3183991044" sldId="782"/>
        </pc:sldMkLst>
        <pc:spChg chg="mod">
          <ac:chgData name="Stano, Adam" userId="761e0deb-e58e-45dd-9299-188651193c66" providerId="ADAL" clId="{49C0B8AF-C72C-43F2-82D4-4C6F99F10990}" dt="2023-12-15T13:11:02.593" v="187" actId="403"/>
          <ac:spMkLst>
            <pc:docMk/>
            <pc:sldMk cId="3183991044" sldId="782"/>
            <ac:spMk id="95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10:52.982" v="186" actId="403"/>
          <ac:spMkLst>
            <pc:docMk/>
            <pc:sldMk cId="3183991044" sldId="782"/>
            <ac:spMk id="96" creationId="{00000000-0000-0000-0000-000000000000}"/>
          </ac:spMkLst>
        </pc:spChg>
      </pc:sldChg>
      <pc:sldChg chg="modSp mod">
        <pc:chgData name="Stano, Adam" userId="761e0deb-e58e-45dd-9299-188651193c66" providerId="ADAL" clId="{49C0B8AF-C72C-43F2-82D4-4C6F99F10990}" dt="2023-12-15T14:37:49.658" v="357" actId="20577"/>
        <pc:sldMkLst>
          <pc:docMk/>
          <pc:sldMk cId="3502536394" sldId="783"/>
        </pc:sldMkLst>
        <pc:spChg chg="mod">
          <ac:chgData name="Stano, Adam" userId="761e0deb-e58e-45dd-9299-188651193c66" providerId="ADAL" clId="{49C0B8AF-C72C-43F2-82D4-4C6F99F10990}" dt="2023-12-15T14:37:49.658" v="357" actId="20577"/>
          <ac:spMkLst>
            <pc:docMk/>
            <pc:sldMk cId="3502536394" sldId="783"/>
            <ac:spMk id="95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12:31.214" v="210" actId="1076"/>
          <ac:spMkLst>
            <pc:docMk/>
            <pc:sldMk cId="3502536394" sldId="783"/>
            <ac:spMk id="96" creationId="{00000000-0000-0000-0000-000000000000}"/>
          </ac:spMkLst>
        </pc:spChg>
      </pc:sldChg>
      <pc:sldChg chg="delSp modSp mod">
        <pc:chgData name="Stano, Adam" userId="761e0deb-e58e-45dd-9299-188651193c66" providerId="ADAL" clId="{49C0B8AF-C72C-43F2-82D4-4C6F99F10990}" dt="2023-12-15T14:39:07.754" v="368" actId="478"/>
        <pc:sldMkLst>
          <pc:docMk/>
          <pc:sldMk cId="2301723735" sldId="1018"/>
        </pc:sldMkLst>
        <pc:spChg chg="mod">
          <ac:chgData name="Stano, Adam" userId="761e0deb-e58e-45dd-9299-188651193c66" providerId="ADAL" clId="{49C0B8AF-C72C-43F2-82D4-4C6F99F10990}" dt="2023-12-15T13:01:06.732" v="51" actId="403"/>
          <ac:spMkLst>
            <pc:docMk/>
            <pc:sldMk cId="2301723735" sldId="1018"/>
            <ac:spMk id="43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16:43.473" v="307" actId="403"/>
          <ac:spMkLst>
            <pc:docMk/>
            <pc:sldMk cId="2301723735" sldId="1018"/>
            <ac:spMk id="80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4:38:52.931" v="365" actId="255"/>
          <ac:spMkLst>
            <pc:docMk/>
            <pc:sldMk cId="2301723735" sldId="1018"/>
            <ac:spMk id="82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00:25.792" v="41" actId="403"/>
          <ac:spMkLst>
            <pc:docMk/>
            <pc:sldMk cId="2301723735" sldId="1018"/>
            <ac:spMk id="95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4:38:57.241" v="366" actId="255"/>
          <ac:spMkLst>
            <pc:docMk/>
            <pc:sldMk cId="2301723735" sldId="1018"/>
            <ac:spMk id="96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00:32.134" v="43" actId="14100"/>
          <ac:spMkLst>
            <pc:docMk/>
            <pc:sldMk cId="2301723735" sldId="1018"/>
            <ac:spMk id="102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4:38:48.167" v="364" actId="403"/>
          <ac:spMkLst>
            <pc:docMk/>
            <pc:sldMk cId="2301723735" sldId="1018"/>
            <ac:spMk id="119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01:01.739" v="50" actId="1076"/>
          <ac:spMkLst>
            <pc:docMk/>
            <pc:sldMk cId="2301723735" sldId="1018"/>
            <ac:spMk id="121" creationId="{00000000-0000-0000-0000-000000000000}"/>
          </ac:spMkLst>
        </pc:spChg>
        <pc:spChg chg="mod">
          <ac:chgData name="Stano, Adam" userId="761e0deb-e58e-45dd-9299-188651193c66" providerId="ADAL" clId="{49C0B8AF-C72C-43F2-82D4-4C6F99F10990}" dt="2023-12-15T13:00:41.931" v="44" actId="403"/>
          <ac:spMkLst>
            <pc:docMk/>
            <pc:sldMk cId="2301723735" sldId="1018"/>
            <ac:spMk id="124" creationId="{00000000-0000-0000-0000-000000000000}"/>
          </ac:spMkLst>
        </pc:spChg>
        <pc:graphicFrameChg chg="mod">
          <ac:chgData name="Stano, Adam" userId="761e0deb-e58e-45dd-9299-188651193c66" providerId="ADAL" clId="{49C0B8AF-C72C-43F2-82D4-4C6F99F10990}" dt="2023-12-15T13:00:51.867" v="47" actId="403"/>
          <ac:graphicFrameMkLst>
            <pc:docMk/>
            <pc:sldMk cId="2301723735" sldId="1018"/>
            <ac:graphicFrameMk id="23" creationId="{00000000-0000-0000-0000-000000000000}"/>
          </ac:graphicFrameMkLst>
        </pc:graphicFrameChg>
        <pc:graphicFrameChg chg="mod">
          <ac:chgData name="Stano, Adam" userId="761e0deb-e58e-45dd-9299-188651193c66" providerId="ADAL" clId="{49C0B8AF-C72C-43F2-82D4-4C6F99F10990}" dt="2023-12-15T13:00:49.130" v="46" actId="403"/>
          <ac:graphicFrameMkLst>
            <pc:docMk/>
            <pc:sldMk cId="2301723735" sldId="1018"/>
            <ac:graphicFrameMk id="24" creationId="{00000000-0000-0000-0000-000000000000}"/>
          </ac:graphicFrameMkLst>
        </pc:graphicFrameChg>
        <pc:cxnChg chg="del">
          <ac:chgData name="Stano, Adam" userId="761e0deb-e58e-45dd-9299-188651193c66" providerId="ADAL" clId="{49C0B8AF-C72C-43F2-82D4-4C6F99F10990}" dt="2023-12-15T14:39:04.310" v="367" actId="478"/>
          <ac:cxnSpMkLst>
            <pc:docMk/>
            <pc:sldMk cId="2301723735" sldId="1018"/>
            <ac:cxnSpMk id="103" creationId="{00000000-0000-0000-0000-000000000000}"/>
          </ac:cxnSpMkLst>
        </pc:cxnChg>
        <pc:cxnChg chg="del">
          <ac:chgData name="Stano, Adam" userId="761e0deb-e58e-45dd-9299-188651193c66" providerId="ADAL" clId="{49C0B8AF-C72C-43F2-82D4-4C6F99F10990}" dt="2023-12-15T14:39:07.754" v="368" actId="478"/>
          <ac:cxnSpMkLst>
            <pc:docMk/>
            <pc:sldMk cId="2301723735" sldId="1018"/>
            <ac:cxnSpMk id="120" creationId="{00000000-0000-0000-0000-000000000000}"/>
          </ac:cxnSpMkLst>
        </pc:cxnChg>
      </pc:sldChg>
      <pc:sldChg chg="del">
        <pc:chgData name="Stano, Adam" userId="761e0deb-e58e-45dd-9299-188651193c66" providerId="ADAL" clId="{49C0B8AF-C72C-43F2-82D4-4C6F99F10990}" dt="2023-12-15T12:58:45.158" v="5" actId="47"/>
        <pc:sldMkLst>
          <pc:docMk/>
          <pc:sldMk cId="3702018339" sldId="1058"/>
        </pc:sldMkLst>
      </pc:sldChg>
      <pc:sldChg chg="addSp modSp mod">
        <pc:chgData name="Stano, Adam" userId="761e0deb-e58e-45dd-9299-188651193c66" providerId="ADAL" clId="{49C0B8AF-C72C-43F2-82D4-4C6F99F10990}" dt="2023-12-15T13:37:45.443" v="336" actId="403"/>
        <pc:sldMkLst>
          <pc:docMk/>
          <pc:sldMk cId="444488563" sldId="1126"/>
        </pc:sldMkLst>
        <pc:spChg chg="add mod">
          <ac:chgData name="Stano, Adam" userId="761e0deb-e58e-45dd-9299-188651193c66" providerId="ADAL" clId="{49C0B8AF-C72C-43F2-82D4-4C6F99F10990}" dt="2023-12-15T13:14:37.416" v="301" actId="1076"/>
          <ac:spMkLst>
            <pc:docMk/>
            <pc:sldMk cId="444488563" sldId="1126"/>
            <ac:spMk id="2" creationId="{DEF15C99-ABC3-16A0-4C59-9E5EE23145C4}"/>
          </ac:spMkLst>
        </pc:spChg>
        <pc:spChg chg="mod">
          <ac:chgData name="Stano, Adam" userId="761e0deb-e58e-45dd-9299-188651193c66" providerId="ADAL" clId="{49C0B8AF-C72C-43F2-82D4-4C6F99F10990}" dt="2023-12-15T13:14:39.732" v="302" actId="20577"/>
          <ac:spMkLst>
            <pc:docMk/>
            <pc:sldMk cId="444488563" sldId="1126"/>
            <ac:spMk id="65" creationId="{00000000-0000-0000-0000-000000000000}"/>
          </ac:spMkLst>
        </pc:spChg>
        <pc:graphicFrameChg chg="mod modGraphic">
          <ac:chgData name="Stano, Adam" userId="761e0deb-e58e-45dd-9299-188651193c66" providerId="ADAL" clId="{49C0B8AF-C72C-43F2-82D4-4C6F99F10990}" dt="2023-12-15T13:37:45.443" v="336" actId="403"/>
          <ac:graphicFrameMkLst>
            <pc:docMk/>
            <pc:sldMk cId="444488563" sldId="1126"/>
            <ac:graphicFrameMk id="30" creationId="{00000000-0000-0000-0000-000000000000}"/>
          </ac:graphicFrameMkLst>
        </pc:graphicFrameChg>
      </pc:sldChg>
      <pc:sldChg chg="delSp modSp mod">
        <pc:chgData name="Stano, Adam" userId="761e0deb-e58e-45dd-9299-188651193c66" providerId="ADAL" clId="{49C0B8AF-C72C-43F2-82D4-4C6F99F10990}" dt="2023-12-15T14:40:03.930" v="406" actId="403"/>
        <pc:sldMkLst>
          <pc:docMk/>
          <pc:sldMk cId="4068910216" sldId="1128"/>
        </pc:sldMkLst>
        <pc:spChg chg="del">
          <ac:chgData name="Stano, Adam" userId="761e0deb-e58e-45dd-9299-188651193c66" providerId="ADAL" clId="{49C0B8AF-C72C-43F2-82D4-4C6F99F10990}" dt="2023-12-15T14:39:24.173" v="375" actId="478"/>
          <ac:spMkLst>
            <pc:docMk/>
            <pc:sldMk cId="4068910216" sldId="1128"/>
            <ac:spMk id="122" creationId="{1EDC9C6E-5A4C-41BC-8273-A677891CB98C}"/>
          </ac:spMkLst>
        </pc:spChg>
        <pc:spChg chg="mod">
          <ac:chgData name="Stano, Adam" userId="761e0deb-e58e-45dd-9299-188651193c66" providerId="ADAL" clId="{49C0B8AF-C72C-43F2-82D4-4C6F99F10990}" dt="2023-12-15T14:39:27.588" v="376" actId="1076"/>
          <ac:spMkLst>
            <pc:docMk/>
            <pc:sldMk cId="4068910216" sldId="1128"/>
            <ac:spMk id="257" creationId="{334DA27C-975C-4EBF-A443-7D9123A2A97C}"/>
          </ac:spMkLst>
        </pc:spChg>
        <pc:spChg chg="mod">
          <ac:chgData name="Stano, Adam" userId="761e0deb-e58e-45dd-9299-188651193c66" providerId="ADAL" clId="{49C0B8AF-C72C-43F2-82D4-4C6F99F10990}" dt="2023-12-15T14:40:03.930" v="406" actId="403"/>
          <ac:spMkLst>
            <pc:docMk/>
            <pc:sldMk cId="4068910216" sldId="1128"/>
            <ac:spMk id="259" creationId="{DCD56039-21CD-4B40-A2A7-D5BC6F126F39}"/>
          </ac:spMkLst>
        </pc:spChg>
        <pc:spChg chg="mod">
          <ac:chgData name="Stano, Adam" userId="761e0deb-e58e-45dd-9299-188651193c66" providerId="ADAL" clId="{49C0B8AF-C72C-43F2-82D4-4C6F99F10990}" dt="2023-12-15T13:01:50.923" v="105" actId="20577"/>
          <ac:spMkLst>
            <pc:docMk/>
            <pc:sldMk cId="4068910216" sldId="1128"/>
            <ac:spMk id="260" creationId="{68B8C9ED-5F26-4809-9F78-1CEFD552DBCF}"/>
          </ac:spMkLst>
        </pc:spChg>
        <pc:spChg chg="mod">
          <ac:chgData name="Stano, Adam" userId="761e0deb-e58e-45dd-9299-188651193c66" providerId="ADAL" clId="{49C0B8AF-C72C-43F2-82D4-4C6F99F10990}" dt="2023-12-15T14:39:51.371" v="405" actId="20577"/>
          <ac:spMkLst>
            <pc:docMk/>
            <pc:sldMk cId="4068910216" sldId="1128"/>
            <ac:spMk id="262" creationId="{6732D4AF-9008-4B56-B48D-319425E117B8}"/>
          </ac:spMkLst>
        </pc:spChg>
        <pc:spChg chg="mod">
          <ac:chgData name="Stano, Adam" userId="761e0deb-e58e-45dd-9299-188651193c66" providerId="ADAL" clId="{49C0B8AF-C72C-43F2-82D4-4C6F99F10990}" dt="2023-12-15T14:39:44.735" v="402" actId="20577"/>
          <ac:spMkLst>
            <pc:docMk/>
            <pc:sldMk cId="4068910216" sldId="1128"/>
            <ac:spMk id="263" creationId="{DBB37572-90C7-402C-B6AF-505019A1AD3F}"/>
          </ac:spMkLst>
        </pc:spChg>
        <pc:spChg chg="mod">
          <ac:chgData name="Stano, Adam" userId="761e0deb-e58e-45dd-9299-188651193c66" providerId="ADAL" clId="{49C0B8AF-C72C-43F2-82D4-4C6F99F10990}" dt="2023-12-15T13:01:22.060" v="54" actId="20577"/>
          <ac:spMkLst>
            <pc:docMk/>
            <pc:sldMk cId="4068910216" sldId="1128"/>
            <ac:spMk id="292" creationId="{48367208-C682-400F-AD2B-69C4E2FF348D}"/>
          </ac:spMkLst>
        </pc:spChg>
      </pc:sldChg>
      <pc:sldChg chg="modSp mod">
        <pc:chgData name="Stano, Adam" userId="761e0deb-e58e-45dd-9299-188651193c66" providerId="ADAL" clId="{49C0B8AF-C72C-43F2-82D4-4C6F99F10990}" dt="2023-12-15T13:10:44.632" v="183" actId="404"/>
        <pc:sldMkLst>
          <pc:docMk/>
          <pc:sldMk cId="2551557323" sldId="1129"/>
        </pc:sldMkLst>
        <pc:spChg chg="mod">
          <ac:chgData name="Stano, Adam" userId="761e0deb-e58e-45dd-9299-188651193c66" providerId="ADAL" clId="{49C0B8AF-C72C-43F2-82D4-4C6F99F10990}" dt="2023-12-15T13:07:47.462" v="116" actId="1076"/>
          <ac:spMkLst>
            <pc:docMk/>
            <pc:sldMk cId="2551557323" sldId="1129"/>
            <ac:spMk id="2" creationId="{A580C3C9-A649-F610-52B0-8599EF8131EE}"/>
          </ac:spMkLst>
        </pc:spChg>
        <pc:spChg chg="mod">
          <ac:chgData name="Stano, Adam" userId="761e0deb-e58e-45dd-9299-188651193c66" providerId="ADAL" clId="{49C0B8AF-C72C-43F2-82D4-4C6F99F10990}" dt="2023-12-15T13:10:44.632" v="183" actId="404"/>
          <ac:spMkLst>
            <pc:docMk/>
            <pc:sldMk cId="2551557323" sldId="1129"/>
            <ac:spMk id="6" creationId="{B0C761A7-3AC6-9416-2300-3E6232F3637F}"/>
          </ac:spMkLst>
        </pc:spChg>
      </pc:sldChg>
      <pc:sldChg chg="addSp modSp mod setBg">
        <pc:chgData name="Stano, Adam" userId="761e0deb-e58e-45dd-9299-188651193c66" providerId="ADAL" clId="{49C0B8AF-C72C-43F2-82D4-4C6F99F10990}" dt="2023-12-15T13:09:56.011" v="169" actId="27614"/>
        <pc:sldMkLst>
          <pc:docMk/>
          <pc:sldMk cId="4156141344" sldId="1130"/>
        </pc:sldMkLst>
        <pc:spChg chg="mod">
          <ac:chgData name="Stano, Adam" userId="761e0deb-e58e-45dd-9299-188651193c66" providerId="ADAL" clId="{49C0B8AF-C72C-43F2-82D4-4C6F99F10990}" dt="2023-12-15T13:09:53.441" v="168" actId="26606"/>
          <ac:spMkLst>
            <pc:docMk/>
            <pc:sldMk cId="4156141344" sldId="1130"/>
            <ac:spMk id="2" creationId="{7F45A9E9-271F-ACA1-039B-E9B89BE58FC3}"/>
          </ac:spMkLst>
        </pc:spChg>
        <pc:spChg chg="mod">
          <ac:chgData name="Stano, Adam" userId="761e0deb-e58e-45dd-9299-188651193c66" providerId="ADAL" clId="{49C0B8AF-C72C-43F2-82D4-4C6F99F10990}" dt="2023-12-15T13:09:53.441" v="168" actId="26606"/>
          <ac:spMkLst>
            <pc:docMk/>
            <pc:sldMk cId="4156141344" sldId="1130"/>
            <ac:spMk id="5" creationId="{9E2F5AB2-7E1F-40B5-E782-6DB30472CEEB}"/>
          </ac:spMkLst>
        </pc:spChg>
        <pc:spChg chg="add">
          <ac:chgData name="Stano, Adam" userId="761e0deb-e58e-45dd-9299-188651193c66" providerId="ADAL" clId="{49C0B8AF-C72C-43F2-82D4-4C6F99F10990}" dt="2023-12-15T13:09:53.441" v="168" actId="26606"/>
          <ac:spMkLst>
            <pc:docMk/>
            <pc:sldMk cId="4156141344" sldId="1130"/>
            <ac:spMk id="10" creationId="{80DF40B2-80F7-4E71-B46C-284163F3654A}"/>
          </ac:spMkLst>
        </pc:spChg>
        <pc:picChg chg="mod ord">
          <ac:chgData name="Stano, Adam" userId="761e0deb-e58e-45dd-9299-188651193c66" providerId="ADAL" clId="{49C0B8AF-C72C-43F2-82D4-4C6F99F10990}" dt="2023-12-15T13:09:56.011" v="169" actId="27614"/>
          <ac:picMkLst>
            <pc:docMk/>
            <pc:sldMk cId="4156141344" sldId="1130"/>
            <ac:picMk id="4" creationId="{59C6434C-4D1C-1FD8-54EB-2F8018ADC245}"/>
          </ac:picMkLst>
        </pc:picChg>
      </pc:sldChg>
      <pc:sldChg chg="modSp mod">
        <pc:chgData name="Stano, Adam" userId="761e0deb-e58e-45dd-9299-188651193c66" providerId="ADAL" clId="{49C0B8AF-C72C-43F2-82D4-4C6F99F10990}" dt="2023-12-15T13:11:19.202" v="200" actId="20577"/>
        <pc:sldMkLst>
          <pc:docMk/>
          <pc:sldMk cId="1224352584" sldId="1133"/>
        </pc:sldMkLst>
        <pc:spChg chg="mod">
          <ac:chgData name="Stano, Adam" userId="761e0deb-e58e-45dd-9299-188651193c66" providerId="ADAL" clId="{49C0B8AF-C72C-43F2-82D4-4C6F99F10990}" dt="2023-12-15T13:11:19.202" v="200" actId="20577"/>
          <ac:spMkLst>
            <pc:docMk/>
            <pc:sldMk cId="1224352584" sldId="1133"/>
            <ac:spMk id="3" creationId="{3CCF2F46-0908-0F46-AB75-A811B814E9EC}"/>
          </ac:spMkLst>
        </pc:spChg>
        <pc:picChg chg="mod">
          <ac:chgData name="Stano, Adam" userId="761e0deb-e58e-45dd-9299-188651193c66" providerId="ADAL" clId="{49C0B8AF-C72C-43F2-82D4-4C6F99F10990}" dt="2023-12-15T13:11:13.847" v="188" actId="1076"/>
          <ac:picMkLst>
            <pc:docMk/>
            <pc:sldMk cId="1224352584" sldId="1133"/>
            <ac:picMk id="5" creationId="{01183312-27CC-1ADF-94C3-72804FC9D705}"/>
          </ac:picMkLst>
        </pc:picChg>
      </pc:sldChg>
      <pc:sldChg chg="modSp mod">
        <pc:chgData name="Stano, Adam" userId="761e0deb-e58e-45dd-9299-188651193c66" providerId="ADAL" clId="{49C0B8AF-C72C-43F2-82D4-4C6F99F10990}" dt="2023-12-15T13:36:25.244" v="323" actId="1076"/>
        <pc:sldMkLst>
          <pc:docMk/>
          <pc:sldMk cId="788830933" sldId="1135"/>
        </pc:sldMkLst>
        <pc:spChg chg="mod">
          <ac:chgData name="Stano, Adam" userId="761e0deb-e58e-45dd-9299-188651193c66" providerId="ADAL" clId="{49C0B8AF-C72C-43F2-82D4-4C6F99F10990}" dt="2023-12-15T13:36:05.451" v="311" actId="403"/>
          <ac:spMkLst>
            <pc:docMk/>
            <pc:sldMk cId="788830933" sldId="1135"/>
            <ac:spMk id="2" creationId="{844714A5-7D7F-0AB8-A1C1-74CD60D1D158}"/>
          </ac:spMkLst>
        </pc:spChg>
        <pc:spChg chg="mod">
          <ac:chgData name="Stano, Adam" userId="761e0deb-e58e-45dd-9299-188651193c66" providerId="ADAL" clId="{49C0B8AF-C72C-43F2-82D4-4C6F99F10990}" dt="2023-12-15T13:36:16.682" v="320" actId="403"/>
          <ac:spMkLst>
            <pc:docMk/>
            <pc:sldMk cId="788830933" sldId="1135"/>
            <ac:spMk id="3" creationId="{CA6DB193-1ACC-AC1A-2077-3F4228671C78}"/>
          </ac:spMkLst>
        </pc:spChg>
        <pc:picChg chg="mod">
          <ac:chgData name="Stano, Adam" userId="761e0deb-e58e-45dd-9299-188651193c66" providerId="ADAL" clId="{49C0B8AF-C72C-43F2-82D4-4C6F99F10990}" dt="2023-12-15T13:36:25.244" v="323" actId="1076"/>
          <ac:picMkLst>
            <pc:docMk/>
            <pc:sldMk cId="788830933" sldId="1135"/>
            <ac:picMk id="5" creationId="{34F21F33-5345-9B32-988C-4B01B75D66A9}"/>
          </ac:picMkLst>
        </pc:picChg>
      </pc:sldChg>
      <pc:sldChg chg="addSp modSp mod">
        <pc:chgData name="Stano, Adam" userId="761e0deb-e58e-45dd-9299-188651193c66" providerId="ADAL" clId="{49C0B8AF-C72C-43F2-82D4-4C6F99F10990}" dt="2023-12-15T13:36:55.168" v="330" actId="1076"/>
        <pc:sldMkLst>
          <pc:docMk/>
          <pc:sldMk cId="3286374895" sldId="1136"/>
        </pc:sldMkLst>
        <pc:spChg chg="mod">
          <ac:chgData name="Stano, Adam" userId="761e0deb-e58e-45dd-9299-188651193c66" providerId="ADAL" clId="{49C0B8AF-C72C-43F2-82D4-4C6F99F10990}" dt="2023-12-15T13:36:38.056" v="327" actId="1076"/>
          <ac:spMkLst>
            <pc:docMk/>
            <pc:sldMk cId="3286374895" sldId="1136"/>
            <ac:spMk id="3" creationId="{2648D9BF-F4FD-5E02-B288-846263C4ED72}"/>
          </ac:spMkLst>
        </pc:spChg>
        <pc:spChg chg="add mod">
          <ac:chgData name="Stano, Adam" userId="761e0deb-e58e-45dd-9299-188651193c66" providerId="ADAL" clId="{49C0B8AF-C72C-43F2-82D4-4C6F99F10990}" dt="2023-12-15T13:36:55.168" v="330" actId="1076"/>
          <ac:spMkLst>
            <pc:docMk/>
            <pc:sldMk cId="3286374895" sldId="1136"/>
            <ac:spMk id="4" creationId="{7E416A7C-D7BB-6F93-F4CF-88D2FB0788D1}"/>
          </ac:spMkLst>
        </pc:spChg>
        <pc:picChg chg="mod">
          <ac:chgData name="Stano, Adam" userId="761e0deb-e58e-45dd-9299-188651193c66" providerId="ADAL" clId="{49C0B8AF-C72C-43F2-82D4-4C6F99F10990}" dt="2023-12-15T13:36:39.421" v="328" actId="1076"/>
          <ac:picMkLst>
            <pc:docMk/>
            <pc:sldMk cId="3286374895" sldId="1136"/>
            <ac:picMk id="7" creationId="{01D851DB-A8BA-DA6B-F5C7-EA4D7AFFD2B5}"/>
          </ac:picMkLst>
        </pc:picChg>
      </pc:sldChg>
      <pc:sldChg chg="modSp mod">
        <pc:chgData name="Stano, Adam" userId="761e0deb-e58e-45dd-9299-188651193c66" providerId="ADAL" clId="{49C0B8AF-C72C-43F2-82D4-4C6F99F10990}" dt="2023-12-15T13:38:11.545" v="338" actId="403"/>
        <pc:sldMkLst>
          <pc:docMk/>
          <pc:sldMk cId="3473837361" sldId="1139"/>
        </pc:sldMkLst>
        <pc:spChg chg="mod">
          <ac:chgData name="Stano, Adam" userId="761e0deb-e58e-45dd-9299-188651193c66" providerId="ADAL" clId="{49C0B8AF-C72C-43F2-82D4-4C6F99F10990}" dt="2023-12-15T13:38:11.545" v="338" actId="403"/>
          <ac:spMkLst>
            <pc:docMk/>
            <pc:sldMk cId="3473837361" sldId="1139"/>
            <ac:spMk id="4" creationId="{3569C5F2-4F7E-BA82-8AB2-737DBDAC6DBC}"/>
          </ac:spMkLst>
        </pc:spChg>
      </pc:sldChg>
      <pc:sldChg chg="add">
        <pc:chgData name="Stano, Adam" userId="761e0deb-e58e-45dd-9299-188651193c66" providerId="ADAL" clId="{49C0B8AF-C72C-43F2-82D4-4C6F99F10990}" dt="2023-12-15T12:44:31.019" v="0"/>
        <pc:sldMkLst>
          <pc:docMk/>
          <pc:sldMk cId="1726886264" sldId="1319"/>
        </pc:sldMkLst>
      </pc:sldChg>
      <pc:sldChg chg="modSp add mod">
        <pc:chgData name="Stano, Adam" userId="761e0deb-e58e-45dd-9299-188651193c66" providerId="ADAL" clId="{49C0B8AF-C72C-43F2-82D4-4C6F99F10990}" dt="2023-12-15T12:44:31.126" v="1" actId="27636"/>
        <pc:sldMkLst>
          <pc:docMk/>
          <pc:sldMk cId="3844901555" sldId="1326"/>
        </pc:sldMkLst>
        <pc:spChg chg="mod">
          <ac:chgData name="Stano, Adam" userId="761e0deb-e58e-45dd-9299-188651193c66" providerId="ADAL" clId="{49C0B8AF-C72C-43F2-82D4-4C6F99F10990}" dt="2023-12-15T12:44:31.126" v="1" actId="27636"/>
          <ac:spMkLst>
            <pc:docMk/>
            <pc:sldMk cId="3844901555" sldId="1326"/>
            <ac:spMk id="2" creationId="{8C6429FC-0AF6-42B6-B06F-FF3085832F34}"/>
          </ac:spMkLst>
        </pc:spChg>
      </pc:sldChg>
      <pc:sldChg chg="addSp modSp mod">
        <pc:chgData name="Stano, Adam" userId="761e0deb-e58e-45dd-9299-188651193c66" providerId="ADAL" clId="{49C0B8AF-C72C-43F2-82D4-4C6F99F10990}" dt="2023-12-15T13:14:49.108" v="305" actId="1076"/>
        <pc:sldMkLst>
          <pc:docMk/>
          <pc:sldMk cId="157423430" sldId="1881839193"/>
        </pc:sldMkLst>
        <pc:spChg chg="add mod">
          <ac:chgData name="Stano, Adam" userId="761e0deb-e58e-45dd-9299-188651193c66" providerId="ADAL" clId="{49C0B8AF-C72C-43F2-82D4-4C6F99F10990}" dt="2023-12-15T13:14:49.108" v="305" actId="1076"/>
          <ac:spMkLst>
            <pc:docMk/>
            <pc:sldMk cId="157423430" sldId="1881839193"/>
            <ac:spMk id="3" creationId="{76920BDB-98AE-4A20-5E9E-99882167A2EF}"/>
          </ac:spMkLst>
        </pc:spChg>
        <pc:spChg chg="mod">
          <ac:chgData name="Stano, Adam" userId="761e0deb-e58e-45dd-9299-188651193c66" providerId="ADAL" clId="{49C0B8AF-C72C-43F2-82D4-4C6F99F10990}" dt="2023-12-15T13:14:45.554" v="304" actId="1076"/>
          <ac:spMkLst>
            <pc:docMk/>
            <pc:sldMk cId="157423430" sldId="1881839193"/>
            <ac:spMk id="36" creationId="{7181666F-ABB5-42B0-8352-F6A451794B86}"/>
          </ac:spMkLst>
        </pc:spChg>
      </pc:sldChg>
      <pc:sldChg chg="addSp modSp mod">
        <pc:chgData name="Stano, Adam" userId="761e0deb-e58e-45dd-9299-188651193c66" providerId="ADAL" clId="{49C0B8AF-C72C-43F2-82D4-4C6F99F10990}" dt="2023-12-15T13:14:24.854" v="297" actId="1076"/>
        <pc:sldMkLst>
          <pc:docMk/>
          <pc:sldMk cId="3208925267" sldId="2147197189"/>
        </pc:sldMkLst>
        <pc:spChg chg="add mod">
          <ac:chgData name="Stano, Adam" userId="761e0deb-e58e-45dd-9299-188651193c66" providerId="ADAL" clId="{49C0B8AF-C72C-43F2-82D4-4C6F99F10990}" dt="2023-12-15T13:14:24.854" v="297" actId="1076"/>
          <ac:spMkLst>
            <pc:docMk/>
            <pc:sldMk cId="3208925267" sldId="2147197189"/>
            <ac:spMk id="4" creationId="{E68DA98D-9A0A-B949-E278-6658FE787536}"/>
          </ac:spMkLst>
        </pc:spChg>
        <pc:spChg chg="mod">
          <ac:chgData name="Stano, Adam" userId="761e0deb-e58e-45dd-9299-188651193c66" providerId="ADAL" clId="{49C0B8AF-C72C-43F2-82D4-4C6F99F10990}" dt="2023-12-15T13:13:10.209" v="219" actId="1076"/>
          <ac:spMkLst>
            <pc:docMk/>
            <pc:sldMk cId="3208925267" sldId="2147197189"/>
            <ac:spMk id="38" creationId="{EC080432-F5FD-4BD0-A5BE-BEAB1D3A34E8}"/>
          </ac:spMkLst>
        </pc:spChg>
        <pc:grpChg chg="mod">
          <ac:chgData name="Stano, Adam" userId="761e0deb-e58e-45dd-9299-188651193c66" providerId="ADAL" clId="{49C0B8AF-C72C-43F2-82D4-4C6F99F10990}" dt="2023-12-15T13:13:16.504" v="221" actId="14100"/>
          <ac:grpSpMkLst>
            <pc:docMk/>
            <pc:sldMk cId="3208925267" sldId="2147197189"/>
            <ac:grpSpMk id="2" creationId="{4D559B1D-1944-4CDC-AB51-FEBC2892A453}"/>
          </ac:grpSpMkLst>
        </pc:grpChg>
      </pc:sldChg>
      <pc:sldChg chg="addSp modSp mod">
        <pc:chgData name="Stano, Adam" userId="761e0deb-e58e-45dd-9299-188651193c66" providerId="ADAL" clId="{49C0B8AF-C72C-43F2-82D4-4C6F99F10990}" dt="2023-12-15T13:14:11.151" v="293" actId="1076"/>
        <pc:sldMkLst>
          <pc:docMk/>
          <pc:sldMk cId="3312182641" sldId="2147197190"/>
        </pc:sldMkLst>
        <pc:spChg chg="add mod">
          <ac:chgData name="Stano, Adam" userId="761e0deb-e58e-45dd-9299-188651193c66" providerId="ADAL" clId="{49C0B8AF-C72C-43F2-82D4-4C6F99F10990}" dt="2023-12-15T13:14:11.151" v="293" actId="1076"/>
          <ac:spMkLst>
            <pc:docMk/>
            <pc:sldMk cId="3312182641" sldId="2147197190"/>
            <ac:spMk id="6" creationId="{21A84D39-6E65-30C9-ABBE-2519D8A71F32}"/>
          </ac:spMkLst>
        </pc:spChg>
      </pc:sldChg>
      <pc:sldChg chg="modSp mod">
        <pc:chgData name="Stano, Adam" userId="761e0deb-e58e-45dd-9299-188651193c66" providerId="ADAL" clId="{49C0B8AF-C72C-43F2-82D4-4C6F99F10990}" dt="2023-12-15T13:14:01.992" v="291" actId="20577"/>
        <pc:sldMkLst>
          <pc:docMk/>
          <pc:sldMk cId="532752066" sldId="2147197192"/>
        </pc:sldMkLst>
        <pc:spChg chg="mod">
          <ac:chgData name="Stano, Adam" userId="761e0deb-e58e-45dd-9299-188651193c66" providerId="ADAL" clId="{49C0B8AF-C72C-43F2-82D4-4C6F99F10990}" dt="2023-12-15T13:14:01.992" v="291" actId="20577"/>
          <ac:spMkLst>
            <pc:docMk/>
            <pc:sldMk cId="532752066" sldId="2147197192"/>
            <ac:spMk id="39" creationId="{F3792EA4-1F08-44CB-9C3B-B0AA6F526AFF}"/>
          </ac:spMkLst>
        </pc:spChg>
      </pc:sldChg>
      <pc:sldChg chg="addSp modSp mod">
        <pc:chgData name="Stano, Adam" userId="761e0deb-e58e-45dd-9299-188651193c66" providerId="ADAL" clId="{49C0B8AF-C72C-43F2-82D4-4C6F99F10990}" dt="2023-12-15T13:14:17.545" v="295" actId="1076"/>
        <pc:sldMkLst>
          <pc:docMk/>
          <pc:sldMk cId="461258559" sldId="2147197238"/>
        </pc:sldMkLst>
        <pc:spChg chg="add mod">
          <ac:chgData name="Stano, Adam" userId="761e0deb-e58e-45dd-9299-188651193c66" providerId="ADAL" clId="{49C0B8AF-C72C-43F2-82D4-4C6F99F10990}" dt="2023-12-15T13:14:17.545" v="295" actId="1076"/>
          <ac:spMkLst>
            <pc:docMk/>
            <pc:sldMk cId="461258559" sldId="2147197238"/>
            <ac:spMk id="2" creationId="{077F77D2-A5DB-6B7D-05B9-6E7DB3E12593}"/>
          </ac:spMkLst>
        </pc:spChg>
      </pc:sldChg>
      <pc:sldMasterChg chg="delSldLayout">
        <pc:chgData name="Stano, Adam" userId="761e0deb-e58e-45dd-9299-188651193c66" providerId="ADAL" clId="{49C0B8AF-C72C-43F2-82D4-4C6F99F10990}" dt="2023-12-15T12:58:45.158" v="5" actId="47"/>
        <pc:sldMasterMkLst>
          <pc:docMk/>
          <pc:sldMasterMk cId="2757810848" sldId="2147483648"/>
        </pc:sldMasterMkLst>
        <pc:sldLayoutChg chg="del">
          <pc:chgData name="Stano, Adam" userId="761e0deb-e58e-45dd-9299-188651193c66" providerId="ADAL" clId="{49C0B8AF-C72C-43F2-82D4-4C6F99F10990}" dt="2023-12-15T12:58:45.158" v="5" actId="47"/>
          <pc:sldLayoutMkLst>
            <pc:docMk/>
            <pc:sldMasterMk cId="2757810848" sldId="2147483648"/>
            <pc:sldLayoutMk cId="1097273452" sldId="214748366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33982127323981"/>
          <c:y val="3.9685552838138932E-2"/>
          <c:w val="0.84655592665243096"/>
          <c:h val="0.7871503085968126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CQ2W (N=361)</c:v>
                </c:pt>
              </c:strCache>
            </c:strRef>
          </c:tx>
          <c:spPr>
            <a:ln w="19050" cap="rnd">
              <a:solidFill>
                <a:srgbClr val="C4142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41425"/>
              </a:solidFill>
              <a:ln w="9525">
                <a:noFill/>
              </a:ln>
              <a:effectLst/>
            </c:spPr>
          </c:marker>
          <c:dLbls>
            <c:dLbl>
              <c:idx val="5"/>
              <c:layout>
                <c:manualLayout>
                  <c:x val="-4.3702119621834699E-2"/>
                  <c:y val="5.23025867606127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4BE-4D34-9D88-CBF80DC2BF49}"/>
                </c:ext>
              </c:extLst>
            </c:dLbl>
            <c:dLbl>
              <c:idx val="1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4BE-4D34-9D88-CBF80DC2BF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indent="0" algn="ctr" defTabSz="914400" rtl="0" eaLnBrk="1" latinLnBrk="0" hangingPunct="1">
                  <a:defRPr lang="en-US" sz="900" b="0" i="0" u="none" strike="noStrike" kern="1200" baseline="0">
                    <a:solidFill>
                      <a:srgbClr val="C4142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B$2:$B$17</c:f>
              <c:numCache>
                <c:formatCode>0.0</c:formatCode>
                <c:ptCount val="16"/>
                <c:pt idx="0">
                  <c:v>0</c:v>
                </c:pt>
                <c:pt idx="1">
                  <c:v>16.899999999999999</c:v>
                </c:pt>
                <c:pt idx="2">
                  <c:v>30.9</c:v>
                </c:pt>
                <c:pt idx="3">
                  <c:v>36.799999999999997</c:v>
                </c:pt>
                <c:pt idx="4">
                  <c:v>41.3</c:v>
                </c:pt>
                <c:pt idx="5">
                  <c:v>43.7</c:v>
                </c:pt>
                <c:pt idx="6">
                  <c:v>49.5</c:v>
                </c:pt>
                <c:pt idx="7">
                  <c:v>54.9</c:v>
                </c:pt>
                <c:pt idx="8">
                  <c:v>52.1</c:v>
                </c:pt>
                <c:pt idx="9">
                  <c:v>55.9</c:v>
                </c:pt>
                <c:pt idx="10">
                  <c:v>61.7</c:v>
                </c:pt>
                <c:pt idx="11">
                  <c:v>58.6</c:v>
                </c:pt>
                <c:pt idx="12">
                  <c:v>59.7</c:v>
                </c:pt>
                <c:pt idx="13">
                  <c:v>60.9</c:v>
                </c:pt>
                <c:pt idx="14">
                  <c:v>61.3</c:v>
                </c:pt>
                <c:pt idx="15">
                  <c:v>61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2-84BE-4D34-9D88-CBF80DC2BF4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CQ4W (N=360)</c:v>
                </c:pt>
              </c:strCache>
            </c:strRef>
          </c:tx>
          <c:spPr>
            <a:ln w="19050" cap="rnd">
              <a:solidFill>
                <a:srgbClr val="02376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23761"/>
              </a:solidFill>
              <a:ln w="9525">
                <a:noFill/>
              </a:ln>
              <a:effectLst/>
            </c:spPr>
          </c:marker>
          <c:dLbls>
            <c:dLbl>
              <c:idx val="0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4BE-4D34-9D88-CBF80DC2BF49}"/>
                </c:ext>
              </c:extLst>
            </c:dLbl>
            <c:dLbl>
              <c:idx val="1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4BE-4D34-9D88-CBF80DC2BF49}"/>
                </c:ext>
              </c:extLst>
            </c:dLbl>
            <c:dLbl>
              <c:idx val="2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4BE-4D34-9D88-CBF80DC2BF49}"/>
                </c:ext>
              </c:extLst>
            </c:dLbl>
            <c:dLbl>
              <c:idx val="3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4BE-4D34-9D88-CBF80DC2BF49}"/>
                </c:ext>
              </c:extLst>
            </c:dLbl>
            <c:dLbl>
              <c:idx val="4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4BE-4D34-9D88-CBF80DC2BF49}"/>
                </c:ext>
              </c:extLst>
            </c:dLbl>
            <c:dLbl>
              <c:idx val="5"/>
              <c:layout>
                <c:manualLayout>
                  <c:x val="-4.9892484202318656E-2"/>
                  <c:y val="-4.778013507989956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indent="0" algn="ctr" defTabSz="914400" rtl="0" eaLnBrk="1" latinLnBrk="0" hangingPunct="1">
                      <a:defRPr lang="en-US" sz="900" b="0" i="0" u="none" strike="noStrike" kern="1200" baseline="0">
                        <a:solidFill>
                          <a:srgbClr val="02376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540609B5-2D82-49A3-95F1-2357E203AA5A}" type="VALUE">
                      <a:rPr lang="en-US">
                        <a:solidFill>
                          <a:srgbClr val="023761"/>
                        </a:solidFill>
                      </a:rPr>
                      <a:pPr marL="0" indent="0" algn="ctr" defTabSz="914400" rtl="0" eaLnBrk="1" latinLnBrk="0" hangingPunct="1">
                        <a:defRPr lang="en-US" sz="900">
                          <a:solidFill>
                            <a:srgbClr val="02376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HODNOTA]</a:t>
                    </a:fld>
                    <a:endParaRPr lang="cs-C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indent="0" algn="ctr" defTabSz="914400" rtl="0" eaLnBrk="1" latinLnBrk="0" hangingPunct="1">
                    <a:defRPr lang="en-US" sz="900" b="0" i="0" u="none" strike="noStrike" kern="1200" baseline="0">
                      <a:solidFill>
                        <a:srgbClr val="02376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84BE-4D34-9D88-CBF80DC2BF49}"/>
                </c:ext>
              </c:extLst>
            </c:dLbl>
            <c:dLbl>
              <c:idx val="6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4BE-4D34-9D88-CBF80DC2BF49}"/>
                </c:ext>
              </c:extLst>
            </c:dLbl>
            <c:dLbl>
              <c:idx val="7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4BE-4D34-9D88-CBF80DC2BF49}"/>
                </c:ext>
              </c:extLst>
            </c:dLbl>
            <c:dLbl>
              <c:idx val="8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4BE-4D34-9D88-CBF80DC2BF49}"/>
                </c:ext>
              </c:extLst>
            </c:dLbl>
            <c:dLbl>
              <c:idx val="9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4BE-4D34-9D88-CBF80DC2BF49}"/>
                </c:ext>
              </c:extLst>
            </c:dLbl>
            <c:dLbl>
              <c:idx val="10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4BE-4D34-9D88-CBF80DC2BF49}"/>
                </c:ext>
              </c:extLst>
            </c:dLbl>
            <c:dLbl>
              <c:idx val="11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4BE-4D34-9D88-CBF80DC2BF49}"/>
                </c:ext>
              </c:extLst>
            </c:dLbl>
            <c:dLbl>
              <c:idx val="12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4BE-4D34-9D88-CBF80DC2BF49}"/>
                </c:ext>
              </c:extLst>
            </c:dLbl>
            <c:dLbl>
              <c:idx val="13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4BE-4D34-9D88-CBF80DC2BF49}"/>
                </c:ext>
              </c:extLst>
            </c:dLbl>
            <c:dLbl>
              <c:idx val="14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4BE-4D34-9D88-CBF80DC2BF49}"/>
                </c:ext>
              </c:extLst>
            </c:dLbl>
            <c:dLbl>
              <c:idx val="15"/>
              <c:layout>
                <c:manualLayout>
                  <c:x val="-7.3136080908085222E-3"/>
                  <c:y val="2.80858490504830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indent="0" algn="ctr" defTabSz="914400" rtl="0" eaLnBrk="1" latinLnBrk="0" hangingPunct="1">
                      <a:defRPr lang="en-US" sz="900" b="0" i="0" u="none" strike="noStrike" kern="1200" baseline="0">
                        <a:solidFill>
                          <a:srgbClr val="02376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2AB285E6-0F90-40F5-AAFB-CAB500AE0FEC}" type="VALUE">
                      <a:rPr lang="en-US">
                        <a:solidFill>
                          <a:srgbClr val="023761"/>
                        </a:solidFill>
                      </a:rPr>
                      <a:pPr marL="0" indent="0" algn="ctr" defTabSz="914400" rtl="0" eaLnBrk="1" latinLnBrk="0" hangingPunct="1">
                        <a:defRPr lang="en-US" sz="900">
                          <a:solidFill>
                            <a:srgbClr val="02376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HODNOTA]</a:t>
                    </a:fld>
                    <a:endParaRPr lang="cs-C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indent="0" algn="ctr" defTabSz="914400" rtl="0" eaLnBrk="1" latinLnBrk="0" hangingPunct="1">
                    <a:defRPr lang="en-US" sz="900" b="0" i="0" u="none" strike="noStrike" kern="1200" baseline="0">
                      <a:solidFill>
                        <a:srgbClr val="02376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84BE-4D34-9D88-CBF80DC2BF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2376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C$2:$C$17</c:f>
              <c:numCache>
                <c:formatCode>0.0</c:formatCode>
                <c:ptCount val="16"/>
                <c:pt idx="0">
                  <c:v>0</c:v>
                </c:pt>
                <c:pt idx="1">
                  <c:v>18.7</c:v>
                </c:pt>
                <c:pt idx="2">
                  <c:v>37.799999999999997</c:v>
                </c:pt>
                <c:pt idx="3">
                  <c:v>43.1</c:v>
                </c:pt>
                <c:pt idx="4">
                  <c:v>45.3</c:v>
                </c:pt>
                <c:pt idx="5">
                  <c:v>43.9</c:v>
                </c:pt>
                <c:pt idx="6">
                  <c:v>50.5</c:v>
                </c:pt>
                <c:pt idx="7">
                  <c:v>50.8</c:v>
                </c:pt>
                <c:pt idx="8">
                  <c:v>54.5</c:v>
                </c:pt>
                <c:pt idx="9">
                  <c:v>54.2</c:v>
                </c:pt>
                <c:pt idx="10">
                  <c:v>58.2</c:v>
                </c:pt>
                <c:pt idx="11">
                  <c:v>59.8</c:v>
                </c:pt>
                <c:pt idx="12">
                  <c:v>57</c:v>
                </c:pt>
                <c:pt idx="13">
                  <c:v>53.1</c:v>
                </c:pt>
                <c:pt idx="14">
                  <c:v>57.8</c:v>
                </c:pt>
                <c:pt idx="15">
                  <c:v>59.2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3-84BE-4D34-9D88-CBF80DC2BF4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lacebo (N=363)</c:v>
                </c:pt>
              </c:strCache>
            </c:strRef>
          </c:tx>
          <c:spPr>
            <a:ln w="19050" cap="rnd">
              <a:solidFill>
                <a:srgbClr val="A7A9A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A7A9AC"/>
              </a:solidFill>
              <a:ln w="9525">
                <a:noFill/>
              </a:ln>
              <a:effectLst/>
            </c:spPr>
          </c:marker>
          <c:dLbls>
            <c:dLbl>
              <c:idx val="0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4BE-4D34-9D88-CBF80DC2BF49}"/>
                </c:ext>
              </c:extLst>
            </c:dLbl>
            <c:dLbl>
              <c:idx val="1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84BE-4D34-9D88-CBF80DC2BF49}"/>
                </c:ext>
              </c:extLst>
            </c:dLbl>
            <c:dLbl>
              <c:idx val="2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4BE-4D34-9D88-CBF80DC2BF49}"/>
                </c:ext>
              </c:extLst>
            </c:dLbl>
            <c:dLbl>
              <c:idx val="3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84BE-4D34-9D88-CBF80DC2BF49}"/>
                </c:ext>
              </c:extLst>
            </c:dLbl>
            <c:dLbl>
              <c:idx val="4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4BE-4D34-9D88-CBF80DC2BF49}"/>
                </c:ext>
              </c:extLst>
            </c:dLbl>
            <c:dLbl>
              <c:idx val="5"/>
              <c:layout>
                <c:manualLayout>
                  <c:x val="-5.6226817446007431E-2"/>
                  <c:y val="-1.868962116641046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indent="0" algn="ctr" defTabSz="914400" rtl="0" eaLnBrk="1" latinLnBrk="0" hangingPunct="1">
                    <a:defRPr lang="en-US" sz="900" b="0" i="0" u="none" strike="noStrike" kern="1200" baseline="0">
                      <a:solidFill>
                        <a:srgbClr val="A7A9AC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84BE-4D34-9D88-CBF80DC2BF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D$2:$D$17</c:f>
              <c:numCache>
                <c:formatCode>0.0</c:formatCode>
                <c:ptCount val="16"/>
                <c:pt idx="0">
                  <c:v>0</c:v>
                </c:pt>
                <c:pt idx="1">
                  <c:v>12</c:v>
                </c:pt>
                <c:pt idx="2">
                  <c:v>20.399999999999999</c:v>
                </c:pt>
                <c:pt idx="3">
                  <c:v>24.4</c:v>
                </c:pt>
                <c:pt idx="4">
                  <c:v>26.7</c:v>
                </c:pt>
                <c:pt idx="5">
                  <c:v>32.4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A-84BE-4D34-9D88-CBF80DC2BF4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lacebo-SECQ2W (N=180)</c:v>
                </c:pt>
              </c:strCache>
            </c:strRef>
          </c:tx>
          <c:spPr>
            <a:ln w="19050" cap="rnd">
              <a:solidFill>
                <a:srgbClr val="C41425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C41425"/>
              </a:solidFill>
              <a:ln w="9525">
                <a:noFill/>
              </a:ln>
              <a:effectLst/>
            </c:spPr>
          </c:marker>
          <c:dLbls>
            <c:dLbl>
              <c:idx val="15"/>
              <c:layout>
                <c:manualLayout>
                  <c:x val="-2.5597628317829961E-2"/>
                  <c:y val="7.12439418416801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84BE-4D34-9D88-CBF80DC2BF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C41425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E$2:$E$17</c:f>
              <c:numCache>
                <c:formatCode>General</c:formatCode>
                <c:ptCount val="16"/>
                <c:pt idx="5" formatCode="0.0">
                  <c:v>32.4</c:v>
                </c:pt>
                <c:pt idx="6" formatCode="0.0">
                  <c:v>46.8</c:v>
                </c:pt>
                <c:pt idx="7" formatCode="0.0">
                  <c:v>50.3</c:v>
                </c:pt>
                <c:pt idx="8" formatCode="0.0">
                  <c:v>51</c:v>
                </c:pt>
                <c:pt idx="9" formatCode="0.0">
                  <c:v>56.2</c:v>
                </c:pt>
                <c:pt idx="10" formatCode="0.0">
                  <c:v>52.4</c:v>
                </c:pt>
                <c:pt idx="11" formatCode="0.0">
                  <c:v>49.7</c:v>
                </c:pt>
                <c:pt idx="12" formatCode="0.0">
                  <c:v>52.9</c:v>
                </c:pt>
                <c:pt idx="13" formatCode="0.0">
                  <c:v>44.9</c:v>
                </c:pt>
                <c:pt idx="14" formatCode="0.0">
                  <c:v>47.8</c:v>
                </c:pt>
                <c:pt idx="15" formatCode="0.0">
                  <c:v>51.6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C-84BE-4D34-9D88-CBF80DC2BF4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lacebo-SECQ4W (N=183)</c:v>
                </c:pt>
              </c:strCache>
            </c:strRef>
          </c:tx>
          <c:spPr>
            <a:ln w="19050" cap="rnd">
              <a:solidFill>
                <a:srgbClr val="023761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023761"/>
              </a:solidFill>
              <a:ln w="9525">
                <a:noFill/>
              </a:ln>
              <a:effectLst/>
            </c:spPr>
          </c:marker>
          <c:dPt>
            <c:idx val="5"/>
            <c:marker>
              <c:symbol val="circle"/>
              <c:size val="5"/>
              <c:spPr>
                <a:solidFill>
                  <a:srgbClr val="A7A9AC"/>
                </a:solidFill>
                <a:ln w="9525">
                  <a:noFill/>
                </a:ln>
                <a:effectLst/>
              </c:spPr>
            </c:marker>
            <c:bubble3D val="0"/>
            <c:spPr>
              <a:ln w="19050" cap="rnd">
                <a:solidFill>
                  <a:srgbClr val="A7A9AC"/>
                </a:solidFill>
                <a:prstDash val="dash"/>
                <a:round/>
              </a:ln>
              <a:effectLst/>
            </c:spPr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6="http://schemas.microsoft.com/office/drawing/2014/chart" uri="{C3380CC4-5D6E-409C-BE32-E72D297353CC}">
                <c16:uniqueId val="{0000001E-84BE-4D34-9D88-CBF80DC2BF49}"/>
              </c:ext>
            </c:extLst>
          </c:dPt>
          <c:dLbls>
            <c:dLbl>
              <c:idx val="15"/>
              <c:layout>
                <c:manualLayout>
                  <c:x val="-6.1498693640907133E-2"/>
                  <c:y val="2.2810371673657657E-2"/>
                </c:manualLayout>
              </c:layout>
              <c:tx>
                <c:rich>
                  <a:bodyPr/>
                  <a:lstStyle/>
                  <a:p>
                    <a:fld id="{3B03564C-0DBE-47BD-BB0B-DBB524E0E9F6}" type="VALUE">
                      <a:rPr lang="en-US">
                        <a:solidFill>
                          <a:srgbClr val="023761"/>
                        </a:solidFill>
                      </a:rPr>
                      <a:pPr/>
                      <a:t>[HODNOTA]</a:t>
                    </a:fld>
                    <a:endParaRPr lang="cs-CZ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F-84BE-4D34-9D88-CBF80DC2BF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F$2:$F$17</c:f>
              <c:numCache>
                <c:formatCode>General</c:formatCode>
                <c:ptCount val="16"/>
                <c:pt idx="5" formatCode="0.0">
                  <c:v>32.4</c:v>
                </c:pt>
                <c:pt idx="6" formatCode="0.0">
                  <c:v>47.9</c:v>
                </c:pt>
                <c:pt idx="7" formatCode="0.0">
                  <c:v>50.3</c:v>
                </c:pt>
                <c:pt idx="8" formatCode="0.0">
                  <c:v>50.6</c:v>
                </c:pt>
                <c:pt idx="9" formatCode="0.0">
                  <c:v>53.2</c:v>
                </c:pt>
                <c:pt idx="10" formatCode="0.0">
                  <c:v>53.4</c:v>
                </c:pt>
                <c:pt idx="11" formatCode="0.0">
                  <c:v>55.9</c:v>
                </c:pt>
                <c:pt idx="12" formatCode="0.0">
                  <c:v>53.9</c:v>
                </c:pt>
                <c:pt idx="13" formatCode="0.0">
                  <c:v>57</c:v>
                </c:pt>
                <c:pt idx="14" formatCode="0.0">
                  <c:v>55.1</c:v>
                </c:pt>
                <c:pt idx="15" formatCode="0.0">
                  <c:v>52.9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20-84BE-4D34-9D88-CBF80DC2B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0988847"/>
        <c:axId val="360992591"/>
      </c:lineChart>
      <c:dateAx>
        <c:axId val="36098884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 marL="0" algn="ctr" defTabSz="914400" rtl="0" eaLnBrk="1" latinLnBrk="0" hangingPunct="1">
                  <a:defRPr lang="en-GB" sz="1100" b="1" i="0" u="none" strike="noStrike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r>
                  <a:rPr lang="en-GB" sz="1100" b="1" i="0" u="none" strike="noStrike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ýde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 marL="0" algn="ctr" defTabSz="914400" rtl="0" eaLnBrk="1" latinLnBrk="0" hangingPunct="1">
                <a:defRPr lang="en-GB" sz="1100" b="1" i="0" u="none" strike="noStrike" kern="1200" baseline="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alpha val="96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60992591"/>
        <c:crosses val="autoZero"/>
        <c:auto val="0"/>
        <c:lblOffset val="100"/>
        <c:baseTimeUnit val="days"/>
        <c:majorUnit val="4"/>
        <c:majorTimeUnit val="days"/>
        <c:minorUnit val="1"/>
      </c:dateAx>
      <c:valAx>
        <c:axId val="36099259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algn="ctr" defTabSz="914400" rtl="0" eaLnBrk="1" latinLnBrk="0" hangingPunct="1">
                  <a:defRPr lang="en-GB" sz="1100" b="1" i="0" u="none" strike="noStrike" kern="1200" baseline="0" dirty="0" err="1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r>
                  <a:rPr lang="en-GB" sz="1100" b="1" i="0" u="none" strike="noStrike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Pacienti, kteří dosáhli HiSCR (%)</a:t>
                </a:r>
              </a:p>
            </c:rich>
          </c:tx>
          <c:layout>
            <c:manualLayout>
              <c:xMode val="edge"/>
              <c:yMode val="edge"/>
              <c:x val="4.547451783455006E-2"/>
              <c:y val="8.603882411714709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algn="ctr" defTabSz="914400" rtl="0" eaLnBrk="1" latinLnBrk="0" hangingPunct="1">
                <a:defRPr lang="en-GB" sz="1100" b="1" i="0" u="none" strike="noStrike" kern="1200" baseline="0" dirty="0" err="1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609888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754566771965097"/>
          <c:y val="0.26267581209550056"/>
          <c:w val="0.7919148419483184"/>
          <c:h val="0.6106865264918093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CQ2W (N=361)</c:v>
                </c:pt>
              </c:strCache>
            </c:strRef>
          </c:tx>
          <c:spPr>
            <a:ln w="19050" cap="rnd">
              <a:solidFill>
                <a:srgbClr val="C4142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41425"/>
              </a:solidFill>
              <a:ln w="9525">
                <a:noFill/>
              </a:ln>
              <a:effectLst/>
            </c:spPr>
          </c:marker>
          <c:dLbls>
            <c:dLbl>
              <c:idx val="5"/>
              <c:layout>
                <c:manualLayout>
                  <c:x val="-4.0732256669874345E-2"/>
                  <c:y val="-4.60150572724335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768-432A-82C4-B07085372E0F}"/>
                </c:ext>
              </c:extLst>
            </c:dLbl>
            <c:dLbl>
              <c:idx val="15"/>
              <c:layout>
                <c:manualLayout>
                  <c:x val="-8.973447093191049E-2"/>
                  <c:y val="5.14798956923332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768-432A-82C4-B07085372E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marL="0" indent="0" algn="ctr" defTabSz="914400" rtl="0" eaLnBrk="1" latinLnBrk="0" hangingPunct="1">
                  <a:defRPr lang="en-US" sz="900" b="0" i="0" u="none" strike="noStrike" kern="1200" baseline="0">
                    <a:solidFill>
                      <a:srgbClr val="C4142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B$2:$B$17</c:f>
              <c:numCache>
                <c:formatCode>0.0</c:formatCode>
                <c:ptCount val="16"/>
                <c:pt idx="0">
                  <c:v>0</c:v>
                </c:pt>
                <c:pt idx="1">
                  <c:v>-19.100000000000001</c:v>
                </c:pt>
                <c:pt idx="2">
                  <c:v>-32.4</c:v>
                </c:pt>
                <c:pt idx="3">
                  <c:v>-36</c:v>
                </c:pt>
                <c:pt idx="4">
                  <c:v>-39</c:v>
                </c:pt>
                <c:pt idx="5">
                  <c:v>-43.1</c:v>
                </c:pt>
                <c:pt idx="6">
                  <c:v>-50.1</c:v>
                </c:pt>
                <c:pt idx="7">
                  <c:v>-55.2</c:v>
                </c:pt>
                <c:pt idx="8">
                  <c:v>-56.1</c:v>
                </c:pt>
                <c:pt idx="9">
                  <c:v>-56.4</c:v>
                </c:pt>
                <c:pt idx="10">
                  <c:v>-59.5</c:v>
                </c:pt>
                <c:pt idx="11">
                  <c:v>-60.3</c:v>
                </c:pt>
                <c:pt idx="12">
                  <c:v>-64.3</c:v>
                </c:pt>
                <c:pt idx="13">
                  <c:v>-59.2</c:v>
                </c:pt>
                <c:pt idx="14">
                  <c:v>-58.8</c:v>
                </c:pt>
                <c:pt idx="15">
                  <c:v>-58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2-F768-432A-82C4-B07085372E0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CQ4W (N=360)</c:v>
                </c:pt>
              </c:strCache>
            </c:strRef>
          </c:tx>
          <c:spPr>
            <a:ln w="19050" cap="rnd">
              <a:solidFill>
                <a:srgbClr val="02376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23761"/>
              </a:solidFill>
              <a:ln w="9525">
                <a:noFill/>
              </a:ln>
              <a:effectLst/>
            </c:spPr>
          </c:marker>
          <c:dLbls>
            <c:dLbl>
              <c:idx val="0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768-432A-82C4-B07085372E0F}"/>
                </c:ext>
              </c:extLst>
            </c:dLbl>
            <c:dLbl>
              <c:idx val="1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68-432A-82C4-B07085372E0F}"/>
                </c:ext>
              </c:extLst>
            </c:dLbl>
            <c:dLbl>
              <c:idx val="2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68-432A-82C4-B07085372E0F}"/>
                </c:ext>
              </c:extLst>
            </c:dLbl>
            <c:dLbl>
              <c:idx val="3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68-432A-82C4-B07085372E0F}"/>
                </c:ext>
              </c:extLst>
            </c:dLbl>
            <c:dLbl>
              <c:idx val="4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768-432A-82C4-B07085372E0F}"/>
                </c:ext>
              </c:extLst>
            </c:dLbl>
            <c:dLbl>
              <c:idx val="5"/>
              <c:layout>
                <c:manualLayout>
                  <c:x val="-3.8285062635508224E-2"/>
                  <c:y val="3.453739713385650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marL="0" indent="0" algn="ctr" defTabSz="914400" rtl="0" eaLnBrk="1" latinLnBrk="0" hangingPunct="1">
                    <a:defRPr lang="en-US" sz="900" b="0" i="0" u="none" strike="noStrike" kern="1200" baseline="0">
                      <a:solidFill>
                        <a:srgbClr val="02376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768-432A-82C4-B07085372E0F}"/>
                </c:ext>
              </c:extLst>
            </c:dLbl>
            <c:dLbl>
              <c:idx val="6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768-432A-82C4-B07085372E0F}"/>
                </c:ext>
              </c:extLst>
            </c:dLbl>
            <c:dLbl>
              <c:idx val="7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768-432A-82C4-B07085372E0F}"/>
                </c:ext>
              </c:extLst>
            </c:dLbl>
            <c:dLbl>
              <c:idx val="8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768-432A-82C4-B07085372E0F}"/>
                </c:ext>
              </c:extLst>
            </c:dLbl>
            <c:dLbl>
              <c:idx val="9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768-432A-82C4-B07085372E0F}"/>
                </c:ext>
              </c:extLst>
            </c:dLbl>
            <c:dLbl>
              <c:idx val="10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768-432A-82C4-B07085372E0F}"/>
                </c:ext>
              </c:extLst>
            </c:dLbl>
            <c:dLbl>
              <c:idx val="11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768-432A-82C4-B07085372E0F}"/>
                </c:ext>
              </c:extLst>
            </c:dLbl>
            <c:dLbl>
              <c:idx val="12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768-432A-82C4-B07085372E0F}"/>
                </c:ext>
              </c:extLst>
            </c:dLbl>
            <c:dLbl>
              <c:idx val="13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768-432A-82C4-B07085372E0F}"/>
                </c:ext>
              </c:extLst>
            </c:dLbl>
            <c:dLbl>
              <c:idx val="14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768-432A-82C4-B07085372E0F}"/>
                </c:ext>
              </c:extLst>
            </c:dLbl>
            <c:dLbl>
              <c:idx val="15"/>
              <c:layout>
                <c:manualLayout>
                  <c:x val="-8.0895928611504075E-3"/>
                  <c:y val="3.8344790546333891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marL="0" indent="0" algn="ctr" defTabSz="914400" rtl="0" eaLnBrk="1" latinLnBrk="0" hangingPunct="1">
                      <a:defRPr lang="en-US" sz="900" b="0" i="0" u="none" strike="noStrike" kern="1200" baseline="0">
                        <a:solidFill>
                          <a:srgbClr val="02376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C1DB124B-D379-4C15-9F35-2A4CEE7188A6}" type="VALUE">
                      <a:rPr lang="en-US">
                        <a:solidFill>
                          <a:srgbClr val="023761"/>
                        </a:solidFill>
                      </a:rPr>
                      <a:pPr marL="0" indent="0" algn="ctr" defTabSz="914400" rtl="0" eaLnBrk="1" latinLnBrk="0" hangingPunct="1">
                        <a:defRPr sz="900">
                          <a:solidFill>
                            <a:srgbClr val="02376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HODNOTA]</a:t>
                    </a:fld>
                    <a:endParaRPr lang="cs-C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marL="0" indent="0" algn="ctr" defTabSz="914400" rtl="0" eaLnBrk="1" latinLnBrk="0" hangingPunct="1">
                    <a:defRPr lang="en-US" sz="900" b="0" i="0" u="none" strike="noStrike" kern="1200" baseline="0">
                      <a:solidFill>
                        <a:srgbClr val="02376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>
                  <c15:layout>
                    <c:manualLayout>
                      <c:w val="5.8687733267248771E-2"/>
                      <c:h val="3.4796939472382042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F768-432A-82C4-B07085372E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marL="0" indent="0" algn="ctr" defTabSz="914400" rtl="0" eaLnBrk="1" latinLnBrk="0" hangingPunct="1">
                  <a:defRPr lang="en-US" sz="900" b="0" i="0" u="none" strike="noStrike" kern="1200" baseline="0">
                    <a:solidFill>
                      <a:srgbClr val="C4142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C$2:$C$17</c:f>
              <c:numCache>
                <c:formatCode>0.0</c:formatCode>
                <c:ptCount val="16"/>
                <c:pt idx="0">
                  <c:v>0</c:v>
                </c:pt>
                <c:pt idx="1">
                  <c:v>-21.1</c:v>
                </c:pt>
                <c:pt idx="2">
                  <c:v>-38.200000000000003</c:v>
                </c:pt>
                <c:pt idx="3">
                  <c:v>-41.3</c:v>
                </c:pt>
                <c:pt idx="4">
                  <c:v>-45.2</c:v>
                </c:pt>
                <c:pt idx="5">
                  <c:v>-44</c:v>
                </c:pt>
                <c:pt idx="6">
                  <c:v>-50.8</c:v>
                </c:pt>
                <c:pt idx="7">
                  <c:v>-49.5</c:v>
                </c:pt>
                <c:pt idx="8">
                  <c:v>-53.1</c:v>
                </c:pt>
                <c:pt idx="9">
                  <c:v>-53.2</c:v>
                </c:pt>
                <c:pt idx="10">
                  <c:v>-53.9</c:v>
                </c:pt>
                <c:pt idx="11">
                  <c:v>-54.3</c:v>
                </c:pt>
                <c:pt idx="12">
                  <c:v>-57.4</c:v>
                </c:pt>
                <c:pt idx="13">
                  <c:v>-56.6</c:v>
                </c:pt>
                <c:pt idx="14">
                  <c:v>-59.7</c:v>
                </c:pt>
                <c:pt idx="15">
                  <c:v>-58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3-F768-432A-82C4-B07085372E0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lacebo (N=363)</c:v>
                </c:pt>
              </c:strCache>
            </c:strRef>
          </c:tx>
          <c:spPr>
            <a:ln w="19050" cap="rnd">
              <a:solidFill>
                <a:srgbClr val="A7A9A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A7A9AC"/>
              </a:solidFill>
              <a:ln w="9525">
                <a:noFill/>
              </a:ln>
              <a:effectLst/>
            </c:spPr>
          </c:marker>
          <c:dLbls>
            <c:dLbl>
              <c:idx val="0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F768-432A-82C4-B07085372E0F}"/>
                </c:ext>
              </c:extLst>
            </c:dLbl>
            <c:dLbl>
              <c:idx val="1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F768-432A-82C4-B07085372E0F}"/>
                </c:ext>
              </c:extLst>
            </c:dLbl>
            <c:dLbl>
              <c:idx val="2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F768-432A-82C4-B07085372E0F}"/>
                </c:ext>
              </c:extLst>
            </c:dLbl>
            <c:dLbl>
              <c:idx val="3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F768-432A-82C4-B07085372E0F}"/>
                </c:ext>
              </c:extLst>
            </c:dLbl>
            <c:dLbl>
              <c:idx val="4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F768-432A-82C4-B07085372E0F}"/>
                </c:ext>
              </c:extLst>
            </c:dLbl>
            <c:dLbl>
              <c:idx val="5"/>
              <c:layout>
                <c:manualLayout>
                  <c:x val="-4.7825270605186508E-2"/>
                  <c:y val="-5.50557544387932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F768-432A-82C4-B07085372E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marL="0" indent="0" algn="ctr" defTabSz="914400" rtl="0" eaLnBrk="1" latinLnBrk="0" hangingPunct="1">
                  <a:defRPr lang="en-US" sz="900" b="0" i="0" u="none" strike="noStrike" kern="1200" baseline="0">
                    <a:solidFill>
                      <a:srgbClr val="A7A9AC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D$2:$D$17</c:f>
              <c:numCache>
                <c:formatCode>0.0</c:formatCode>
                <c:ptCount val="16"/>
                <c:pt idx="0">
                  <c:v>0</c:v>
                </c:pt>
                <c:pt idx="1">
                  <c:v>-11.3</c:v>
                </c:pt>
                <c:pt idx="2">
                  <c:v>-22.5</c:v>
                </c:pt>
                <c:pt idx="3">
                  <c:v>-26.5</c:v>
                </c:pt>
                <c:pt idx="4">
                  <c:v>-23.8</c:v>
                </c:pt>
                <c:pt idx="5">
                  <c:v>-23.3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A-F768-432A-82C4-B07085372E0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lacebo-SECQ2W (N=180)</c:v>
                </c:pt>
              </c:strCache>
            </c:strRef>
          </c:tx>
          <c:spPr>
            <a:ln w="19050" cap="rnd">
              <a:solidFill>
                <a:srgbClr val="C41425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C41425"/>
              </a:solidFill>
              <a:ln w="9525">
                <a:noFill/>
              </a:ln>
              <a:effectLst/>
            </c:spPr>
          </c:marker>
          <c:dLbls>
            <c:dLbl>
              <c:idx val="15"/>
              <c:layout>
                <c:manualLayout>
                  <c:x val="-3.7467587988486699E-2"/>
                  <c:y val="-4.154858444463528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indent="0" algn="ctr" defTabSz="914400" rtl="0" eaLnBrk="1" latinLnBrk="0" hangingPunct="1">
                    <a:defRPr lang="en-US" sz="900" b="0" i="0" u="none" strike="noStrike" kern="1200" baseline="0">
                      <a:solidFill>
                        <a:srgbClr val="C4142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F768-432A-82C4-B07085372E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E$2:$E$17</c:f>
              <c:numCache>
                <c:formatCode>General</c:formatCode>
                <c:ptCount val="16"/>
                <c:pt idx="5" formatCode="0.0">
                  <c:v>-23.3</c:v>
                </c:pt>
                <c:pt idx="6" formatCode="0.0">
                  <c:v>-47.8</c:v>
                </c:pt>
                <c:pt idx="7" formatCode="0.0">
                  <c:v>-54</c:v>
                </c:pt>
                <c:pt idx="8" formatCode="0.0">
                  <c:v>-55.3</c:v>
                </c:pt>
                <c:pt idx="9" formatCode="0.0">
                  <c:v>-55.4</c:v>
                </c:pt>
                <c:pt idx="10" formatCode="0.0">
                  <c:v>-53.1</c:v>
                </c:pt>
                <c:pt idx="11" formatCode="0.0">
                  <c:v>-52.5</c:v>
                </c:pt>
                <c:pt idx="12" formatCode="0.0">
                  <c:v>-54.8</c:v>
                </c:pt>
                <c:pt idx="13" formatCode="0.0">
                  <c:v>-46.3</c:v>
                </c:pt>
                <c:pt idx="14" formatCode="0.0">
                  <c:v>-49.9</c:v>
                </c:pt>
                <c:pt idx="15" formatCode="0.0">
                  <c:v>-51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C-F768-432A-82C4-B07085372E0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lacebo-SECQ4W (N=183)</c:v>
                </c:pt>
              </c:strCache>
            </c:strRef>
          </c:tx>
          <c:spPr>
            <a:ln w="19050" cap="rnd">
              <a:solidFill>
                <a:srgbClr val="023761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023761"/>
              </a:solidFill>
              <a:ln w="9525">
                <a:noFill/>
              </a:ln>
              <a:effectLst/>
            </c:spPr>
          </c:marker>
          <c:dPt>
            <c:idx val="5"/>
            <c:marker>
              <c:symbol val="circle"/>
              <c:size val="5"/>
              <c:spPr>
                <a:solidFill>
                  <a:srgbClr val="A7A9AC"/>
                </a:solidFill>
                <a:ln w="9525"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6="http://schemas.microsoft.com/office/drawing/2014/chart" uri="{C3380CC4-5D6E-409C-BE32-E72D297353CC}">
                <c16:uniqueId val="{0000001D-F768-432A-82C4-B07085372E0F}"/>
              </c:ext>
            </c:extLst>
          </c:dPt>
          <c:dLbls>
            <c:dLbl>
              <c:idx val="15"/>
              <c:layout>
                <c:manualLayout>
                  <c:x val="-5.4498309801435316E-2"/>
                  <c:y val="-9.02591197643399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marL="0" indent="0" algn="ctr" defTabSz="914400" rtl="0" eaLnBrk="1" latinLnBrk="0" hangingPunct="1">
                    <a:defRPr lang="en-US" sz="900" b="0" i="0" u="none" strike="noStrike" kern="1200" baseline="0">
                      <a:solidFill>
                        <a:srgbClr val="02376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F768-432A-82C4-B07085372E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8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24</c:v>
                </c:pt>
                <c:pt idx="9">
                  <c:v>28</c:v>
                </c:pt>
                <c:pt idx="10">
                  <c:v>32</c:v>
                </c:pt>
                <c:pt idx="11">
                  <c:v>36</c:v>
                </c:pt>
                <c:pt idx="12">
                  <c:v>40</c:v>
                </c:pt>
                <c:pt idx="13">
                  <c:v>44</c:v>
                </c:pt>
                <c:pt idx="14">
                  <c:v>48</c:v>
                </c:pt>
                <c:pt idx="15">
                  <c:v>52</c:v>
                </c:pt>
              </c:numCache>
            </c:numRef>
          </c:cat>
          <c:val>
            <c:numRef>
              <c:f>Sheet1!$F$2:$F$17</c:f>
              <c:numCache>
                <c:formatCode>General</c:formatCode>
                <c:ptCount val="16"/>
                <c:pt idx="5" formatCode="0.0">
                  <c:v>-23.3</c:v>
                </c:pt>
                <c:pt idx="6" formatCode="0.0">
                  <c:v>-42</c:v>
                </c:pt>
                <c:pt idx="7" formatCode="0.0">
                  <c:v>-41.4</c:v>
                </c:pt>
                <c:pt idx="8" formatCode="0.0">
                  <c:v>-50.5</c:v>
                </c:pt>
                <c:pt idx="9" formatCode="0.0">
                  <c:v>-51.5</c:v>
                </c:pt>
                <c:pt idx="10" formatCode="0.0">
                  <c:v>-52.8</c:v>
                </c:pt>
                <c:pt idx="11" formatCode="0.0">
                  <c:v>-56.2</c:v>
                </c:pt>
                <c:pt idx="12" formatCode="0.0">
                  <c:v>-59.6</c:v>
                </c:pt>
                <c:pt idx="13" formatCode="0.0">
                  <c:v>-54</c:v>
                </c:pt>
                <c:pt idx="14" formatCode="0.0">
                  <c:v>-57</c:v>
                </c:pt>
                <c:pt idx="15" formatCode="0.0">
                  <c:v>-53.6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F-F768-432A-82C4-B07085372E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0988847"/>
        <c:axId val="360992591"/>
      </c:lineChart>
      <c:dateAx>
        <c:axId val="36098884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 marL="0" algn="ctr" defTabSz="914400" rtl="0" eaLnBrk="1" latinLnBrk="0" hangingPunct="1">
                  <a:defRPr lang="en-GB" sz="1100" b="1" i="0" u="none" strike="noStrike" kern="1200" baseline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r>
                  <a:rPr lang="en-GB" sz="1100" b="1" i="0" u="none" strike="noStrike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ýden</a:t>
                </a:r>
              </a:p>
            </c:rich>
          </c:tx>
          <c:layout>
            <c:manualLayout>
              <c:xMode val="edge"/>
              <c:yMode val="edge"/>
              <c:x val="0.53965280812684291"/>
              <c:y val="0.134409008617372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 marL="0" algn="ctr" defTabSz="914400" rtl="0" eaLnBrk="1" latinLnBrk="0" hangingPunct="1">
                <a:defRPr lang="en-GB" sz="1100" b="1" i="0" u="none" strike="noStrike" kern="1200" baseline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in"/>
        <c:minorTickMark val="none"/>
        <c:tickLblPos val="high"/>
        <c:spPr>
          <a:noFill/>
          <a:ln w="9525" cap="flat" cmpd="sng" algn="ctr">
            <a:solidFill>
              <a:schemeClr val="tx1">
                <a:alpha val="96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60992591"/>
        <c:crosses val="autoZero"/>
        <c:auto val="0"/>
        <c:lblOffset val="100"/>
        <c:baseTimeUnit val="days"/>
        <c:majorUnit val="4"/>
        <c:majorTimeUnit val="days"/>
        <c:minorUnit val="1"/>
      </c:dateAx>
      <c:valAx>
        <c:axId val="36099259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algn="ctr" defTabSz="914400" rtl="0" eaLnBrk="1" latinLnBrk="0" hangingPunct="1">
                  <a:defRPr lang="en-GB" sz="1100" b="1" i="0" u="none" strike="noStrike" kern="1200" baseline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r>
                  <a:rPr lang="en-GB" sz="1100" b="1" i="0" u="none" strike="noStrike" kern="1200" baseline="0" dirty="0" err="1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Průměrná</a:t>
                </a:r>
                <a:r>
                  <a:rPr lang="en-GB" sz="1100" b="1" i="0" u="none" strike="noStrike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GB" sz="1100" b="1" i="0" u="none" strike="noStrike" kern="1200" baseline="0" dirty="0" err="1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redukce</a:t>
                </a:r>
                <a:r>
                  <a:rPr lang="en-GB" sz="1100" b="1" i="0" u="none" strike="noStrike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v počtu AN (%)</a:t>
                </a:r>
              </a:p>
            </c:rich>
          </c:tx>
          <c:layout>
            <c:manualLayout>
              <c:xMode val="edge"/>
              <c:yMode val="edge"/>
              <c:x val="9.3650652160493578E-2"/>
              <c:y val="0.331338408623402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algn="ctr" defTabSz="914400" rtl="0" eaLnBrk="1" latinLnBrk="0" hangingPunct="1">
                <a:defRPr lang="en-GB" sz="1100" b="1" i="0" u="none" strike="noStrike" kern="1200" baseline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60988847"/>
        <c:crossesAt val="0"/>
        <c:crossBetween val="midCat"/>
      </c:valAx>
      <c:spPr>
        <a:noFill/>
        <a:ln>
          <a:noFill/>
        </a:ln>
        <a:effectLst/>
      </c:spPr>
    </c:plotArea>
    <c:plotVisOnly val="1"/>
    <c:dispBlanksAs val="gap"/>
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646747567310372E-2"/>
          <c:y val="3.2489183287895261E-2"/>
          <c:w val="0.87543445070279091"/>
          <c:h val="0.7871503085968126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CQ2W (N=306)</c:v>
                </c:pt>
              </c:strCache>
            </c:strRef>
          </c:tx>
          <c:spPr>
            <a:ln w="19050" cap="rnd">
              <a:solidFill>
                <a:srgbClr val="C4142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41425"/>
              </a:solidFill>
              <a:ln w="9525">
                <a:noFill/>
              </a:ln>
              <a:effectLst/>
            </c:spPr>
          </c:marker>
          <c:dLbls>
            <c:dLbl>
              <c:idx val="4"/>
              <c:layout>
                <c:manualLayout>
                  <c:x val="-4.1873784123808412E-2"/>
                  <c:y val="3.17032586011838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74-4B3B-B1D3-9B55CB9F3663}"/>
                </c:ext>
              </c:extLst>
            </c:dLbl>
            <c:dLbl>
              <c:idx val="6"/>
              <c:layout>
                <c:manualLayout>
                  <c:x val="-3.7692747715394603E-2"/>
                  <c:y val="-4.58703490827719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74-4B3B-B1D3-9B55CB9F36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indent="0" algn="ctr" defTabSz="914400" rtl="0" eaLnBrk="1" latinLnBrk="0" hangingPunct="1">
                  <a:defRPr lang="en-US" sz="900" b="0" i="0" u="none" strike="noStrike" kern="1200" baseline="0">
                    <a:solidFill>
                      <a:srgbClr val="C4142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12</c:v>
                </c:pt>
                <c:pt idx="4">
                  <c:v>16</c:v>
                </c:pt>
                <c:pt idx="5">
                  <c:v>28</c:v>
                </c:pt>
                <c:pt idx="6">
                  <c:v>52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>
                  <c:v>0</c:v>
                </c:pt>
                <c:pt idx="1">
                  <c:v>34.1</c:v>
                </c:pt>
                <c:pt idx="2">
                  <c:v>44.8</c:v>
                </c:pt>
                <c:pt idx="3">
                  <c:v>42.4</c:v>
                </c:pt>
                <c:pt idx="4">
                  <c:v>42.5</c:v>
                </c:pt>
                <c:pt idx="5">
                  <c:v>48.4</c:v>
                </c:pt>
                <c:pt idx="6">
                  <c:v>53.3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2-8A74-4B3B-B1D3-9B55CB9F366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CQ4W (N=294)</c:v>
                </c:pt>
              </c:strCache>
            </c:strRef>
          </c:tx>
          <c:spPr>
            <a:ln w="19050" cap="rnd">
              <a:solidFill>
                <a:srgbClr val="02376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23761"/>
              </a:solidFill>
              <a:ln w="9525">
                <a:noFill/>
              </a:ln>
              <a:effectLst/>
            </c:spPr>
          </c:marker>
          <c:dLbls>
            <c:dLbl>
              <c:idx val="0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74-4B3B-B1D3-9B55CB9F3663}"/>
                </c:ext>
              </c:extLst>
            </c:dLbl>
            <c:dLbl>
              <c:idx val="1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A74-4B3B-B1D3-9B55CB9F3663}"/>
                </c:ext>
              </c:extLst>
            </c:dLbl>
            <c:dLbl>
              <c:idx val="2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A74-4B3B-B1D3-9B55CB9F3663}"/>
                </c:ext>
              </c:extLst>
            </c:dLbl>
            <c:dLbl>
              <c:idx val="3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A74-4B3B-B1D3-9B55CB9F3663}"/>
                </c:ext>
              </c:extLst>
            </c:dLbl>
            <c:dLbl>
              <c:idx val="5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A74-4B3B-B1D3-9B55CB9F3663}"/>
                </c:ext>
              </c:extLst>
            </c:dLbl>
            <c:dLbl>
              <c:idx val="6"/>
              <c:layout>
                <c:manualLayout>
                  <c:x val="-7.5819062285359664E-3"/>
                  <c:y val="0.106718167399971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A74-4B3B-B1D3-9B55CB9F36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indent="0" algn="ctr" defTabSz="914400" rtl="0" eaLnBrk="1" latinLnBrk="0" hangingPunct="1">
                  <a:defRPr lang="en-US" sz="900" b="0" i="0" u="none" strike="noStrike" kern="1200" baseline="0">
                    <a:solidFill>
                      <a:srgbClr val="02376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12</c:v>
                </c:pt>
                <c:pt idx="4">
                  <c:v>16</c:v>
                </c:pt>
                <c:pt idx="5">
                  <c:v>28</c:v>
                </c:pt>
                <c:pt idx="6">
                  <c:v>52</c:v>
                </c:pt>
              </c:numCache>
            </c:numRef>
          </c:cat>
          <c:val>
            <c:numRef>
              <c:f>Sheet1!$C$2:$C$8</c:f>
              <c:numCache>
                <c:formatCode>0.0</c:formatCode>
                <c:ptCount val="7"/>
                <c:pt idx="0">
                  <c:v>0</c:v>
                </c:pt>
                <c:pt idx="1">
                  <c:v>29.4</c:v>
                </c:pt>
                <c:pt idx="2">
                  <c:v>44.2</c:v>
                </c:pt>
                <c:pt idx="3">
                  <c:v>42.6</c:v>
                </c:pt>
                <c:pt idx="4">
                  <c:v>47.1</c:v>
                </c:pt>
                <c:pt idx="5">
                  <c:v>47.1</c:v>
                </c:pt>
                <c:pt idx="6">
                  <c:v>47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9-8A74-4B3B-B1D3-9B55CB9F366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lacebo (N=313)</c:v>
                </c:pt>
              </c:strCache>
            </c:strRef>
          </c:tx>
          <c:spPr>
            <a:ln w="19050" cap="rnd">
              <a:solidFill>
                <a:schemeClr val="bg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A7A9AC"/>
              </a:solidFill>
              <a:ln w="9525">
                <a:noFill/>
              </a:ln>
              <a:effectLst/>
            </c:spPr>
          </c:marker>
          <c:dLbls>
            <c:dLbl>
              <c:idx val="0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A74-4B3B-B1D3-9B55CB9F3663}"/>
                </c:ext>
              </c:extLst>
            </c:dLbl>
            <c:dLbl>
              <c:idx val="1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A74-4B3B-B1D3-9B55CB9F3663}"/>
                </c:ext>
              </c:extLst>
            </c:dLbl>
            <c:dLbl>
              <c:idx val="2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A74-4B3B-B1D3-9B55CB9F3663}"/>
                </c:ext>
              </c:extLst>
            </c:dLbl>
            <c:dLbl>
              <c:idx val="3"/>
              <c:delete val="1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A74-4B3B-B1D3-9B55CB9F3663}"/>
                </c:ext>
              </c:extLst>
            </c:dLbl>
            <c:dLbl>
              <c:idx val="4"/>
              <c:layout>
                <c:manualLayout>
                  <c:x val="-4.0861847818007981E-2"/>
                  <c:y val="-4.32783637223155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A74-4B3B-B1D3-9B55CB9F36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indent="0" algn="ctr" defTabSz="914400" rtl="0" eaLnBrk="1" latinLnBrk="0" hangingPunct="1">
                  <a:defRPr lang="en-US" sz="900" b="0" i="0" u="none" strike="noStrike" kern="1200" baseline="0">
                    <a:solidFill>
                      <a:srgbClr val="A7A9AC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12</c:v>
                </c:pt>
                <c:pt idx="4">
                  <c:v>16</c:v>
                </c:pt>
                <c:pt idx="5">
                  <c:v>28</c:v>
                </c:pt>
                <c:pt idx="6">
                  <c:v>52</c:v>
                </c:pt>
              </c:numCache>
            </c:numRef>
          </c:cat>
          <c:val>
            <c:numRef>
              <c:f>Sheet1!$D$2:$D$8</c:f>
              <c:numCache>
                <c:formatCode>0.0</c:formatCode>
                <c:ptCount val="7"/>
                <c:pt idx="0">
                  <c:v>0</c:v>
                </c:pt>
                <c:pt idx="1">
                  <c:v>25</c:v>
                </c:pt>
                <c:pt idx="2">
                  <c:v>32</c:v>
                </c:pt>
                <c:pt idx="3">
                  <c:v>34.1</c:v>
                </c:pt>
                <c:pt idx="4">
                  <c:v>30.7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F-8A74-4B3B-B1D3-9B55CB9F366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lacebo-SECQ2W (N=160)</c:v>
                </c:pt>
              </c:strCache>
            </c:strRef>
          </c:tx>
          <c:spPr>
            <a:ln w="19050" cap="rnd">
              <a:solidFill>
                <a:srgbClr val="C41425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C41425"/>
              </a:solidFill>
              <a:ln w="9525">
                <a:noFill/>
              </a:ln>
              <a:effectLst/>
            </c:spPr>
          </c:marker>
          <c:dLbls>
            <c:dLbl>
              <c:idx val="6"/>
              <c:layout>
                <c:manualLayout>
                  <c:x val="-3.9805007699813967E-2"/>
                  <c:y val="5.005477599923845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A74-4B3B-B1D3-9B55CB9F36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indent="0" algn="ctr" defTabSz="914400" rtl="0" eaLnBrk="1" latinLnBrk="0" hangingPunct="1">
                  <a:defRPr lang="en-US" sz="900" b="0" i="0" u="none" strike="noStrike" kern="1200" baseline="0">
                    <a:solidFill>
                      <a:srgbClr val="C4142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12</c:v>
                </c:pt>
                <c:pt idx="4">
                  <c:v>16</c:v>
                </c:pt>
                <c:pt idx="5">
                  <c:v>28</c:v>
                </c:pt>
                <c:pt idx="6">
                  <c:v>52</c:v>
                </c:pt>
              </c:numCache>
            </c:numRef>
          </c:cat>
          <c:val>
            <c:numRef>
              <c:f>Sheet1!$E$2:$E$8</c:f>
              <c:numCache>
                <c:formatCode>General</c:formatCode>
                <c:ptCount val="7"/>
                <c:pt idx="4" formatCode="0.0">
                  <c:v>30.7</c:v>
                </c:pt>
                <c:pt idx="5" formatCode="0.0">
                  <c:v>52.7</c:v>
                </c:pt>
                <c:pt idx="6" formatCode="0.0">
                  <c:v>48.6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1-8A74-4B3B-B1D3-9B55CB9F366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lacebo-SECQ4W (N=183)</c:v>
                </c:pt>
              </c:strCache>
            </c:strRef>
          </c:tx>
          <c:spPr>
            <a:ln w="19050" cap="rnd">
              <a:solidFill>
                <a:srgbClr val="023761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023761"/>
              </a:solidFill>
              <a:ln w="9525">
                <a:noFill/>
              </a:ln>
              <a:effectLst/>
            </c:spPr>
          </c:marker>
          <c:dPt>
            <c:idx val="4"/>
            <c:marker>
              <c:symbol val="circle"/>
              <c:size val="5"/>
              <c:spPr>
                <a:solidFill>
                  <a:schemeClr val="accent6"/>
                </a:solidFill>
                <a:ln w="9525">
                  <a:noFill/>
                </a:ln>
                <a:effectLst/>
              </c:spPr>
            </c:marker>
            <c:bubble3D val="0"/>
            <c:spPr>
              <a:ln w="19050" cap="rnd">
                <a:solidFill>
                  <a:schemeClr val="accent6"/>
                </a:solidFill>
                <a:prstDash val="dash"/>
                <a:round/>
              </a:ln>
              <a:effectLst/>
            </c:spPr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6="http://schemas.microsoft.com/office/drawing/2014/chart" uri="{C3380CC4-5D6E-409C-BE32-E72D297353CC}">
                <c16:uniqueId val="{00000000-E8DB-4F04-AEFA-87EAE21944D1}"/>
              </c:ext>
            </c:extLst>
          </c:dPt>
          <c:dLbls>
            <c:dLbl>
              <c:idx val="6"/>
              <c:layout>
                <c:manualLayout>
                  <c:x val="-3.822280715003621E-2"/>
                  <c:y val="-1.8901027271832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A74-4B3B-B1D3-9B55CB9F36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indent="0" algn="ctr" defTabSz="914400" rtl="0" eaLnBrk="1" latinLnBrk="0" hangingPunct="1">
                  <a:defRPr lang="en-US" sz="900" b="0" i="0" u="none" strike="noStrike" kern="1200" baseline="0">
                    <a:solidFill>
                      <a:srgbClr val="02376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12</c:v>
                </c:pt>
                <c:pt idx="4">
                  <c:v>16</c:v>
                </c:pt>
                <c:pt idx="5">
                  <c:v>28</c:v>
                </c:pt>
                <c:pt idx="6">
                  <c:v>52</c:v>
                </c:pt>
              </c:numCache>
            </c:numRef>
          </c:cat>
          <c:val>
            <c:numRef>
              <c:f>Sheet1!$F$2:$F$8</c:f>
              <c:numCache>
                <c:formatCode>General</c:formatCode>
                <c:ptCount val="7"/>
                <c:pt idx="4" formatCode="0.0">
                  <c:v>30.7</c:v>
                </c:pt>
                <c:pt idx="5" formatCode="0.0">
                  <c:v>42.7</c:v>
                </c:pt>
                <c:pt idx="6" formatCode="0.0">
                  <c:v>50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3-8A74-4B3B-B1D3-9B55CB9F36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0988847"/>
        <c:axId val="360992591"/>
      </c:lineChart>
      <c:dateAx>
        <c:axId val="36098884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en-GB" sz="1100" b="1" i="0" u="none" strike="noStrike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r>
                  <a:rPr lang="en-GB" sz="1100" b="1" i="0" u="none" strike="noStrike" kern="1200" baseline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ýde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GB" sz="1100" b="1" i="0" u="none" strike="noStrike" kern="1200" baseline="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alpha val="96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60992591"/>
        <c:crosses val="autoZero"/>
        <c:auto val="0"/>
        <c:lblOffset val="100"/>
        <c:baseTimeUnit val="days"/>
        <c:majorUnit val="4"/>
        <c:majorTimeUnit val="days"/>
        <c:minorUnit val="1"/>
      </c:dateAx>
      <c:valAx>
        <c:axId val="36099259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algn="ctr" defTabSz="914400" rtl="0" eaLnBrk="1" latinLnBrk="0" hangingPunct="1">
                  <a:defRPr lang="en-GB" sz="1000" b="1" i="0" u="none" strike="noStrike" kern="1200" baseline="0" dirty="0">
                    <a:solidFill>
                      <a:srgbClr val="000000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r>
                  <a:rPr lang="en-GB" sz="1100" b="1" i="0" u="none" strike="noStrike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Pacienti dosahující </a:t>
                </a:r>
              </a:p>
              <a:p>
                <a:pPr marL="0" algn="ctr" defTabSz="914400" rtl="0" eaLnBrk="1" latinLnBrk="0" hangingPunct="1">
                  <a:defRPr lang="en-GB" sz="1000" b="1" dirty="0">
                    <a:solidFill>
                      <a:srgbClr val="000000"/>
                    </a:solidFill>
                    <a:effectLst/>
                  </a:defRPr>
                </a:pPr>
                <a:r>
                  <a:rPr lang="en-GB" sz="1100" b="1" i="0" u="none" strike="noStrike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Odpověď DLQI (%)</a:t>
                </a:r>
                <a:endParaRPr lang="en-US" sz="1100" b="1" i="0" u="none" strike="noStrike" kern="1200" baseline="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</c:rich>
          </c:tx>
          <c:layout>
            <c:manualLayout>
              <c:xMode val="edge"/>
              <c:yMode val="edge"/>
              <c:x val="0"/>
              <c:y val="0.160454696526228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algn="ctr" defTabSz="914400" rtl="0" eaLnBrk="1" latinLnBrk="0" hangingPunct="1">
                <a:defRPr lang="en-GB" sz="1000" b="1" i="0" u="none" strike="noStrike" kern="1200" baseline="0" dirty="0">
                  <a:solidFill>
                    <a:srgbClr val="000000"/>
                  </a:solidFill>
                  <a:effectLst/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60988847"/>
        <c:crossesAt val="0"/>
        <c:crossBetween val="midCat"/>
      </c:valAx>
      <c:spPr>
        <a:noFill/>
        <a:ln>
          <a:noFill/>
        </a:ln>
        <a:effectLst/>
      </c:spPr>
    </c:plotArea>
    <c:plotVisOnly val="1"/>
    <c:dispBlanksAs val="gap"/>
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356D92-0599-4E23-9AC3-E161EA533AE9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A2A5C-9CD4-4F26-970A-3D1E782D6E5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3684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185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A5A9CD-0A36-46DF-A5AB-3E0FF7CA3F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52821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4648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B1158-E2E5-4A61-9C76-60BB8093D30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2805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B1158-E2E5-4A61-9C76-60BB8093D307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6630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B1158-E2E5-4A61-9C76-60BB8093D30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1734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B1158-E2E5-4A61-9C76-60BB8093D30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921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C75405-A08B-224B-A787-CF71D76A81FC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589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8248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775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6214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5118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3489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4825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5864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56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545F927-3487-5068-D356-10BC07A3FC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CB60556-1E11-08F0-1C11-0B8D93FBA2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DEBF821-F3CE-9954-EB1A-7B41B413C8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2535B27-9325-00E7-926E-F73641F2F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3BA2E53-9505-17A0-BF8B-F7712B00C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951123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0D9F509-3548-86CB-766A-CD7450179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45543C4-0E8A-1430-390B-AE220AB3BA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5446F9B-C78E-D1F0-A254-2BE717466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5149728-2DAE-ED38-91B0-249460084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4978436-05BF-AB73-6910-974CDB838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5357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AD62364B-C8F9-D978-A31A-F1E6D0490B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5EA0D4C4-0FC4-9D22-3A32-B285AFA454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4F9C3D2-B950-FD55-5947-902F07A42B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C6DEB31-944C-38FC-4351-201E1E20E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5DC2596-ED3F-6D0C-7B0A-BC915DB6E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14428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/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528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A6A64C-DC01-4062-B142-A21E581D7A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3E20D1-3927-4CD9-8004-4121EF355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r presentation in response to an unsolicited request for medical information subject to local approval. Not for distribution.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E4477-14CE-4394-9FEC-EEA58BBA9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9FF18-4AD6-42F9-8BE4-7CEDCEA6EF5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6">
            <a:hlinkClick r:id="rId2" action="ppaction://hlinksldjump"/>
            <a:extLst>
              <a:ext uri="{FF2B5EF4-FFF2-40B4-BE49-F238E27FC236}">
                <a16:creationId xmlns:a16="http://schemas.microsoft.com/office/drawing/2014/main" id="{47E93866-1565-4490-83B6-0936B97E8EB4}"/>
              </a:ext>
            </a:extLst>
          </p:cNvPr>
          <p:cNvSpPr>
            <a:spLocks noChangeAspect="1"/>
          </p:cNvSpPr>
          <p:nvPr userDrawn="1"/>
        </p:nvSpPr>
        <p:spPr>
          <a:xfrm>
            <a:off x="11551919" y="0"/>
            <a:ext cx="640080" cy="536450"/>
          </a:xfrm>
          <a:custGeom>
            <a:avLst/>
            <a:gdLst/>
            <a:ahLst/>
            <a:cxnLst/>
            <a:rect l="l" t="t" r="r" b="b"/>
            <a:pathLst>
              <a:path w="497681" h="434732">
                <a:moveTo>
                  <a:pt x="248841" y="0"/>
                </a:moveTo>
                <a:lnTo>
                  <a:pt x="497681" y="227561"/>
                </a:lnTo>
                <a:lnTo>
                  <a:pt x="408384" y="227561"/>
                </a:lnTo>
                <a:lnTo>
                  <a:pt x="408384" y="434732"/>
                </a:lnTo>
                <a:lnTo>
                  <a:pt x="317897" y="434732"/>
                </a:lnTo>
                <a:lnTo>
                  <a:pt x="317897" y="279932"/>
                </a:lnTo>
                <a:lnTo>
                  <a:pt x="179784" y="279932"/>
                </a:lnTo>
                <a:lnTo>
                  <a:pt x="179784" y="434732"/>
                </a:lnTo>
                <a:lnTo>
                  <a:pt x="89296" y="434732"/>
                </a:lnTo>
                <a:lnTo>
                  <a:pt x="89296" y="227561"/>
                </a:lnTo>
                <a:lnTo>
                  <a:pt x="0" y="227561"/>
                </a:lnTo>
                <a:close/>
              </a:path>
            </a:pathLst>
          </a:custGeom>
          <a:solidFill>
            <a:srgbClr val="0460A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11523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>
            <a:extLst>
              <a:ext uri="{FF2B5EF4-FFF2-40B4-BE49-F238E27FC236}">
                <a16:creationId xmlns:a16="http://schemas.microsoft.com/office/drawing/2014/main" id="{D89A75A4-36AD-9963-2DC5-0922C03BD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115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A6597BE-9C97-1F12-641E-FAE8E538A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4CC60AE-818B-9B03-B6F4-18B3C7B046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67C7A8D-7F8E-A594-BEBD-1826B8F7B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784A238-12E4-A8D8-7A60-2906448791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BC66A86-92A3-E7DA-72D1-38E1ACC6B7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00959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5522C4A-99EC-B367-CA5C-4929AD50B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B483DC8-E013-052B-F795-B367679234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311E04E-82BF-EAF6-B088-9E4C859AED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FB9D4A-088D-B015-BF5A-E6DCB0C4C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F8F3119-8609-2F65-CDD3-9BCF2D3AD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9339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1A689F-FDCA-C215-2DDA-CCEF744CE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9D1E223-75C3-45A4-3EF2-591D3FF46D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9CFE905-70F7-F57F-D6D2-F37C804A32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85D32D8-57F2-B5A5-8BD0-EB0BD3D4B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08576A5-C6FE-0E95-41A5-50926CD1F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C24CB24-2DB0-8F8B-B39E-B61B2022C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369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43060D7-3436-B9F8-D265-196CFDE14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3F9187-6038-9039-8976-6C6A6E62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03B174C0-9B09-E83F-490D-8FF4B9442B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D263E006-E983-C830-1308-164071E5C8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291CA3F0-699F-773A-1CC5-76DA430C122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87D69E70-17A2-8132-1F19-B0A7CF5C5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3E8EEA4-0426-AE08-8F29-E26D07F27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6DF59833-69C8-2D6A-33F5-BE98D0704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51673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7C4EF-6E06-1DCF-E118-E0C3CA655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4F5E286-3E94-F4E2-41B2-1F0523296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BC46546-5F09-4DA5-FDC6-FF6FA037F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04DE22E-4E8A-DEBA-3796-4ACBA1F0A1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9676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34C47D2-A1A5-CCF3-8BF3-A1BF7C64C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B4C08D9D-3F0A-9B60-9670-53CE28646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8B3D1D0D-D794-C8E8-CACC-C77B65512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72921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1C8D81B-4F27-5CD6-D181-F40DA6755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4B2CAC1-85D4-D924-30CE-058CAB3047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80C9F65-5D81-7A7A-62AE-D9CBB1FE1D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E15D419-E203-2BD9-CE98-4120D8AFE1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1C08E6C-F2B2-690F-33AD-8EEAC4029E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DCF66A5-87CE-4F26-7B4B-77EE37EA5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8462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91DBED0-F5E0-B186-FFCB-68429A432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9B923B6-8CD0-9E33-6CF6-360B785A6E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A40544B-FFAB-9B4F-B300-E12C276C4B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2C8F4C0-EBC1-0FF2-C69F-40CD9FC3D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C6F08EB-9366-A88A-A8EF-732FC9026B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E0553F7-7AEB-35D7-9F38-D47B99B8B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26246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4E6F9AA6-B0E6-0A04-D6A0-967A1B423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952CCD7-BB20-4087-5606-43CE163A38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E28DF54-5372-8510-17A1-630AC26A6B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60A952-4673-413F-B304-800CB83B2B0C}" type="datetimeFigureOut">
              <a:rPr lang="cs-CZ" smtClean="0"/>
              <a:t>02.01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A449B79-F462-7DCC-BA1B-2FD32607D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4B82019-3EA6-3DD8-8C2F-253D7B8A53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B58FD3-C36A-43AE-9F52-62D94827C8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57810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pubmed.ncbi.nlm.nih.gov/29561436/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26.svg"/><Relationship Id="rId12" Type="http://schemas.openxmlformats.org/officeDocument/2006/relationships/hyperlink" Target="https://pubmed.ncbi.nlm.nih.gov/8311560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hyperlink" Target="https://pubmed.ncbi.nlm.nih.gov/29751976/" TargetMode="External"/><Relationship Id="rId5" Type="http://schemas.openxmlformats.org/officeDocument/2006/relationships/image" Target="../media/image25.svg"/><Relationship Id="rId10" Type="http://schemas.openxmlformats.org/officeDocument/2006/relationships/hyperlink" Target="https://pubmed.ncbi.nlm.nih.gov/28965938/" TargetMode="External"/><Relationship Id="rId4" Type="http://schemas.openxmlformats.org/officeDocument/2006/relationships/image" Target="../media/image10.png"/><Relationship Id="rId9" Type="http://schemas.openxmlformats.org/officeDocument/2006/relationships/image" Target="../media/image27.svg"/><Relationship Id="rId14" Type="http://schemas.openxmlformats.org/officeDocument/2006/relationships/slide" Target="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s://jamanetwork.com/searchresults?author=Maria+C.+Schneeweiss&amp;q=Maria+C.+Schneeweiss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doi.org/10.1007/s13555-020-00401-y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pubmed.ncbi.nlm.nih.gov/30698627/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12" Type="http://schemas.openxmlformats.org/officeDocument/2006/relationships/hyperlink" Target="https://pubmed.ncbi.nlm.nih.gov/25440440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hyperlink" Target="https://pubmed.ncbi.nlm.nih.gov/22196655/" TargetMode="External"/><Relationship Id="rId5" Type="http://schemas.openxmlformats.org/officeDocument/2006/relationships/image" Target="../media/image11.svg"/><Relationship Id="rId10" Type="http://schemas.openxmlformats.org/officeDocument/2006/relationships/hyperlink" Target="https://pubmed.ncbi.nlm.nih.gov/11405761/" TargetMode="External"/><Relationship Id="rId4" Type="http://schemas.openxmlformats.org/officeDocument/2006/relationships/image" Target="../media/image10.png"/><Relationship Id="rId9" Type="http://schemas.openxmlformats.org/officeDocument/2006/relationships/image" Target="../media/image15.svg"/><Relationship Id="rId14" Type="http://schemas.openxmlformats.org/officeDocument/2006/relationships/slide" Target="slide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ad.org/public/diseases/a-z/hidradenitis-suppurativa-causes" TargetMode="External"/><Relationship Id="rId13" Type="http://schemas.openxmlformats.org/officeDocument/2006/relationships/hyperlink" Target="https://pubmed.ncbi.nlm.nih.gov/29183082/" TargetMode="External"/><Relationship Id="rId3" Type="http://schemas.openxmlformats.org/officeDocument/2006/relationships/image" Target="../media/image4.png"/><Relationship Id="rId7" Type="http://schemas.openxmlformats.org/officeDocument/2006/relationships/hyperlink" Target="https://share.novartis.net/sites/GMAID/blog/Material%20Dermatology/Forms/AllItems.aspx?id=%2Fsites%2FGMAID%2Fblog%2FMaterial%20Dermatology%2FHidradenitis%20Suppurativa%2FReference%20pack%5FHS%20overview%20deck%2FLayton%20A%2E%20Pathology%20of%20Hidradenitis%20suppurativa%5F2006%2Epdf&amp;parent=%2Fsites%2FGMAID%2Fblog%2FMaterial%20Dermatology%2FHidradenitis%20Suppurativa%2FReference%20pack%5FHS%20overview%20deck" TargetMode="External"/><Relationship Id="rId12" Type="http://schemas.openxmlformats.org/officeDocument/2006/relationships/hyperlink" Target="https://pubmed.ncbi.nlm.nih.gov/26470614/" TargetMode="External"/><Relationship Id="rId1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6" Type="http://schemas.openxmlformats.org/officeDocument/2006/relationships/hyperlink" Target="https://pubmed.ncbi.nlm.nih.gov/30120887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ubmed.ncbi.nlm.nih.gov/25640693/" TargetMode="External"/><Relationship Id="rId11" Type="http://schemas.openxmlformats.org/officeDocument/2006/relationships/hyperlink" Target="https://pubmed.ncbi.nlm.nih.gov/29125658/" TargetMode="External"/><Relationship Id="rId5" Type="http://schemas.openxmlformats.org/officeDocument/2006/relationships/image" Target="../media/image6.png"/><Relationship Id="rId15" Type="http://schemas.openxmlformats.org/officeDocument/2006/relationships/hyperlink" Target="https://pubmed.ncbi.nlm.nih.gov/19293006/" TargetMode="External"/><Relationship Id="rId10" Type="http://schemas.openxmlformats.org/officeDocument/2006/relationships/hyperlink" Target="https://pubmed.ncbi.nlm.nih.gov/29094346/" TargetMode="External"/><Relationship Id="rId4" Type="http://schemas.openxmlformats.org/officeDocument/2006/relationships/image" Target="../media/image5.png"/><Relationship Id="rId9" Type="http://schemas.openxmlformats.org/officeDocument/2006/relationships/hyperlink" Target="https://pubmed.ncbi.nlm.nih.gov/32165620/" TargetMode="External"/><Relationship Id="rId14" Type="http://schemas.openxmlformats.org/officeDocument/2006/relationships/hyperlink" Target="https://pubmed.ncbi.nlm.nih.gov/11298541/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pubmed.ncbi.nlm.nih.gov/24909646/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12" Type="http://schemas.openxmlformats.org/officeDocument/2006/relationships/hyperlink" Target="https://pubmed.ncbi.nlm.nih.gov/28736236/" TargetMode="External"/><Relationship Id="rId17" Type="http://schemas.openxmlformats.org/officeDocument/2006/relationships/slide" Target="slide4.xml"/><Relationship Id="rId2" Type="http://schemas.openxmlformats.org/officeDocument/2006/relationships/notesSlide" Target="../notesSlides/notesSlide8.xml"/><Relationship Id="rId16" Type="http://schemas.openxmlformats.org/officeDocument/2006/relationships/hyperlink" Target="https://pubmed.ncbi.nlm.nih.gov/28942360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microsoft.com/office/2007/relationships/hdphoto" Target="../media/hdphoto1.wdp"/><Relationship Id="rId5" Type="http://schemas.openxmlformats.org/officeDocument/2006/relationships/image" Target="../media/image11.svg"/><Relationship Id="rId15" Type="http://schemas.openxmlformats.org/officeDocument/2006/relationships/hyperlink" Target="https://pubmed.ncbi.nlm.nih.gov/29499293/" TargetMode="External"/><Relationship Id="rId10" Type="http://schemas.openxmlformats.org/officeDocument/2006/relationships/image" Target="../media/image45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Relationship Id="rId14" Type="http://schemas.openxmlformats.org/officeDocument/2006/relationships/hyperlink" Target="https://pubmed.ncbi.nlm.nih.gov/22931916/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slide" Target="slide4.xml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12" Type="http://schemas.openxmlformats.org/officeDocument/2006/relationships/hyperlink" Target="https://pubmed.ncbi.nlm.nih.gov/29785760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hyperlink" Target="https://pubmed.ncbi.nlm.nih.gov/29378201/" TargetMode="External"/><Relationship Id="rId5" Type="http://schemas.openxmlformats.org/officeDocument/2006/relationships/image" Target="../media/image11.svg"/><Relationship Id="rId10" Type="http://schemas.openxmlformats.org/officeDocument/2006/relationships/slide" Target="slide20.xml"/><Relationship Id="rId4" Type="http://schemas.openxmlformats.org/officeDocument/2006/relationships/image" Target="../media/image10.png"/><Relationship Id="rId9" Type="http://schemas.openxmlformats.org/officeDocument/2006/relationships/image" Target="../media/image15.svg"/><Relationship Id="rId1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share.novartis.net/:p:/r/sites/GMAID/blog/_layouts/15/Doc.aspx?sourcedoc=%7B1F4D8D76-808C-4166-9E06-446EC3A2D7F9%7D&amp;file=Muscianisi%20E%2C%20et%20al.%20SHSA.%202021..pptx&amp;action=edit&amp;mobileredirect=true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5.xml"/><Relationship Id="rId5" Type="http://schemas.openxmlformats.org/officeDocument/2006/relationships/image" Target="../media/image50.png"/><Relationship Id="rId4" Type="http://schemas.openxmlformats.org/officeDocument/2006/relationships/hyperlink" Target="https://share.novartis.net/:p:/r/sites/GMAID/blog/_layouts/15/Doc.aspx?sourcedoc=%7BAB975B9F-B371-4CDD-8E2E-77194572B097%7D&amp;file=Kimball%20AB%2C%20et%20al.%20SHSA_2020_Poster_Core%20study.pptx&amp;action=edit&amp;mobileredirect=true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51.png"/><Relationship Id="rId4" Type="http://schemas.openxmlformats.org/officeDocument/2006/relationships/chart" Target="../charts/char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51.png"/><Relationship Id="rId4" Type="http://schemas.openxmlformats.org/officeDocument/2006/relationships/chart" Target="../charts/char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51.png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4.xml"/><Relationship Id="rId3" Type="http://schemas.openxmlformats.org/officeDocument/2006/relationships/hyperlink" Target="https://pubmed.ncbi.nlm.nih.gov/11298541/" TargetMode="External"/><Relationship Id="rId7" Type="http://schemas.openxmlformats.org/officeDocument/2006/relationships/hyperlink" Target="https://pubmed.ncbi.nlm.nih.gov/25214437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ubmed.ncbi.nlm.nih.gov/20227585/" TargetMode="External"/><Relationship Id="rId5" Type="http://schemas.openxmlformats.org/officeDocument/2006/relationships/hyperlink" Target="https://pubmed.ncbi.nlm.nih.gov/28971209/" TargetMode="External"/><Relationship Id="rId4" Type="http://schemas.openxmlformats.org/officeDocument/2006/relationships/hyperlink" Target="https://pubmed.ncbi.nlm.nih.gov/19293006/" TargetMode="External"/><Relationship Id="rId9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4" Type="http://schemas.openxmlformats.org/officeDocument/2006/relationships/image" Target="../media/image55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56.png"/><Relationship Id="rId5" Type="http://schemas.openxmlformats.org/officeDocument/2006/relationships/image" Target="../media/image5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login.medscape.com/login/sso/getlogin?wcode=102&amp;client=213312&amp;urlCache=aHR0cHM6Ly93d3cubWRlZGdlLmNvbS9pbnRlcm5hbG1lZGljaW5lL2FydGljbGUvNTY0ODgvZW5kb2NyaW5vbG9neS9ldmlkZW5jZS1saW5rcy1oaWRyYWRlbml0aXMtc3VwcHVyYXRpdmEtbWV0YWJvbGlj" TargetMode="External"/><Relationship Id="rId18" Type="http://schemas.openxmlformats.org/officeDocument/2006/relationships/hyperlink" Target="https://pubmed.ncbi.nlm.nih.gov/29378201/" TargetMode="External"/><Relationship Id="rId3" Type="http://schemas.openxmlformats.org/officeDocument/2006/relationships/image" Target="../media/image9.png"/><Relationship Id="rId21" Type="http://schemas.openxmlformats.org/officeDocument/2006/relationships/hyperlink" Target="https://www.healthline.com/health/metabolic-syndrome" TargetMode="External"/><Relationship Id="rId7" Type="http://schemas.openxmlformats.org/officeDocument/2006/relationships/image" Target="../media/image13.svg"/><Relationship Id="rId12" Type="http://schemas.openxmlformats.org/officeDocument/2006/relationships/hyperlink" Target="https://pubmed.ncbi.nlm.nih.gov/31279015/" TargetMode="External"/><Relationship Id="rId17" Type="http://schemas.openxmlformats.org/officeDocument/2006/relationships/hyperlink" Target="https://pubmed.ncbi.nlm.nih.gov/30872156/" TargetMode="External"/><Relationship Id="rId2" Type="http://schemas.openxmlformats.org/officeDocument/2006/relationships/notesSlide" Target="../notesSlides/notesSlide3.xml"/><Relationship Id="rId16" Type="http://schemas.openxmlformats.org/officeDocument/2006/relationships/hyperlink" Target="https://pubmed.ncbi.nlm.nih.gov/29589641/" TargetMode="External"/><Relationship Id="rId20" Type="http://schemas.openxmlformats.org/officeDocument/2006/relationships/hyperlink" Target="https://pubmed.ncbi.nlm.nih.gov/28089682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hyperlink" Target="https://pubmed.ncbi.nlm.nih.gov/31955366/" TargetMode="External"/><Relationship Id="rId5" Type="http://schemas.openxmlformats.org/officeDocument/2006/relationships/image" Target="../media/image11.svg"/><Relationship Id="rId15" Type="http://schemas.openxmlformats.org/officeDocument/2006/relationships/hyperlink" Target="https://pubmed.ncbi.nlm.nih.gov/30554892/" TargetMode="External"/><Relationship Id="rId10" Type="http://schemas.openxmlformats.org/officeDocument/2006/relationships/hyperlink" Target="https://pubmed.ncbi.nlm.nih.gov/31909152/" TargetMode="External"/><Relationship Id="rId19" Type="http://schemas.openxmlformats.org/officeDocument/2006/relationships/hyperlink" Target="https://pubmed.ncbi.nlm.nih.gov/27239107/" TargetMode="External"/><Relationship Id="rId4" Type="http://schemas.openxmlformats.org/officeDocument/2006/relationships/image" Target="../media/image10.png"/><Relationship Id="rId9" Type="http://schemas.openxmlformats.org/officeDocument/2006/relationships/image" Target="../media/image15.svg"/><Relationship Id="rId14" Type="http://schemas.openxmlformats.org/officeDocument/2006/relationships/hyperlink" Target="https://pubmed.ncbi.nlm.nih.gov/31166590/" TargetMode="External"/><Relationship Id="rId22" Type="http://schemas.openxmlformats.org/officeDocument/2006/relationships/slide" Target="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pubmed.ncbi.nlm.nih.gov/25229996/" TargetMode="External"/><Relationship Id="rId18" Type="http://schemas.openxmlformats.org/officeDocument/2006/relationships/slide" Target="slide4.xml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12" Type="http://schemas.openxmlformats.org/officeDocument/2006/relationships/hyperlink" Target="https://pubmed.ncbi.nlm.nih.gov/22359634/" TargetMode="External"/><Relationship Id="rId17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6" Type="http://schemas.openxmlformats.org/officeDocument/2006/relationships/hyperlink" Target="https://pubmed.ncbi.nlm.nih.gov/32500484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hyperlink" Target="https://pubmed.ncbi.nlm.nih.gov/25654080/" TargetMode="External"/><Relationship Id="rId5" Type="http://schemas.openxmlformats.org/officeDocument/2006/relationships/image" Target="../media/image11.svg"/><Relationship Id="rId15" Type="http://schemas.openxmlformats.org/officeDocument/2006/relationships/hyperlink" Target="https://pubmed.ncbi.nlm.nih.gov/26885728/" TargetMode="External"/><Relationship Id="rId10" Type="http://schemas.openxmlformats.org/officeDocument/2006/relationships/hyperlink" Target="https://pubmed.ncbi.nlm.nih.gov/24433875/" TargetMode="External"/><Relationship Id="rId4" Type="http://schemas.openxmlformats.org/officeDocument/2006/relationships/image" Target="../media/image10.png"/><Relationship Id="rId9" Type="http://schemas.openxmlformats.org/officeDocument/2006/relationships/image" Target="../media/image15.svg"/><Relationship Id="rId14" Type="http://schemas.openxmlformats.org/officeDocument/2006/relationships/hyperlink" Target="https://pubmed.ncbi.nlm.nih.gov/29300768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pubmed.ncbi.nlm.nih.gov/31093736/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12" Type="http://schemas.openxmlformats.org/officeDocument/2006/relationships/hyperlink" Target="https://pubmed.ncbi.nlm.nih.gov/29800049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hyperlink" Target="https://pubmed.ncbi.nlm.nih.gov/28089682/" TargetMode="External"/><Relationship Id="rId5" Type="http://schemas.openxmlformats.org/officeDocument/2006/relationships/image" Target="../media/image11.svg"/><Relationship Id="rId10" Type="http://schemas.openxmlformats.org/officeDocument/2006/relationships/hyperlink" Target="https://pubmed.ncbi.nlm.nih.gov/29431201/" TargetMode="External"/><Relationship Id="rId4" Type="http://schemas.openxmlformats.org/officeDocument/2006/relationships/image" Target="../media/image10.png"/><Relationship Id="rId9" Type="http://schemas.openxmlformats.org/officeDocument/2006/relationships/image" Target="../media/image15.svg"/><Relationship Id="rId14" Type="http://schemas.openxmlformats.org/officeDocument/2006/relationships/slide" Target="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48077C6B-5869-0A0B-D2BA-F923CEFE3B80}"/>
              </a:ext>
            </a:extLst>
          </p:cNvPr>
          <p:cNvSpPr txBox="1"/>
          <p:nvPr/>
        </p:nvSpPr>
        <p:spPr>
          <a:xfrm>
            <a:off x="5393603" y="1673291"/>
            <a:ext cx="5726978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dradenitis suppurativa </a:t>
            </a:r>
            <a:r>
              <a:rPr lang="en-US" sz="4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</a:t>
            </a: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jení</a:t>
            </a: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 </a:t>
            </a:r>
            <a:r>
              <a:rPr lang="en-US" sz="4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orbiditami</a:t>
            </a:r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DBABF66-48D7-DE99-6551-8B1DA5270AD7}"/>
              </a:ext>
            </a:extLst>
          </p:cNvPr>
          <p:cNvSpPr txBox="1"/>
          <p:nvPr/>
        </p:nvSpPr>
        <p:spPr>
          <a:xfrm>
            <a:off x="5393603" y="3966226"/>
            <a:ext cx="643625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. MUDr. </a:t>
            </a:r>
            <a:r>
              <a:rPr lang="en-US" sz="2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iří</a:t>
            </a:r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ražďovský</a:t>
            </a:r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h.D.</a:t>
            </a:r>
            <a:r>
              <a:rPr lang="cs-CZ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F86A06F8-04F7-BF27-5313-265511EA5331}"/>
              </a:ext>
            </a:extLst>
          </p:cNvPr>
          <p:cNvSpPr txBox="1"/>
          <p:nvPr/>
        </p:nvSpPr>
        <p:spPr>
          <a:xfrm>
            <a:off x="5393603" y="4644280"/>
            <a:ext cx="64362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žní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dělení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ocnice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eské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ějovice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s.</a:t>
            </a:r>
            <a:endParaRPr lang="cs-CZ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Obrázek 9" descr="Obsah obrázku text&#10;&#10;Popis byl vytvořen automaticky">
            <a:extLst>
              <a:ext uri="{FF2B5EF4-FFF2-40B4-BE49-F238E27FC236}">
                <a16:creationId xmlns:a16="http://schemas.microsoft.com/office/drawing/2014/main" id="{41C3C96A-9D7F-91E2-54DA-4A7BB2EF61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82" y="6038989"/>
            <a:ext cx="3423727" cy="640237"/>
          </a:xfrm>
          <a:prstGeom prst="rect">
            <a:avLst/>
          </a:prstGeom>
        </p:spPr>
      </p:pic>
      <p:sp>
        <p:nvSpPr>
          <p:cNvPr id="2" name="TextovéPole 6">
            <a:extLst>
              <a:ext uri="{FF2B5EF4-FFF2-40B4-BE49-F238E27FC236}">
                <a16:creationId xmlns:a16="http://schemas.microsoft.com/office/drawing/2014/main" id="{57C292CF-89E3-1E7D-861B-FD4754286996}"/>
              </a:ext>
            </a:extLst>
          </p:cNvPr>
          <p:cNvSpPr txBox="1"/>
          <p:nvPr/>
        </p:nvSpPr>
        <p:spPr>
          <a:xfrm>
            <a:off x="986125" y="5013612"/>
            <a:ext cx="26646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400" dirty="0">
                <a:solidFill>
                  <a:schemeClr val="accent6">
                    <a:lumMod val="75000"/>
                  </a:schemeClr>
                </a:solidFill>
                <a:effectLst/>
              </a:rPr>
              <a:t>NH hotel Prague • Mozartova 1</a:t>
            </a:r>
            <a:br>
              <a:rPr lang="pt-BR" sz="14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pt-BR" sz="1400" dirty="0">
                <a:solidFill>
                  <a:schemeClr val="accent6">
                    <a:lumMod val="75000"/>
                  </a:schemeClr>
                </a:solidFill>
                <a:effectLst/>
              </a:rPr>
              <a:t>5. – 6. ledna 2024</a:t>
            </a:r>
            <a:endParaRPr lang="cs-CZ" sz="1400" dirty="0">
              <a:solidFill>
                <a:schemeClr val="accent6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0401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380B0D7-EA28-2B67-C10E-E708F54E2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3090" y="365125"/>
            <a:ext cx="10060709" cy="1325563"/>
          </a:xfrm>
        </p:spPr>
        <p:txBody>
          <a:bodyPr>
            <a:normAutofit/>
          </a:bodyPr>
          <a:lstStyle/>
          <a:p>
            <a:r>
              <a:rPr lang="cs-CZ" sz="3600" b="1" dirty="0"/>
              <a:t>Spojení HS a chronických zánětlivých onemocnění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7181F2E6-E9C1-175E-5C4D-1998964CE3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6072" y="1867179"/>
            <a:ext cx="8892279" cy="4642556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34783221-E8A5-EC47-CD47-02625A226C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7299" y="3882073"/>
            <a:ext cx="2510138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927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95"/>
          <p:cNvSpPr/>
          <p:nvPr/>
        </p:nvSpPr>
        <p:spPr>
          <a:xfrm>
            <a:off x="779243" y="1803401"/>
            <a:ext cx="10599957" cy="61555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tIns="121920" rIns="121920" bIns="121920">
            <a:spAutoFit/>
          </a:bodyPr>
          <a:lstStyle/>
          <a:p>
            <a:pPr algn="ctr"/>
            <a:r>
              <a:rPr lang="en-US" sz="2400" b="1" dirty="0">
                <a:solidFill>
                  <a:srgbClr val="0460A9"/>
                </a:solidFill>
              </a:rPr>
              <a:t>Pacienti s </a:t>
            </a:r>
            <a:r>
              <a:rPr lang="en-US" sz="2400" b="1" dirty="0">
                <a:solidFill>
                  <a:srgbClr val="2568B9"/>
                </a:solidFill>
              </a:rPr>
              <a:t>HS mají zvýšené </a:t>
            </a:r>
            <a:r>
              <a:rPr lang="en-US" sz="2400" b="1" dirty="0">
                <a:solidFill>
                  <a:srgbClr val="0460A9"/>
                </a:solidFill>
              </a:rPr>
              <a:t>riziko spondyloartritidy.</a:t>
            </a:r>
            <a:r>
              <a:rPr lang="en-US" sz="2400" b="1" baseline="30000" dirty="0">
                <a:solidFill>
                  <a:srgbClr val="0460A9"/>
                </a:solidFill>
              </a:rPr>
              <a:t>1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74847" y="88366"/>
            <a:ext cx="667725" cy="595836"/>
            <a:chOff x="2942087" y="1851188"/>
            <a:chExt cx="1066800" cy="990600"/>
          </a:xfrm>
        </p:grpSpPr>
        <p:sp>
          <p:nvSpPr>
            <p:cNvPr id="50" name="Oval 49"/>
            <p:cNvSpPr/>
            <p:nvPr/>
          </p:nvSpPr>
          <p:spPr>
            <a:xfrm>
              <a:off x="2942087" y="1851188"/>
              <a:ext cx="1066800" cy="9906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  <a:reflection stA="45000" endPos="0" dist="508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51" name="Oval 50"/>
            <p:cNvSpPr/>
            <p:nvPr/>
          </p:nvSpPr>
          <p:spPr>
            <a:xfrm>
              <a:off x="3431488" y="2333535"/>
              <a:ext cx="27432" cy="274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13536" y="2334422"/>
              <a:ext cx="8313" cy="8313"/>
            </a:xfrm>
            <a:prstGeom prst="ellipse">
              <a:avLst/>
            </a:prstGeom>
            <a:solidFill>
              <a:schemeClr val="bg1"/>
            </a:solidFill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07959" y="2275246"/>
              <a:ext cx="54864" cy="54864"/>
            </a:xfrm>
            <a:prstGeom prst="ellipse">
              <a:avLst/>
            </a:prstGeom>
            <a:solidFill>
              <a:schemeClr val="bg1"/>
            </a:solidFill>
          </p:spPr>
        </p:pic>
      </p:grpSp>
      <p:grpSp>
        <p:nvGrpSpPr>
          <p:cNvPr id="54" name="Group 53"/>
          <p:cNvGrpSpPr/>
          <p:nvPr/>
        </p:nvGrpSpPr>
        <p:grpSpPr>
          <a:xfrm>
            <a:off x="285959" y="170929"/>
            <a:ext cx="423484" cy="434487"/>
            <a:chOff x="3059641" y="1714790"/>
            <a:chExt cx="842159" cy="838631"/>
          </a:xfrm>
        </p:grpSpPr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3367176" y="2144320"/>
              <a:ext cx="225423" cy="409101"/>
            </a:xfrm>
            <a:custGeom>
              <a:avLst/>
              <a:gdLst>
                <a:gd name="T0" fmla="*/ 31 w 135"/>
                <a:gd name="T1" fmla="*/ 136 h 245"/>
                <a:gd name="T2" fmla="*/ 31 w 135"/>
                <a:gd name="T3" fmla="*/ 43 h 245"/>
                <a:gd name="T4" fmla="*/ 31 w 135"/>
                <a:gd name="T5" fmla="*/ 40 h 245"/>
                <a:gd name="T6" fmla="*/ 28 w 135"/>
                <a:gd name="T7" fmla="*/ 37 h 245"/>
                <a:gd name="T8" fmla="*/ 25 w 135"/>
                <a:gd name="T9" fmla="*/ 40 h 245"/>
                <a:gd name="T10" fmla="*/ 25 w 135"/>
                <a:gd name="T11" fmla="*/ 45 h 245"/>
                <a:gd name="T12" fmla="*/ 25 w 135"/>
                <a:gd name="T13" fmla="*/ 116 h 245"/>
                <a:gd name="T14" fmla="*/ 21 w 135"/>
                <a:gd name="T15" fmla="*/ 126 h 245"/>
                <a:gd name="T16" fmla="*/ 8 w 135"/>
                <a:gd name="T17" fmla="*/ 129 h 245"/>
                <a:gd name="T18" fmla="*/ 0 w 135"/>
                <a:gd name="T19" fmla="*/ 118 h 245"/>
                <a:gd name="T20" fmla="*/ 0 w 135"/>
                <a:gd name="T21" fmla="*/ 33 h 245"/>
                <a:gd name="T22" fmla="*/ 33 w 135"/>
                <a:gd name="T23" fmla="*/ 0 h 245"/>
                <a:gd name="T24" fmla="*/ 102 w 135"/>
                <a:gd name="T25" fmla="*/ 0 h 245"/>
                <a:gd name="T26" fmla="*/ 134 w 135"/>
                <a:gd name="T27" fmla="*/ 34 h 245"/>
                <a:gd name="T28" fmla="*/ 134 w 135"/>
                <a:gd name="T29" fmla="*/ 117 h 245"/>
                <a:gd name="T30" fmla="*/ 122 w 135"/>
                <a:gd name="T31" fmla="*/ 129 h 245"/>
                <a:gd name="T32" fmla="*/ 110 w 135"/>
                <a:gd name="T33" fmla="*/ 117 h 245"/>
                <a:gd name="T34" fmla="*/ 110 w 135"/>
                <a:gd name="T35" fmla="*/ 53 h 245"/>
                <a:gd name="T36" fmla="*/ 110 w 135"/>
                <a:gd name="T37" fmla="*/ 41 h 245"/>
                <a:gd name="T38" fmla="*/ 107 w 135"/>
                <a:gd name="T39" fmla="*/ 37 h 245"/>
                <a:gd name="T40" fmla="*/ 104 w 135"/>
                <a:gd name="T41" fmla="*/ 41 h 245"/>
                <a:gd name="T42" fmla="*/ 104 w 135"/>
                <a:gd name="T43" fmla="*/ 143 h 245"/>
                <a:gd name="T44" fmla="*/ 104 w 135"/>
                <a:gd name="T45" fmla="*/ 230 h 245"/>
                <a:gd name="T46" fmla="*/ 89 w 135"/>
                <a:gd name="T47" fmla="*/ 245 h 245"/>
                <a:gd name="T48" fmla="*/ 73 w 135"/>
                <a:gd name="T49" fmla="*/ 230 h 245"/>
                <a:gd name="T50" fmla="*/ 73 w 135"/>
                <a:gd name="T51" fmla="*/ 139 h 245"/>
                <a:gd name="T52" fmla="*/ 73 w 135"/>
                <a:gd name="T53" fmla="*/ 135 h 245"/>
                <a:gd name="T54" fmla="*/ 67 w 135"/>
                <a:gd name="T55" fmla="*/ 128 h 245"/>
                <a:gd name="T56" fmla="*/ 61 w 135"/>
                <a:gd name="T57" fmla="*/ 135 h 245"/>
                <a:gd name="T58" fmla="*/ 61 w 135"/>
                <a:gd name="T59" fmla="*/ 168 h 245"/>
                <a:gd name="T60" fmla="*/ 61 w 135"/>
                <a:gd name="T61" fmla="*/ 229 h 245"/>
                <a:gd name="T62" fmla="*/ 46 w 135"/>
                <a:gd name="T63" fmla="*/ 245 h 245"/>
                <a:gd name="T64" fmla="*/ 31 w 135"/>
                <a:gd name="T65" fmla="*/ 229 h 245"/>
                <a:gd name="T66" fmla="*/ 31 w 135"/>
                <a:gd name="T67" fmla="*/ 13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5" h="245">
                  <a:moveTo>
                    <a:pt x="31" y="136"/>
                  </a:moveTo>
                  <a:cubicBezTo>
                    <a:pt x="31" y="105"/>
                    <a:pt x="31" y="74"/>
                    <a:pt x="31" y="43"/>
                  </a:cubicBezTo>
                  <a:cubicBezTo>
                    <a:pt x="31" y="42"/>
                    <a:pt x="31" y="41"/>
                    <a:pt x="31" y="40"/>
                  </a:cubicBezTo>
                  <a:cubicBezTo>
                    <a:pt x="30" y="39"/>
                    <a:pt x="29" y="37"/>
                    <a:pt x="28" y="37"/>
                  </a:cubicBezTo>
                  <a:cubicBezTo>
                    <a:pt x="27" y="37"/>
                    <a:pt x="25" y="39"/>
                    <a:pt x="25" y="40"/>
                  </a:cubicBezTo>
                  <a:cubicBezTo>
                    <a:pt x="24" y="42"/>
                    <a:pt x="25" y="43"/>
                    <a:pt x="25" y="45"/>
                  </a:cubicBezTo>
                  <a:cubicBezTo>
                    <a:pt x="25" y="69"/>
                    <a:pt x="24" y="92"/>
                    <a:pt x="25" y="116"/>
                  </a:cubicBezTo>
                  <a:cubicBezTo>
                    <a:pt x="25" y="120"/>
                    <a:pt x="24" y="123"/>
                    <a:pt x="21" y="126"/>
                  </a:cubicBezTo>
                  <a:cubicBezTo>
                    <a:pt x="17" y="130"/>
                    <a:pt x="13" y="130"/>
                    <a:pt x="8" y="129"/>
                  </a:cubicBezTo>
                  <a:cubicBezTo>
                    <a:pt x="3" y="127"/>
                    <a:pt x="0" y="123"/>
                    <a:pt x="0" y="118"/>
                  </a:cubicBezTo>
                  <a:cubicBezTo>
                    <a:pt x="0" y="89"/>
                    <a:pt x="0" y="61"/>
                    <a:pt x="0" y="33"/>
                  </a:cubicBezTo>
                  <a:cubicBezTo>
                    <a:pt x="0" y="16"/>
                    <a:pt x="16" y="1"/>
                    <a:pt x="33" y="0"/>
                  </a:cubicBezTo>
                  <a:cubicBezTo>
                    <a:pt x="56" y="0"/>
                    <a:pt x="79" y="0"/>
                    <a:pt x="102" y="0"/>
                  </a:cubicBezTo>
                  <a:cubicBezTo>
                    <a:pt x="119" y="1"/>
                    <a:pt x="134" y="16"/>
                    <a:pt x="134" y="34"/>
                  </a:cubicBezTo>
                  <a:cubicBezTo>
                    <a:pt x="135" y="62"/>
                    <a:pt x="135" y="89"/>
                    <a:pt x="134" y="117"/>
                  </a:cubicBezTo>
                  <a:cubicBezTo>
                    <a:pt x="134" y="124"/>
                    <a:pt x="129" y="129"/>
                    <a:pt x="122" y="129"/>
                  </a:cubicBezTo>
                  <a:cubicBezTo>
                    <a:pt x="116" y="129"/>
                    <a:pt x="110" y="124"/>
                    <a:pt x="110" y="117"/>
                  </a:cubicBezTo>
                  <a:cubicBezTo>
                    <a:pt x="110" y="96"/>
                    <a:pt x="110" y="74"/>
                    <a:pt x="110" y="53"/>
                  </a:cubicBezTo>
                  <a:cubicBezTo>
                    <a:pt x="110" y="49"/>
                    <a:pt x="110" y="45"/>
                    <a:pt x="110" y="41"/>
                  </a:cubicBezTo>
                  <a:cubicBezTo>
                    <a:pt x="110" y="39"/>
                    <a:pt x="110" y="37"/>
                    <a:pt x="107" y="37"/>
                  </a:cubicBezTo>
                  <a:cubicBezTo>
                    <a:pt x="104" y="37"/>
                    <a:pt x="104" y="39"/>
                    <a:pt x="104" y="41"/>
                  </a:cubicBezTo>
                  <a:cubicBezTo>
                    <a:pt x="104" y="75"/>
                    <a:pt x="104" y="109"/>
                    <a:pt x="104" y="143"/>
                  </a:cubicBezTo>
                  <a:cubicBezTo>
                    <a:pt x="104" y="172"/>
                    <a:pt x="104" y="201"/>
                    <a:pt x="104" y="230"/>
                  </a:cubicBezTo>
                  <a:cubicBezTo>
                    <a:pt x="104" y="238"/>
                    <a:pt x="97" y="245"/>
                    <a:pt x="89" y="245"/>
                  </a:cubicBezTo>
                  <a:cubicBezTo>
                    <a:pt x="80" y="245"/>
                    <a:pt x="73" y="238"/>
                    <a:pt x="73" y="230"/>
                  </a:cubicBezTo>
                  <a:cubicBezTo>
                    <a:pt x="73" y="199"/>
                    <a:pt x="73" y="169"/>
                    <a:pt x="73" y="139"/>
                  </a:cubicBezTo>
                  <a:cubicBezTo>
                    <a:pt x="73" y="137"/>
                    <a:pt x="73" y="136"/>
                    <a:pt x="73" y="135"/>
                  </a:cubicBezTo>
                  <a:cubicBezTo>
                    <a:pt x="73" y="131"/>
                    <a:pt x="71" y="128"/>
                    <a:pt x="67" y="128"/>
                  </a:cubicBezTo>
                  <a:cubicBezTo>
                    <a:pt x="64" y="128"/>
                    <a:pt x="61" y="131"/>
                    <a:pt x="61" y="135"/>
                  </a:cubicBezTo>
                  <a:cubicBezTo>
                    <a:pt x="61" y="146"/>
                    <a:pt x="61" y="157"/>
                    <a:pt x="61" y="168"/>
                  </a:cubicBezTo>
                  <a:cubicBezTo>
                    <a:pt x="61" y="188"/>
                    <a:pt x="61" y="209"/>
                    <a:pt x="61" y="229"/>
                  </a:cubicBezTo>
                  <a:cubicBezTo>
                    <a:pt x="61" y="238"/>
                    <a:pt x="55" y="245"/>
                    <a:pt x="46" y="245"/>
                  </a:cubicBezTo>
                  <a:cubicBezTo>
                    <a:pt x="37" y="245"/>
                    <a:pt x="31" y="238"/>
                    <a:pt x="31" y="229"/>
                  </a:cubicBezTo>
                  <a:cubicBezTo>
                    <a:pt x="31" y="198"/>
                    <a:pt x="31" y="167"/>
                    <a:pt x="31" y="136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3438094" y="2038350"/>
              <a:ext cx="81105" cy="82297"/>
            </a:xfrm>
            <a:custGeom>
              <a:avLst/>
              <a:gdLst>
                <a:gd name="T0" fmla="*/ 49 w 49"/>
                <a:gd name="T1" fmla="*/ 25 h 49"/>
                <a:gd name="T2" fmla="*/ 24 w 49"/>
                <a:gd name="T3" fmla="*/ 49 h 49"/>
                <a:gd name="T4" fmla="*/ 0 w 49"/>
                <a:gd name="T5" fmla="*/ 24 h 49"/>
                <a:gd name="T6" fmla="*/ 25 w 49"/>
                <a:gd name="T7" fmla="*/ 0 h 49"/>
                <a:gd name="T8" fmla="*/ 49 w 49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25"/>
                  </a:moveTo>
                  <a:cubicBezTo>
                    <a:pt x="49" y="38"/>
                    <a:pt x="38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57" name="Graphic 62" descr="Network">
              <a:extLst>
                <a:ext uri="{FF2B5EF4-FFF2-40B4-BE49-F238E27FC236}">
                  <a16:creationId xmlns:a16="http://schemas.microsoft.com/office/drawing/2014/main" id="{2B168095-83EF-417A-AA54-9CC537B5F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7130" y="2167078"/>
              <a:ext cx="134346" cy="134346"/>
            </a:xfrm>
            <a:prstGeom prst="rect">
              <a:avLst/>
            </a:prstGeom>
          </p:spPr>
        </p:pic>
        <p:grpSp>
          <p:nvGrpSpPr>
            <p:cNvPr id="58" name="Group 57"/>
            <p:cNvGrpSpPr/>
            <p:nvPr/>
          </p:nvGrpSpPr>
          <p:grpSpPr>
            <a:xfrm>
              <a:off x="3080859" y="1849909"/>
              <a:ext cx="240001" cy="251310"/>
              <a:chOff x="3037091" y="1854615"/>
              <a:chExt cx="240001" cy="251310"/>
            </a:xfrm>
          </p:grpSpPr>
          <p:grpSp>
            <p:nvGrpSpPr>
              <p:cNvPr id="72" name="Graphic 226">
                <a:extLst>
                  <a:ext uri="{FF2B5EF4-FFF2-40B4-BE49-F238E27FC236}">
                    <a16:creationId xmlns:a16="http://schemas.microsoft.com/office/drawing/2014/main" id="{526FC5E6-4062-BF4C-8C4B-E04DFD843677}"/>
                  </a:ext>
                </a:extLst>
              </p:cNvPr>
              <p:cNvGrpSpPr/>
              <p:nvPr/>
            </p:nvGrpSpPr>
            <p:grpSpPr>
              <a:xfrm>
                <a:off x="3086322" y="1870054"/>
                <a:ext cx="132975" cy="211020"/>
                <a:chOff x="5919787" y="3124200"/>
                <a:chExt cx="352425" cy="609600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81" name="Freeform: Shape 228">
                  <a:extLst>
                    <a:ext uri="{FF2B5EF4-FFF2-40B4-BE49-F238E27FC236}">
                      <a16:creationId xmlns:a16="http://schemas.microsoft.com/office/drawing/2014/main" id="{AD78A312-3E01-E046-A249-F6F83622510A}"/>
                    </a:ext>
                  </a:extLst>
                </p:cNvPr>
                <p:cNvSpPr/>
                <p:nvPr/>
              </p:nvSpPr>
              <p:spPr>
                <a:xfrm>
                  <a:off x="5912639" y="3245442"/>
                  <a:ext cx="361950" cy="485775"/>
                </a:xfrm>
                <a:custGeom>
                  <a:avLst/>
                  <a:gdLst>
                    <a:gd name="connsiteX0" fmla="*/ 196124 w 361950"/>
                    <a:gd name="connsiteY0" fmla="*/ 270616 h 485775"/>
                    <a:gd name="connsiteX1" fmla="*/ 185170 w 361950"/>
                    <a:gd name="connsiteY1" fmla="*/ 270616 h 485775"/>
                    <a:gd name="connsiteX2" fmla="*/ 184599 w 361950"/>
                    <a:gd name="connsiteY2" fmla="*/ 277569 h 485775"/>
                    <a:gd name="connsiteX3" fmla="*/ 184504 w 361950"/>
                    <a:gd name="connsiteY3" fmla="*/ 453496 h 485775"/>
                    <a:gd name="connsiteX4" fmla="*/ 157929 w 361950"/>
                    <a:gd name="connsiteY4" fmla="*/ 485310 h 485775"/>
                    <a:gd name="connsiteX5" fmla="*/ 131354 w 361950"/>
                    <a:gd name="connsiteY5" fmla="*/ 462259 h 485775"/>
                    <a:gd name="connsiteX6" fmla="*/ 111637 w 361950"/>
                    <a:gd name="connsiteY6" fmla="*/ 345387 h 485775"/>
                    <a:gd name="connsiteX7" fmla="*/ 87730 w 361950"/>
                    <a:gd name="connsiteY7" fmla="*/ 203751 h 485775"/>
                    <a:gd name="connsiteX8" fmla="*/ 74395 w 361950"/>
                    <a:gd name="connsiteY8" fmla="*/ 162793 h 485775"/>
                    <a:gd name="connsiteX9" fmla="*/ 57726 w 361950"/>
                    <a:gd name="connsiteY9" fmla="*/ 195654 h 485775"/>
                    <a:gd name="connsiteX10" fmla="*/ 21531 w 361950"/>
                    <a:gd name="connsiteY10" fmla="*/ 207084 h 485775"/>
                    <a:gd name="connsiteX11" fmla="*/ 10768 w 361950"/>
                    <a:gd name="connsiteY11" fmla="*/ 171461 h 485775"/>
                    <a:gd name="connsiteX12" fmla="*/ 74299 w 361950"/>
                    <a:gd name="connsiteY12" fmla="*/ 49065 h 485775"/>
                    <a:gd name="connsiteX13" fmla="*/ 142022 w 361950"/>
                    <a:gd name="connsiteY13" fmla="*/ 7250 h 485775"/>
                    <a:gd name="connsiteX14" fmla="*/ 234605 w 361950"/>
                    <a:gd name="connsiteY14" fmla="*/ 7155 h 485775"/>
                    <a:gd name="connsiteX15" fmla="*/ 292136 w 361950"/>
                    <a:gd name="connsiteY15" fmla="*/ 37730 h 485775"/>
                    <a:gd name="connsiteX16" fmla="*/ 333665 w 361950"/>
                    <a:gd name="connsiteY16" fmla="*/ 114978 h 485775"/>
                    <a:gd name="connsiteX17" fmla="*/ 358144 w 361950"/>
                    <a:gd name="connsiteY17" fmla="*/ 162603 h 485775"/>
                    <a:gd name="connsiteX18" fmla="*/ 362240 w 361950"/>
                    <a:gd name="connsiteY18" fmla="*/ 183367 h 485775"/>
                    <a:gd name="connsiteX19" fmla="*/ 342619 w 361950"/>
                    <a:gd name="connsiteY19" fmla="*/ 206799 h 485775"/>
                    <a:gd name="connsiteX20" fmla="*/ 316520 w 361950"/>
                    <a:gd name="connsiteY20" fmla="*/ 190892 h 485775"/>
                    <a:gd name="connsiteX21" fmla="*/ 301947 w 361950"/>
                    <a:gd name="connsiteY21" fmla="*/ 161269 h 485775"/>
                    <a:gd name="connsiteX22" fmla="*/ 301852 w 361950"/>
                    <a:gd name="connsiteY22" fmla="*/ 161174 h 485775"/>
                    <a:gd name="connsiteX23" fmla="*/ 287278 w 361950"/>
                    <a:gd name="connsiteY23" fmla="*/ 220896 h 485775"/>
                    <a:gd name="connsiteX24" fmla="*/ 248988 w 361950"/>
                    <a:gd name="connsiteY24" fmla="*/ 460640 h 485775"/>
                    <a:gd name="connsiteX25" fmla="*/ 221461 w 361950"/>
                    <a:gd name="connsiteY25" fmla="*/ 485214 h 485775"/>
                    <a:gd name="connsiteX26" fmla="*/ 196124 w 361950"/>
                    <a:gd name="connsiteY26" fmla="*/ 458449 h 485775"/>
                    <a:gd name="connsiteX27" fmla="*/ 196219 w 361950"/>
                    <a:gd name="connsiteY27" fmla="*/ 284808 h 485775"/>
                    <a:gd name="connsiteX28" fmla="*/ 196124 w 361950"/>
                    <a:gd name="connsiteY28" fmla="*/ 270616 h 485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61950" h="485775">
                      <a:moveTo>
                        <a:pt x="196124" y="270616"/>
                      </a:moveTo>
                      <a:cubicBezTo>
                        <a:pt x="191647" y="270616"/>
                        <a:pt x="188695" y="270616"/>
                        <a:pt x="185170" y="270616"/>
                      </a:cubicBezTo>
                      <a:cubicBezTo>
                        <a:pt x="184980" y="273188"/>
                        <a:pt x="184599" y="275379"/>
                        <a:pt x="184599" y="277569"/>
                      </a:cubicBezTo>
                      <a:cubicBezTo>
                        <a:pt x="184599" y="336243"/>
                        <a:pt x="184599" y="394917"/>
                        <a:pt x="184504" y="453496"/>
                      </a:cubicBezTo>
                      <a:cubicBezTo>
                        <a:pt x="184504" y="473308"/>
                        <a:pt x="174312" y="485119"/>
                        <a:pt x="157929" y="485310"/>
                      </a:cubicBezTo>
                      <a:cubicBezTo>
                        <a:pt x="143927" y="485405"/>
                        <a:pt x="133926" y="477309"/>
                        <a:pt x="131354" y="462259"/>
                      </a:cubicBezTo>
                      <a:cubicBezTo>
                        <a:pt x="124591" y="423302"/>
                        <a:pt x="118114" y="384345"/>
                        <a:pt x="111637" y="345387"/>
                      </a:cubicBezTo>
                      <a:cubicBezTo>
                        <a:pt x="103732" y="298143"/>
                        <a:pt x="96302" y="250804"/>
                        <a:pt x="87730" y="203751"/>
                      </a:cubicBezTo>
                      <a:cubicBezTo>
                        <a:pt x="85253" y="190035"/>
                        <a:pt x="79157" y="176890"/>
                        <a:pt x="74395" y="162793"/>
                      </a:cubicBezTo>
                      <a:cubicBezTo>
                        <a:pt x="68965" y="173652"/>
                        <a:pt x="63441" y="184701"/>
                        <a:pt x="57726" y="195654"/>
                      </a:cubicBezTo>
                      <a:cubicBezTo>
                        <a:pt x="49915" y="210704"/>
                        <a:pt x="36199" y="214990"/>
                        <a:pt x="21531" y="207084"/>
                      </a:cubicBezTo>
                      <a:cubicBezTo>
                        <a:pt x="7529" y="199560"/>
                        <a:pt x="3338" y="185748"/>
                        <a:pt x="10768" y="171461"/>
                      </a:cubicBezTo>
                      <a:cubicBezTo>
                        <a:pt x="31913" y="130694"/>
                        <a:pt x="53154" y="89927"/>
                        <a:pt x="74299" y="49065"/>
                      </a:cubicBezTo>
                      <a:cubicBezTo>
                        <a:pt x="88492" y="21537"/>
                        <a:pt x="110685" y="7155"/>
                        <a:pt x="142022" y="7250"/>
                      </a:cubicBezTo>
                      <a:cubicBezTo>
                        <a:pt x="172883" y="7440"/>
                        <a:pt x="203744" y="7631"/>
                        <a:pt x="234605" y="7155"/>
                      </a:cubicBezTo>
                      <a:cubicBezTo>
                        <a:pt x="259656" y="6774"/>
                        <a:pt x="279563" y="16489"/>
                        <a:pt x="292136" y="37730"/>
                      </a:cubicBezTo>
                      <a:cubicBezTo>
                        <a:pt x="306995" y="62876"/>
                        <a:pt x="319949" y="89165"/>
                        <a:pt x="333665" y="114978"/>
                      </a:cubicBezTo>
                      <a:cubicBezTo>
                        <a:pt x="342047" y="130789"/>
                        <a:pt x="350620" y="146410"/>
                        <a:pt x="358144" y="162603"/>
                      </a:cubicBezTo>
                      <a:cubicBezTo>
                        <a:pt x="361002" y="168889"/>
                        <a:pt x="362716" y="176509"/>
                        <a:pt x="362240" y="183367"/>
                      </a:cubicBezTo>
                      <a:cubicBezTo>
                        <a:pt x="361383" y="196702"/>
                        <a:pt x="353477" y="204989"/>
                        <a:pt x="342619" y="206799"/>
                      </a:cubicBezTo>
                      <a:cubicBezTo>
                        <a:pt x="331951" y="208704"/>
                        <a:pt x="322616" y="203084"/>
                        <a:pt x="316520" y="190892"/>
                      </a:cubicBezTo>
                      <a:cubicBezTo>
                        <a:pt x="311567" y="181081"/>
                        <a:pt x="306805" y="171175"/>
                        <a:pt x="301947" y="161269"/>
                      </a:cubicBezTo>
                      <a:cubicBezTo>
                        <a:pt x="301661" y="160793"/>
                        <a:pt x="300709" y="160602"/>
                        <a:pt x="301852" y="161174"/>
                      </a:cubicBezTo>
                      <a:cubicBezTo>
                        <a:pt x="296994" y="180795"/>
                        <a:pt x="290612" y="200607"/>
                        <a:pt x="287278" y="220896"/>
                      </a:cubicBezTo>
                      <a:cubicBezTo>
                        <a:pt x="274039" y="300715"/>
                        <a:pt x="261561" y="380725"/>
                        <a:pt x="248988" y="460640"/>
                      </a:cubicBezTo>
                      <a:cubicBezTo>
                        <a:pt x="246511" y="476451"/>
                        <a:pt x="236605" y="485691"/>
                        <a:pt x="221461" y="485214"/>
                      </a:cubicBezTo>
                      <a:cubicBezTo>
                        <a:pt x="206887" y="484833"/>
                        <a:pt x="196219" y="474356"/>
                        <a:pt x="196124" y="458449"/>
                      </a:cubicBezTo>
                      <a:cubicBezTo>
                        <a:pt x="195838" y="400537"/>
                        <a:pt x="196124" y="342720"/>
                        <a:pt x="196219" y="284808"/>
                      </a:cubicBezTo>
                      <a:cubicBezTo>
                        <a:pt x="196124" y="280427"/>
                        <a:pt x="196124" y="275950"/>
                        <a:pt x="196124" y="27061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  <p:sp>
              <p:nvSpPr>
                <p:cNvPr id="82" name="Freeform: Shape 229">
                  <a:extLst>
                    <a:ext uri="{FF2B5EF4-FFF2-40B4-BE49-F238E27FC236}">
                      <a16:creationId xmlns:a16="http://schemas.microsoft.com/office/drawing/2014/main" id="{D75B5440-CA8A-2840-84C0-87C787CE1148}"/>
                    </a:ext>
                  </a:extLst>
                </p:cNvPr>
                <p:cNvSpPr/>
                <p:nvPr/>
              </p:nvSpPr>
              <p:spPr>
                <a:xfrm>
                  <a:off x="6047795" y="3117055"/>
                  <a:ext cx="104775" cy="104775"/>
                </a:xfrm>
                <a:custGeom>
                  <a:avLst/>
                  <a:gdLst>
                    <a:gd name="connsiteX0" fmla="*/ 54396 w 104775"/>
                    <a:gd name="connsiteY0" fmla="*/ 102300 h 104775"/>
                    <a:gd name="connsiteX1" fmla="*/ 7152 w 104775"/>
                    <a:gd name="connsiteY1" fmla="*/ 53913 h 104775"/>
                    <a:gd name="connsiteX2" fmla="*/ 54872 w 104775"/>
                    <a:gd name="connsiteY2" fmla="*/ 7145 h 104775"/>
                    <a:gd name="connsiteX3" fmla="*/ 102116 w 104775"/>
                    <a:gd name="connsiteY3" fmla="*/ 54389 h 104775"/>
                    <a:gd name="connsiteX4" fmla="*/ 54396 w 104775"/>
                    <a:gd name="connsiteY4" fmla="*/ 102300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775" h="104775">
                      <a:moveTo>
                        <a:pt x="54396" y="102300"/>
                      </a:moveTo>
                      <a:cubicBezTo>
                        <a:pt x="28011" y="102109"/>
                        <a:pt x="6675" y="80297"/>
                        <a:pt x="7152" y="53913"/>
                      </a:cubicBezTo>
                      <a:cubicBezTo>
                        <a:pt x="7723" y="27910"/>
                        <a:pt x="29059" y="6955"/>
                        <a:pt x="54872" y="7145"/>
                      </a:cubicBezTo>
                      <a:cubicBezTo>
                        <a:pt x="80780" y="7240"/>
                        <a:pt x="102021" y="28481"/>
                        <a:pt x="102116" y="54389"/>
                      </a:cubicBezTo>
                      <a:cubicBezTo>
                        <a:pt x="102211" y="80773"/>
                        <a:pt x="80685" y="102395"/>
                        <a:pt x="54396" y="102300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78" name="Oval 77"/>
              <p:cNvSpPr/>
              <p:nvPr/>
            </p:nvSpPr>
            <p:spPr>
              <a:xfrm>
                <a:off x="3037091" y="1854615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59" name="Freeform: Shape 158">
              <a:extLst>
                <a:ext uri="{FF2B5EF4-FFF2-40B4-BE49-F238E27FC236}">
                  <a16:creationId xmlns:a16="http://schemas.microsoft.com/office/drawing/2014/main" id="{8F6C0738-72C5-6A42-9776-24C72905AA14}"/>
                </a:ext>
              </a:extLst>
            </p:cNvPr>
            <p:cNvSpPr/>
            <p:nvPr/>
          </p:nvSpPr>
          <p:spPr>
            <a:xfrm>
              <a:off x="3672568" y="1891169"/>
              <a:ext cx="164805" cy="185143"/>
            </a:xfrm>
            <a:custGeom>
              <a:avLst/>
              <a:gdLst>
                <a:gd name="connsiteX0" fmla="*/ 441960 w 447675"/>
                <a:gd name="connsiteY0" fmla="*/ 233023 h 457200"/>
                <a:gd name="connsiteX1" fmla="*/ 433959 w 447675"/>
                <a:gd name="connsiteY1" fmla="*/ 201400 h 457200"/>
                <a:gd name="connsiteX2" fmla="*/ 445199 w 447675"/>
                <a:gd name="connsiteY2" fmla="*/ 171016 h 457200"/>
                <a:gd name="connsiteX3" fmla="*/ 445199 w 447675"/>
                <a:gd name="connsiteY3" fmla="*/ 170730 h 457200"/>
                <a:gd name="connsiteX4" fmla="*/ 434626 w 447675"/>
                <a:gd name="connsiteY4" fmla="*/ 140059 h 457200"/>
                <a:gd name="connsiteX5" fmla="*/ 443008 w 447675"/>
                <a:gd name="connsiteY5" fmla="*/ 108532 h 457200"/>
                <a:gd name="connsiteX6" fmla="*/ 442913 w 447675"/>
                <a:gd name="connsiteY6" fmla="*/ 107579 h 457200"/>
                <a:gd name="connsiteX7" fmla="*/ 427196 w 447675"/>
                <a:gd name="connsiteY7" fmla="*/ 76432 h 457200"/>
                <a:gd name="connsiteX8" fmla="*/ 428149 w 447675"/>
                <a:gd name="connsiteY8" fmla="*/ 37189 h 457200"/>
                <a:gd name="connsiteX9" fmla="*/ 427577 w 447675"/>
                <a:gd name="connsiteY9" fmla="*/ 35856 h 457200"/>
                <a:gd name="connsiteX10" fmla="*/ 365379 w 447675"/>
                <a:gd name="connsiteY10" fmla="*/ 11567 h 457200"/>
                <a:gd name="connsiteX11" fmla="*/ 361474 w 447675"/>
                <a:gd name="connsiteY11" fmla="*/ 13472 h 457200"/>
                <a:gd name="connsiteX12" fmla="*/ 306991 w 447675"/>
                <a:gd name="connsiteY12" fmla="*/ 18425 h 457200"/>
                <a:gd name="connsiteX13" fmla="*/ 306610 w 447675"/>
                <a:gd name="connsiteY13" fmla="*/ 18806 h 457200"/>
                <a:gd name="connsiteX14" fmla="*/ 290322 w 447675"/>
                <a:gd name="connsiteY14" fmla="*/ 45952 h 457200"/>
                <a:gd name="connsiteX15" fmla="*/ 266033 w 447675"/>
                <a:gd name="connsiteY15" fmla="*/ 54906 h 457200"/>
                <a:gd name="connsiteX16" fmla="*/ 265176 w 447675"/>
                <a:gd name="connsiteY16" fmla="*/ 55573 h 457200"/>
                <a:gd name="connsiteX17" fmla="*/ 251651 w 447675"/>
                <a:gd name="connsiteY17" fmla="*/ 70813 h 457200"/>
                <a:gd name="connsiteX18" fmla="*/ 234506 w 447675"/>
                <a:gd name="connsiteY18" fmla="*/ 70241 h 457200"/>
                <a:gd name="connsiteX19" fmla="*/ 232410 w 447675"/>
                <a:gd name="connsiteY19" fmla="*/ 70622 h 457200"/>
                <a:gd name="connsiteX20" fmla="*/ 232315 w 447675"/>
                <a:gd name="connsiteY20" fmla="*/ 70622 h 457200"/>
                <a:gd name="connsiteX21" fmla="*/ 213931 w 447675"/>
                <a:gd name="connsiteY21" fmla="*/ 78052 h 457200"/>
                <a:gd name="connsiteX22" fmla="*/ 194786 w 447675"/>
                <a:gd name="connsiteY22" fmla="*/ 68622 h 457200"/>
                <a:gd name="connsiteX23" fmla="*/ 194024 w 447675"/>
                <a:gd name="connsiteY23" fmla="*/ 68431 h 457200"/>
                <a:gd name="connsiteX24" fmla="*/ 172879 w 447675"/>
                <a:gd name="connsiteY24" fmla="*/ 68146 h 457200"/>
                <a:gd name="connsiteX25" fmla="*/ 156591 w 447675"/>
                <a:gd name="connsiteY25" fmla="*/ 51191 h 457200"/>
                <a:gd name="connsiteX26" fmla="*/ 156686 w 447675"/>
                <a:gd name="connsiteY26" fmla="*/ 50905 h 457200"/>
                <a:gd name="connsiteX27" fmla="*/ 121253 w 447675"/>
                <a:gd name="connsiteY27" fmla="*/ 43762 h 457200"/>
                <a:gd name="connsiteX28" fmla="*/ 74009 w 447675"/>
                <a:gd name="connsiteY28" fmla="*/ 19473 h 457200"/>
                <a:gd name="connsiteX29" fmla="*/ 71533 w 447675"/>
                <a:gd name="connsiteY29" fmla="*/ 19759 h 457200"/>
                <a:gd name="connsiteX30" fmla="*/ 30861 w 447675"/>
                <a:gd name="connsiteY30" fmla="*/ 71575 h 457200"/>
                <a:gd name="connsiteX31" fmla="*/ 7144 w 447675"/>
                <a:gd name="connsiteY31" fmla="*/ 112818 h 457200"/>
                <a:gd name="connsiteX32" fmla="*/ 7144 w 447675"/>
                <a:gd name="connsiteY32" fmla="*/ 113770 h 457200"/>
                <a:gd name="connsiteX33" fmla="*/ 16764 w 447675"/>
                <a:gd name="connsiteY33" fmla="*/ 142345 h 457200"/>
                <a:gd name="connsiteX34" fmla="*/ 7144 w 447675"/>
                <a:gd name="connsiteY34" fmla="*/ 171016 h 457200"/>
                <a:gd name="connsiteX35" fmla="*/ 7144 w 447675"/>
                <a:gd name="connsiteY35" fmla="*/ 171968 h 457200"/>
                <a:gd name="connsiteX36" fmla="*/ 16764 w 447675"/>
                <a:gd name="connsiteY36" fmla="*/ 200543 h 457200"/>
                <a:gd name="connsiteX37" fmla="*/ 7144 w 447675"/>
                <a:gd name="connsiteY37" fmla="*/ 229309 h 457200"/>
                <a:gd name="connsiteX38" fmla="*/ 7144 w 447675"/>
                <a:gd name="connsiteY38" fmla="*/ 230261 h 457200"/>
                <a:gd name="connsiteX39" fmla="*/ 16955 w 447675"/>
                <a:gd name="connsiteY39" fmla="*/ 258931 h 457200"/>
                <a:gd name="connsiteX40" fmla="*/ 7144 w 447675"/>
                <a:gd name="connsiteY40" fmla="*/ 287506 h 457200"/>
                <a:gd name="connsiteX41" fmla="*/ 7144 w 447675"/>
                <a:gd name="connsiteY41" fmla="*/ 287983 h 457200"/>
                <a:gd name="connsiteX42" fmla="*/ 54769 w 447675"/>
                <a:gd name="connsiteY42" fmla="*/ 335417 h 457200"/>
                <a:gd name="connsiteX43" fmla="*/ 102394 w 447675"/>
                <a:gd name="connsiteY43" fmla="*/ 287506 h 457200"/>
                <a:gd name="connsiteX44" fmla="*/ 92583 w 447675"/>
                <a:gd name="connsiteY44" fmla="*/ 258836 h 457200"/>
                <a:gd name="connsiteX45" fmla="*/ 102394 w 447675"/>
                <a:gd name="connsiteY45" fmla="*/ 230261 h 457200"/>
                <a:gd name="connsiteX46" fmla="*/ 102394 w 447675"/>
                <a:gd name="connsiteY46" fmla="*/ 229309 h 457200"/>
                <a:gd name="connsiteX47" fmla="*/ 92488 w 447675"/>
                <a:gd name="connsiteY47" fmla="*/ 200257 h 457200"/>
                <a:gd name="connsiteX48" fmla="*/ 102394 w 447675"/>
                <a:gd name="connsiteY48" fmla="*/ 171016 h 457200"/>
                <a:gd name="connsiteX49" fmla="*/ 92488 w 447675"/>
                <a:gd name="connsiteY49" fmla="*/ 141964 h 457200"/>
                <a:gd name="connsiteX50" fmla="*/ 100108 w 447675"/>
                <a:gd name="connsiteY50" fmla="*/ 127391 h 457200"/>
                <a:gd name="connsiteX51" fmla="*/ 103823 w 447675"/>
                <a:gd name="connsiteY51" fmla="*/ 130153 h 457200"/>
                <a:gd name="connsiteX52" fmla="*/ 105918 w 447675"/>
                <a:gd name="connsiteY52" fmla="*/ 131487 h 457200"/>
                <a:gd name="connsiteX53" fmla="*/ 141351 w 447675"/>
                <a:gd name="connsiteY53" fmla="*/ 137678 h 457200"/>
                <a:gd name="connsiteX54" fmla="*/ 171736 w 447675"/>
                <a:gd name="connsiteY54" fmla="*/ 160824 h 457200"/>
                <a:gd name="connsiteX55" fmla="*/ 172784 w 447675"/>
                <a:gd name="connsiteY55" fmla="*/ 161110 h 457200"/>
                <a:gd name="connsiteX56" fmla="*/ 210312 w 447675"/>
                <a:gd name="connsiteY56" fmla="*/ 154347 h 457200"/>
                <a:gd name="connsiteX57" fmla="*/ 248603 w 447675"/>
                <a:gd name="connsiteY57" fmla="*/ 164348 h 457200"/>
                <a:gd name="connsiteX58" fmla="*/ 283178 w 447675"/>
                <a:gd name="connsiteY58" fmla="*/ 140440 h 457200"/>
                <a:gd name="connsiteX59" fmla="*/ 321278 w 447675"/>
                <a:gd name="connsiteY59" fmla="*/ 132439 h 457200"/>
                <a:gd name="connsiteX60" fmla="*/ 322040 w 447675"/>
                <a:gd name="connsiteY60" fmla="*/ 131868 h 457200"/>
                <a:gd name="connsiteX61" fmla="*/ 340709 w 447675"/>
                <a:gd name="connsiteY61" fmla="*/ 102817 h 457200"/>
                <a:gd name="connsiteX62" fmla="*/ 349282 w 447675"/>
                <a:gd name="connsiteY62" fmla="*/ 101293 h 457200"/>
                <a:gd name="connsiteX63" fmla="*/ 348139 w 447675"/>
                <a:gd name="connsiteY63" fmla="*/ 116818 h 457200"/>
                <a:gd name="connsiteX64" fmla="*/ 358521 w 447675"/>
                <a:gd name="connsiteY64" fmla="*/ 142536 h 457200"/>
                <a:gd name="connsiteX65" fmla="*/ 349949 w 447675"/>
                <a:gd name="connsiteY65" fmla="*/ 169111 h 457200"/>
                <a:gd name="connsiteX66" fmla="*/ 349949 w 447675"/>
                <a:gd name="connsiteY66" fmla="*/ 170730 h 457200"/>
                <a:gd name="connsiteX67" fmla="*/ 358045 w 447675"/>
                <a:gd name="connsiteY67" fmla="*/ 197305 h 457200"/>
                <a:gd name="connsiteX68" fmla="*/ 347091 w 447675"/>
                <a:gd name="connsiteY68" fmla="*/ 223117 h 457200"/>
                <a:gd name="connsiteX69" fmla="*/ 346900 w 447675"/>
                <a:gd name="connsiteY69" fmla="*/ 224737 h 457200"/>
                <a:gd name="connsiteX70" fmla="*/ 352425 w 447675"/>
                <a:gd name="connsiteY70" fmla="*/ 251502 h 457200"/>
                <a:gd name="connsiteX71" fmla="*/ 338900 w 447675"/>
                <a:gd name="connsiteY71" fmla="*/ 274933 h 457200"/>
                <a:gd name="connsiteX72" fmla="*/ 337471 w 447675"/>
                <a:gd name="connsiteY72" fmla="*/ 287316 h 457200"/>
                <a:gd name="connsiteX73" fmla="*/ 330422 w 447675"/>
                <a:gd name="connsiteY73" fmla="*/ 290650 h 457200"/>
                <a:gd name="connsiteX74" fmla="*/ 311753 w 447675"/>
                <a:gd name="connsiteY74" fmla="*/ 279791 h 457200"/>
                <a:gd name="connsiteX75" fmla="*/ 310610 w 447675"/>
                <a:gd name="connsiteY75" fmla="*/ 279410 h 457200"/>
                <a:gd name="connsiteX76" fmla="*/ 281464 w 447675"/>
                <a:gd name="connsiteY76" fmla="*/ 279886 h 457200"/>
                <a:gd name="connsiteX77" fmla="*/ 255175 w 447675"/>
                <a:gd name="connsiteY77" fmla="*/ 261408 h 457200"/>
                <a:gd name="connsiteX78" fmla="*/ 213074 w 447675"/>
                <a:gd name="connsiteY78" fmla="*/ 268742 h 457200"/>
                <a:gd name="connsiteX79" fmla="*/ 158306 w 447675"/>
                <a:gd name="connsiteY79" fmla="*/ 269123 h 457200"/>
                <a:gd name="connsiteX80" fmla="*/ 154781 w 447675"/>
                <a:gd name="connsiteY80" fmla="*/ 271790 h 457200"/>
                <a:gd name="connsiteX81" fmla="*/ 148590 w 447675"/>
                <a:gd name="connsiteY81" fmla="*/ 338846 h 457200"/>
                <a:gd name="connsiteX82" fmla="*/ 149924 w 447675"/>
                <a:gd name="connsiteY82" fmla="*/ 340370 h 457200"/>
                <a:gd name="connsiteX83" fmla="*/ 151257 w 447675"/>
                <a:gd name="connsiteY83" fmla="*/ 382566 h 457200"/>
                <a:gd name="connsiteX84" fmla="*/ 152019 w 447675"/>
                <a:gd name="connsiteY84" fmla="*/ 383900 h 457200"/>
                <a:gd name="connsiteX85" fmla="*/ 174498 w 447675"/>
                <a:gd name="connsiteY85" fmla="*/ 404474 h 457200"/>
                <a:gd name="connsiteX86" fmla="*/ 203930 w 447675"/>
                <a:gd name="connsiteY86" fmla="*/ 427619 h 457200"/>
                <a:gd name="connsiteX87" fmla="*/ 207931 w 447675"/>
                <a:gd name="connsiteY87" fmla="*/ 453813 h 457200"/>
                <a:gd name="connsiteX88" fmla="*/ 223171 w 447675"/>
                <a:gd name="connsiteY88" fmla="*/ 398282 h 457200"/>
                <a:gd name="connsiteX89" fmla="*/ 240983 w 447675"/>
                <a:gd name="connsiteY89" fmla="*/ 354848 h 457200"/>
                <a:gd name="connsiteX90" fmla="*/ 258032 w 447675"/>
                <a:gd name="connsiteY90" fmla="*/ 352277 h 457200"/>
                <a:gd name="connsiteX91" fmla="*/ 283274 w 447675"/>
                <a:gd name="connsiteY91" fmla="*/ 370564 h 457200"/>
                <a:gd name="connsiteX92" fmla="*/ 284036 w 447675"/>
                <a:gd name="connsiteY92" fmla="*/ 370755 h 457200"/>
                <a:gd name="connsiteX93" fmla="*/ 321564 w 447675"/>
                <a:gd name="connsiteY93" fmla="*/ 366659 h 457200"/>
                <a:gd name="connsiteX94" fmla="*/ 366808 w 447675"/>
                <a:gd name="connsiteY94" fmla="*/ 377994 h 457200"/>
                <a:gd name="connsiteX95" fmla="*/ 367760 w 447675"/>
                <a:gd name="connsiteY95" fmla="*/ 377708 h 457200"/>
                <a:gd name="connsiteX96" fmla="*/ 402908 w 447675"/>
                <a:gd name="connsiteY96" fmla="*/ 330845 h 457200"/>
                <a:gd name="connsiteX97" fmla="*/ 431673 w 447675"/>
                <a:gd name="connsiteY97" fmla="*/ 298079 h 457200"/>
                <a:gd name="connsiteX98" fmla="*/ 431959 w 447675"/>
                <a:gd name="connsiteY98" fmla="*/ 296841 h 457200"/>
                <a:gd name="connsiteX99" fmla="*/ 427577 w 447675"/>
                <a:gd name="connsiteY99" fmla="*/ 263218 h 457200"/>
                <a:gd name="connsiteX100" fmla="*/ 442055 w 447675"/>
                <a:gd name="connsiteY100" fmla="*/ 233309 h 457200"/>
                <a:gd name="connsiteX101" fmla="*/ 441960 w 447675"/>
                <a:gd name="connsiteY101" fmla="*/ 23302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47675" h="457200">
                  <a:moveTo>
                    <a:pt x="441960" y="233023"/>
                  </a:moveTo>
                  <a:cubicBezTo>
                    <a:pt x="443198" y="221403"/>
                    <a:pt x="440055" y="210354"/>
                    <a:pt x="433959" y="201400"/>
                  </a:cubicBezTo>
                  <a:cubicBezTo>
                    <a:pt x="440912" y="193209"/>
                    <a:pt x="445103" y="182541"/>
                    <a:pt x="445199" y="171016"/>
                  </a:cubicBezTo>
                  <a:lnTo>
                    <a:pt x="445199" y="170730"/>
                  </a:lnTo>
                  <a:cubicBezTo>
                    <a:pt x="445389" y="159109"/>
                    <a:pt x="441389" y="148441"/>
                    <a:pt x="434626" y="140059"/>
                  </a:cubicBezTo>
                  <a:cubicBezTo>
                    <a:pt x="440817" y="131201"/>
                    <a:pt x="444056" y="120152"/>
                    <a:pt x="443008" y="108532"/>
                  </a:cubicBezTo>
                  <a:lnTo>
                    <a:pt x="442913" y="107579"/>
                  </a:lnTo>
                  <a:cubicBezTo>
                    <a:pt x="441770" y="95006"/>
                    <a:pt x="435864" y="84052"/>
                    <a:pt x="427196" y="76432"/>
                  </a:cubicBezTo>
                  <a:cubicBezTo>
                    <a:pt x="432911" y="64526"/>
                    <a:pt x="433673" y="50334"/>
                    <a:pt x="428149" y="37189"/>
                  </a:cubicBezTo>
                  <a:cubicBezTo>
                    <a:pt x="428054" y="36999"/>
                    <a:pt x="427673" y="35951"/>
                    <a:pt x="427577" y="35856"/>
                  </a:cubicBezTo>
                  <a:cubicBezTo>
                    <a:pt x="417100" y="11853"/>
                    <a:pt x="389382" y="1185"/>
                    <a:pt x="365379" y="11567"/>
                  </a:cubicBezTo>
                  <a:cubicBezTo>
                    <a:pt x="364046" y="12139"/>
                    <a:pt x="362712" y="12805"/>
                    <a:pt x="361474" y="13472"/>
                  </a:cubicBezTo>
                  <a:cubicBezTo>
                    <a:pt x="344615" y="3757"/>
                    <a:pt x="322707" y="5090"/>
                    <a:pt x="306991" y="18425"/>
                  </a:cubicBezTo>
                  <a:lnTo>
                    <a:pt x="306610" y="18806"/>
                  </a:lnTo>
                  <a:cubicBezTo>
                    <a:pt x="297942" y="26045"/>
                    <a:pt x="292418" y="35665"/>
                    <a:pt x="290322" y="45952"/>
                  </a:cubicBezTo>
                  <a:cubicBezTo>
                    <a:pt x="281845" y="46619"/>
                    <a:pt x="273463" y="49572"/>
                    <a:pt x="266033" y="54906"/>
                  </a:cubicBezTo>
                  <a:cubicBezTo>
                    <a:pt x="265938" y="55001"/>
                    <a:pt x="265367" y="55382"/>
                    <a:pt x="265176" y="55573"/>
                  </a:cubicBezTo>
                  <a:cubicBezTo>
                    <a:pt x="259461" y="59764"/>
                    <a:pt x="254889" y="65002"/>
                    <a:pt x="251651" y="70813"/>
                  </a:cubicBezTo>
                  <a:cubicBezTo>
                    <a:pt x="246221" y="69574"/>
                    <a:pt x="240411" y="69384"/>
                    <a:pt x="234506" y="70241"/>
                  </a:cubicBezTo>
                  <a:cubicBezTo>
                    <a:pt x="234125" y="70336"/>
                    <a:pt x="232791" y="70527"/>
                    <a:pt x="232410" y="70622"/>
                  </a:cubicBezTo>
                  <a:lnTo>
                    <a:pt x="232315" y="70622"/>
                  </a:lnTo>
                  <a:cubicBezTo>
                    <a:pt x="225552" y="71860"/>
                    <a:pt x="219361" y="74432"/>
                    <a:pt x="213931" y="78052"/>
                  </a:cubicBezTo>
                  <a:cubicBezTo>
                    <a:pt x="208502" y="73670"/>
                    <a:pt x="202025" y="70336"/>
                    <a:pt x="194786" y="68622"/>
                  </a:cubicBezTo>
                  <a:lnTo>
                    <a:pt x="194024" y="68431"/>
                  </a:lnTo>
                  <a:cubicBezTo>
                    <a:pt x="186881" y="66717"/>
                    <a:pt x="179642" y="66717"/>
                    <a:pt x="172879" y="68146"/>
                  </a:cubicBezTo>
                  <a:cubicBezTo>
                    <a:pt x="169069" y="61478"/>
                    <a:pt x="163640" y="55573"/>
                    <a:pt x="156591" y="51191"/>
                  </a:cubicBezTo>
                  <a:lnTo>
                    <a:pt x="156686" y="50905"/>
                  </a:lnTo>
                  <a:cubicBezTo>
                    <a:pt x="145828" y="43666"/>
                    <a:pt x="133160" y="41476"/>
                    <a:pt x="121253" y="43762"/>
                  </a:cubicBezTo>
                  <a:cubicBezTo>
                    <a:pt x="112205" y="27283"/>
                    <a:pt x="93821" y="17282"/>
                    <a:pt x="74009" y="19473"/>
                  </a:cubicBezTo>
                  <a:lnTo>
                    <a:pt x="71533" y="19759"/>
                  </a:lnTo>
                  <a:cubicBezTo>
                    <a:pt x="46292" y="23569"/>
                    <a:pt x="28385" y="46429"/>
                    <a:pt x="30861" y="71575"/>
                  </a:cubicBezTo>
                  <a:cubicBezTo>
                    <a:pt x="16669" y="79861"/>
                    <a:pt x="7144" y="95197"/>
                    <a:pt x="7144" y="112818"/>
                  </a:cubicBezTo>
                  <a:lnTo>
                    <a:pt x="7144" y="113770"/>
                  </a:lnTo>
                  <a:cubicBezTo>
                    <a:pt x="7144" y="124534"/>
                    <a:pt x="10763" y="134440"/>
                    <a:pt x="16764" y="142345"/>
                  </a:cubicBezTo>
                  <a:cubicBezTo>
                    <a:pt x="10763" y="150251"/>
                    <a:pt x="7144" y="160252"/>
                    <a:pt x="7144" y="171016"/>
                  </a:cubicBezTo>
                  <a:lnTo>
                    <a:pt x="7144" y="171968"/>
                  </a:lnTo>
                  <a:cubicBezTo>
                    <a:pt x="7144" y="182731"/>
                    <a:pt x="10763" y="192637"/>
                    <a:pt x="16764" y="200543"/>
                  </a:cubicBezTo>
                  <a:cubicBezTo>
                    <a:pt x="10763" y="208544"/>
                    <a:pt x="7144" y="218450"/>
                    <a:pt x="7144" y="229309"/>
                  </a:cubicBezTo>
                  <a:lnTo>
                    <a:pt x="7144" y="230261"/>
                  </a:lnTo>
                  <a:cubicBezTo>
                    <a:pt x="7144" y="241024"/>
                    <a:pt x="10859" y="250930"/>
                    <a:pt x="16955" y="258931"/>
                  </a:cubicBezTo>
                  <a:cubicBezTo>
                    <a:pt x="10859" y="266837"/>
                    <a:pt x="7144" y="276743"/>
                    <a:pt x="7144" y="287506"/>
                  </a:cubicBezTo>
                  <a:lnTo>
                    <a:pt x="7144" y="287983"/>
                  </a:lnTo>
                  <a:cubicBezTo>
                    <a:pt x="7144" y="314272"/>
                    <a:pt x="28480" y="335417"/>
                    <a:pt x="54769" y="335417"/>
                  </a:cubicBezTo>
                  <a:cubicBezTo>
                    <a:pt x="81058" y="335417"/>
                    <a:pt x="102394" y="313891"/>
                    <a:pt x="102394" y="287506"/>
                  </a:cubicBezTo>
                  <a:cubicBezTo>
                    <a:pt x="102394" y="276743"/>
                    <a:pt x="98679" y="266837"/>
                    <a:pt x="92583" y="258836"/>
                  </a:cubicBezTo>
                  <a:cubicBezTo>
                    <a:pt x="98679" y="250930"/>
                    <a:pt x="102394" y="241024"/>
                    <a:pt x="102394" y="230261"/>
                  </a:cubicBezTo>
                  <a:lnTo>
                    <a:pt x="102394" y="229309"/>
                  </a:lnTo>
                  <a:cubicBezTo>
                    <a:pt x="102394" y="218355"/>
                    <a:pt x="98679" y="208354"/>
                    <a:pt x="92488" y="200257"/>
                  </a:cubicBezTo>
                  <a:cubicBezTo>
                    <a:pt x="98679" y="192066"/>
                    <a:pt x="102394" y="181969"/>
                    <a:pt x="102394" y="171016"/>
                  </a:cubicBezTo>
                  <a:cubicBezTo>
                    <a:pt x="102394" y="160062"/>
                    <a:pt x="98679" y="149965"/>
                    <a:pt x="92488" y="141964"/>
                  </a:cubicBezTo>
                  <a:cubicBezTo>
                    <a:pt x="95822" y="137583"/>
                    <a:pt x="98393" y="132725"/>
                    <a:pt x="100108" y="127391"/>
                  </a:cubicBezTo>
                  <a:cubicBezTo>
                    <a:pt x="101251" y="128344"/>
                    <a:pt x="102489" y="129296"/>
                    <a:pt x="103823" y="130153"/>
                  </a:cubicBezTo>
                  <a:lnTo>
                    <a:pt x="105918" y="131487"/>
                  </a:lnTo>
                  <a:cubicBezTo>
                    <a:pt x="116872" y="138250"/>
                    <a:pt x="129635" y="140155"/>
                    <a:pt x="141351" y="137678"/>
                  </a:cubicBezTo>
                  <a:cubicBezTo>
                    <a:pt x="147542" y="148918"/>
                    <a:pt x="158306" y="157585"/>
                    <a:pt x="171736" y="160824"/>
                  </a:cubicBezTo>
                  <a:lnTo>
                    <a:pt x="172784" y="161110"/>
                  </a:lnTo>
                  <a:cubicBezTo>
                    <a:pt x="186214" y="164348"/>
                    <a:pt x="199739" y="161491"/>
                    <a:pt x="210312" y="154347"/>
                  </a:cubicBezTo>
                  <a:cubicBezTo>
                    <a:pt x="220599" y="162824"/>
                    <a:pt x="234410" y="166825"/>
                    <a:pt x="248603" y="164348"/>
                  </a:cubicBezTo>
                  <a:cubicBezTo>
                    <a:pt x="263747" y="162062"/>
                    <a:pt x="276225" y="152918"/>
                    <a:pt x="283178" y="140440"/>
                  </a:cubicBezTo>
                  <a:cubicBezTo>
                    <a:pt x="295942" y="143203"/>
                    <a:pt x="309848" y="140726"/>
                    <a:pt x="321278" y="132439"/>
                  </a:cubicBezTo>
                  <a:lnTo>
                    <a:pt x="322040" y="131868"/>
                  </a:lnTo>
                  <a:cubicBezTo>
                    <a:pt x="332042" y="124534"/>
                    <a:pt x="338423" y="114056"/>
                    <a:pt x="340709" y="102817"/>
                  </a:cubicBezTo>
                  <a:cubicBezTo>
                    <a:pt x="343567" y="102626"/>
                    <a:pt x="346520" y="102055"/>
                    <a:pt x="349282" y="101293"/>
                  </a:cubicBezTo>
                  <a:cubicBezTo>
                    <a:pt x="348044" y="106246"/>
                    <a:pt x="347663" y="111484"/>
                    <a:pt x="348139" y="116818"/>
                  </a:cubicBezTo>
                  <a:cubicBezTo>
                    <a:pt x="348996" y="126629"/>
                    <a:pt x="352806" y="135487"/>
                    <a:pt x="358521" y="142536"/>
                  </a:cubicBezTo>
                  <a:cubicBezTo>
                    <a:pt x="353187" y="150061"/>
                    <a:pt x="350044" y="159205"/>
                    <a:pt x="349949" y="169111"/>
                  </a:cubicBezTo>
                  <a:cubicBezTo>
                    <a:pt x="349949" y="169301"/>
                    <a:pt x="349949" y="170539"/>
                    <a:pt x="349949" y="170730"/>
                  </a:cubicBezTo>
                  <a:cubicBezTo>
                    <a:pt x="349949" y="180636"/>
                    <a:pt x="352901" y="189780"/>
                    <a:pt x="358045" y="197305"/>
                  </a:cubicBezTo>
                  <a:cubicBezTo>
                    <a:pt x="352139" y="204353"/>
                    <a:pt x="348139" y="213211"/>
                    <a:pt x="347091" y="223117"/>
                  </a:cubicBezTo>
                  <a:lnTo>
                    <a:pt x="346900" y="224737"/>
                  </a:lnTo>
                  <a:cubicBezTo>
                    <a:pt x="346043" y="234357"/>
                    <a:pt x="348139" y="243596"/>
                    <a:pt x="352425" y="251502"/>
                  </a:cubicBezTo>
                  <a:cubicBezTo>
                    <a:pt x="345948" y="257693"/>
                    <a:pt x="341186" y="265694"/>
                    <a:pt x="338900" y="274933"/>
                  </a:cubicBezTo>
                  <a:cubicBezTo>
                    <a:pt x="337852" y="279029"/>
                    <a:pt x="337375" y="283220"/>
                    <a:pt x="337471" y="287316"/>
                  </a:cubicBezTo>
                  <a:cubicBezTo>
                    <a:pt x="334994" y="288268"/>
                    <a:pt x="332613" y="289316"/>
                    <a:pt x="330422" y="290650"/>
                  </a:cubicBezTo>
                  <a:cubicBezTo>
                    <a:pt x="325279" y="285792"/>
                    <a:pt x="318992" y="281982"/>
                    <a:pt x="311753" y="279791"/>
                  </a:cubicBezTo>
                  <a:lnTo>
                    <a:pt x="310610" y="279410"/>
                  </a:lnTo>
                  <a:cubicBezTo>
                    <a:pt x="300704" y="276457"/>
                    <a:pt x="290608" y="276743"/>
                    <a:pt x="281464" y="279886"/>
                  </a:cubicBezTo>
                  <a:cubicBezTo>
                    <a:pt x="275368" y="271123"/>
                    <a:pt x="266224" y="264456"/>
                    <a:pt x="255175" y="261408"/>
                  </a:cubicBezTo>
                  <a:cubicBezTo>
                    <a:pt x="240221" y="256836"/>
                    <a:pt x="224695" y="260074"/>
                    <a:pt x="213074" y="268742"/>
                  </a:cubicBezTo>
                  <a:cubicBezTo>
                    <a:pt x="196977" y="257598"/>
                    <a:pt x="175069" y="257122"/>
                    <a:pt x="158306" y="269123"/>
                  </a:cubicBezTo>
                  <a:cubicBezTo>
                    <a:pt x="157067" y="269980"/>
                    <a:pt x="155924" y="270838"/>
                    <a:pt x="154781" y="271790"/>
                  </a:cubicBezTo>
                  <a:cubicBezTo>
                    <a:pt x="134588" y="288554"/>
                    <a:pt x="131731" y="318653"/>
                    <a:pt x="148590" y="338846"/>
                  </a:cubicBezTo>
                  <a:cubicBezTo>
                    <a:pt x="149066" y="339323"/>
                    <a:pt x="149447" y="339894"/>
                    <a:pt x="149924" y="340370"/>
                  </a:cubicBezTo>
                  <a:cubicBezTo>
                    <a:pt x="144018" y="353419"/>
                    <a:pt x="143923" y="368945"/>
                    <a:pt x="151257" y="382566"/>
                  </a:cubicBezTo>
                  <a:cubicBezTo>
                    <a:pt x="151352" y="382756"/>
                    <a:pt x="151924" y="383804"/>
                    <a:pt x="152019" y="383900"/>
                  </a:cubicBezTo>
                  <a:cubicBezTo>
                    <a:pt x="157258" y="393425"/>
                    <a:pt x="165259" y="400378"/>
                    <a:pt x="174498" y="404474"/>
                  </a:cubicBezTo>
                  <a:cubicBezTo>
                    <a:pt x="177165" y="417237"/>
                    <a:pt x="195167" y="420761"/>
                    <a:pt x="203930" y="427619"/>
                  </a:cubicBezTo>
                  <a:cubicBezTo>
                    <a:pt x="215075" y="436382"/>
                    <a:pt x="207931" y="453813"/>
                    <a:pt x="207931" y="453813"/>
                  </a:cubicBezTo>
                  <a:cubicBezTo>
                    <a:pt x="228981" y="436478"/>
                    <a:pt x="227838" y="414094"/>
                    <a:pt x="223171" y="398282"/>
                  </a:cubicBezTo>
                  <a:cubicBezTo>
                    <a:pt x="236411" y="387805"/>
                    <a:pt x="242983" y="371231"/>
                    <a:pt x="240983" y="354848"/>
                  </a:cubicBezTo>
                  <a:cubicBezTo>
                    <a:pt x="246793" y="355039"/>
                    <a:pt x="252603" y="354181"/>
                    <a:pt x="258032" y="352277"/>
                  </a:cubicBezTo>
                  <a:cubicBezTo>
                    <a:pt x="263938" y="360754"/>
                    <a:pt x="272606" y="367326"/>
                    <a:pt x="283274" y="370564"/>
                  </a:cubicBezTo>
                  <a:lnTo>
                    <a:pt x="284036" y="370755"/>
                  </a:lnTo>
                  <a:cubicBezTo>
                    <a:pt x="297085" y="374755"/>
                    <a:pt x="310610" y="372851"/>
                    <a:pt x="321564" y="366659"/>
                  </a:cubicBezTo>
                  <a:cubicBezTo>
                    <a:pt x="333280" y="377613"/>
                    <a:pt x="350234" y="382471"/>
                    <a:pt x="366808" y="377994"/>
                  </a:cubicBezTo>
                  <a:lnTo>
                    <a:pt x="367760" y="377708"/>
                  </a:lnTo>
                  <a:cubicBezTo>
                    <a:pt x="389287" y="371803"/>
                    <a:pt x="403289" y="352181"/>
                    <a:pt x="402908" y="330845"/>
                  </a:cubicBezTo>
                  <a:cubicBezTo>
                    <a:pt x="416719" y="325416"/>
                    <a:pt x="427863" y="313605"/>
                    <a:pt x="431673" y="298079"/>
                  </a:cubicBezTo>
                  <a:lnTo>
                    <a:pt x="431959" y="296841"/>
                  </a:lnTo>
                  <a:cubicBezTo>
                    <a:pt x="434816" y="284935"/>
                    <a:pt x="433007" y="273124"/>
                    <a:pt x="427577" y="263218"/>
                  </a:cubicBezTo>
                  <a:cubicBezTo>
                    <a:pt x="435578" y="255598"/>
                    <a:pt x="440912" y="245120"/>
                    <a:pt x="442055" y="233309"/>
                  </a:cubicBezTo>
                  <a:lnTo>
                    <a:pt x="441960" y="233023"/>
                  </a:lnTo>
                  <a:close/>
                </a:path>
              </a:pathLst>
            </a:custGeom>
            <a:solidFill>
              <a:srgbClr val="1E70B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 sz="1467" dirty="0">
                <a:latin typeface="Arial" panose="020B0604020202020204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3635956" y="1852813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3661799" y="2198513"/>
              <a:ext cx="240001" cy="251310"/>
              <a:chOff x="3656928" y="2244240"/>
              <a:chExt cx="240001" cy="251310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AB1F0595-EDB1-E140-8678-83C6ACDF320C}"/>
                  </a:ext>
                </a:extLst>
              </p:cNvPr>
              <p:cNvGrpSpPr/>
              <p:nvPr/>
            </p:nvGrpSpPr>
            <p:grpSpPr>
              <a:xfrm>
                <a:off x="3724599" y="2281411"/>
                <a:ext cx="105751" cy="168566"/>
                <a:chOff x="7356475" y="1863725"/>
                <a:chExt cx="842977" cy="1290635"/>
              </a:xfrm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63500" sx="102000" sy="102000" algn="ctr" rotWithShape="0">
                  <a:schemeClr val="tx2">
                    <a:alpha val="16000"/>
                  </a:schemeClr>
                </a:outerShdw>
              </a:effectLst>
            </p:grpSpPr>
            <p:sp>
              <p:nvSpPr>
                <p:cNvPr id="69" name="Freeform 84">
                  <a:extLst>
                    <a:ext uri="{FF2B5EF4-FFF2-40B4-BE49-F238E27FC236}">
                      <a16:creationId xmlns:a16="http://schemas.microsoft.com/office/drawing/2014/main" id="{24139977-DB1A-1847-AC7E-616EF836A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2841" y="2068516"/>
                  <a:ext cx="836611" cy="1085844"/>
                </a:xfrm>
                <a:custGeom>
                  <a:avLst/>
                  <a:gdLst>
                    <a:gd name="T0" fmla="*/ 798 w 1101"/>
                    <a:gd name="T1" fmla="*/ 286 h 1430"/>
                    <a:gd name="T2" fmla="*/ 907 w 1101"/>
                    <a:gd name="T3" fmla="*/ 196 h 1430"/>
                    <a:gd name="T4" fmla="*/ 980 w 1101"/>
                    <a:gd name="T5" fmla="*/ 84 h 1430"/>
                    <a:gd name="T6" fmla="*/ 892 w 1101"/>
                    <a:gd name="T7" fmla="*/ 14 h 1430"/>
                    <a:gd name="T8" fmla="*/ 444 w 1101"/>
                    <a:gd name="T9" fmla="*/ 465 h 1430"/>
                    <a:gd name="T10" fmla="*/ 128 w 1101"/>
                    <a:gd name="T11" fmla="*/ 733 h 1430"/>
                    <a:gd name="T12" fmla="*/ 85 w 1101"/>
                    <a:gd name="T13" fmla="*/ 911 h 1430"/>
                    <a:gd name="T14" fmla="*/ 858 w 1101"/>
                    <a:gd name="T15" fmla="*/ 1418 h 1430"/>
                    <a:gd name="T16" fmla="*/ 1086 w 1101"/>
                    <a:gd name="T17" fmla="*/ 974 h 1430"/>
                    <a:gd name="T18" fmla="*/ 798 w 1101"/>
                    <a:gd name="T19" fmla="*/ 286 h 1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01" h="1430">
                      <a:moveTo>
                        <a:pt x="798" y="286"/>
                      </a:moveTo>
                      <a:cubicBezTo>
                        <a:pt x="810" y="269"/>
                        <a:pt x="866" y="215"/>
                        <a:pt x="907" y="196"/>
                      </a:cubicBezTo>
                      <a:cubicBezTo>
                        <a:pt x="948" y="177"/>
                        <a:pt x="997" y="169"/>
                        <a:pt x="980" y="84"/>
                      </a:cubicBezTo>
                      <a:cubicBezTo>
                        <a:pt x="963" y="0"/>
                        <a:pt x="892" y="14"/>
                        <a:pt x="892" y="14"/>
                      </a:cubicBezTo>
                      <a:cubicBezTo>
                        <a:pt x="635" y="58"/>
                        <a:pt x="490" y="334"/>
                        <a:pt x="444" y="465"/>
                      </a:cubicBezTo>
                      <a:cubicBezTo>
                        <a:pt x="398" y="596"/>
                        <a:pt x="257" y="683"/>
                        <a:pt x="128" y="733"/>
                      </a:cubicBezTo>
                      <a:cubicBezTo>
                        <a:pt x="0" y="784"/>
                        <a:pt x="85" y="911"/>
                        <a:pt x="85" y="911"/>
                      </a:cubicBezTo>
                      <a:cubicBezTo>
                        <a:pt x="359" y="1345"/>
                        <a:pt x="708" y="1406"/>
                        <a:pt x="858" y="1418"/>
                      </a:cubicBezTo>
                      <a:cubicBezTo>
                        <a:pt x="1009" y="1430"/>
                        <a:pt x="1072" y="1376"/>
                        <a:pt x="1086" y="974"/>
                      </a:cubicBezTo>
                      <a:cubicBezTo>
                        <a:pt x="1101" y="572"/>
                        <a:pt x="798" y="286"/>
                        <a:pt x="798" y="28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  <p:sp>
              <p:nvSpPr>
                <p:cNvPr id="70" name="Freeform 85">
                  <a:extLst>
                    <a:ext uri="{FF2B5EF4-FFF2-40B4-BE49-F238E27FC236}">
                      <a16:creationId xmlns:a16="http://schemas.microsoft.com/office/drawing/2014/main" id="{D1585969-832E-9045-8B44-66F08B70DF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475" y="2106613"/>
                  <a:ext cx="241300" cy="544513"/>
                </a:xfrm>
                <a:custGeom>
                  <a:avLst/>
                  <a:gdLst>
                    <a:gd name="T0" fmla="*/ 139 w 317"/>
                    <a:gd name="T1" fmla="*/ 632 h 716"/>
                    <a:gd name="T2" fmla="*/ 317 w 317"/>
                    <a:gd name="T3" fmla="*/ 529 h 716"/>
                    <a:gd name="T4" fmla="*/ 252 w 317"/>
                    <a:gd name="T5" fmla="*/ 238 h 716"/>
                    <a:gd name="T6" fmla="*/ 220 w 317"/>
                    <a:gd name="T7" fmla="*/ 10 h 716"/>
                    <a:gd name="T8" fmla="*/ 121 w 317"/>
                    <a:gd name="T9" fmla="*/ 78 h 716"/>
                    <a:gd name="T10" fmla="*/ 157 w 317"/>
                    <a:gd name="T11" fmla="*/ 182 h 716"/>
                    <a:gd name="T12" fmla="*/ 121 w 317"/>
                    <a:gd name="T13" fmla="*/ 361 h 716"/>
                    <a:gd name="T14" fmla="*/ 36 w 317"/>
                    <a:gd name="T15" fmla="*/ 716 h 716"/>
                    <a:gd name="T16" fmla="*/ 139 w 317"/>
                    <a:gd name="T17" fmla="*/ 632 h 7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7" h="716">
                      <a:moveTo>
                        <a:pt x="139" y="632"/>
                      </a:moveTo>
                      <a:cubicBezTo>
                        <a:pt x="237" y="593"/>
                        <a:pt x="317" y="529"/>
                        <a:pt x="317" y="529"/>
                      </a:cubicBezTo>
                      <a:cubicBezTo>
                        <a:pt x="317" y="529"/>
                        <a:pt x="232" y="350"/>
                        <a:pt x="252" y="238"/>
                      </a:cubicBezTo>
                      <a:cubicBezTo>
                        <a:pt x="271" y="127"/>
                        <a:pt x="261" y="20"/>
                        <a:pt x="220" y="10"/>
                      </a:cubicBezTo>
                      <a:cubicBezTo>
                        <a:pt x="179" y="0"/>
                        <a:pt x="111" y="5"/>
                        <a:pt x="121" y="78"/>
                      </a:cubicBezTo>
                      <a:cubicBezTo>
                        <a:pt x="121" y="78"/>
                        <a:pt x="184" y="97"/>
                        <a:pt x="157" y="182"/>
                      </a:cubicBezTo>
                      <a:cubicBezTo>
                        <a:pt x="130" y="267"/>
                        <a:pt x="111" y="331"/>
                        <a:pt x="121" y="361"/>
                      </a:cubicBezTo>
                      <a:cubicBezTo>
                        <a:pt x="121" y="361"/>
                        <a:pt x="0" y="541"/>
                        <a:pt x="36" y="716"/>
                      </a:cubicBezTo>
                      <a:cubicBezTo>
                        <a:pt x="36" y="716"/>
                        <a:pt x="49" y="668"/>
                        <a:pt x="139" y="632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  <p:sp>
              <p:nvSpPr>
                <p:cNvPr id="71" name="Freeform 86">
                  <a:extLst>
                    <a:ext uri="{FF2B5EF4-FFF2-40B4-BE49-F238E27FC236}">
                      <a16:creationId xmlns:a16="http://schemas.microsoft.com/office/drawing/2014/main" id="{33C54B1A-1670-4043-B393-8D0093E88D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7613" y="1863725"/>
                  <a:ext cx="420688" cy="611188"/>
                </a:xfrm>
                <a:custGeom>
                  <a:avLst/>
                  <a:gdLst>
                    <a:gd name="T0" fmla="*/ 143 w 555"/>
                    <a:gd name="T1" fmla="*/ 679 h 805"/>
                    <a:gd name="T2" fmla="*/ 272 w 555"/>
                    <a:gd name="T3" fmla="*/ 454 h 805"/>
                    <a:gd name="T4" fmla="*/ 332 w 555"/>
                    <a:gd name="T5" fmla="*/ 254 h 805"/>
                    <a:gd name="T6" fmla="*/ 463 w 555"/>
                    <a:gd name="T7" fmla="*/ 277 h 805"/>
                    <a:gd name="T8" fmla="*/ 555 w 555"/>
                    <a:gd name="T9" fmla="*/ 236 h 805"/>
                    <a:gd name="T10" fmla="*/ 400 w 555"/>
                    <a:gd name="T11" fmla="*/ 105 h 805"/>
                    <a:gd name="T12" fmla="*/ 386 w 555"/>
                    <a:gd name="T13" fmla="*/ 39 h 805"/>
                    <a:gd name="T14" fmla="*/ 349 w 555"/>
                    <a:gd name="T15" fmla="*/ 44 h 805"/>
                    <a:gd name="T16" fmla="*/ 306 w 555"/>
                    <a:gd name="T17" fmla="*/ 119 h 805"/>
                    <a:gd name="T18" fmla="*/ 272 w 555"/>
                    <a:gd name="T19" fmla="*/ 34 h 805"/>
                    <a:gd name="T20" fmla="*/ 231 w 555"/>
                    <a:gd name="T21" fmla="*/ 42 h 805"/>
                    <a:gd name="T22" fmla="*/ 209 w 555"/>
                    <a:gd name="T23" fmla="*/ 136 h 805"/>
                    <a:gd name="T24" fmla="*/ 146 w 555"/>
                    <a:gd name="T25" fmla="*/ 93 h 805"/>
                    <a:gd name="T26" fmla="*/ 80 w 555"/>
                    <a:gd name="T27" fmla="*/ 93 h 805"/>
                    <a:gd name="T28" fmla="*/ 88 w 555"/>
                    <a:gd name="T29" fmla="*/ 238 h 805"/>
                    <a:gd name="T30" fmla="*/ 15 w 555"/>
                    <a:gd name="T31" fmla="*/ 514 h 805"/>
                    <a:gd name="T32" fmla="*/ 85 w 555"/>
                    <a:gd name="T33" fmla="*/ 805 h 805"/>
                    <a:gd name="T34" fmla="*/ 143 w 555"/>
                    <a:gd name="T35" fmla="*/ 679 h 8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5" h="805">
                      <a:moveTo>
                        <a:pt x="143" y="679"/>
                      </a:moveTo>
                      <a:cubicBezTo>
                        <a:pt x="177" y="575"/>
                        <a:pt x="272" y="454"/>
                        <a:pt x="272" y="454"/>
                      </a:cubicBezTo>
                      <a:cubicBezTo>
                        <a:pt x="272" y="454"/>
                        <a:pt x="267" y="274"/>
                        <a:pt x="332" y="254"/>
                      </a:cubicBezTo>
                      <a:cubicBezTo>
                        <a:pt x="398" y="234"/>
                        <a:pt x="463" y="277"/>
                        <a:pt x="463" y="277"/>
                      </a:cubicBezTo>
                      <a:cubicBezTo>
                        <a:pt x="555" y="236"/>
                        <a:pt x="555" y="236"/>
                        <a:pt x="555" y="236"/>
                      </a:cubicBezTo>
                      <a:cubicBezTo>
                        <a:pt x="517" y="148"/>
                        <a:pt x="422" y="119"/>
                        <a:pt x="400" y="105"/>
                      </a:cubicBezTo>
                      <a:cubicBezTo>
                        <a:pt x="378" y="90"/>
                        <a:pt x="386" y="39"/>
                        <a:pt x="386" y="39"/>
                      </a:cubicBezTo>
                      <a:cubicBezTo>
                        <a:pt x="378" y="10"/>
                        <a:pt x="345" y="20"/>
                        <a:pt x="349" y="44"/>
                      </a:cubicBezTo>
                      <a:cubicBezTo>
                        <a:pt x="354" y="68"/>
                        <a:pt x="342" y="119"/>
                        <a:pt x="306" y="119"/>
                      </a:cubicBezTo>
                      <a:cubicBezTo>
                        <a:pt x="269" y="119"/>
                        <a:pt x="272" y="34"/>
                        <a:pt x="272" y="34"/>
                      </a:cubicBezTo>
                      <a:cubicBezTo>
                        <a:pt x="238" y="0"/>
                        <a:pt x="231" y="42"/>
                        <a:pt x="231" y="42"/>
                      </a:cubicBezTo>
                      <a:cubicBezTo>
                        <a:pt x="231" y="42"/>
                        <a:pt x="243" y="127"/>
                        <a:pt x="209" y="136"/>
                      </a:cubicBezTo>
                      <a:cubicBezTo>
                        <a:pt x="175" y="146"/>
                        <a:pt x="146" y="93"/>
                        <a:pt x="146" y="93"/>
                      </a:cubicBezTo>
                      <a:cubicBezTo>
                        <a:pt x="146" y="93"/>
                        <a:pt x="122" y="42"/>
                        <a:pt x="80" y="93"/>
                      </a:cubicBezTo>
                      <a:cubicBezTo>
                        <a:pt x="39" y="144"/>
                        <a:pt x="80" y="168"/>
                        <a:pt x="88" y="238"/>
                      </a:cubicBezTo>
                      <a:cubicBezTo>
                        <a:pt x="95" y="308"/>
                        <a:pt x="29" y="391"/>
                        <a:pt x="15" y="514"/>
                      </a:cubicBezTo>
                      <a:cubicBezTo>
                        <a:pt x="0" y="638"/>
                        <a:pt x="85" y="805"/>
                        <a:pt x="85" y="805"/>
                      </a:cubicBezTo>
                      <a:cubicBezTo>
                        <a:pt x="85" y="805"/>
                        <a:pt x="109" y="783"/>
                        <a:pt x="143" y="679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68" name="Oval 67"/>
              <p:cNvSpPr/>
              <p:nvPr/>
            </p:nvSpPr>
            <p:spPr>
              <a:xfrm>
                <a:off x="3656928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59641" y="2193111"/>
              <a:ext cx="240001" cy="251310"/>
              <a:chOff x="3037091" y="2244240"/>
              <a:chExt cx="240001" cy="251310"/>
            </a:xfrm>
          </p:grpSpPr>
          <p:pic>
            <p:nvPicPr>
              <p:cNvPr id="65" name="Graphic 64">
                <a:extLst>
                  <a:ext uri="{FF2B5EF4-FFF2-40B4-BE49-F238E27FC236}">
                    <a16:creationId xmlns:a16="http://schemas.microsoft.com/office/drawing/2014/main" id="{66551585-9E95-3745-8A00-10D3B69019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97559" y="2298538"/>
                <a:ext cx="112896" cy="161057"/>
              </a:xfrm>
              <a:prstGeom prst="rect">
                <a:avLst/>
              </a:prstGeom>
              <a:solidFill>
                <a:srgbClr val="1E70B2"/>
              </a:solidFill>
            </p:spPr>
          </p:pic>
          <p:sp>
            <p:nvSpPr>
              <p:cNvPr id="66" name="Oval 65"/>
              <p:cNvSpPr/>
              <p:nvPr/>
            </p:nvSpPr>
            <p:spPr>
              <a:xfrm>
                <a:off x="3037091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63" name="Oval 62"/>
            <p:cNvSpPr/>
            <p:nvPr/>
          </p:nvSpPr>
          <p:spPr>
            <a:xfrm>
              <a:off x="3365205" y="1714790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64" name="Graphic 55">
              <a:extLst>
                <a:ext uri="{FF2B5EF4-FFF2-40B4-BE49-F238E27FC236}">
                  <a16:creationId xmlns:a16="http://schemas.microsoft.com/office/drawing/2014/main" id="{69EC1B32-3E55-1F48-8A7A-2353834E1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27954" y="1766468"/>
              <a:ext cx="113860" cy="139958"/>
            </a:xfrm>
            <a:prstGeom prst="rect">
              <a:avLst/>
            </a:prstGeom>
            <a:solidFill>
              <a:srgbClr val="1E70B2"/>
            </a:solidFill>
          </p:spPr>
        </p:pic>
      </p:grpSp>
      <p:sp>
        <p:nvSpPr>
          <p:cNvPr id="83" name="Title 1"/>
          <p:cNvSpPr txBox="1">
            <a:spLocks/>
          </p:cNvSpPr>
          <p:nvPr/>
        </p:nvSpPr>
        <p:spPr>
          <a:xfrm>
            <a:off x="3144415" y="276901"/>
            <a:ext cx="8903927" cy="12812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sz="3600" b="1" spc="0" dirty="0"/>
              <a:t>Revmatologické komorbidity</a:t>
            </a:r>
            <a:endParaRPr lang="en-US" sz="3600" b="1" dirty="0"/>
          </a:p>
        </p:txBody>
      </p:sp>
      <p:sp>
        <p:nvSpPr>
          <p:cNvPr id="93" name="Rectangle 92">
            <a:hlinkClick r:id="" action="ppaction://noaction"/>
          </p:cNvPr>
          <p:cNvSpPr/>
          <p:nvPr/>
        </p:nvSpPr>
        <p:spPr>
          <a:xfrm>
            <a:off x="163690" y="0"/>
            <a:ext cx="854221" cy="889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/>
          </a:p>
        </p:txBody>
      </p:sp>
      <p:sp>
        <p:nvSpPr>
          <p:cNvPr id="95" name="Rectangle 94"/>
          <p:cNvSpPr/>
          <p:nvPr/>
        </p:nvSpPr>
        <p:spPr>
          <a:xfrm>
            <a:off x="1393373" y="2616200"/>
            <a:ext cx="1018902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dirty="0">
              <a:solidFill>
                <a:schemeClr val="accent3">
                  <a:lumMod val="75000"/>
                </a:schemeClr>
              </a:solidFill>
            </a:endParaRP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1"/>
                </a:solidFill>
              </a:rPr>
              <a:t>Axiální spondyloartritida </a:t>
            </a:r>
            <a:r>
              <a:rPr lang="en-US" dirty="0"/>
              <a:t>je nejčastěji hlášeným </a:t>
            </a:r>
            <a:r>
              <a:rPr lang="en-US" dirty="0" err="1"/>
              <a:t>revmatologickým</a:t>
            </a:r>
            <a:r>
              <a:rPr lang="en-US" dirty="0"/>
              <a:t> </a:t>
            </a:r>
            <a:r>
              <a:rPr lang="en-US" dirty="0" err="1"/>
              <a:t>onemocněním</a:t>
            </a:r>
            <a:r>
              <a:rPr lang="en-US" dirty="0"/>
              <a:t>.</a:t>
            </a:r>
            <a:r>
              <a:rPr lang="cs-CZ" dirty="0"/>
              <a:t> </a:t>
            </a:r>
            <a:r>
              <a:rPr lang="en-US" baseline="30000" dirty="0"/>
              <a:t>2</a:t>
            </a: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aseline="30000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aseline="30000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cs-CZ" dirty="0"/>
              <a:t>V </a:t>
            </a:r>
            <a:r>
              <a:rPr lang="en-US" dirty="0" err="1"/>
              <a:t>kohortě</a:t>
            </a:r>
            <a:r>
              <a:rPr lang="en-US" dirty="0"/>
              <a:t> </a:t>
            </a:r>
            <a:r>
              <a:rPr lang="en-US" dirty="0" err="1"/>
              <a:t>pacientů</a:t>
            </a:r>
            <a:r>
              <a:rPr lang="en-US" dirty="0"/>
              <a:t> s </a:t>
            </a:r>
            <a:r>
              <a:rPr lang="en-US" b="1" dirty="0" err="1">
                <a:solidFill>
                  <a:schemeClr val="accent1"/>
                </a:solidFill>
              </a:rPr>
              <a:t>axiální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 err="1">
                <a:solidFill>
                  <a:schemeClr val="accent1"/>
                </a:solidFill>
              </a:rPr>
              <a:t>spondyloartritidou</a:t>
            </a:r>
            <a:r>
              <a:rPr lang="cs-CZ" b="1" dirty="0">
                <a:solidFill>
                  <a:schemeClr val="accent1"/>
                </a:solidFill>
              </a:rPr>
              <a:t> </a:t>
            </a:r>
            <a:r>
              <a:rPr lang="cs-CZ" dirty="0"/>
              <a:t>byla p</a:t>
            </a:r>
            <a:r>
              <a:rPr lang="en-US" dirty="0" err="1"/>
              <a:t>revalence</a:t>
            </a:r>
            <a:r>
              <a:rPr lang="en-US" dirty="0"/>
              <a:t> HS </a:t>
            </a:r>
            <a:r>
              <a:rPr lang="en-US" b="1" dirty="0">
                <a:solidFill>
                  <a:schemeClr val="accent1"/>
                </a:solidFill>
              </a:rPr>
              <a:t>9,1 %</a:t>
            </a:r>
            <a:r>
              <a:rPr lang="cs-CZ" b="1" dirty="0">
                <a:solidFill>
                  <a:schemeClr val="accent1"/>
                </a:solidFill>
              </a:rPr>
              <a:t>.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aseline="30000" dirty="0"/>
              <a:t>2</a:t>
            </a: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="1" dirty="0">
              <a:solidFill>
                <a:schemeClr val="accent3">
                  <a:lumMod val="75000"/>
                </a:schemeClr>
              </a:solidFill>
            </a:endParaRP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="1" dirty="0">
              <a:solidFill>
                <a:schemeClr val="accent3">
                  <a:lumMod val="75000"/>
                </a:schemeClr>
              </a:solidFill>
            </a:endParaRP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U pacientů s HS a spondyloartropatií jsou často postiženy </a:t>
            </a:r>
            <a:r>
              <a:rPr lang="en-US" b="1" dirty="0">
                <a:solidFill>
                  <a:schemeClr val="accent1"/>
                </a:solidFill>
              </a:rPr>
              <a:t>axiální (69 %) a periferní (86 %) </a:t>
            </a:r>
            <a:r>
              <a:rPr lang="en-US" b="1" dirty="0" err="1">
                <a:solidFill>
                  <a:schemeClr val="accent1"/>
                </a:solidFill>
              </a:rPr>
              <a:t>klouby</a:t>
            </a:r>
            <a:r>
              <a:rPr lang="en-US" b="1" dirty="0">
                <a:solidFill>
                  <a:schemeClr val="accent1"/>
                </a:solidFill>
              </a:rPr>
              <a:t>.</a:t>
            </a:r>
            <a:r>
              <a:rPr lang="cs-CZ" b="1" dirty="0">
                <a:solidFill>
                  <a:schemeClr val="accent1"/>
                </a:solidFill>
              </a:rPr>
              <a:t> </a:t>
            </a:r>
            <a:r>
              <a:rPr lang="en-US" baseline="30000" dirty="0"/>
              <a:t>3</a:t>
            </a: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Koexistence HS se </a:t>
            </a:r>
            <a:r>
              <a:rPr lang="en-US" b="1" dirty="0">
                <a:solidFill>
                  <a:schemeClr val="accent1"/>
                </a:solidFill>
              </a:rPr>
              <a:t>systémovým lupus erythematodes </a:t>
            </a:r>
            <a:r>
              <a:rPr lang="en-US" dirty="0"/>
              <a:t>ukazuje na společnou </a:t>
            </a:r>
            <a:r>
              <a:rPr lang="en-US" dirty="0" err="1"/>
              <a:t>etiologii</a:t>
            </a:r>
            <a:r>
              <a:rPr lang="en-US" dirty="0"/>
              <a:t> </a:t>
            </a:r>
            <a:r>
              <a:rPr lang="en-US" dirty="0" err="1"/>
              <a:t>onemocnění</a:t>
            </a:r>
            <a:r>
              <a:rPr lang="cs-CZ" dirty="0"/>
              <a:t> </a:t>
            </a:r>
            <a:r>
              <a:rPr lang="en-US" baseline="30000" dirty="0"/>
              <a:t>4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820432" y="2835451"/>
            <a:ext cx="609600" cy="605556"/>
            <a:chOff x="614620" y="1847695"/>
            <a:chExt cx="429768" cy="435942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6D847917-0115-8A4A-B479-A30D49D76E85}"/>
                </a:ext>
              </a:extLst>
            </p:cNvPr>
            <p:cNvSpPr/>
            <p:nvPr/>
          </p:nvSpPr>
          <p:spPr>
            <a:xfrm>
              <a:off x="614620" y="1853869"/>
              <a:ext cx="429768" cy="429768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solidFill>
                <a:schemeClr val="accent1">
                  <a:lumMod val="75000"/>
                  <a:lumOff val="2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9022304B-E19C-B749-B44C-836C3EAA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176" y="1847695"/>
              <a:ext cx="231686" cy="416212"/>
            </a:xfrm>
            <a:custGeom>
              <a:avLst/>
              <a:gdLst>
                <a:gd name="T0" fmla="*/ 84 w 90"/>
                <a:gd name="T1" fmla="*/ 154 h 191"/>
                <a:gd name="T2" fmla="*/ 74 w 90"/>
                <a:gd name="T3" fmla="*/ 148 h 191"/>
                <a:gd name="T4" fmla="*/ 82 w 90"/>
                <a:gd name="T5" fmla="*/ 135 h 191"/>
                <a:gd name="T6" fmla="*/ 80 w 90"/>
                <a:gd name="T7" fmla="*/ 130 h 191"/>
                <a:gd name="T8" fmla="*/ 69 w 90"/>
                <a:gd name="T9" fmla="*/ 120 h 191"/>
                <a:gd name="T10" fmla="*/ 75 w 90"/>
                <a:gd name="T11" fmla="*/ 113 h 191"/>
                <a:gd name="T12" fmla="*/ 63 w 90"/>
                <a:gd name="T13" fmla="*/ 105 h 191"/>
                <a:gd name="T14" fmla="*/ 72 w 90"/>
                <a:gd name="T15" fmla="*/ 90 h 191"/>
                <a:gd name="T16" fmla="*/ 55 w 90"/>
                <a:gd name="T17" fmla="*/ 85 h 191"/>
                <a:gd name="T18" fmla="*/ 57 w 90"/>
                <a:gd name="T19" fmla="*/ 71 h 191"/>
                <a:gd name="T20" fmla="*/ 55 w 90"/>
                <a:gd name="T21" fmla="*/ 67 h 191"/>
                <a:gd name="T22" fmla="*/ 43 w 90"/>
                <a:gd name="T23" fmla="*/ 60 h 191"/>
                <a:gd name="T24" fmla="*/ 50 w 90"/>
                <a:gd name="T25" fmla="*/ 45 h 191"/>
                <a:gd name="T26" fmla="*/ 34 w 90"/>
                <a:gd name="T27" fmla="*/ 42 h 191"/>
                <a:gd name="T28" fmla="*/ 34 w 90"/>
                <a:gd name="T29" fmla="*/ 28 h 191"/>
                <a:gd name="T30" fmla="*/ 32 w 90"/>
                <a:gd name="T31" fmla="*/ 25 h 191"/>
                <a:gd name="T32" fmla="*/ 22 w 90"/>
                <a:gd name="T33" fmla="*/ 16 h 191"/>
                <a:gd name="T34" fmla="*/ 26 w 90"/>
                <a:gd name="T35" fmla="*/ 11 h 191"/>
                <a:gd name="T36" fmla="*/ 0 w 90"/>
                <a:gd name="T37" fmla="*/ 11 h 191"/>
                <a:gd name="T38" fmla="*/ 8 w 90"/>
                <a:gd name="T39" fmla="*/ 16 h 191"/>
                <a:gd name="T40" fmla="*/ 15 w 90"/>
                <a:gd name="T41" fmla="*/ 19 h 191"/>
                <a:gd name="T42" fmla="*/ 12 w 90"/>
                <a:gd name="T43" fmla="*/ 33 h 191"/>
                <a:gd name="T44" fmla="*/ 22 w 90"/>
                <a:gd name="T45" fmla="*/ 34 h 191"/>
                <a:gd name="T46" fmla="*/ 18 w 90"/>
                <a:gd name="T47" fmla="*/ 48 h 191"/>
                <a:gd name="T48" fmla="*/ 29 w 90"/>
                <a:gd name="T49" fmla="*/ 49 h 191"/>
                <a:gd name="T50" fmla="*/ 25 w 90"/>
                <a:gd name="T51" fmla="*/ 63 h 191"/>
                <a:gd name="T52" fmla="*/ 36 w 90"/>
                <a:gd name="T53" fmla="*/ 63 h 191"/>
                <a:gd name="T54" fmla="*/ 33 w 90"/>
                <a:gd name="T55" fmla="*/ 78 h 191"/>
                <a:gd name="T56" fmla="*/ 44 w 90"/>
                <a:gd name="T57" fmla="*/ 78 h 191"/>
                <a:gd name="T58" fmla="*/ 39 w 90"/>
                <a:gd name="T59" fmla="*/ 92 h 191"/>
                <a:gd name="T60" fmla="*/ 50 w 90"/>
                <a:gd name="T61" fmla="*/ 92 h 191"/>
                <a:gd name="T62" fmla="*/ 45 w 90"/>
                <a:gd name="T63" fmla="*/ 107 h 191"/>
                <a:gd name="T64" fmla="*/ 57 w 90"/>
                <a:gd name="T65" fmla="*/ 107 h 191"/>
                <a:gd name="T66" fmla="*/ 51 w 90"/>
                <a:gd name="T67" fmla="*/ 121 h 191"/>
                <a:gd name="T68" fmla="*/ 62 w 90"/>
                <a:gd name="T69" fmla="*/ 121 h 191"/>
                <a:gd name="T70" fmla="*/ 49 w 90"/>
                <a:gd name="T71" fmla="*/ 131 h 191"/>
                <a:gd name="T72" fmla="*/ 65 w 90"/>
                <a:gd name="T73" fmla="*/ 134 h 191"/>
                <a:gd name="T74" fmla="*/ 52 w 90"/>
                <a:gd name="T75" fmla="*/ 145 h 191"/>
                <a:gd name="T76" fmla="*/ 67 w 90"/>
                <a:gd name="T77" fmla="*/ 149 h 191"/>
                <a:gd name="T78" fmla="*/ 52 w 90"/>
                <a:gd name="T79" fmla="*/ 159 h 191"/>
                <a:gd name="T80" fmla="*/ 67 w 90"/>
                <a:gd name="T81" fmla="*/ 165 h 191"/>
                <a:gd name="T82" fmla="*/ 50 w 90"/>
                <a:gd name="T83" fmla="*/ 172 h 191"/>
                <a:gd name="T84" fmla="*/ 64 w 90"/>
                <a:gd name="T85" fmla="*/ 185 h 191"/>
                <a:gd name="T86" fmla="*/ 48 w 90"/>
                <a:gd name="T87" fmla="*/ 191 h 191"/>
                <a:gd name="T88" fmla="*/ 71 w 90"/>
                <a:gd name="T89" fmla="*/ 186 h 191"/>
                <a:gd name="T90" fmla="*/ 82 w 90"/>
                <a:gd name="T91" fmla="*/ 183 h 191"/>
                <a:gd name="T92" fmla="*/ 74 w 90"/>
                <a:gd name="T93" fmla="*/ 17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" h="191">
                  <a:moveTo>
                    <a:pt x="84" y="165"/>
                  </a:moveTo>
                  <a:cubicBezTo>
                    <a:pt x="87" y="166"/>
                    <a:pt x="90" y="163"/>
                    <a:pt x="90" y="160"/>
                  </a:cubicBezTo>
                  <a:cubicBezTo>
                    <a:pt x="90" y="156"/>
                    <a:pt x="87" y="154"/>
                    <a:pt x="84" y="154"/>
                  </a:cubicBezTo>
                  <a:cubicBezTo>
                    <a:pt x="84" y="154"/>
                    <a:pt x="84" y="154"/>
                    <a:pt x="84" y="154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4" y="152"/>
                    <a:pt x="74" y="150"/>
                    <a:pt x="74" y="148"/>
                  </a:cubicBezTo>
                  <a:cubicBezTo>
                    <a:pt x="83" y="147"/>
                    <a:pt x="83" y="147"/>
                    <a:pt x="83" y="147"/>
                  </a:cubicBezTo>
                  <a:cubicBezTo>
                    <a:pt x="86" y="147"/>
                    <a:pt x="89" y="144"/>
                    <a:pt x="88" y="141"/>
                  </a:cubicBezTo>
                  <a:cubicBezTo>
                    <a:pt x="88" y="137"/>
                    <a:pt x="85" y="135"/>
                    <a:pt x="82" y="135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35"/>
                    <a:pt x="72" y="133"/>
                    <a:pt x="72" y="132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83" y="129"/>
                    <a:pt x="85" y="126"/>
                    <a:pt x="84" y="123"/>
                  </a:cubicBezTo>
                  <a:cubicBezTo>
                    <a:pt x="83" y="119"/>
                    <a:pt x="80" y="117"/>
                    <a:pt x="77" y="118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8" y="120"/>
                    <a:pt x="68" y="119"/>
                  </a:cubicBezTo>
                  <a:cubicBezTo>
                    <a:pt x="68" y="118"/>
                    <a:pt x="68" y="117"/>
                    <a:pt x="67" y="116"/>
                  </a:cubicBezTo>
                  <a:cubicBezTo>
                    <a:pt x="75" y="113"/>
                    <a:pt x="75" y="113"/>
                    <a:pt x="75" y="113"/>
                  </a:cubicBezTo>
                  <a:cubicBezTo>
                    <a:pt x="78" y="112"/>
                    <a:pt x="80" y="109"/>
                    <a:pt x="79" y="106"/>
                  </a:cubicBezTo>
                  <a:cubicBezTo>
                    <a:pt x="78" y="102"/>
                    <a:pt x="74" y="101"/>
                    <a:pt x="71" y="102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3" y="103"/>
                    <a:pt x="62" y="102"/>
                    <a:pt x="62" y="100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72" y="96"/>
                    <a:pt x="73" y="93"/>
                    <a:pt x="72" y="90"/>
                  </a:cubicBezTo>
                  <a:cubicBezTo>
                    <a:pt x="71" y="87"/>
                    <a:pt x="67" y="85"/>
                    <a:pt x="64" y="86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6" y="88"/>
                    <a:pt x="56" y="87"/>
                    <a:pt x="55" y="85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5" y="81"/>
                    <a:pt x="66" y="77"/>
                    <a:pt x="65" y="74"/>
                  </a:cubicBezTo>
                  <a:cubicBezTo>
                    <a:pt x="63" y="71"/>
                    <a:pt x="60" y="70"/>
                    <a:pt x="57" y="71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49" y="73"/>
                    <a:pt x="49" y="72"/>
                    <a:pt x="48" y="71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8" y="66"/>
                    <a:pt x="59" y="62"/>
                    <a:pt x="57" y="59"/>
                  </a:cubicBezTo>
                  <a:cubicBezTo>
                    <a:pt x="56" y="56"/>
                    <a:pt x="52" y="55"/>
                    <a:pt x="49" y="57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2" y="59"/>
                    <a:pt x="41" y="57"/>
                    <a:pt x="41" y="56"/>
                  </a:cubicBezTo>
                  <a:cubicBezTo>
                    <a:pt x="47" y="53"/>
                    <a:pt x="47" y="53"/>
                    <a:pt x="47" y="53"/>
                  </a:cubicBezTo>
                  <a:cubicBezTo>
                    <a:pt x="50" y="51"/>
                    <a:pt x="51" y="48"/>
                    <a:pt x="50" y="45"/>
                  </a:cubicBezTo>
                  <a:cubicBezTo>
                    <a:pt x="48" y="42"/>
                    <a:pt x="44" y="41"/>
                    <a:pt x="42" y="42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4"/>
                    <a:pt x="34" y="43"/>
                    <a:pt x="34" y="42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42" y="37"/>
                    <a:pt x="44" y="34"/>
                    <a:pt x="42" y="31"/>
                  </a:cubicBezTo>
                  <a:cubicBezTo>
                    <a:pt x="41" y="28"/>
                    <a:pt x="37" y="27"/>
                    <a:pt x="34" y="28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0"/>
                    <a:pt x="27" y="28"/>
                    <a:pt x="27" y="27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5" y="23"/>
                    <a:pt x="37" y="20"/>
                    <a:pt x="35" y="17"/>
                  </a:cubicBezTo>
                  <a:cubicBezTo>
                    <a:pt x="34" y="14"/>
                    <a:pt x="31" y="12"/>
                    <a:pt x="28" y="14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5"/>
                    <a:pt x="21" y="14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9" y="10"/>
                    <a:pt x="31" y="6"/>
                    <a:pt x="30" y="3"/>
                  </a:cubicBezTo>
                  <a:cubicBezTo>
                    <a:pt x="30" y="2"/>
                    <a:pt x="29" y="1"/>
                    <a:pt x="28" y="0"/>
                  </a:cubicBezTo>
                  <a:cubicBezTo>
                    <a:pt x="18" y="2"/>
                    <a:pt x="9" y="6"/>
                    <a:pt x="0" y="11"/>
                  </a:cubicBezTo>
                  <a:cubicBezTo>
                    <a:pt x="0" y="12"/>
                    <a:pt x="0" y="12"/>
                    <a:pt x="1" y="12"/>
                  </a:cubicBezTo>
                  <a:cubicBezTo>
                    <a:pt x="1" y="15"/>
                    <a:pt x="4" y="16"/>
                    <a:pt x="6" y="16"/>
                  </a:cubicBezTo>
                  <a:cubicBezTo>
                    <a:pt x="7" y="16"/>
                    <a:pt x="7" y="16"/>
                    <a:pt x="8" y="1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4" y="16"/>
                    <a:pt x="15" y="17"/>
                  </a:cubicBezTo>
                  <a:cubicBezTo>
                    <a:pt x="15" y="18"/>
                    <a:pt x="15" y="18"/>
                    <a:pt x="15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7" y="23"/>
                    <a:pt x="5" y="26"/>
                    <a:pt x="6" y="29"/>
                  </a:cubicBezTo>
                  <a:cubicBezTo>
                    <a:pt x="7" y="31"/>
                    <a:pt x="9" y="33"/>
                    <a:pt x="12" y="33"/>
                  </a:cubicBezTo>
                  <a:cubicBezTo>
                    <a:pt x="13" y="33"/>
                    <a:pt x="13" y="33"/>
                    <a:pt x="14" y="32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1" y="31"/>
                    <a:pt x="21" y="33"/>
                    <a:pt x="22" y="34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3" y="38"/>
                    <a:pt x="12" y="42"/>
                    <a:pt x="13" y="45"/>
                  </a:cubicBezTo>
                  <a:cubicBezTo>
                    <a:pt x="14" y="47"/>
                    <a:pt x="16" y="48"/>
                    <a:pt x="18" y="48"/>
                  </a:cubicBezTo>
                  <a:cubicBezTo>
                    <a:pt x="19" y="48"/>
                    <a:pt x="20" y="48"/>
                    <a:pt x="21" y="48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8" y="46"/>
                    <a:pt x="28" y="47"/>
                    <a:pt x="29" y="49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0" y="53"/>
                    <a:pt x="19" y="57"/>
                    <a:pt x="20" y="60"/>
                  </a:cubicBezTo>
                  <a:cubicBezTo>
                    <a:pt x="21" y="62"/>
                    <a:pt x="23" y="63"/>
                    <a:pt x="25" y="63"/>
                  </a:cubicBezTo>
                  <a:cubicBezTo>
                    <a:pt x="26" y="63"/>
                    <a:pt x="27" y="63"/>
                    <a:pt x="28" y="62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5" y="61"/>
                    <a:pt x="36" y="62"/>
                    <a:pt x="36" y="63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27" y="68"/>
                    <a:pt x="26" y="71"/>
                    <a:pt x="27" y="74"/>
                  </a:cubicBezTo>
                  <a:cubicBezTo>
                    <a:pt x="28" y="76"/>
                    <a:pt x="30" y="78"/>
                    <a:pt x="33" y="78"/>
                  </a:cubicBezTo>
                  <a:cubicBezTo>
                    <a:pt x="33" y="78"/>
                    <a:pt x="34" y="77"/>
                    <a:pt x="35" y="77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5"/>
                    <a:pt x="43" y="76"/>
                    <a:pt x="44" y="78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4" y="82"/>
                    <a:pt x="33" y="86"/>
                    <a:pt x="34" y="89"/>
                  </a:cubicBezTo>
                  <a:cubicBezTo>
                    <a:pt x="35" y="91"/>
                    <a:pt x="37" y="92"/>
                    <a:pt x="39" y="92"/>
                  </a:cubicBezTo>
                  <a:cubicBezTo>
                    <a:pt x="40" y="92"/>
                    <a:pt x="41" y="92"/>
                    <a:pt x="42" y="9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9" y="90"/>
                    <a:pt x="50" y="91"/>
                    <a:pt x="50" y="92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0" y="97"/>
                    <a:pt x="39" y="100"/>
                    <a:pt x="40" y="103"/>
                  </a:cubicBezTo>
                  <a:cubicBezTo>
                    <a:pt x="41" y="105"/>
                    <a:pt x="43" y="107"/>
                    <a:pt x="45" y="107"/>
                  </a:cubicBezTo>
                  <a:cubicBezTo>
                    <a:pt x="46" y="107"/>
                    <a:pt x="47" y="107"/>
                    <a:pt x="48" y="106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6" y="104"/>
                    <a:pt x="56" y="106"/>
                    <a:pt x="57" y="107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6" y="111"/>
                    <a:pt x="44" y="114"/>
                    <a:pt x="45" y="117"/>
                  </a:cubicBezTo>
                  <a:cubicBezTo>
                    <a:pt x="46" y="120"/>
                    <a:pt x="48" y="121"/>
                    <a:pt x="51" y="121"/>
                  </a:cubicBezTo>
                  <a:cubicBezTo>
                    <a:pt x="51" y="121"/>
                    <a:pt x="52" y="121"/>
                    <a:pt x="53" y="121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1" y="119"/>
                    <a:pt x="61" y="120"/>
                    <a:pt x="62" y="121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0" y="125"/>
                    <a:pt x="48" y="128"/>
                    <a:pt x="49" y="131"/>
                  </a:cubicBezTo>
                  <a:cubicBezTo>
                    <a:pt x="50" y="134"/>
                    <a:pt x="52" y="136"/>
                    <a:pt x="55" y="136"/>
                  </a:cubicBezTo>
                  <a:cubicBezTo>
                    <a:pt x="55" y="136"/>
                    <a:pt x="56" y="136"/>
                    <a:pt x="56" y="136"/>
                  </a:cubicBezTo>
                  <a:cubicBezTo>
                    <a:pt x="65" y="134"/>
                    <a:pt x="65" y="134"/>
                    <a:pt x="65" y="134"/>
                  </a:cubicBezTo>
                  <a:cubicBezTo>
                    <a:pt x="65" y="135"/>
                    <a:pt x="65" y="136"/>
                    <a:pt x="65" y="138"/>
                  </a:cubicBezTo>
                  <a:cubicBezTo>
                    <a:pt x="57" y="139"/>
                    <a:pt x="57" y="139"/>
                    <a:pt x="57" y="139"/>
                  </a:cubicBezTo>
                  <a:cubicBezTo>
                    <a:pt x="53" y="139"/>
                    <a:pt x="51" y="142"/>
                    <a:pt x="52" y="145"/>
                  </a:cubicBezTo>
                  <a:cubicBezTo>
                    <a:pt x="52" y="148"/>
                    <a:pt x="54" y="150"/>
                    <a:pt x="57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67" y="149"/>
                    <a:pt x="67" y="149"/>
                    <a:pt x="67" y="149"/>
                  </a:cubicBezTo>
                  <a:cubicBezTo>
                    <a:pt x="67" y="151"/>
                    <a:pt x="67" y="152"/>
                    <a:pt x="67" y="153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5" y="153"/>
                    <a:pt x="52" y="155"/>
                    <a:pt x="52" y="159"/>
                  </a:cubicBezTo>
                  <a:cubicBezTo>
                    <a:pt x="52" y="162"/>
                    <a:pt x="54" y="165"/>
                    <a:pt x="58" y="165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67" y="165"/>
                    <a:pt x="67" y="165"/>
                    <a:pt x="67" y="165"/>
                  </a:cubicBezTo>
                  <a:cubicBezTo>
                    <a:pt x="67" y="166"/>
                    <a:pt x="67" y="168"/>
                    <a:pt x="66" y="169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7"/>
                    <a:pt x="51" y="169"/>
                    <a:pt x="50" y="172"/>
                  </a:cubicBezTo>
                  <a:cubicBezTo>
                    <a:pt x="50" y="176"/>
                    <a:pt x="52" y="179"/>
                    <a:pt x="55" y="179"/>
                  </a:cubicBezTo>
                  <a:cubicBezTo>
                    <a:pt x="65" y="181"/>
                    <a:pt x="65" y="181"/>
                    <a:pt x="65" y="181"/>
                  </a:cubicBezTo>
                  <a:cubicBezTo>
                    <a:pt x="65" y="182"/>
                    <a:pt x="64" y="183"/>
                    <a:pt x="64" y="185"/>
                  </a:cubicBezTo>
                  <a:cubicBezTo>
                    <a:pt x="54" y="182"/>
                    <a:pt x="54" y="182"/>
                    <a:pt x="54" y="182"/>
                  </a:cubicBezTo>
                  <a:cubicBezTo>
                    <a:pt x="51" y="181"/>
                    <a:pt x="48" y="183"/>
                    <a:pt x="47" y="187"/>
                  </a:cubicBezTo>
                  <a:cubicBezTo>
                    <a:pt x="47" y="188"/>
                    <a:pt x="47" y="189"/>
                    <a:pt x="48" y="191"/>
                  </a:cubicBezTo>
                  <a:cubicBezTo>
                    <a:pt x="49" y="191"/>
                    <a:pt x="50" y="191"/>
                    <a:pt x="51" y="191"/>
                  </a:cubicBezTo>
                  <a:cubicBezTo>
                    <a:pt x="59" y="191"/>
                    <a:pt x="68" y="190"/>
                    <a:pt x="75" y="187"/>
                  </a:cubicBezTo>
                  <a:cubicBezTo>
                    <a:pt x="71" y="186"/>
                    <a:pt x="71" y="186"/>
                    <a:pt x="71" y="186"/>
                  </a:cubicBezTo>
                  <a:cubicBezTo>
                    <a:pt x="71" y="185"/>
                    <a:pt x="72" y="183"/>
                    <a:pt x="72" y="182"/>
                  </a:cubicBezTo>
                  <a:cubicBezTo>
                    <a:pt x="82" y="183"/>
                    <a:pt x="82" y="183"/>
                    <a:pt x="82" y="183"/>
                  </a:cubicBezTo>
                  <a:cubicBezTo>
                    <a:pt x="82" y="183"/>
                    <a:pt x="82" y="183"/>
                    <a:pt x="82" y="183"/>
                  </a:cubicBezTo>
                  <a:cubicBezTo>
                    <a:pt x="85" y="183"/>
                    <a:pt x="88" y="181"/>
                    <a:pt x="88" y="178"/>
                  </a:cubicBezTo>
                  <a:cubicBezTo>
                    <a:pt x="89" y="175"/>
                    <a:pt x="87" y="172"/>
                    <a:pt x="83" y="172"/>
                  </a:cubicBezTo>
                  <a:cubicBezTo>
                    <a:pt x="74" y="170"/>
                    <a:pt x="74" y="170"/>
                    <a:pt x="74" y="170"/>
                  </a:cubicBezTo>
                  <a:cubicBezTo>
                    <a:pt x="74" y="168"/>
                    <a:pt x="74" y="167"/>
                    <a:pt x="74" y="165"/>
                  </a:cubicBezTo>
                  <a:lnTo>
                    <a:pt x="84" y="16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15" tIns="60959" rIns="121915" bIns="60959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133" kern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820432" y="4038600"/>
            <a:ext cx="609600" cy="609600"/>
            <a:chOff x="664409" y="2814925"/>
            <a:chExt cx="457200" cy="45720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6D847917-0115-8A4A-B479-A30D49D76E85}"/>
                </a:ext>
              </a:extLst>
            </p:cNvPr>
            <p:cNvSpPr/>
            <p:nvPr/>
          </p:nvSpPr>
          <p:spPr>
            <a:xfrm>
              <a:off x="664409" y="2814925"/>
              <a:ext cx="457200" cy="457200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solidFill>
                <a:schemeClr val="accent1">
                  <a:lumMod val="75000"/>
                  <a:lumOff val="2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Freeform 40">
              <a:extLst>
                <a:ext uri="{FF2B5EF4-FFF2-40B4-BE49-F238E27FC236}">
                  <a16:creationId xmlns:a16="http://schemas.microsoft.com/office/drawing/2014/main" id="{50A033B2-E2E6-6140-BD08-5F270F08D7E7}"/>
                </a:ext>
              </a:extLst>
            </p:cNvPr>
            <p:cNvSpPr>
              <a:spLocks/>
            </p:cNvSpPr>
            <p:nvPr/>
          </p:nvSpPr>
          <p:spPr bwMode="auto">
            <a:xfrm rot="490297">
              <a:off x="771905" y="2827464"/>
              <a:ext cx="190244" cy="193465"/>
            </a:xfrm>
            <a:custGeom>
              <a:avLst/>
              <a:gdLst>
                <a:gd name="T0" fmla="*/ 0 w 172"/>
                <a:gd name="T1" fmla="*/ 154 h 213"/>
                <a:gd name="T2" fmla="*/ 29 w 172"/>
                <a:gd name="T3" fmla="*/ 104 h 213"/>
                <a:gd name="T4" fmla="*/ 53 w 172"/>
                <a:gd name="T5" fmla="*/ 87 h 213"/>
                <a:gd name="T6" fmla="*/ 83 w 172"/>
                <a:gd name="T7" fmla="*/ 46 h 213"/>
                <a:gd name="T8" fmla="*/ 94 w 172"/>
                <a:gd name="T9" fmla="*/ 10 h 213"/>
                <a:gd name="T10" fmla="*/ 107 w 172"/>
                <a:gd name="T11" fmla="*/ 2 h 213"/>
                <a:gd name="T12" fmla="*/ 151 w 172"/>
                <a:gd name="T13" fmla="*/ 13 h 213"/>
                <a:gd name="T14" fmla="*/ 158 w 172"/>
                <a:gd name="T15" fmla="*/ 25 h 213"/>
                <a:gd name="T16" fmla="*/ 146 w 172"/>
                <a:gd name="T17" fmla="*/ 85 h 213"/>
                <a:gd name="T18" fmla="*/ 152 w 172"/>
                <a:gd name="T19" fmla="*/ 120 h 213"/>
                <a:gd name="T20" fmla="*/ 168 w 172"/>
                <a:gd name="T21" fmla="*/ 157 h 213"/>
                <a:gd name="T22" fmla="*/ 152 w 172"/>
                <a:gd name="T23" fmla="*/ 201 h 213"/>
                <a:gd name="T24" fmla="*/ 109 w 172"/>
                <a:gd name="T25" fmla="*/ 205 h 213"/>
                <a:gd name="T26" fmla="*/ 91 w 172"/>
                <a:gd name="T27" fmla="*/ 191 h 213"/>
                <a:gd name="T28" fmla="*/ 66 w 172"/>
                <a:gd name="T29" fmla="*/ 188 h 213"/>
                <a:gd name="T30" fmla="*/ 39 w 172"/>
                <a:gd name="T31" fmla="*/ 195 h 213"/>
                <a:gd name="T32" fmla="*/ 0 w 172"/>
                <a:gd name="T33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213">
                  <a:moveTo>
                    <a:pt x="0" y="154"/>
                  </a:moveTo>
                  <a:cubicBezTo>
                    <a:pt x="2" y="135"/>
                    <a:pt x="10" y="117"/>
                    <a:pt x="29" y="104"/>
                  </a:cubicBezTo>
                  <a:cubicBezTo>
                    <a:pt x="37" y="98"/>
                    <a:pt x="45" y="93"/>
                    <a:pt x="53" y="87"/>
                  </a:cubicBezTo>
                  <a:cubicBezTo>
                    <a:pt x="68" y="77"/>
                    <a:pt x="77" y="62"/>
                    <a:pt x="83" y="46"/>
                  </a:cubicBezTo>
                  <a:cubicBezTo>
                    <a:pt x="87" y="34"/>
                    <a:pt x="91" y="22"/>
                    <a:pt x="94" y="10"/>
                  </a:cubicBezTo>
                  <a:cubicBezTo>
                    <a:pt x="97" y="1"/>
                    <a:pt x="99" y="0"/>
                    <a:pt x="107" y="2"/>
                  </a:cubicBezTo>
                  <a:cubicBezTo>
                    <a:pt x="122" y="5"/>
                    <a:pt x="136" y="9"/>
                    <a:pt x="151" y="13"/>
                  </a:cubicBezTo>
                  <a:cubicBezTo>
                    <a:pt x="159" y="15"/>
                    <a:pt x="159" y="17"/>
                    <a:pt x="158" y="25"/>
                  </a:cubicBezTo>
                  <a:cubicBezTo>
                    <a:pt x="154" y="45"/>
                    <a:pt x="150" y="65"/>
                    <a:pt x="146" y="85"/>
                  </a:cubicBezTo>
                  <a:cubicBezTo>
                    <a:pt x="144" y="98"/>
                    <a:pt x="147" y="109"/>
                    <a:pt x="152" y="120"/>
                  </a:cubicBezTo>
                  <a:cubicBezTo>
                    <a:pt x="158" y="132"/>
                    <a:pt x="165" y="144"/>
                    <a:pt x="168" y="157"/>
                  </a:cubicBezTo>
                  <a:cubicBezTo>
                    <a:pt x="172" y="174"/>
                    <a:pt x="167" y="190"/>
                    <a:pt x="152" y="201"/>
                  </a:cubicBezTo>
                  <a:cubicBezTo>
                    <a:pt x="139" y="211"/>
                    <a:pt x="124" y="213"/>
                    <a:pt x="109" y="205"/>
                  </a:cubicBezTo>
                  <a:cubicBezTo>
                    <a:pt x="102" y="202"/>
                    <a:pt x="97" y="196"/>
                    <a:pt x="91" y="191"/>
                  </a:cubicBezTo>
                  <a:cubicBezTo>
                    <a:pt x="83" y="184"/>
                    <a:pt x="75" y="184"/>
                    <a:pt x="66" y="188"/>
                  </a:cubicBezTo>
                  <a:cubicBezTo>
                    <a:pt x="57" y="191"/>
                    <a:pt x="48" y="195"/>
                    <a:pt x="39" y="195"/>
                  </a:cubicBezTo>
                  <a:cubicBezTo>
                    <a:pt x="17" y="197"/>
                    <a:pt x="0" y="179"/>
                    <a:pt x="0" y="154"/>
                  </a:cubicBezTo>
                </a:path>
              </a:pathLst>
            </a:custGeom>
            <a:solidFill>
              <a:srgbClr val="FFFFFF"/>
            </a:solidFill>
            <a:ln w="25400">
              <a:noFill/>
            </a:ln>
          </p:spPr>
          <p:txBody>
            <a:bodyPr vert="horz" wrap="square" lIns="115759" tIns="57879" rIns="115759" bIns="57879" numCol="1" anchor="t" anchorCtr="0" compatLnSpc="1">
              <a:prstTxWarp prst="textNoShape">
                <a:avLst/>
              </a:prstTxWarp>
            </a:bodyPr>
            <a:lstStyle/>
            <a:p>
              <a:pPr defTabSz="11575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667" kern="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F2DE3C66-EAD4-574C-879C-707E4E699B94}"/>
                </a:ext>
              </a:extLst>
            </p:cNvPr>
            <p:cNvSpPr>
              <a:spLocks/>
            </p:cNvSpPr>
            <p:nvPr/>
          </p:nvSpPr>
          <p:spPr bwMode="auto">
            <a:xfrm rot="562673">
              <a:off x="757311" y="3027846"/>
              <a:ext cx="161656" cy="217968"/>
            </a:xfrm>
            <a:custGeom>
              <a:avLst/>
              <a:gdLst>
                <a:gd name="T0" fmla="*/ 114 w 157"/>
                <a:gd name="T1" fmla="*/ 86 h 191"/>
                <a:gd name="T2" fmla="*/ 109 w 157"/>
                <a:gd name="T3" fmla="*/ 123 h 191"/>
                <a:gd name="T4" fmla="*/ 104 w 157"/>
                <a:gd name="T5" fmla="*/ 180 h 191"/>
                <a:gd name="T6" fmla="*/ 93 w 157"/>
                <a:gd name="T7" fmla="*/ 190 h 191"/>
                <a:gd name="T8" fmla="*/ 54 w 157"/>
                <a:gd name="T9" fmla="*/ 190 h 191"/>
                <a:gd name="T10" fmla="*/ 42 w 157"/>
                <a:gd name="T11" fmla="*/ 179 h 191"/>
                <a:gd name="T12" fmla="*/ 36 w 157"/>
                <a:gd name="T13" fmla="*/ 103 h 191"/>
                <a:gd name="T14" fmla="*/ 19 w 157"/>
                <a:gd name="T15" fmla="*/ 68 h 191"/>
                <a:gd name="T16" fmla="*/ 3 w 157"/>
                <a:gd name="T17" fmla="*/ 42 h 191"/>
                <a:gd name="T18" fmla="*/ 2 w 157"/>
                <a:gd name="T19" fmla="*/ 37 h 191"/>
                <a:gd name="T20" fmla="*/ 16 w 157"/>
                <a:gd name="T21" fmla="*/ 23 h 191"/>
                <a:gd name="T22" fmla="*/ 58 w 157"/>
                <a:gd name="T23" fmla="*/ 11 h 191"/>
                <a:gd name="T24" fmla="*/ 91 w 157"/>
                <a:gd name="T25" fmla="*/ 9 h 191"/>
                <a:gd name="T26" fmla="*/ 136 w 157"/>
                <a:gd name="T27" fmla="*/ 10 h 191"/>
                <a:gd name="T28" fmla="*/ 142 w 157"/>
                <a:gd name="T29" fmla="*/ 8 h 191"/>
                <a:gd name="T30" fmla="*/ 156 w 157"/>
                <a:gd name="T31" fmla="*/ 17 h 191"/>
                <a:gd name="T32" fmla="*/ 151 w 157"/>
                <a:gd name="T33" fmla="*/ 40 h 191"/>
                <a:gd name="T34" fmla="*/ 150 w 157"/>
                <a:gd name="T35" fmla="*/ 57 h 191"/>
                <a:gd name="T36" fmla="*/ 150 w 157"/>
                <a:gd name="T37" fmla="*/ 70 h 191"/>
                <a:gd name="T38" fmla="*/ 144 w 157"/>
                <a:gd name="T39" fmla="*/ 102 h 191"/>
                <a:gd name="T40" fmla="*/ 138 w 157"/>
                <a:gd name="T41" fmla="*/ 179 h 191"/>
                <a:gd name="T42" fmla="*/ 137 w 157"/>
                <a:gd name="T43" fmla="*/ 183 h 191"/>
                <a:gd name="T44" fmla="*/ 127 w 157"/>
                <a:gd name="T45" fmla="*/ 191 h 191"/>
                <a:gd name="T46" fmla="*/ 119 w 157"/>
                <a:gd name="T47" fmla="*/ 181 h 191"/>
                <a:gd name="T48" fmla="*/ 119 w 157"/>
                <a:gd name="T49" fmla="*/ 111 h 191"/>
                <a:gd name="T50" fmla="*/ 119 w 157"/>
                <a:gd name="T51" fmla="*/ 93 h 191"/>
                <a:gd name="T52" fmla="*/ 118 w 157"/>
                <a:gd name="T53" fmla="*/ 86 h 191"/>
                <a:gd name="T54" fmla="*/ 114 w 157"/>
                <a:gd name="T55" fmla="*/ 86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191">
                  <a:moveTo>
                    <a:pt x="114" y="86"/>
                  </a:moveTo>
                  <a:cubicBezTo>
                    <a:pt x="113" y="98"/>
                    <a:pt x="111" y="110"/>
                    <a:pt x="109" y="123"/>
                  </a:cubicBezTo>
                  <a:cubicBezTo>
                    <a:pt x="107" y="142"/>
                    <a:pt x="106" y="161"/>
                    <a:pt x="104" y="180"/>
                  </a:cubicBezTo>
                  <a:cubicBezTo>
                    <a:pt x="103" y="189"/>
                    <a:pt x="102" y="190"/>
                    <a:pt x="93" y="190"/>
                  </a:cubicBezTo>
                  <a:cubicBezTo>
                    <a:pt x="80" y="190"/>
                    <a:pt x="67" y="190"/>
                    <a:pt x="54" y="190"/>
                  </a:cubicBezTo>
                  <a:cubicBezTo>
                    <a:pt x="44" y="190"/>
                    <a:pt x="43" y="189"/>
                    <a:pt x="42" y="179"/>
                  </a:cubicBezTo>
                  <a:cubicBezTo>
                    <a:pt x="40" y="154"/>
                    <a:pt x="38" y="128"/>
                    <a:pt x="36" y="103"/>
                  </a:cubicBezTo>
                  <a:cubicBezTo>
                    <a:pt x="35" y="89"/>
                    <a:pt x="29" y="78"/>
                    <a:pt x="19" y="68"/>
                  </a:cubicBezTo>
                  <a:cubicBezTo>
                    <a:pt x="12" y="61"/>
                    <a:pt x="5" y="53"/>
                    <a:pt x="3" y="42"/>
                  </a:cubicBezTo>
                  <a:cubicBezTo>
                    <a:pt x="2" y="40"/>
                    <a:pt x="2" y="39"/>
                    <a:pt x="2" y="37"/>
                  </a:cubicBezTo>
                  <a:cubicBezTo>
                    <a:pt x="0" y="26"/>
                    <a:pt x="5" y="21"/>
                    <a:pt x="16" y="23"/>
                  </a:cubicBezTo>
                  <a:cubicBezTo>
                    <a:pt x="32" y="26"/>
                    <a:pt x="46" y="22"/>
                    <a:pt x="58" y="11"/>
                  </a:cubicBezTo>
                  <a:cubicBezTo>
                    <a:pt x="70" y="0"/>
                    <a:pt x="76" y="0"/>
                    <a:pt x="91" y="9"/>
                  </a:cubicBezTo>
                  <a:cubicBezTo>
                    <a:pt x="106" y="18"/>
                    <a:pt x="121" y="17"/>
                    <a:pt x="136" y="10"/>
                  </a:cubicBezTo>
                  <a:cubicBezTo>
                    <a:pt x="138" y="10"/>
                    <a:pt x="140" y="8"/>
                    <a:pt x="142" y="8"/>
                  </a:cubicBezTo>
                  <a:cubicBezTo>
                    <a:pt x="151" y="4"/>
                    <a:pt x="157" y="8"/>
                    <a:pt x="156" y="17"/>
                  </a:cubicBezTo>
                  <a:cubicBezTo>
                    <a:pt x="155" y="25"/>
                    <a:pt x="153" y="32"/>
                    <a:pt x="151" y="40"/>
                  </a:cubicBezTo>
                  <a:cubicBezTo>
                    <a:pt x="151" y="45"/>
                    <a:pt x="151" y="51"/>
                    <a:pt x="150" y="57"/>
                  </a:cubicBezTo>
                  <a:cubicBezTo>
                    <a:pt x="150" y="61"/>
                    <a:pt x="150" y="65"/>
                    <a:pt x="150" y="70"/>
                  </a:cubicBezTo>
                  <a:cubicBezTo>
                    <a:pt x="148" y="81"/>
                    <a:pt x="145" y="91"/>
                    <a:pt x="144" y="102"/>
                  </a:cubicBezTo>
                  <a:cubicBezTo>
                    <a:pt x="141" y="128"/>
                    <a:pt x="140" y="153"/>
                    <a:pt x="138" y="179"/>
                  </a:cubicBezTo>
                  <a:cubicBezTo>
                    <a:pt x="138" y="180"/>
                    <a:pt x="138" y="182"/>
                    <a:pt x="137" y="183"/>
                  </a:cubicBezTo>
                  <a:cubicBezTo>
                    <a:pt x="136" y="188"/>
                    <a:pt x="133" y="191"/>
                    <a:pt x="127" y="191"/>
                  </a:cubicBezTo>
                  <a:cubicBezTo>
                    <a:pt x="121" y="190"/>
                    <a:pt x="119" y="187"/>
                    <a:pt x="119" y="181"/>
                  </a:cubicBezTo>
                  <a:cubicBezTo>
                    <a:pt x="119" y="158"/>
                    <a:pt x="119" y="134"/>
                    <a:pt x="119" y="111"/>
                  </a:cubicBezTo>
                  <a:cubicBezTo>
                    <a:pt x="119" y="105"/>
                    <a:pt x="119" y="99"/>
                    <a:pt x="119" y="93"/>
                  </a:cubicBezTo>
                  <a:cubicBezTo>
                    <a:pt x="119" y="91"/>
                    <a:pt x="118" y="89"/>
                    <a:pt x="118" y="86"/>
                  </a:cubicBezTo>
                  <a:cubicBezTo>
                    <a:pt x="117" y="86"/>
                    <a:pt x="115" y="86"/>
                    <a:pt x="114" y="86"/>
                  </a:cubicBezTo>
                </a:path>
              </a:pathLst>
            </a:custGeom>
            <a:solidFill>
              <a:srgbClr val="FFFFFF"/>
            </a:solidFill>
            <a:ln w="25400">
              <a:noFill/>
            </a:ln>
          </p:spPr>
          <p:txBody>
            <a:bodyPr vert="horz" wrap="square" lIns="115759" tIns="57879" rIns="115759" bIns="57879" numCol="1" anchor="t" anchorCtr="0" compatLnSpc="1">
              <a:prstTxWarp prst="textNoShape">
                <a:avLst/>
              </a:prstTxWarp>
            </a:bodyPr>
            <a:lstStyle/>
            <a:p>
              <a:pPr defTabSz="11575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667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582072" y="6086158"/>
            <a:ext cx="7090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HS, hidradenitis suppurativa</a:t>
            </a:r>
          </a:p>
          <a:p>
            <a:r>
              <a:rPr lang="en-US" sz="800" dirty="0"/>
              <a:t>1. </a:t>
            </a:r>
            <a:r>
              <a:rPr lang="en-US" sz="800" dirty="0">
                <a:hlinkClick r:id="rId10"/>
              </a:rPr>
              <a:t>Fauconier M, et al. </a:t>
            </a:r>
            <a:r>
              <a:rPr lang="en-US" sz="800" i="1" dirty="0">
                <a:hlinkClick r:id="rId10"/>
              </a:rPr>
              <a:t>Jt Bone Spine</a:t>
            </a:r>
            <a:r>
              <a:rPr lang="en-US" sz="800" dirty="0">
                <a:hlinkClick r:id="rId10"/>
              </a:rPr>
              <a:t>. 2018;85:593-597</a:t>
            </a:r>
            <a:r>
              <a:rPr lang="en-US" sz="800" dirty="0"/>
              <a:t>; 2. </a:t>
            </a:r>
            <a:r>
              <a:rPr lang="en-US" sz="800" dirty="0">
                <a:hlinkClick r:id="rId11"/>
              </a:rPr>
              <a:t>Rondags A, et al. </a:t>
            </a:r>
            <a:r>
              <a:rPr lang="en-US" sz="800" i="1" dirty="0">
                <a:hlinkClick r:id="rId11"/>
              </a:rPr>
              <a:t>Semin Arthritis Rheum</a:t>
            </a:r>
            <a:r>
              <a:rPr lang="en-US" sz="800" dirty="0">
                <a:hlinkClick r:id="rId11"/>
              </a:rPr>
              <a:t>. 2018;48(4):611-617</a:t>
            </a:r>
            <a:r>
              <a:rPr lang="en-US" sz="800" dirty="0"/>
              <a:t>; 3. </a:t>
            </a:r>
            <a:r>
              <a:rPr lang="en-US" sz="800" dirty="0">
                <a:hlinkClick r:id="rId12"/>
              </a:rPr>
              <a:t>Bhalla R a Sequeira W. </a:t>
            </a:r>
            <a:r>
              <a:rPr lang="en-US" sz="800" i="1" dirty="0">
                <a:hlinkClick r:id="rId12"/>
              </a:rPr>
              <a:t>Ann Rheum Dis</a:t>
            </a:r>
            <a:r>
              <a:rPr lang="en-US" sz="800" dirty="0">
                <a:hlinkClick r:id="rId12"/>
              </a:rPr>
              <a:t>. 1994;53:64-66</a:t>
            </a:r>
            <a:r>
              <a:rPr lang="en-US" sz="800" dirty="0"/>
              <a:t>; 4. </a:t>
            </a:r>
            <a:r>
              <a:rPr lang="en-US" sz="800" dirty="0">
                <a:hlinkClick r:id="rId13"/>
              </a:rPr>
              <a:t>Ben David C, et al. </a:t>
            </a:r>
            <a:r>
              <a:rPr lang="en-US" sz="800" i="1" dirty="0">
                <a:hlinkClick r:id="rId13"/>
              </a:rPr>
              <a:t>Medicine (Baltimore). </a:t>
            </a:r>
            <a:r>
              <a:rPr lang="en-US" sz="800" dirty="0">
                <a:hlinkClick r:id="rId13"/>
              </a:rPr>
              <a:t>2018;97(12):e0186</a:t>
            </a:r>
            <a:r>
              <a:rPr lang="en-US" sz="800" dirty="0"/>
              <a:t>.</a:t>
            </a:r>
          </a:p>
        </p:txBody>
      </p:sp>
      <p:sp>
        <p:nvSpPr>
          <p:cNvPr id="44" name="Rectangle 43">
            <a:hlinkClick r:id="rId14" action="ppaction://hlinksldjump"/>
          </p:cNvPr>
          <p:cNvSpPr/>
          <p:nvPr/>
        </p:nvSpPr>
        <p:spPr>
          <a:xfrm>
            <a:off x="11593301" y="1"/>
            <a:ext cx="598699" cy="651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45" name="Slide Number Placeholder 4">
            <a:extLst>
              <a:ext uri="{FF2B5EF4-FFF2-40B4-BE49-F238E27FC236}">
                <a16:creationId xmlns:a16="http://schemas.microsoft.com/office/drawing/2014/main" id="{262EC9AC-CCA5-41B1-9E6B-9AF7C861F9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1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83991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3CD2D2C-7D92-2219-E289-562FBD64C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83977"/>
            <a:ext cx="11123645" cy="1110341"/>
          </a:xfrm>
        </p:spPr>
        <p:txBody>
          <a:bodyPr>
            <a:normAutofit/>
          </a:bodyPr>
          <a:lstStyle/>
          <a:p>
            <a:r>
              <a:rPr lang="cs-CZ" sz="3600" b="1" dirty="0"/>
              <a:t>Revmatologické komorbidity </a:t>
            </a:r>
            <a:r>
              <a:rPr lang="cs-CZ" sz="3600" b="1" dirty="0" err="1"/>
              <a:t>spondyloartropatie</a:t>
            </a:r>
            <a:r>
              <a:rPr lang="cs-CZ" sz="3600" b="1" dirty="0"/>
              <a:t> (</a:t>
            </a:r>
            <a:r>
              <a:rPr lang="cs-CZ" sz="3600" b="1" dirty="0" err="1"/>
              <a:t>SpA</a:t>
            </a:r>
            <a:r>
              <a:rPr lang="cs-CZ" sz="3600" b="1" dirty="0"/>
              <a:t>)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CCF2F46-0908-0F46-AB75-A811B814E9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800" dirty="0"/>
              <a:t>Míra rizika artropatie u 1776 HS pacientů oproti kontrole </a:t>
            </a:r>
            <a:r>
              <a:rPr lang="cs-CZ" sz="1800" b="1" dirty="0">
                <a:solidFill>
                  <a:srgbClr val="0070C0"/>
                </a:solidFill>
              </a:rPr>
              <a:t>OR 9,41 </a:t>
            </a:r>
            <a:r>
              <a:rPr lang="cs-CZ" sz="1800" dirty="0"/>
              <a:t>(95% Cl</a:t>
            </a:r>
            <a:r>
              <a:rPr lang="en-US" sz="1800" dirty="0"/>
              <a:t>;</a:t>
            </a:r>
            <a:r>
              <a:rPr lang="cs-CZ" sz="1800" dirty="0"/>
              <a:t> 6,81-12,9)</a:t>
            </a:r>
          </a:p>
          <a:p>
            <a:r>
              <a:rPr lang="en-US" sz="1800" dirty="0" err="1"/>
              <a:t>Bolesti</a:t>
            </a:r>
            <a:r>
              <a:rPr lang="en-US" sz="1800" dirty="0"/>
              <a:t> </a:t>
            </a:r>
            <a:r>
              <a:rPr lang="cs-CZ" sz="1800" dirty="0"/>
              <a:t>z</a:t>
            </a:r>
            <a:r>
              <a:rPr lang="en-US" sz="1800" dirty="0"/>
              <a:t>ad a S</a:t>
            </a:r>
            <a:r>
              <a:rPr lang="cs-CZ" sz="1800" dirty="0"/>
              <a:t>p</a:t>
            </a:r>
            <a:r>
              <a:rPr lang="en-US" sz="1800" dirty="0"/>
              <a:t>A</a:t>
            </a:r>
            <a:r>
              <a:rPr lang="cs-CZ" sz="1800" dirty="0"/>
              <a:t> nalezeny u 71 ze 100 pacientů se středně těžkou až těžkou HS</a:t>
            </a:r>
          </a:p>
          <a:p>
            <a:r>
              <a:rPr lang="cs-CZ" sz="1800" dirty="0"/>
              <a:t>MR pánve u neselektovaných HS pacientů: </a:t>
            </a:r>
            <a:r>
              <a:rPr lang="cs-CZ" sz="1800" b="1" dirty="0">
                <a:solidFill>
                  <a:srgbClr val="0070C0"/>
                </a:solidFill>
              </a:rPr>
              <a:t>56,5%</a:t>
            </a:r>
            <a:r>
              <a:rPr lang="cs-CZ" sz="1800" dirty="0"/>
              <a:t> RTG známky </a:t>
            </a:r>
            <a:r>
              <a:rPr lang="cs-CZ" sz="1800" dirty="0" err="1"/>
              <a:t>SpA</a:t>
            </a:r>
            <a:r>
              <a:rPr lang="cs-CZ" sz="1800" dirty="0"/>
              <a:t>               </a:t>
            </a:r>
            <a:r>
              <a:rPr lang="cs-CZ" sz="1800" dirty="0">
                <a:solidFill>
                  <a:srgbClr val="0070C0"/>
                </a:solidFill>
              </a:rPr>
              <a:t>39,1% akutní </a:t>
            </a:r>
            <a:r>
              <a:rPr lang="cs-CZ" sz="1800" dirty="0" err="1">
                <a:solidFill>
                  <a:srgbClr val="0070C0"/>
                </a:solidFill>
              </a:rPr>
              <a:t>SpA</a:t>
            </a:r>
            <a:endParaRPr lang="cs-CZ" sz="1800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sz="1800" dirty="0"/>
              <a:t>        </a:t>
            </a:r>
            <a:r>
              <a:rPr lang="cs-CZ" sz="1800" dirty="0"/>
              <a:t>                                                                                                                                 </a:t>
            </a:r>
            <a:r>
              <a:rPr lang="cs-CZ" sz="1800" dirty="0">
                <a:solidFill>
                  <a:srgbClr val="0070C0"/>
                </a:solidFill>
              </a:rPr>
              <a:t>32,6 chronická SpA</a:t>
            </a:r>
            <a:endParaRPr lang="cs-CZ" sz="1800" dirty="0"/>
          </a:p>
          <a:p>
            <a:endParaRPr lang="cs-CZ" sz="1800" dirty="0"/>
          </a:p>
          <a:p>
            <a:r>
              <a:rPr lang="cs-CZ" sz="1800" dirty="0"/>
              <a:t>Vzplanutí artritidy v pozitivní korelaci s exacerbací HS</a:t>
            </a:r>
          </a:p>
          <a:p>
            <a:r>
              <a:rPr lang="cs-CZ" sz="1800" dirty="0"/>
              <a:t>Odhadovaný výskyt </a:t>
            </a:r>
            <a:r>
              <a:rPr lang="cs-CZ" sz="1800" dirty="0" err="1"/>
              <a:t>SpA</a:t>
            </a:r>
            <a:r>
              <a:rPr lang="cs-CZ" sz="1800" dirty="0"/>
              <a:t> mezi HS pacienty byl </a:t>
            </a:r>
            <a:r>
              <a:rPr lang="cs-CZ" sz="1800" b="1" dirty="0">
                <a:solidFill>
                  <a:srgbClr val="0070C0"/>
                </a:solidFill>
              </a:rPr>
              <a:t>1,5 - 9,4 krát vyšší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Prevalence HS u pacientů s axiální </a:t>
            </a:r>
            <a:r>
              <a:rPr lang="cs-CZ" sz="1800" b="1" dirty="0" err="1">
                <a:solidFill>
                  <a:srgbClr val="0070C0"/>
                </a:solidFill>
              </a:rPr>
              <a:t>SpA</a:t>
            </a:r>
            <a:r>
              <a:rPr lang="cs-CZ" sz="1800" b="1" dirty="0">
                <a:solidFill>
                  <a:srgbClr val="0070C0"/>
                </a:solidFill>
              </a:rPr>
              <a:t>: </a:t>
            </a:r>
            <a:r>
              <a:rPr lang="cs-CZ" sz="1800" dirty="0"/>
              <a:t>alespoň 1,7 krát vyšší než v běžné populaci</a:t>
            </a:r>
          </a:p>
          <a:p>
            <a:endParaRPr lang="cs-CZ" sz="1800" b="1" dirty="0">
              <a:solidFill>
                <a:srgbClr val="0070C0"/>
              </a:solidFill>
            </a:endParaRPr>
          </a:p>
          <a:p>
            <a:endParaRPr lang="cs-CZ" sz="1800" dirty="0"/>
          </a:p>
          <a:p>
            <a:pPr marL="0" indent="0">
              <a:buNone/>
            </a:pPr>
            <a:endParaRPr lang="cs-CZ" sz="1800" dirty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cs-CZ" sz="1800" dirty="0">
              <a:solidFill>
                <a:srgbClr val="0070C0"/>
              </a:solidFill>
            </a:endParaRPr>
          </a:p>
          <a:p>
            <a:endParaRPr lang="cs-CZ" sz="1800" dirty="0"/>
          </a:p>
          <a:p>
            <a:endParaRPr lang="en-US" sz="1800" dirty="0"/>
          </a:p>
          <a:p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8307ECA4-7687-AABA-3FFB-F7CB71CDFB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2448" y="1983430"/>
            <a:ext cx="2333625" cy="36195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01183312-27CC-1ADF-94C3-72804FC9D7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56124" y="3233911"/>
            <a:ext cx="2786113" cy="390178"/>
          </a:xfrm>
          <a:prstGeom prst="rect">
            <a:avLst/>
          </a:prstGeom>
        </p:spPr>
      </p:pic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D4E548F6-FA4B-D79E-B614-25B90DB8FFD4}"/>
              </a:ext>
            </a:extLst>
          </p:cNvPr>
          <p:cNvCxnSpPr>
            <a:cxnSpLocks/>
          </p:cNvCxnSpPr>
          <p:nvPr/>
        </p:nvCxnSpPr>
        <p:spPr>
          <a:xfrm>
            <a:off x="7343192" y="2771192"/>
            <a:ext cx="662473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E48D16C6-2A9A-AF11-A885-1D680B505389}"/>
              </a:ext>
            </a:extLst>
          </p:cNvPr>
          <p:cNvCxnSpPr>
            <a:cxnSpLocks/>
          </p:cNvCxnSpPr>
          <p:nvPr/>
        </p:nvCxnSpPr>
        <p:spPr>
          <a:xfrm>
            <a:off x="7371184" y="2780522"/>
            <a:ext cx="681134" cy="34523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Obrázek 17">
            <a:extLst>
              <a:ext uri="{FF2B5EF4-FFF2-40B4-BE49-F238E27FC236}">
                <a16:creationId xmlns:a16="http://schemas.microsoft.com/office/drawing/2014/main" id="{691D002C-3958-BBB5-4F58-E187EB2BA5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77552" y="3607747"/>
            <a:ext cx="3145809" cy="396274"/>
          </a:xfrm>
          <a:prstGeom prst="rect">
            <a:avLst/>
          </a:prstGeom>
        </p:spPr>
      </p:pic>
      <p:pic>
        <p:nvPicPr>
          <p:cNvPr id="19" name="Obrázek 18">
            <a:extLst>
              <a:ext uri="{FF2B5EF4-FFF2-40B4-BE49-F238E27FC236}">
                <a16:creationId xmlns:a16="http://schemas.microsoft.com/office/drawing/2014/main" id="{2609AE70-1C6E-C99A-C5B2-D9E9ACBDFB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32092" y="4034872"/>
            <a:ext cx="3190875" cy="400050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E76F713F-BC2C-681B-71AC-BA92F84C2F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56737" y="4460871"/>
            <a:ext cx="1975275" cy="36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352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3DB7550-BE18-42E9-B974-72B632B62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6865" y="888254"/>
            <a:ext cx="9921699" cy="630315"/>
          </a:xfrm>
        </p:spPr>
        <p:txBody>
          <a:bodyPr>
            <a:normAutofit fontScale="90000"/>
          </a:bodyPr>
          <a:lstStyle/>
          <a:p>
            <a:pPr algn="l"/>
            <a:r>
              <a:rPr lang="en-US" b="1" i="0" dirty="0">
                <a:solidFill>
                  <a:srgbClr val="333333"/>
                </a:solidFill>
                <a:effectLst/>
                <a:latin typeface="Guardian TextSans Web"/>
              </a:rPr>
              <a:t>Risk of Inflammatory Arthritis After a New Diagnosis of Hidradenitis Suppurativa</a:t>
            </a:r>
            <a:br>
              <a:rPr lang="cs-CZ" b="1" i="0" dirty="0">
                <a:solidFill>
                  <a:srgbClr val="333333"/>
                </a:solidFill>
                <a:effectLst/>
                <a:latin typeface="Guardian TextSans Web"/>
              </a:rPr>
            </a:br>
            <a:r>
              <a:rPr lang="cs-CZ" sz="1600" b="0" i="0" u="none" strike="noStrike" dirty="0">
                <a:effectLst/>
                <a:latin typeface="Guardian TextSans Web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ia C. </a:t>
            </a:r>
            <a:r>
              <a:rPr lang="cs-CZ" sz="1600" b="0" i="0" u="none" strike="noStrike" dirty="0" err="1">
                <a:effectLst/>
                <a:latin typeface="Guardian TextSans Web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hneeweiss</a:t>
            </a:r>
            <a:r>
              <a:rPr lang="cs-CZ" sz="1600" b="0" i="0" u="none" strike="noStrike" dirty="0">
                <a:effectLst/>
                <a:latin typeface="Guardian TextSans Web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t al. </a:t>
            </a:r>
            <a:r>
              <a:rPr lang="cs-CZ" sz="1600" b="0" i="1" dirty="0">
                <a:effectLst/>
                <a:latin typeface="Guardian TextSans Web"/>
              </a:rPr>
              <a:t>JAMA </a:t>
            </a:r>
            <a:r>
              <a:rPr lang="cs-CZ" sz="1600" b="0" i="1" dirty="0" err="1">
                <a:effectLst/>
                <a:latin typeface="Guardian TextSans Web"/>
              </a:rPr>
              <a:t>Dermatol</a:t>
            </a:r>
            <a:r>
              <a:rPr lang="cs-CZ" sz="1600" b="0" i="1" dirty="0">
                <a:effectLst/>
                <a:latin typeface="Guardian TextSans Web"/>
              </a:rPr>
              <a:t>. </a:t>
            </a:r>
            <a:r>
              <a:rPr lang="cs-CZ" sz="1600" b="0" i="0" dirty="0">
                <a:effectLst/>
                <a:latin typeface="Guardian TextSans Web"/>
              </a:rPr>
              <a:t>2020;156(3):342-345. doi:10.1001/jamadermatol.2019.4590</a:t>
            </a:r>
            <a:br>
              <a:rPr lang="cs-CZ" b="0" i="0" dirty="0">
                <a:effectLst/>
                <a:latin typeface="Guardian TextSans Web"/>
              </a:rPr>
            </a:br>
            <a:br>
              <a:rPr lang="en-US" b="1" i="0" dirty="0">
                <a:effectLst/>
                <a:latin typeface="Guardian TextSans Web"/>
              </a:rPr>
            </a:br>
            <a:endParaRPr lang="cs-CZ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A19474F-CDFB-4CB2-BB6D-52C43E05A23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1271016"/>
            <a:ext cx="11277600" cy="5586984"/>
          </a:xfrm>
        </p:spPr>
        <p:txBody>
          <a:bodyPr>
            <a:normAutofit/>
          </a:bodyPr>
          <a:lstStyle/>
          <a:p>
            <a:r>
              <a:rPr lang="cs-CZ" sz="1800" b="1" dirty="0">
                <a:solidFill>
                  <a:srgbClr val="0070C0"/>
                </a:solidFill>
              </a:rPr>
              <a:t>70697 pacientů s HS </a:t>
            </a:r>
            <a:r>
              <a:rPr lang="cs-CZ" sz="1800" dirty="0" err="1"/>
              <a:t>vers</a:t>
            </a:r>
            <a:r>
              <a:rPr lang="cs-CZ" sz="1800" dirty="0"/>
              <a:t>. 141 412 bez HS</a:t>
            </a:r>
          </a:p>
          <a:p>
            <a:r>
              <a:rPr lang="cs-CZ" sz="1800" dirty="0"/>
              <a:t>Průměrný věk 36,5 roku</a:t>
            </a:r>
          </a:p>
          <a:p>
            <a:r>
              <a:rPr lang="cs-CZ" sz="1800" dirty="0"/>
              <a:t>Ženy </a:t>
            </a:r>
            <a:r>
              <a:rPr lang="cs-CZ" sz="1800" dirty="0" err="1"/>
              <a:t>vers</a:t>
            </a:r>
            <a:r>
              <a:rPr lang="cs-CZ" sz="1800" dirty="0"/>
              <a:t>. muži </a:t>
            </a:r>
            <a:r>
              <a:rPr lang="cs-CZ" sz="1800" b="0" i="0" dirty="0">
                <a:effectLst/>
              </a:rPr>
              <a:t>78.0% vs 22.0%</a:t>
            </a:r>
          </a:p>
          <a:p>
            <a:r>
              <a:rPr lang="cs-CZ" sz="1800" dirty="0"/>
              <a:t>Četné komorbidity</a:t>
            </a:r>
          </a:p>
          <a:p>
            <a:endParaRPr lang="cs-CZ" sz="1800" b="1" dirty="0">
              <a:solidFill>
                <a:srgbClr val="0070C0"/>
              </a:solidFill>
            </a:endParaRPr>
          </a:p>
          <a:p>
            <a:r>
              <a:rPr lang="cs-CZ" sz="1800" dirty="0"/>
              <a:t>Zvýšené riziko vzniku </a:t>
            </a:r>
            <a:r>
              <a:rPr lang="cs-CZ" sz="18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kylosující</a:t>
            </a:r>
            <a:r>
              <a:rPr lang="cs-CZ" sz="1800" dirty="0"/>
              <a:t> </a:t>
            </a:r>
            <a:r>
              <a:rPr lang="cs-CZ" sz="18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ondylitidy</a:t>
            </a:r>
            <a:endParaRPr lang="cs-CZ" sz="1800" dirty="0"/>
          </a:p>
          <a:p>
            <a:pPr marL="0" indent="0">
              <a:buNone/>
            </a:pPr>
            <a:r>
              <a:rPr lang="cs-CZ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</a:t>
            </a:r>
            <a:r>
              <a:rPr lang="cs-CZ" sz="1800" dirty="0"/>
              <a:t> ve srovnání s/bez HS</a:t>
            </a:r>
          </a:p>
          <a:p>
            <a:pPr marL="0" indent="0">
              <a:buNone/>
            </a:pPr>
            <a:r>
              <a:rPr lang="cs-CZ" sz="1400" dirty="0"/>
              <a:t>     (incidence </a:t>
            </a:r>
            <a:r>
              <a:rPr lang="cs-CZ" sz="1400" dirty="0" err="1"/>
              <a:t>rate</a:t>
            </a:r>
            <a:r>
              <a:rPr lang="cs-CZ" sz="1400" dirty="0"/>
              <a:t>, 0.60 vs 0.36/1000; HR, 1.65 [95% CI, 1.15-2.35])</a:t>
            </a:r>
          </a:p>
          <a:p>
            <a:r>
              <a:rPr lang="cs-CZ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oriatické </a:t>
            </a:r>
            <a:r>
              <a:rPr lang="cs-CZ" sz="18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thritidy</a:t>
            </a:r>
            <a:endParaRPr lang="cs-CZ" sz="18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r>
              <a:rPr lang="cs-CZ" sz="1400" dirty="0"/>
              <a:t>     (incidence </a:t>
            </a:r>
            <a:r>
              <a:rPr lang="cs-CZ" sz="1400" dirty="0" err="1"/>
              <a:t>rate</a:t>
            </a:r>
            <a:r>
              <a:rPr lang="cs-CZ" sz="1400" dirty="0"/>
              <a:t>, 0.84 vs 0.58/1000; HR, 1.44 [95% CI, 1.08-1.93])</a:t>
            </a:r>
          </a:p>
          <a:p>
            <a:r>
              <a:rPr lang="cs-CZ" sz="18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heumatoidní</a:t>
            </a:r>
            <a:r>
              <a:rPr lang="cs-CZ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cs-CZ" sz="18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thritidy</a:t>
            </a:r>
            <a:endParaRPr lang="cs-CZ" sz="18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r>
              <a:rPr lang="cs-CZ" sz="1400" dirty="0"/>
              <a:t>     (incidence </a:t>
            </a:r>
            <a:r>
              <a:rPr lang="cs-CZ" sz="1400" dirty="0" err="1"/>
              <a:t>rate</a:t>
            </a:r>
            <a:r>
              <a:rPr lang="cs-CZ" sz="1400" dirty="0"/>
              <a:t>, 4.54 vs 3.86/1000; HR, 1.16 [95% CI, 1.03-1.31])</a:t>
            </a:r>
          </a:p>
          <a:p>
            <a:endParaRPr lang="en-US" sz="2200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endParaRPr lang="cs-CZ" sz="1400" dirty="0">
              <a:solidFill>
                <a:srgbClr val="C00000"/>
              </a:solidFill>
            </a:endParaRPr>
          </a:p>
          <a:p>
            <a:endParaRPr lang="cs-CZ" sz="1400" dirty="0"/>
          </a:p>
          <a:p>
            <a:endParaRPr lang="cs-CZ" sz="1400" dirty="0"/>
          </a:p>
          <a:p>
            <a:endParaRPr lang="cs-CZ" sz="14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E318CF09-A3E9-4943-A691-996521E32A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1848" y="1673154"/>
            <a:ext cx="6550152" cy="5184846"/>
          </a:xfrm>
          <a:prstGeom prst="rect">
            <a:avLst/>
          </a:prstGeom>
        </p:spPr>
      </p:pic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7420B9C0-4393-4D71-B801-3A16694B3667}"/>
              </a:ext>
            </a:extLst>
          </p:cNvPr>
          <p:cNvCxnSpPr>
            <a:cxnSpLocks/>
          </p:cNvCxnSpPr>
          <p:nvPr/>
        </p:nvCxnSpPr>
        <p:spPr>
          <a:xfrm>
            <a:off x="2097741" y="2581835"/>
            <a:ext cx="3516675" cy="198102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149FFBF8-8FE1-496C-A11D-91A154402D8C}"/>
              </a:ext>
            </a:extLst>
          </p:cNvPr>
          <p:cNvSpPr/>
          <p:nvPr/>
        </p:nvSpPr>
        <p:spPr>
          <a:xfrm>
            <a:off x="5687568" y="4480560"/>
            <a:ext cx="4752572" cy="502919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8FF0BCA7-C4A6-4A6D-8248-68E3414B0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5888" y="2637009"/>
            <a:ext cx="8516112" cy="2786930"/>
          </a:xfrm>
          <a:prstGeom prst="rect">
            <a:avLst/>
          </a:prstGeom>
        </p:spPr>
      </p:pic>
      <p:sp>
        <p:nvSpPr>
          <p:cNvPr id="14" name="Obdélník: se zakulacenými rohy 13">
            <a:extLst>
              <a:ext uri="{FF2B5EF4-FFF2-40B4-BE49-F238E27FC236}">
                <a16:creationId xmlns:a16="http://schemas.microsoft.com/office/drawing/2014/main" id="{0A299387-694E-4255-B25A-1D910A01AAC0}"/>
              </a:ext>
            </a:extLst>
          </p:cNvPr>
          <p:cNvSpPr/>
          <p:nvPr/>
        </p:nvSpPr>
        <p:spPr>
          <a:xfrm>
            <a:off x="3694176" y="4398264"/>
            <a:ext cx="8385048" cy="667512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76E09E0B-00FE-04DC-F57E-ACA98EC58A37}"/>
              </a:ext>
            </a:extLst>
          </p:cNvPr>
          <p:cNvSpPr/>
          <p:nvPr/>
        </p:nvSpPr>
        <p:spPr>
          <a:xfrm>
            <a:off x="6400799" y="4305670"/>
            <a:ext cx="656948" cy="914400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32A0BC8F-B9C0-B127-6CF2-8F49D6206D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45666" y="4297047"/>
            <a:ext cx="688908" cy="944962"/>
          </a:xfrm>
          <a:prstGeom prst="rect">
            <a:avLst/>
          </a:prstGeom>
        </p:spPr>
      </p:pic>
      <p:sp>
        <p:nvSpPr>
          <p:cNvPr id="8" name="Obdélník: se zakulacenými rohy 7">
            <a:extLst>
              <a:ext uri="{FF2B5EF4-FFF2-40B4-BE49-F238E27FC236}">
                <a16:creationId xmlns:a16="http://schemas.microsoft.com/office/drawing/2014/main" id="{47B83AC3-F5ED-FDC9-32F8-A8E08BA5B82E}"/>
              </a:ext>
            </a:extLst>
          </p:cNvPr>
          <p:cNvSpPr/>
          <p:nvPr/>
        </p:nvSpPr>
        <p:spPr>
          <a:xfrm>
            <a:off x="251925" y="2677886"/>
            <a:ext cx="1343609" cy="429208"/>
          </a:xfrm>
          <a:prstGeom prst="roundRect">
            <a:avLst/>
          </a:prstGeom>
          <a:solidFill>
            <a:srgbClr val="FFC000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ME:</a:t>
            </a:r>
          </a:p>
        </p:txBody>
      </p:sp>
      <p:sp>
        <p:nvSpPr>
          <p:cNvPr id="10" name="Obdélník: se zakulacenými rohy 9">
            <a:extLst>
              <a:ext uri="{FF2B5EF4-FFF2-40B4-BE49-F238E27FC236}">
                <a16:creationId xmlns:a16="http://schemas.microsoft.com/office/drawing/2014/main" id="{CC29E776-9965-4A71-9351-1ED124961CA3}"/>
              </a:ext>
            </a:extLst>
          </p:cNvPr>
          <p:cNvSpPr/>
          <p:nvPr/>
        </p:nvSpPr>
        <p:spPr>
          <a:xfrm>
            <a:off x="3155576" y="5665694"/>
            <a:ext cx="7458635" cy="914400"/>
          </a:xfrm>
          <a:prstGeom prst="roundRect">
            <a:avLst/>
          </a:prstGeom>
          <a:solidFill>
            <a:srgbClr val="FFC000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bylo zjištěno statisticky signifikantní </a:t>
            </a:r>
          </a:p>
          <a:p>
            <a:pPr marL="0" indent="0">
              <a:buNone/>
            </a:pPr>
            <a:r>
              <a:rPr lang="cs-CZ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zvýšení rizika ostatních </a:t>
            </a:r>
            <a:r>
              <a:rPr lang="cs-CZ" sz="32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ondyloartritid</a:t>
            </a:r>
            <a:endParaRPr lang="cs-CZ" sz="3200" dirty="0"/>
          </a:p>
        </p:txBody>
      </p:sp>
    </p:spTree>
    <p:extLst>
      <p:ext uri="{BB962C8B-B14F-4D97-AF65-F5344CB8AC3E}">
        <p14:creationId xmlns:p14="http://schemas.microsoft.com/office/powerpoint/2010/main" val="959645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  <p:bldP spid="4" grpId="0" animBg="1"/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B2E10C-746E-490D-A223-9CD7A6027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1477108"/>
          </a:xfrm>
        </p:spPr>
        <p:txBody>
          <a:bodyPr>
            <a:normAutofit/>
          </a:bodyPr>
          <a:lstStyle/>
          <a:p>
            <a:r>
              <a:rPr lang="en-US" sz="3600" b="1" dirty="0"/>
              <a:t>H</a:t>
            </a:r>
            <a:r>
              <a:rPr lang="cs-CZ" sz="3600" b="1" dirty="0"/>
              <a:t>S ve spojení se </a:t>
            </a:r>
            <a:r>
              <a:rPr lang="en-US" sz="3600" b="1" dirty="0" err="1"/>
              <a:t>Sp</a:t>
            </a:r>
            <a:r>
              <a:rPr lang="cs-CZ" sz="3600" b="1" dirty="0"/>
              <a:t>A</a:t>
            </a:r>
            <a:r>
              <a:rPr lang="en-US" sz="3600" b="1" dirty="0"/>
              <a:t> — </a:t>
            </a:r>
            <a:r>
              <a:rPr lang="cs-CZ" sz="3600" b="1" dirty="0"/>
              <a:t>výsledky z m</a:t>
            </a:r>
            <a:r>
              <a:rPr lang="en-US" sz="3600" b="1" dirty="0" err="1"/>
              <a:t>ulticent</a:t>
            </a:r>
            <a:r>
              <a:rPr lang="cs-CZ" sz="3600" b="1" dirty="0" err="1"/>
              <a:t>rické</a:t>
            </a:r>
            <a:r>
              <a:rPr lang="cs-CZ" sz="3600" b="1" dirty="0"/>
              <a:t> národní </a:t>
            </a:r>
            <a:r>
              <a:rPr lang="en-US" sz="3600" b="1" dirty="0"/>
              <a:t> </a:t>
            </a:r>
            <a:r>
              <a:rPr lang="cs-CZ" sz="3600" b="1" dirty="0"/>
              <a:t>p</a:t>
            </a:r>
            <a:r>
              <a:rPr lang="en-US" sz="3600" b="1" dirty="0" err="1"/>
              <a:t>rospe</a:t>
            </a:r>
            <a:r>
              <a:rPr lang="cs-CZ" sz="3600" b="1" dirty="0"/>
              <a:t>k</a:t>
            </a:r>
            <a:r>
              <a:rPr lang="en-US" sz="3600" b="1" dirty="0" err="1"/>
              <a:t>tiv</a:t>
            </a:r>
            <a:r>
              <a:rPr lang="cs-CZ" sz="3600" b="1" dirty="0"/>
              <a:t>ní studie </a:t>
            </a:r>
            <a:r>
              <a:rPr lang="cs-CZ" sz="1600" dirty="0"/>
              <a:t>Pascal </a:t>
            </a:r>
            <a:r>
              <a:rPr lang="cs-CZ" sz="1600" dirty="0" err="1"/>
              <a:t>Richette</a:t>
            </a:r>
            <a:r>
              <a:rPr lang="cs-CZ" sz="1600" dirty="0"/>
              <a:t> et al. </a:t>
            </a:r>
            <a:r>
              <a:rPr lang="en-US" sz="1600" dirty="0"/>
              <a:t>The Journal of Rheumatology 2014; 41:3; doi:10.3899/jrheum.130977</a:t>
            </a:r>
            <a:endParaRPr lang="cs-CZ" sz="1600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576312A-1CF5-41BA-8DF6-8A598FD1A0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-1" y="1563624"/>
            <a:ext cx="12088167" cy="4227575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9/43 pa</a:t>
            </a:r>
            <a:r>
              <a:rPr lang="cs-CZ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</a:t>
            </a:r>
            <a:r>
              <a:rPr lang="en-US" sz="24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ent</a:t>
            </a:r>
            <a:r>
              <a:rPr lang="cs-CZ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ů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90%)</a:t>
            </a:r>
            <a:r>
              <a:rPr lang="cs-CZ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cs-CZ" sz="2400" dirty="0"/>
              <a:t>s </a:t>
            </a:r>
            <a:r>
              <a:rPr lang="en-US" sz="2400" dirty="0"/>
              <a:t>HS </a:t>
            </a:r>
            <a:r>
              <a:rPr lang="cs-CZ" sz="2400" dirty="0"/>
              <a:t>mělo symptomy zánětlivého </a:t>
            </a:r>
            <a:r>
              <a:rPr lang="en-US" sz="2400" dirty="0"/>
              <a:t>r</a:t>
            </a:r>
            <a:r>
              <a:rPr lang="cs-CZ" sz="2400" dirty="0" err="1"/>
              <a:t>evmatologického</a:t>
            </a:r>
            <a:r>
              <a:rPr lang="cs-CZ" sz="2400" dirty="0"/>
              <a:t> onemocnění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986888-6310-4D35-9EE8-3FEDF22658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324" y="2219134"/>
            <a:ext cx="4219575" cy="4486275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770D8183-9994-4942-82BA-E5E081DA66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3342" y="2173989"/>
            <a:ext cx="4433697" cy="4540183"/>
          </a:xfrm>
          <a:prstGeom prst="rect">
            <a:avLst/>
          </a:prstGeom>
        </p:spPr>
      </p:pic>
      <p:sp>
        <p:nvSpPr>
          <p:cNvPr id="6" name="Mrak 5">
            <a:extLst>
              <a:ext uri="{FF2B5EF4-FFF2-40B4-BE49-F238E27FC236}">
                <a16:creationId xmlns:a16="http://schemas.microsoft.com/office/drawing/2014/main" id="{F6F6BBD0-4E75-0AA7-5E47-3B63C43CD636}"/>
              </a:ext>
            </a:extLst>
          </p:cNvPr>
          <p:cNvSpPr/>
          <p:nvPr/>
        </p:nvSpPr>
        <p:spPr>
          <a:xfrm>
            <a:off x="1607737" y="3577213"/>
            <a:ext cx="472272" cy="361741"/>
          </a:xfrm>
          <a:prstGeom prst="cloud">
            <a:avLst/>
          </a:prstGeom>
          <a:solidFill>
            <a:srgbClr val="C00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30CEB511-43D4-D6F1-9944-310692E8B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1442" y="4254890"/>
            <a:ext cx="493819" cy="377985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2DBAB71F-D894-D563-C208-076F797268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2457" y="5199436"/>
            <a:ext cx="493819" cy="377985"/>
          </a:xfrm>
          <a:prstGeom prst="rect">
            <a:avLst/>
          </a:prstGeom>
        </p:spPr>
      </p:pic>
      <p:pic>
        <p:nvPicPr>
          <p:cNvPr id="16" name="Obrázek 15">
            <a:extLst>
              <a:ext uri="{FF2B5EF4-FFF2-40B4-BE49-F238E27FC236}">
                <a16:creationId xmlns:a16="http://schemas.microsoft.com/office/drawing/2014/main" id="{454103F2-92CA-4714-197A-6DC42C8695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18189" y="3119427"/>
            <a:ext cx="493819" cy="377985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84E4BC92-7188-9797-A658-06FD94BAB8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8576" y="4204649"/>
            <a:ext cx="493819" cy="377985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9A548A0F-EBE5-755F-423C-D1D215CB78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8817" y="5038662"/>
            <a:ext cx="493819" cy="3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929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E130EA-7E4D-4909-A544-EA37888B8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6053" y="1"/>
            <a:ext cx="7942173" cy="1171851"/>
          </a:xfrm>
        </p:spPr>
        <p:txBody>
          <a:bodyPr>
            <a:normAutofit/>
          </a:bodyPr>
          <a:lstStyle/>
          <a:p>
            <a:r>
              <a:rPr lang="cs-CZ" sz="3600" b="1" dirty="0"/>
              <a:t>Revmatologické komorbidity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7A3DE02-04A9-4D6D-AA94-860DDB722C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3774" y="1056444"/>
            <a:ext cx="10363826" cy="4734756"/>
          </a:xfrm>
        </p:spPr>
        <p:txBody>
          <a:bodyPr>
            <a:normAutofit/>
          </a:bodyPr>
          <a:lstStyle/>
          <a:p>
            <a:r>
              <a:rPr lang="cs-CZ" sz="2200" b="1" dirty="0">
                <a:solidFill>
                  <a:srgbClr val="0070C0"/>
                </a:solidFill>
              </a:rPr>
              <a:t>U pacientů s </a:t>
            </a:r>
            <a:r>
              <a:rPr lang="en-US" sz="2200" b="1" dirty="0">
                <a:solidFill>
                  <a:srgbClr val="0070C0"/>
                </a:solidFill>
              </a:rPr>
              <a:t>HS je</a:t>
            </a:r>
            <a:r>
              <a:rPr lang="cs-CZ" sz="2200" b="1" dirty="0">
                <a:solidFill>
                  <a:srgbClr val="0070C0"/>
                </a:solidFill>
              </a:rPr>
              <a:t> doporučován screening spondyloartritid</a:t>
            </a:r>
          </a:p>
          <a:p>
            <a:r>
              <a:rPr lang="cs-CZ" sz="2200" b="1" dirty="0">
                <a:solidFill>
                  <a:srgbClr val="0070C0"/>
                </a:solidFill>
              </a:rPr>
              <a:t>Screeningové otázky: </a:t>
            </a:r>
          </a:p>
          <a:p>
            <a:endParaRPr lang="cs-CZ" b="1" dirty="0">
              <a:solidFill>
                <a:srgbClr val="0070C0"/>
              </a:solidFill>
            </a:endParaRPr>
          </a:p>
          <a:p>
            <a:endParaRPr lang="cs-CZ" b="1" dirty="0">
              <a:solidFill>
                <a:srgbClr val="0070C0"/>
              </a:solidFill>
            </a:endParaRPr>
          </a:p>
          <a:p>
            <a:endParaRPr lang="cs-CZ" b="1" dirty="0">
              <a:solidFill>
                <a:srgbClr val="0070C0"/>
              </a:solidFill>
            </a:endParaRPr>
          </a:p>
          <a:p>
            <a:r>
              <a:rPr lang="cs-CZ" sz="2200" b="1" dirty="0">
                <a:solidFill>
                  <a:srgbClr val="0070C0"/>
                </a:solidFill>
              </a:rPr>
              <a:t>Bolesti dolní páteře: </a:t>
            </a:r>
            <a:r>
              <a:rPr lang="cs-CZ" sz="2200" dirty="0"/>
              <a:t>doba vzniku, vývoj a charakter (náhle, postupně se zhoršující…..)</a:t>
            </a:r>
          </a:p>
          <a:p>
            <a:endParaRPr lang="cs-CZ" dirty="0"/>
          </a:p>
          <a:p>
            <a:r>
              <a:rPr lang="cs-CZ" sz="2000" dirty="0"/>
              <a:t>Periferní/axiální kloubní bolesti a otoky</a:t>
            </a:r>
          </a:p>
          <a:p>
            <a:r>
              <a:rPr lang="cs-CZ" sz="2000" dirty="0" err="1"/>
              <a:t>Enthesitis</a:t>
            </a:r>
            <a:r>
              <a:rPr lang="cs-CZ" sz="2000" dirty="0"/>
              <a:t> (Achillova šlacha, plantární aponeuróza)</a:t>
            </a:r>
          </a:p>
          <a:p>
            <a:r>
              <a:rPr lang="en-US" sz="2000" dirty="0"/>
              <a:t>D</a:t>
            </a:r>
            <a:r>
              <a:rPr lang="cs-CZ" sz="2000" dirty="0"/>
              <a:t>actylitis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DA0D5C4-40ED-4F44-BB11-68D520FD5A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1856" y="1033927"/>
            <a:ext cx="2009775" cy="390525"/>
          </a:xfrm>
          <a:prstGeom prst="rect">
            <a:avLst/>
          </a:prstGeom>
        </p:spPr>
      </p:pic>
      <p:sp>
        <p:nvSpPr>
          <p:cNvPr id="6" name="Obdélník: se zakulacenými rohy 5">
            <a:extLst>
              <a:ext uri="{FF2B5EF4-FFF2-40B4-BE49-F238E27FC236}">
                <a16:creationId xmlns:a16="http://schemas.microsoft.com/office/drawing/2014/main" id="{A45CF0AB-44FD-46B1-8B21-70E2CCE8ED68}"/>
              </a:ext>
            </a:extLst>
          </p:cNvPr>
          <p:cNvSpPr/>
          <p:nvPr/>
        </p:nvSpPr>
        <p:spPr>
          <a:xfrm>
            <a:off x="4279036" y="1686757"/>
            <a:ext cx="4492101" cy="1393793"/>
          </a:xfrm>
          <a:prstGeom prst="roundRect">
            <a:avLst/>
          </a:prstGeom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dirty="0"/>
              <a:t>Máte bolesti a ztuhlost kloubů hlavně po ránu a v době nečinnosti, které se zlepšují v průběhu dne??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2F3E72CA-DDD1-42D7-ACE9-1619911A56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806" y="6390443"/>
            <a:ext cx="3924300" cy="457200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D77FC8B5-2677-4678-95F8-9BB1743927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4908" y="3960238"/>
            <a:ext cx="3767091" cy="2897762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F1BB133F-F3E2-4AEF-B145-988541FCBE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03967" y="3851795"/>
            <a:ext cx="2733675" cy="409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9411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380B0D7-EA28-2B67-C10E-E708F54E2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3090" y="365125"/>
            <a:ext cx="10060709" cy="1325563"/>
          </a:xfrm>
        </p:spPr>
        <p:txBody>
          <a:bodyPr>
            <a:normAutofit/>
          </a:bodyPr>
          <a:lstStyle/>
          <a:p>
            <a:r>
              <a:rPr lang="cs-CZ" sz="3600" b="1" dirty="0"/>
              <a:t>Spojení HS a chronických zánětlivých onemocnění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7181F2E6-E9C1-175E-5C4D-1998964CE3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6072" y="1867179"/>
            <a:ext cx="8892279" cy="4642556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34783221-E8A5-EC47-CD47-02625A226C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7250" y="4856763"/>
            <a:ext cx="1216772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181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44714A5-7D7F-0AB8-A1C1-74CD60D1D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408" y="371023"/>
            <a:ext cx="11233220" cy="509082"/>
          </a:xfrm>
        </p:spPr>
        <p:txBody>
          <a:bodyPr>
            <a:noAutofit/>
          </a:bodyPr>
          <a:lstStyle/>
          <a:p>
            <a:r>
              <a:rPr lang="cs-CZ" sz="3600" b="1" dirty="0"/>
              <a:t>HS s spojení s psoriázo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A6DB193-1ACC-AC1A-2077-3F4228671C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6" y="1360001"/>
            <a:ext cx="11353800" cy="5400028"/>
          </a:xfrm>
        </p:spPr>
        <p:txBody>
          <a:bodyPr>
            <a:normAutofit/>
          </a:bodyPr>
          <a:lstStyle/>
          <a:p>
            <a:r>
              <a:rPr lang="cs-CZ" sz="2000" dirty="0"/>
              <a:t>Společné </a:t>
            </a:r>
            <a:r>
              <a:rPr lang="cs-CZ" sz="2000" b="1" dirty="0" err="1">
                <a:solidFill>
                  <a:srgbClr val="0070C0"/>
                </a:solidFill>
              </a:rPr>
              <a:t>flexurární</a:t>
            </a:r>
            <a:r>
              <a:rPr lang="cs-CZ" sz="2000" dirty="0"/>
              <a:t> postižení HS a </a:t>
            </a:r>
            <a:r>
              <a:rPr lang="cs-CZ" sz="2000" dirty="0" err="1"/>
              <a:t>PsO</a:t>
            </a:r>
            <a:r>
              <a:rPr lang="cs-CZ" sz="2000" dirty="0"/>
              <a:t>, </a:t>
            </a:r>
            <a:r>
              <a:rPr lang="cs-CZ" sz="2000" dirty="0" err="1"/>
              <a:t>Koebnerův</a:t>
            </a:r>
            <a:r>
              <a:rPr lang="cs-CZ" sz="2000" dirty="0"/>
              <a:t> fenomén</a:t>
            </a:r>
          </a:p>
          <a:p>
            <a:endParaRPr lang="cs-CZ" sz="2000" dirty="0"/>
          </a:p>
          <a:p>
            <a:r>
              <a:rPr lang="cs-CZ" sz="2000" b="1" dirty="0">
                <a:solidFill>
                  <a:schemeClr val="accent1"/>
                </a:solidFill>
              </a:rPr>
              <a:t>Typický pacient:</a:t>
            </a:r>
          </a:p>
          <a:p>
            <a:r>
              <a:rPr lang="cs-CZ" sz="2000" dirty="0"/>
              <a:t>Muž 46 let, nezaměstnaný kvůli kožním symptomatologii</a:t>
            </a:r>
          </a:p>
          <a:p>
            <a:r>
              <a:rPr lang="cs-CZ" sz="2000" dirty="0"/>
              <a:t>Obezita, kuřák</a:t>
            </a:r>
          </a:p>
          <a:p>
            <a:r>
              <a:rPr lang="cs-CZ" sz="2000" dirty="0"/>
              <a:t>Pozitivní RA pro </a:t>
            </a:r>
            <a:r>
              <a:rPr lang="cs-CZ" sz="2000" dirty="0" err="1"/>
              <a:t>PsO</a:t>
            </a:r>
            <a:r>
              <a:rPr lang="cs-CZ" sz="2000" dirty="0"/>
              <a:t>, ne pro HS</a:t>
            </a:r>
          </a:p>
          <a:p>
            <a:r>
              <a:rPr lang="cs-CZ" sz="2000" dirty="0"/>
              <a:t>Dřívější výskyt </a:t>
            </a:r>
            <a:r>
              <a:rPr lang="cs-CZ" sz="2000" dirty="0" err="1"/>
              <a:t>PsO</a:t>
            </a:r>
            <a:r>
              <a:rPr lang="cs-CZ" sz="2000" dirty="0"/>
              <a:t> než HS</a:t>
            </a:r>
          </a:p>
          <a:p>
            <a:r>
              <a:rPr lang="cs-CZ" sz="2000" dirty="0"/>
              <a:t>Deprese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cs-CZ" sz="1800" dirty="0"/>
          </a:p>
          <a:p>
            <a:pPr marL="0" indent="0">
              <a:buNone/>
            </a:pPr>
            <a:endParaRPr lang="cs-CZ" sz="900" u="sng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cs-CZ" sz="900" u="sng" dirty="0" err="1">
                <a:solidFill>
                  <a:srgbClr val="0070C0"/>
                </a:solidFill>
              </a:rPr>
              <a:t>Khalaf</a:t>
            </a:r>
            <a:r>
              <a:rPr lang="cs-CZ" sz="900" u="sng" dirty="0">
                <a:solidFill>
                  <a:srgbClr val="0070C0"/>
                </a:solidFill>
              </a:rPr>
              <a:t> </a:t>
            </a:r>
            <a:r>
              <a:rPr lang="cs-CZ" sz="900" u="sng" dirty="0" err="1">
                <a:solidFill>
                  <a:srgbClr val="0070C0"/>
                </a:solidFill>
              </a:rPr>
              <a:t>Kridin</a:t>
            </a:r>
            <a:r>
              <a:rPr lang="cs-CZ" sz="900" u="sng" dirty="0">
                <a:solidFill>
                  <a:srgbClr val="0070C0"/>
                </a:solidFill>
              </a:rPr>
              <a:t> et al. </a:t>
            </a:r>
            <a:r>
              <a:rPr lang="pt-BR" sz="900" u="sng" dirty="0">
                <a:solidFill>
                  <a:srgbClr val="0070C0"/>
                </a:solidFill>
              </a:rPr>
              <a:t>J Am Acad Dermatol</a:t>
            </a:r>
            <a:r>
              <a:rPr lang="cs-CZ" sz="900" u="sng" dirty="0">
                <a:solidFill>
                  <a:srgbClr val="0070C0"/>
                </a:solidFill>
              </a:rPr>
              <a:t> </a:t>
            </a:r>
            <a:r>
              <a:rPr lang="pt-BR" sz="900" u="sng" dirty="0">
                <a:solidFill>
                  <a:srgbClr val="0070C0"/>
                </a:solidFill>
              </a:rPr>
              <a:t> 2023 May;88(5):e231-e236. doi: 10.1016/j.jaad.2018.11.036</a:t>
            </a:r>
            <a:endParaRPr lang="cs-CZ" sz="900" u="sng" dirty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cs-CZ" sz="1800" dirty="0"/>
          </a:p>
          <a:p>
            <a:endParaRPr lang="cs-CZ" sz="18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34F21F33-5345-9B32-988C-4B01B75D66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5829" y="2970001"/>
            <a:ext cx="8246171" cy="3332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8309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8AEED47-FA9E-2055-DA77-0AFADE777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0444" y="365125"/>
            <a:ext cx="9183356" cy="890919"/>
          </a:xfrm>
        </p:spPr>
        <p:txBody>
          <a:bodyPr/>
          <a:lstStyle/>
          <a:p>
            <a:r>
              <a:rPr lang="cs-CZ" dirty="0"/>
              <a:t>                  </a:t>
            </a:r>
            <a:r>
              <a:rPr lang="cs-CZ" sz="3600" b="1" dirty="0"/>
              <a:t>Management</a:t>
            </a:r>
            <a:endParaRPr lang="cs-CZ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648D9BF-F4FD-5E02-B288-846263C4ED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413" y="1703286"/>
            <a:ext cx="10515600" cy="4351338"/>
          </a:xfrm>
        </p:spPr>
        <p:txBody>
          <a:bodyPr>
            <a:normAutofit lnSpcReduction="10000"/>
          </a:bodyPr>
          <a:lstStyle/>
          <a:p>
            <a:r>
              <a:rPr lang="cs-CZ" sz="2400" dirty="0" err="1"/>
              <a:t>PsO</a:t>
            </a:r>
            <a:r>
              <a:rPr lang="cs-CZ" sz="2400" dirty="0"/>
              <a:t> není odpověď na lokální léčbu</a:t>
            </a:r>
          </a:p>
          <a:p>
            <a:r>
              <a:rPr lang="cs-CZ" sz="2400" dirty="0"/>
              <a:t>HS není odpověď na doxycyklin 200 mg/den ani </a:t>
            </a:r>
            <a:r>
              <a:rPr lang="cs-CZ" sz="2400" dirty="0" err="1"/>
              <a:t>clindamycin</a:t>
            </a:r>
            <a:r>
              <a:rPr lang="cs-CZ" sz="2400" dirty="0"/>
              <a:t> 300 mg/ 2x denně</a:t>
            </a:r>
          </a:p>
          <a:p>
            <a:r>
              <a:rPr lang="cs-CZ" sz="24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alimumab</a:t>
            </a:r>
            <a:r>
              <a:rPr lang="cs-CZ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40 mg/týden</a:t>
            </a:r>
          </a:p>
          <a:p>
            <a:endParaRPr lang="cs-CZ" sz="2400" dirty="0"/>
          </a:p>
          <a:p>
            <a:endParaRPr lang="cs-CZ" sz="2400" dirty="0"/>
          </a:p>
          <a:p>
            <a:endParaRPr lang="cs-CZ" sz="2400" dirty="0"/>
          </a:p>
          <a:p>
            <a:endParaRPr lang="cs-CZ" sz="2400" dirty="0"/>
          </a:p>
          <a:p>
            <a:endParaRPr lang="cs-CZ" sz="2400" dirty="0"/>
          </a:p>
          <a:p>
            <a:r>
              <a:rPr lang="cs-CZ" sz="2400" dirty="0"/>
              <a:t>Psoriáza setrvalý efekt v 9 měsíci, HS stagnuje</a:t>
            </a:r>
          </a:p>
          <a:p>
            <a:r>
              <a:rPr lang="cs-CZ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witch na </a:t>
            </a:r>
            <a:r>
              <a:rPr lang="cs-CZ" sz="24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cukinumab</a:t>
            </a:r>
            <a:r>
              <a:rPr lang="cs-CZ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 výbornou kontrolou </a:t>
            </a:r>
            <a:r>
              <a:rPr lang="cs-CZ" sz="24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O</a:t>
            </a:r>
            <a:r>
              <a:rPr lang="cs-CZ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 HS</a:t>
            </a:r>
          </a:p>
          <a:p>
            <a:endParaRPr lang="cs-CZ" sz="2400" dirty="0"/>
          </a:p>
          <a:p>
            <a:endParaRPr lang="cs-CZ" sz="2400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5226336F-3DA3-008D-8F50-A7240465C12C}"/>
              </a:ext>
            </a:extLst>
          </p:cNvPr>
          <p:cNvSpPr txBox="1"/>
          <p:nvPr/>
        </p:nvSpPr>
        <p:spPr>
          <a:xfrm>
            <a:off x="153239" y="6342297"/>
            <a:ext cx="60943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900" u="sng" dirty="0" err="1">
                <a:solidFill>
                  <a:srgbClr val="0070C0"/>
                </a:solidFill>
              </a:rPr>
              <a:t>Khalaf</a:t>
            </a:r>
            <a:r>
              <a:rPr lang="cs-CZ" sz="900" u="sng" dirty="0">
                <a:solidFill>
                  <a:srgbClr val="0070C0"/>
                </a:solidFill>
              </a:rPr>
              <a:t> </a:t>
            </a:r>
            <a:r>
              <a:rPr lang="cs-CZ" sz="900" u="sng" dirty="0" err="1">
                <a:solidFill>
                  <a:srgbClr val="0070C0"/>
                </a:solidFill>
              </a:rPr>
              <a:t>Kridin</a:t>
            </a:r>
            <a:r>
              <a:rPr lang="cs-CZ" sz="900" u="sng" dirty="0">
                <a:solidFill>
                  <a:srgbClr val="0070C0"/>
                </a:solidFill>
              </a:rPr>
              <a:t> et al. </a:t>
            </a:r>
            <a:r>
              <a:rPr lang="pt-BR" sz="900" u="sng" dirty="0">
                <a:solidFill>
                  <a:srgbClr val="0070C0"/>
                </a:solidFill>
              </a:rPr>
              <a:t>J Am Acad Dermatol</a:t>
            </a:r>
            <a:r>
              <a:rPr lang="cs-CZ" sz="900" u="sng" dirty="0">
                <a:solidFill>
                  <a:srgbClr val="0070C0"/>
                </a:solidFill>
              </a:rPr>
              <a:t> </a:t>
            </a:r>
            <a:r>
              <a:rPr lang="pt-BR" sz="900" u="sng" dirty="0">
                <a:solidFill>
                  <a:srgbClr val="0070C0"/>
                </a:solidFill>
              </a:rPr>
              <a:t> 2023 May;88(5):e231-e236. doi: 10.1016/j.jaad.2018.11.036</a:t>
            </a:r>
            <a:endParaRPr lang="cs-CZ" sz="900" u="sng" dirty="0">
              <a:solidFill>
                <a:srgbClr val="0070C0"/>
              </a:solidFill>
            </a:endParaRPr>
          </a:p>
          <a:p>
            <a:r>
              <a:rPr lang="cs-CZ" sz="900" u="sng" dirty="0" err="1">
                <a:solidFill>
                  <a:srgbClr val="0070C0"/>
                </a:solidFill>
              </a:rPr>
              <a:t>Pinter</a:t>
            </a:r>
            <a:r>
              <a:rPr lang="cs-CZ" sz="900" u="sng" dirty="0">
                <a:solidFill>
                  <a:srgbClr val="0070C0"/>
                </a:solidFill>
              </a:rPr>
              <a:t> A. </a:t>
            </a:r>
            <a:r>
              <a:rPr lang="cs-CZ" sz="900" u="sng" dirty="0" err="1">
                <a:solidFill>
                  <a:srgbClr val="0070C0"/>
                </a:solidFill>
              </a:rPr>
              <a:t>Dermatol</a:t>
            </a:r>
            <a:r>
              <a:rPr lang="cs-CZ" sz="900" u="sng" dirty="0">
                <a:solidFill>
                  <a:srgbClr val="0070C0"/>
                </a:solidFill>
              </a:rPr>
              <a:t> </a:t>
            </a:r>
            <a:r>
              <a:rPr lang="cs-CZ" sz="900" u="sng" dirty="0" err="1">
                <a:solidFill>
                  <a:srgbClr val="0070C0"/>
                </a:solidFill>
              </a:rPr>
              <a:t>Ther</a:t>
            </a:r>
            <a:r>
              <a:rPr lang="cs-CZ" sz="900" u="sng" dirty="0">
                <a:solidFill>
                  <a:srgbClr val="0070C0"/>
                </a:solidFill>
              </a:rPr>
              <a:t> (</a:t>
            </a:r>
            <a:r>
              <a:rPr lang="cs-CZ" sz="900" u="sng" dirty="0" err="1">
                <a:solidFill>
                  <a:srgbClr val="0070C0"/>
                </a:solidFill>
              </a:rPr>
              <a:t>Heidelb</a:t>
            </a:r>
            <a:r>
              <a:rPr lang="cs-CZ" sz="900" u="sng" dirty="0">
                <a:solidFill>
                  <a:srgbClr val="0070C0"/>
                </a:solidFill>
              </a:rPr>
              <a:t>) (2020) 10:721–734. </a:t>
            </a:r>
            <a:r>
              <a:rPr lang="cs-CZ" sz="900" b="0" i="0" dirty="0">
                <a:solidFill>
                  <a:srgbClr val="212121"/>
                </a:solidFill>
                <a:effectLst/>
                <a:latin typeface="BlinkMacSystemFont"/>
              </a:rPr>
              <a:t> </a:t>
            </a:r>
            <a:r>
              <a:rPr lang="cs-CZ" sz="900" b="0" i="0" u="sng" dirty="0">
                <a:solidFill>
                  <a:srgbClr val="0070C0"/>
                </a:solidFill>
                <a:effectLst/>
                <a:latin typeface="BlinkMacSystemFont"/>
              </a:rPr>
              <a:t>DOI</a:t>
            </a:r>
            <a:r>
              <a:rPr lang="cs-CZ" sz="900" b="0" i="0" u="sng" dirty="0">
                <a:solidFill>
                  <a:srgbClr val="212121"/>
                </a:solidFill>
                <a:effectLst/>
                <a:latin typeface="BlinkMacSystemFont"/>
              </a:rPr>
              <a:t>: </a:t>
            </a:r>
            <a:r>
              <a:rPr lang="cs-CZ" sz="900" b="0" i="0" u="none" strike="noStrike" dirty="0">
                <a:solidFill>
                  <a:srgbClr val="0071BC"/>
                </a:solidFill>
                <a:effectLst/>
                <a:latin typeface="BlinkMacSystemFont"/>
                <a:hlinkClick r:id="rId2"/>
              </a:rPr>
              <a:t>10.1007/s13555-020-00401-y</a:t>
            </a:r>
            <a:endParaRPr lang="cs-CZ" sz="900" b="0" i="0" dirty="0">
              <a:solidFill>
                <a:srgbClr val="212121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endParaRPr lang="cs-CZ" sz="900" u="sng" dirty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cs-CZ" sz="900" u="sng" dirty="0">
              <a:solidFill>
                <a:srgbClr val="0070C0"/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01D851DB-A8BA-DA6B-F5C7-EA4D7AFFD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098" y="3155765"/>
            <a:ext cx="10028229" cy="144637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E416A7C-D7BB-6F93-F4CF-88D2FB0788D1}"/>
              </a:ext>
            </a:extLst>
          </p:cNvPr>
          <p:cNvSpPr txBox="1"/>
          <p:nvPr/>
        </p:nvSpPr>
        <p:spPr>
          <a:xfrm>
            <a:off x="9981788" y="6665462"/>
            <a:ext cx="205697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" i="1" dirty="0" err="1">
                <a:effectLst/>
              </a:rPr>
              <a:t>Odkaz</a:t>
            </a:r>
            <a:r>
              <a:rPr lang="en-GB" sz="600" i="1" dirty="0">
                <a:effectLst/>
              </a:rPr>
              <a:t> </a:t>
            </a:r>
            <a:r>
              <a:rPr lang="en-GB" sz="600" i="1" dirty="0" err="1">
                <a:effectLst/>
              </a:rPr>
              <a:t>na</a:t>
            </a:r>
            <a:r>
              <a:rPr lang="en-GB" sz="600" i="1" dirty="0">
                <a:effectLst/>
              </a:rPr>
              <a:t> SPC </a:t>
            </a:r>
            <a:r>
              <a:rPr lang="en-GB" sz="600" i="1" dirty="0" err="1">
                <a:effectLst/>
              </a:rPr>
              <a:t>přípravku</a:t>
            </a:r>
            <a:r>
              <a:rPr lang="en-GB" sz="600" i="1" dirty="0">
                <a:effectLst/>
              </a:rPr>
              <a:t> Cosentyx </a:t>
            </a:r>
            <a:r>
              <a:rPr lang="en-GB" sz="600" i="1" dirty="0" err="1">
                <a:effectLst/>
              </a:rPr>
              <a:t>dostupn</a:t>
            </a:r>
            <a:r>
              <a:rPr lang="en-GB" sz="600" i="1" dirty="0" err="1"/>
              <a:t>ý</a:t>
            </a:r>
            <a:r>
              <a:rPr lang="en-GB" sz="600" i="1" dirty="0"/>
              <a:t> </a:t>
            </a:r>
            <a:r>
              <a:rPr lang="en-GB" sz="600" i="1" dirty="0" err="1"/>
              <a:t>na</a:t>
            </a:r>
            <a:r>
              <a:rPr lang="en-GB" sz="600" i="1" dirty="0"/>
              <a:t>: www.sukl.cz</a:t>
            </a:r>
            <a:endParaRPr lang="en-GB" sz="600" i="1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86374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95"/>
          <p:cNvSpPr/>
          <p:nvPr/>
        </p:nvSpPr>
        <p:spPr>
          <a:xfrm>
            <a:off x="796021" y="951686"/>
            <a:ext cx="10599957" cy="61555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tIns="121920" rIns="121920" bIns="121920">
            <a:spAutoFit/>
          </a:bodyPr>
          <a:lstStyle/>
          <a:p>
            <a:pPr algn="ctr"/>
            <a:r>
              <a:rPr lang="en-US" sz="2400" b="1" dirty="0">
                <a:solidFill>
                  <a:srgbClr val="0460A9"/>
                </a:solidFill>
              </a:rPr>
              <a:t>U pacientů s HS</a:t>
            </a:r>
            <a:r>
              <a:rPr lang="cs-CZ" sz="2400" b="1" dirty="0">
                <a:solidFill>
                  <a:srgbClr val="0460A9"/>
                </a:solidFill>
              </a:rPr>
              <a:t> </a:t>
            </a:r>
            <a:r>
              <a:rPr lang="en-US" b="1" baseline="30000" dirty="0">
                <a:solidFill>
                  <a:srgbClr val="0460A9"/>
                </a:solidFill>
              </a:rPr>
              <a:t>1</a:t>
            </a:r>
            <a:r>
              <a:rPr lang="en-US" sz="2400" b="1" dirty="0">
                <a:solidFill>
                  <a:srgbClr val="0460A9"/>
                </a:solidFill>
              </a:rPr>
              <a:t> je o 50 % vyšší výskyt všech </a:t>
            </a:r>
            <a:r>
              <a:rPr lang="en-US" sz="2400" b="1" dirty="0" err="1">
                <a:solidFill>
                  <a:srgbClr val="0460A9"/>
                </a:solidFill>
              </a:rPr>
              <a:t>typů</a:t>
            </a:r>
            <a:r>
              <a:rPr lang="en-US" sz="2400" b="1" dirty="0">
                <a:solidFill>
                  <a:srgbClr val="0460A9"/>
                </a:solidFill>
              </a:rPr>
              <a:t> </a:t>
            </a:r>
            <a:r>
              <a:rPr lang="cs-CZ" sz="2400" b="1" dirty="0">
                <a:solidFill>
                  <a:srgbClr val="0460A9"/>
                </a:solidFill>
              </a:rPr>
              <a:t>nádorů</a:t>
            </a:r>
            <a:r>
              <a:rPr lang="en-US" sz="2400" b="1" dirty="0">
                <a:solidFill>
                  <a:srgbClr val="0460A9"/>
                </a:solidFill>
              </a:rPr>
              <a:t>. </a:t>
            </a:r>
            <a:endParaRPr lang="en-US" sz="2400" b="1" baseline="30000" dirty="0">
              <a:solidFill>
                <a:srgbClr val="0460A9"/>
              </a:solidFill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174847" y="88366"/>
            <a:ext cx="667725" cy="595836"/>
            <a:chOff x="2942087" y="1851188"/>
            <a:chExt cx="1066800" cy="990600"/>
          </a:xfrm>
        </p:grpSpPr>
        <p:sp>
          <p:nvSpPr>
            <p:cNvPr id="50" name="Oval 49"/>
            <p:cNvSpPr/>
            <p:nvPr/>
          </p:nvSpPr>
          <p:spPr>
            <a:xfrm>
              <a:off x="2942087" y="1851188"/>
              <a:ext cx="1066800" cy="9906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  <a:reflection stA="45000" endPos="0" dist="508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51" name="Oval 50"/>
            <p:cNvSpPr/>
            <p:nvPr/>
          </p:nvSpPr>
          <p:spPr>
            <a:xfrm>
              <a:off x="3431488" y="2333535"/>
              <a:ext cx="27432" cy="274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13536" y="2334422"/>
              <a:ext cx="8313" cy="8313"/>
            </a:xfrm>
            <a:prstGeom prst="ellipse">
              <a:avLst/>
            </a:prstGeom>
            <a:solidFill>
              <a:schemeClr val="bg1"/>
            </a:solidFill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07959" y="2275246"/>
              <a:ext cx="54864" cy="54864"/>
            </a:xfrm>
            <a:prstGeom prst="ellipse">
              <a:avLst/>
            </a:prstGeom>
            <a:solidFill>
              <a:schemeClr val="bg1"/>
            </a:solidFill>
          </p:spPr>
        </p:pic>
      </p:grpSp>
      <p:grpSp>
        <p:nvGrpSpPr>
          <p:cNvPr id="54" name="Group 53"/>
          <p:cNvGrpSpPr/>
          <p:nvPr/>
        </p:nvGrpSpPr>
        <p:grpSpPr>
          <a:xfrm>
            <a:off x="285953" y="170926"/>
            <a:ext cx="423483" cy="434485"/>
            <a:chOff x="3059641" y="1714790"/>
            <a:chExt cx="842159" cy="838631"/>
          </a:xfrm>
        </p:grpSpPr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3367176" y="2144320"/>
              <a:ext cx="225423" cy="409101"/>
            </a:xfrm>
            <a:custGeom>
              <a:avLst/>
              <a:gdLst>
                <a:gd name="T0" fmla="*/ 31 w 135"/>
                <a:gd name="T1" fmla="*/ 136 h 245"/>
                <a:gd name="T2" fmla="*/ 31 w 135"/>
                <a:gd name="T3" fmla="*/ 43 h 245"/>
                <a:gd name="T4" fmla="*/ 31 w 135"/>
                <a:gd name="T5" fmla="*/ 40 h 245"/>
                <a:gd name="T6" fmla="*/ 28 w 135"/>
                <a:gd name="T7" fmla="*/ 37 h 245"/>
                <a:gd name="T8" fmla="*/ 25 w 135"/>
                <a:gd name="T9" fmla="*/ 40 h 245"/>
                <a:gd name="T10" fmla="*/ 25 w 135"/>
                <a:gd name="T11" fmla="*/ 45 h 245"/>
                <a:gd name="T12" fmla="*/ 25 w 135"/>
                <a:gd name="T13" fmla="*/ 116 h 245"/>
                <a:gd name="T14" fmla="*/ 21 w 135"/>
                <a:gd name="T15" fmla="*/ 126 h 245"/>
                <a:gd name="T16" fmla="*/ 8 w 135"/>
                <a:gd name="T17" fmla="*/ 129 h 245"/>
                <a:gd name="T18" fmla="*/ 0 w 135"/>
                <a:gd name="T19" fmla="*/ 118 h 245"/>
                <a:gd name="T20" fmla="*/ 0 w 135"/>
                <a:gd name="T21" fmla="*/ 33 h 245"/>
                <a:gd name="T22" fmla="*/ 33 w 135"/>
                <a:gd name="T23" fmla="*/ 0 h 245"/>
                <a:gd name="T24" fmla="*/ 102 w 135"/>
                <a:gd name="T25" fmla="*/ 0 h 245"/>
                <a:gd name="T26" fmla="*/ 134 w 135"/>
                <a:gd name="T27" fmla="*/ 34 h 245"/>
                <a:gd name="T28" fmla="*/ 134 w 135"/>
                <a:gd name="T29" fmla="*/ 117 h 245"/>
                <a:gd name="T30" fmla="*/ 122 w 135"/>
                <a:gd name="T31" fmla="*/ 129 h 245"/>
                <a:gd name="T32" fmla="*/ 110 w 135"/>
                <a:gd name="T33" fmla="*/ 117 h 245"/>
                <a:gd name="T34" fmla="*/ 110 w 135"/>
                <a:gd name="T35" fmla="*/ 53 h 245"/>
                <a:gd name="T36" fmla="*/ 110 w 135"/>
                <a:gd name="T37" fmla="*/ 41 h 245"/>
                <a:gd name="T38" fmla="*/ 107 w 135"/>
                <a:gd name="T39" fmla="*/ 37 h 245"/>
                <a:gd name="T40" fmla="*/ 104 w 135"/>
                <a:gd name="T41" fmla="*/ 41 h 245"/>
                <a:gd name="T42" fmla="*/ 104 w 135"/>
                <a:gd name="T43" fmla="*/ 143 h 245"/>
                <a:gd name="T44" fmla="*/ 104 w 135"/>
                <a:gd name="T45" fmla="*/ 230 h 245"/>
                <a:gd name="T46" fmla="*/ 89 w 135"/>
                <a:gd name="T47" fmla="*/ 245 h 245"/>
                <a:gd name="T48" fmla="*/ 73 w 135"/>
                <a:gd name="T49" fmla="*/ 230 h 245"/>
                <a:gd name="T50" fmla="*/ 73 w 135"/>
                <a:gd name="T51" fmla="*/ 139 h 245"/>
                <a:gd name="T52" fmla="*/ 73 w 135"/>
                <a:gd name="T53" fmla="*/ 135 h 245"/>
                <a:gd name="T54" fmla="*/ 67 w 135"/>
                <a:gd name="T55" fmla="*/ 128 h 245"/>
                <a:gd name="T56" fmla="*/ 61 w 135"/>
                <a:gd name="T57" fmla="*/ 135 h 245"/>
                <a:gd name="T58" fmla="*/ 61 w 135"/>
                <a:gd name="T59" fmla="*/ 168 h 245"/>
                <a:gd name="T60" fmla="*/ 61 w 135"/>
                <a:gd name="T61" fmla="*/ 229 h 245"/>
                <a:gd name="T62" fmla="*/ 46 w 135"/>
                <a:gd name="T63" fmla="*/ 245 h 245"/>
                <a:gd name="T64" fmla="*/ 31 w 135"/>
                <a:gd name="T65" fmla="*/ 229 h 245"/>
                <a:gd name="T66" fmla="*/ 31 w 135"/>
                <a:gd name="T67" fmla="*/ 13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5" h="245">
                  <a:moveTo>
                    <a:pt x="31" y="136"/>
                  </a:moveTo>
                  <a:cubicBezTo>
                    <a:pt x="31" y="105"/>
                    <a:pt x="31" y="74"/>
                    <a:pt x="31" y="43"/>
                  </a:cubicBezTo>
                  <a:cubicBezTo>
                    <a:pt x="31" y="42"/>
                    <a:pt x="31" y="41"/>
                    <a:pt x="31" y="40"/>
                  </a:cubicBezTo>
                  <a:cubicBezTo>
                    <a:pt x="30" y="39"/>
                    <a:pt x="29" y="37"/>
                    <a:pt x="28" y="37"/>
                  </a:cubicBezTo>
                  <a:cubicBezTo>
                    <a:pt x="27" y="37"/>
                    <a:pt x="25" y="39"/>
                    <a:pt x="25" y="40"/>
                  </a:cubicBezTo>
                  <a:cubicBezTo>
                    <a:pt x="24" y="42"/>
                    <a:pt x="25" y="43"/>
                    <a:pt x="25" y="45"/>
                  </a:cubicBezTo>
                  <a:cubicBezTo>
                    <a:pt x="25" y="69"/>
                    <a:pt x="24" y="92"/>
                    <a:pt x="25" y="116"/>
                  </a:cubicBezTo>
                  <a:cubicBezTo>
                    <a:pt x="25" y="120"/>
                    <a:pt x="24" y="123"/>
                    <a:pt x="21" y="126"/>
                  </a:cubicBezTo>
                  <a:cubicBezTo>
                    <a:pt x="17" y="130"/>
                    <a:pt x="13" y="130"/>
                    <a:pt x="8" y="129"/>
                  </a:cubicBezTo>
                  <a:cubicBezTo>
                    <a:pt x="3" y="127"/>
                    <a:pt x="0" y="123"/>
                    <a:pt x="0" y="118"/>
                  </a:cubicBezTo>
                  <a:cubicBezTo>
                    <a:pt x="0" y="89"/>
                    <a:pt x="0" y="61"/>
                    <a:pt x="0" y="33"/>
                  </a:cubicBezTo>
                  <a:cubicBezTo>
                    <a:pt x="0" y="16"/>
                    <a:pt x="16" y="1"/>
                    <a:pt x="33" y="0"/>
                  </a:cubicBezTo>
                  <a:cubicBezTo>
                    <a:pt x="56" y="0"/>
                    <a:pt x="79" y="0"/>
                    <a:pt x="102" y="0"/>
                  </a:cubicBezTo>
                  <a:cubicBezTo>
                    <a:pt x="119" y="1"/>
                    <a:pt x="134" y="16"/>
                    <a:pt x="134" y="34"/>
                  </a:cubicBezTo>
                  <a:cubicBezTo>
                    <a:pt x="135" y="62"/>
                    <a:pt x="135" y="89"/>
                    <a:pt x="134" y="117"/>
                  </a:cubicBezTo>
                  <a:cubicBezTo>
                    <a:pt x="134" y="124"/>
                    <a:pt x="129" y="129"/>
                    <a:pt x="122" y="129"/>
                  </a:cubicBezTo>
                  <a:cubicBezTo>
                    <a:pt x="116" y="129"/>
                    <a:pt x="110" y="124"/>
                    <a:pt x="110" y="117"/>
                  </a:cubicBezTo>
                  <a:cubicBezTo>
                    <a:pt x="110" y="96"/>
                    <a:pt x="110" y="74"/>
                    <a:pt x="110" y="53"/>
                  </a:cubicBezTo>
                  <a:cubicBezTo>
                    <a:pt x="110" y="49"/>
                    <a:pt x="110" y="45"/>
                    <a:pt x="110" y="41"/>
                  </a:cubicBezTo>
                  <a:cubicBezTo>
                    <a:pt x="110" y="39"/>
                    <a:pt x="110" y="37"/>
                    <a:pt x="107" y="37"/>
                  </a:cubicBezTo>
                  <a:cubicBezTo>
                    <a:pt x="104" y="37"/>
                    <a:pt x="104" y="39"/>
                    <a:pt x="104" y="41"/>
                  </a:cubicBezTo>
                  <a:cubicBezTo>
                    <a:pt x="104" y="75"/>
                    <a:pt x="104" y="109"/>
                    <a:pt x="104" y="143"/>
                  </a:cubicBezTo>
                  <a:cubicBezTo>
                    <a:pt x="104" y="172"/>
                    <a:pt x="104" y="201"/>
                    <a:pt x="104" y="230"/>
                  </a:cubicBezTo>
                  <a:cubicBezTo>
                    <a:pt x="104" y="238"/>
                    <a:pt x="97" y="245"/>
                    <a:pt x="89" y="245"/>
                  </a:cubicBezTo>
                  <a:cubicBezTo>
                    <a:pt x="80" y="245"/>
                    <a:pt x="73" y="238"/>
                    <a:pt x="73" y="230"/>
                  </a:cubicBezTo>
                  <a:cubicBezTo>
                    <a:pt x="73" y="199"/>
                    <a:pt x="73" y="169"/>
                    <a:pt x="73" y="139"/>
                  </a:cubicBezTo>
                  <a:cubicBezTo>
                    <a:pt x="73" y="137"/>
                    <a:pt x="73" y="136"/>
                    <a:pt x="73" y="135"/>
                  </a:cubicBezTo>
                  <a:cubicBezTo>
                    <a:pt x="73" y="131"/>
                    <a:pt x="71" y="128"/>
                    <a:pt x="67" y="128"/>
                  </a:cubicBezTo>
                  <a:cubicBezTo>
                    <a:pt x="64" y="128"/>
                    <a:pt x="61" y="131"/>
                    <a:pt x="61" y="135"/>
                  </a:cubicBezTo>
                  <a:cubicBezTo>
                    <a:pt x="61" y="146"/>
                    <a:pt x="61" y="157"/>
                    <a:pt x="61" y="168"/>
                  </a:cubicBezTo>
                  <a:cubicBezTo>
                    <a:pt x="61" y="188"/>
                    <a:pt x="61" y="209"/>
                    <a:pt x="61" y="229"/>
                  </a:cubicBezTo>
                  <a:cubicBezTo>
                    <a:pt x="61" y="238"/>
                    <a:pt x="55" y="245"/>
                    <a:pt x="46" y="245"/>
                  </a:cubicBezTo>
                  <a:cubicBezTo>
                    <a:pt x="37" y="245"/>
                    <a:pt x="31" y="238"/>
                    <a:pt x="31" y="229"/>
                  </a:cubicBezTo>
                  <a:cubicBezTo>
                    <a:pt x="31" y="198"/>
                    <a:pt x="31" y="167"/>
                    <a:pt x="31" y="136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3438094" y="2038350"/>
              <a:ext cx="81105" cy="82297"/>
            </a:xfrm>
            <a:custGeom>
              <a:avLst/>
              <a:gdLst>
                <a:gd name="T0" fmla="*/ 49 w 49"/>
                <a:gd name="T1" fmla="*/ 25 h 49"/>
                <a:gd name="T2" fmla="*/ 24 w 49"/>
                <a:gd name="T3" fmla="*/ 49 h 49"/>
                <a:gd name="T4" fmla="*/ 0 w 49"/>
                <a:gd name="T5" fmla="*/ 24 h 49"/>
                <a:gd name="T6" fmla="*/ 25 w 49"/>
                <a:gd name="T7" fmla="*/ 0 h 49"/>
                <a:gd name="T8" fmla="*/ 49 w 49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25"/>
                  </a:moveTo>
                  <a:cubicBezTo>
                    <a:pt x="49" y="38"/>
                    <a:pt x="38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57" name="Graphic 62" descr="Network">
              <a:extLst>
                <a:ext uri="{FF2B5EF4-FFF2-40B4-BE49-F238E27FC236}">
                  <a16:creationId xmlns:a16="http://schemas.microsoft.com/office/drawing/2014/main" id="{2B168095-83EF-417A-AA54-9CC537B5F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7130" y="2167078"/>
              <a:ext cx="134346" cy="134346"/>
            </a:xfrm>
            <a:prstGeom prst="rect">
              <a:avLst/>
            </a:prstGeom>
          </p:spPr>
        </p:pic>
        <p:grpSp>
          <p:nvGrpSpPr>
            <p:cNvPr id="58" name="Group 57"/>
            <p:cNvGrpSpPr/>
            <p:nvPr/>
          </p:nvGrpSpPr>
          <p:grpSpPr>
            <a:xfrm>
              <a:off x="3080859" y="1849909"/>
              <a:ext cx="240001" cy="251310"/>
              <a:chOff x="3037091" y="1854615"/>
              <a:chExt cx="240001" cy="251310"/>
            </a:xfrm>
          </p:grpSpPr>
          <p:grpSp>
            <p:nvGrpSpPr>
              <p:cNvPr id="72" name="Graphic 226">
                <a:extLst>
                  <a:ext uri="{FF2B5EF4-FFF2-40B4-BE49-F238E27FC236}">
                    <a16:creationId xmlns:a16="http://schemas.microsoft.com/office/drawing/2014/main" id="{526FC5E6-4062-BF4C-8C4B-E04DFD843677}"/>
                  </a:ext>
                </a:extLst>
              </p:cNvPr>
              <p:cNvGrpSpPr/>
              <p:nvPr/>
            </p:nvGrpSpPr>
            <p:grpSpPr>
              <a:xfrm>
                <a:off x="3083626" y="1867585"/>
                <a:ext cx="136569" cy="212600"/>
                <a:chOff x="5912639" y="3117055"/>
                <a:chExt cx="361950" cy="614162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81" name="Freeform: Shape 228">
                  <a:extLst>
                    <a:ext uri="{FF2B5EF4-FFF2-40B4-BE49-F238E27FC236}">
                      <a16:creationId xmlns:a16="http://schemas.microsoft.com/office/drawing/2014/main" id="{AD78A312-3E01-E046-A249-F6F83622510A}"/>
                    </a:ext>
                  </a:extLst>
                </p:cNvPr>
                <p:cNvSpPr/>
                <p:nvPr/>
              </p:nvSpPr>
              <p:spPr>
                <a:xfrm>
                  <a:off x="5912639" y="3245442"/>
                  <a:ext cx="361950" cy="485775"/>
                </a:xfrm>
                <a:custGeom>
                  <a:avLst/>
                  <a:gdLst>
                    <a:gd name="connsiteX0" fmla="*/ 196124 w 361950"/>
                    <a:gd name="connsiteY0" fmla="*/ 270616 h 485775"/>
                    <a:gd name="connsiteX1" fmla="*/ 185170 w 361950"/>
                    <a:gd name="connsiteY1" fmla="*/ 270616 h 485775"/>
                    <a:gd name="connsiteX2" fmla="*/ 184599 w 361950"/>
                    <a:gd name="connsiteY2" fmla="*/ 277569 h 485775"/>
                    <a:gd name="connsiteX3" fmla="*/ 184504 w 361950"/>
                    <a:gd name="connsiteY3" fmla="*/ 453496 h 485775"/>
                    <a:gd name="connsiteX4" fmla="*/ 157929 w 361950"/>
                    <a:gd name="connsiteY4" fmla="*/ 485310 h 485775"/>
                    <a:gd name="connsiteX5" fmla="*/ 131354 w 361950"/>
                    <a:gd name="connsiteY5" fmla="*/ 462259 h 485775"/>
                    <a:gd name="connsiteX6" fmla="*/ 111637 w 361950"/>
                    <a:gd name="connsiteY6" fmla="*/ 345387 h 485775"/>
                    <a:gd name="connsiteX7" fmla="*/ 87730 w 361950"/>
                    <a:gd name="connsiteY7" fmla="*/ 203751 h 485775"/>
                    <a:gd name="connsiteX8" fmla="*/ 74395 w 361950"/>
                    <a:gd name="connsiteY8" fmla="*/ 162793 h 485775"/>
                    <a:gd name="connsiteX9" fmla="*/ 57726 w 361950"/>
                    <a:gd name="connsiteY9" fmla="*/ 195654 h 485775"/>
                    <a:gd name="connsiteX10" fmla="*/ 21531 w 361950"/>
                    <a:gd name="connsiteY10" fmla="*/ 207084 h 485775"/>
                    <a:gd name="connsiteX11" fmla="*/ 10768 w 361950"/>
                    <a:gd name="connsiteY11" fmla="*/ 171461 h 485775"/>
                    <a:gd name="connsiteX12" fmla="*/ 74299 w 361950"/>
                    <a:gd name="connsiteY12" fmla="*/ 49065 h 485775"/>
                    <a:gd name="connsiteX13" fmla="*/ 142022 w 361950"/>
                    <a:gd name="connsiteY13" fmla="*/ 7250 h 485775"/>
                    <a:gd name="connsiteX14" fmla="*/ 234605 w 361950"/>
                    <a:gd name="connsiteY14" fmla="*/ 7155 h 485775"/>
                    <a:gd name="connsiteX15" fmla="*/ 292136 w 361950"/>
                    <a:gd name="connsiteY15" fmla="*/ 37730 h 485775"/>
                    <a:gd name="connsiteX16" fmla="*/ 333665 w 361950"/>
                    <a:gd name="connsiteY16" fmla="*/ 114978 h 485775"/>
                    <a:gd name="connsiteX17" fmla="*/ 358144 w 361950"/>
                    <a:gd name="connsiteY17" fmla="*/ 162603 h 485775"/>
                    <a:gd name="connsiteX18" fmla="*/ 362240 w 361950"/>
                    <a:gd name="connsiteY18" fmla="*/ 183367 h 485775"/>
                    <a:gd name="connsiteX19" fmla="*/ 342619 w 361950"/>
                    <a:gd name="connsiteY19" fmla="*/ 206799 h 485775"/>
                    <a:gd name="connsiteX20" fmla="*/ 316520 w 361950"/>
                    <a:gd name="connsiteY20" fmla="*/ 190892 h 485775"/>
                    <a:gd name="connsiteX21" fmla="*/ 301947 w 361950"/>
                    <a:gd name="connsiteY21" fmla="*/ 161269 h 485775"/>
                    <a:gd name="connsiteX22" fmla="*/ 301852 w 361950"/>
                    <a:gd name="connsiteY22" fmla="*/ 161174 h 485775"/>
                    <a:gd name="connsiteX23" fmla="*/ 287278 w 361950"/>
                    <a:gd name="connsiteY23" fmla="*/ 220896 h 485775"/>
                    <a:gd name="connsiteX24" fmla="*/ 248988 w 361950"/>
                    <a:gd name="connsiteY24" fmla="*/ 460640 h 485775"/>
                    <a:gd name="connsiteX25" fmla="*/ 221461 w 361950"/>
                    <a:gd name="connsiteY25" fmla="*/ 485214 h 485775"/>
                    <a:gd name="connsiteX26" fmla="*/ 196124 w 361950"/>
                    <a:gd name="connsiteY26" fmla="*/ 458449 h 485775"/>
                    <a:gd name="connsiteX27" fmla="*/ 196219 w 361950"/>
                    <a:gd name="connsiteY27" fmla="*/ 284808 h 485775"/>
                    <a:gd name="connsiteX28" fmla="*/ 196124 w 361950"/>
                    <a:gd name="connsiteY28" fmla="*/ 270616 h 485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61950" h="485775">
                      <a:moveTo>
                        <a:pt x="196124" y="270616"/>
                      </a:moveTo>
                      <a:cubicBezTo>
                        <a:pt x="191647" y="270616"/>
                        <a:pt x="188695" y="270616"/>
                        <a:pt x="185170" y="270616"/>
                      </a:cubicBezTo>
                      <a:cubicBezTo>
                        <a:pt x="184980" y="273188"/>
                        <a:pt x="184599" y="275379"/>
                        <a:pt x="184599" y="277569"/>
                      </a:cubicBezTo>
                      <a:cubicBezTo>
                        <a:pt x="184599" y="336243"/>
                        <a:pt x="184599" y="394917"/>
                        <a:pt x="184504" y="453496"/>
                      </a:cubicBezTo>
                      <a:cubicBezTo>
                        <a:pt x="184504" y="473308"/>
                        <a:pt x="174312" y="485119"/>
                        <a:pt x="157929" y="485310"/>
                      </a:cubicBezTo>
                      <a:cubicBezTo>
                        <a:pt x="143927" y="485405"/>
                        <a:pt x="133926" y="477309"/>
                        <a:pt x="131354" y="462259"/>
                      </a:cubicBezTo>
                      <a:cubicBezTo>
                        <a:pt x="124591" y="423302"/>
                        <a:pt x="118114" y="384345"/>
                        <a:pt x="111637" y="345387"/>
                      </a:cubicBezTo>
                      <a:cubicBezTo>
                        <a:pt x="103732" y="298143"/>
                        <a:pt x="96302" y="250804"/>
                        <a:pt x="87730" y="203751"/>
                      </a:cubicBezTo>
                      <a:cubicBezTo>
                        <a:pt x="85253" y="190035"/>
                        <a:pt x="79157" y="176890"/>
                        <a:pt x="74395" y="162793"/>
                      </a:cubicBezTo>
                      <a:cubicBezTo>
                        <a:pt x="68965" y="173652"/>
                        <a:pt x="63441" y="184701"/>
                        <a:pt x="57726" y="195654"/>
                      </a:cubicBezTo>
                      <a:cubicBezTo>
                        <a:pt x="49915" y="210704"/>
                        <a:pt x="36199" y="214990"/>
                        <a:pt x="21531" y="207084"/>
                      </a:cubicBezTo>
                      <a:cubicBezTo>
                        <a:pt x="7529" y="199560"/>
                        <a:pt x="3338" y="185748"/>
                        <a:pt x="10768" y="171461"/>
                      </a:cubicBezTo>
                      <a:cubicBezTo>
                        <a:pt x="31913" y="130694"/>
                        <a:pt x="53154" y="89927"/>
                        <a:pt x="74299" y="49065"/>
                      </a:cubicBezTo>
                      <a:cubicBezTo>
                        <a:pt x="88492" y="21537"/>
                        <a:pt x="110685" y="7155"/>
                        <a:pt x="142022" y="7250"/>
                      </a:cubicBezTo>
                      <a:cubicBezTo>
                        <a:pt x="172883" y="7440"/>
                        <a:pt x="203744" y="7631"/>
                        <a:pt x="234605" y="7155"/>
                      </a:cubicBezTo>
                      <a:cubicBezTo>
                        <a:pt x="259656" y="6774"/>
                        <a:pt x="279563" y="16489"/>
                        <a:pt x="292136" y="37730"/>
                      </a:cubicBezTo>
                      <a:cubicBezTo>
                        <a:pt x="306995" y="62876"/>
                        <a:pt x="319949" y="89165"/>
                        <a:pt x="333665" y="114978"/>
                      </a:cubicBezTo>
                      <a:cubicBezTo>
                        <a:pt x="342047" y="130789"/>
                        <a:pt x="350620" y="146410"/>
                        <a:pt x="358144" y="162603"/>
                      </a:cubicBezTo>
                      <a:cubicBezTo>
                        <a:pt x="361002" y="168889"/>
                        <a:pt x="362716" y="176509"/>
                        <a:pt x="362240" y="183367"/>
                      </a:cubicBezTo>
                      <a:cubicBezTo>
                        <a:pt x="361383" y="196702"/>
                        <a:pt x="353477" y="204989"/>
                        <a:pt x="342619" y="206799"/>
                      </a:cubicBezTo>
                      <a:cubicBezTo>
                        <a:pt x="331951" y="208704"/>
                        <a:pt x="322616" y="203084"/>
                        <a:pt x="316520" y="190892"/>
                      </a:cubicBezTo>
                      <a:cubicBezTo>
                        <a:pt x="311567" y="181081"/>
                        <a:pt x="306805" y="171175"/>
                        <a:pt x="301947" y="161269"/>
                      </a:cubicBezTo>
                      <a:cubicBezTo>
                        <a:pt x="301661" y="160793"/>
                        <a:pt x="300709" y="160602"/>
                        <a:pt x="301852" y="161174"/>
                      </a:cubicBezTo>
                      <a:cubicBezTo>
                        <a:pt x="296994" y="180795"/>
                        <a:pt x="290612" y="200607"/>
                        <a:pt x="287278" y="220896"/>
                      </a:cubicBezTo>
                      <a:cubicBezTo>
                        <a:pt x="274039" y="300715"/>
                        <a:pt x="261561" y="380725"/>
                        <a:pt x="248988" y="460640"/>
                      </a:cubicBezTo>
                      <a:cubicBezTo>
                        <a:pt x="246511" y="476451"/>
                        <a:pt x="236605" y="485691"/>
                        <a:pt x="221461" y="485214"/>
                      </a:cubicBezTo>
                      <a:cubicBezTo>
                        <a:pt x="206887" y="484833"/>
                        <a:pt x="196219" y="474356"/>
                        <a:pt x="196124" y="458449"/>
                      </a:cubicBezTo>
                      <a:cubicBezTo>
                        <a:pt x="195838" y="400537"/>
                        <a:pt x="196124" y="342720"/>
                        <a:pt x="196219" y="284808"/>
                      </a:cubicBezTo>
                      <a:cubicBezTo>
                        <a:pt x="196124" y="280427"/>
                        <a:pt x="196124" y="275950"/>
                        <a:pt x="196124" y="27061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  <p:sp>
              <p:nvSpPr>
                <p:cNvPr id="82" name="Freeform: Shape 229">
                  <a:extLst>
                    <a:ext uri="{FF2B5EF4-FFF2-40B4-BE49-F238E27FC236}">
                      <a16:creationId xmlns:a16="http://schemas.microsoft.com/office/drawing/2014/main" id="{D75B5440-CA8A-2840-84C0-87C787CE1148}"/>
                    </a:ext>
                  </a:extLst>
                </p:cNvPr>
                <p:cNvSpPr/>
                <p:nvPr/>
              </p:nvSpPr>
              <p:spPr>
                <a:xfrm>
                  <a:off x="6047795" y="3117055"/>
                  <a:ext cx="104775" cy="104775"/>
                </a:xfrm>
                <a:custGeom>
                  <a:avLst/>
                  <a:gdLst>
                    <a:gd name="connsiteX0" fmla="*/ 54396 w 104775"/>
                    <a:gd name="connsiteY0" fmla="*/ 102300 h 104775"/>
                    <a:gd name="connsiteX1" fmla="*/ 7152 w 104775"/>
                    <a:gd name="connsiteY1" fmla="*/ 53913 h 104775"/>
                    <a:gd name="connsiteX2" fmla="*/ 54872 w 104775"/>
                    <a:gd name="connsiteY2" fmla="*/ 7145 h 104775"/>
                    <a:gd name="connsiteX3" fmla="*/ 102116 w 104775"/>
                    <a:gd name="connsiteY3" fmla="*/ 54389 h 104775"/>
                    <a:gd name="connsiteX4" fmla="*/ 54396 w 104775"/>
                    <a:gd name="connsiteY4" fmla="*/ 102300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775" h="104775">
                      <a:moveTo>
                        <a:pt x="54396" y="102300"/>
                      </a:moveTo>
                      <a:cubicBezTo>
                        <a:pt x="28011" y="102109"/>
                        <a:pt x="6675" y="80297"/>
                        <a:pt x="7152" y="53913"/>
                      </a:cubicBezTo>
                      <a:cubicBezTo>
                        <a:pt x="7723" y="27910"/>
                        <a:pt x="29059" y="6955"/>
                        <a:pt x="54872" y="7145"/>
                      </a:cubicBezTo>
                      <a:cubicBezTo>
                        <a:pt x="80780" y="7240"/>
                        <a:pt x="102021" y="28481"/>
                        <a:pt x="102116" y="54389"/>
                      </a:cubicBezTo>
                      <a:cubicBezTo>
                        <a:pt x="102211" y="80773"/>
                        <a:pt x="80685" y="102395"/>
                        <a:pt x="54396" y="102300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78" name="Oval 77"/>
              <p:cNvSpPr/>
              <p:nvPr/>
            </p:nvSpPr>
            <p:spPr>
              <a:xfrm>
                <a:off x="3037091" y="1854615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59" name="Freeform: Shape 158">
              <a:extLst>
                <a:ext uri="{FF2B5EF4-FFF2-40B4-BE49-F238E27FC236}">
                  <a16:creationId xmlns:a16="http://schemas.microsoft.com/office/drawing/2014/main" id="{8F6C0738-72C5-6A42-9776-24C72905AA14}"/>
                </a:ext>
              </a:extLst>
            </p:cNvPr>
            <p:cNvSpPr/>
            <p:nvPr/>
          </p:nvSpPr>
          <p:spPr>
            <a:xfrm>
              <a:off x="3672568" y="1891169"/>
              <a:ext cx="164805" cy="185143"/>
            </a:xfrm>
            <a:custGeom>
              <a:avLst/>
              <a:gdLst>
                <a:gd name="connsiteX0" fmla="*/ 441960 w 447675"/>
                <a:gd name="connsiteY0" fmla="*/ 233023 h 457200"/>
                <a:gd name="connsiteX1" fmla="*/ 433959 w 447675"/>
                <a:gd name="connsiteY1" fmla="*/ 201400 h 457200"/>
                <a:gd name="connsiteX2" fmla="*/ 445199 w 447675"/>
                <a:gd name="connsiteY2" fmla="*/ 171016 h 457200"/>
                <a:gd name="connsiteX3" fmla="*/ 445199 w 447675"/>
                <a:gd name="connsiteY3" fmla="*/ 170730 h 457200"/>
                <a:gd name="connsiteX4" fmla="*/ 434626 w 447675"/>
                <a:gd name="connsiteY4" fmla="*/ 140059 h 457200"/>
                <a:gd name="connsiteX5" fmla="*/ 443008 w 447675"/>
                <a:gd name="connsiteY5" fmla="*/ 108532 h 457200"/>
                <a:gd name="connsiteX6" fmla="*/ 442913 w 447675"/>
                <a:gd name="connsiteY6" fmla="*/ 107579 h 457200"/>
                <a:gd name="connsiteX7" fmla="*/ 427196 w 447675"/>
                <a:gd name="connsiteY7" fmla="*/ 76432 h 457200"/>
                <a:gd name="connsiteX8" fmla="*/ 428149 w 447675"/>
                <a:gd name="connsiteY8" fmla="*/ 37189 h 457200"/>
                <a:gd name="connsiteX9" fmla="*/ 427577 w 447675"/>
                <a:gd name="connsiteY9" fmla="*/ 35856 h 457200"/>
                <a:gd name="connsiteX10" fmla="*/ 365379 w 447675"/>
                <a:gd name="connsiteY10" fmla="*/ 11567 h 457200"/>
                <a:gd name="connsiteX11" fmla="*/ 361474 w 447675"/>
                <a:gd name="connsiteY11" fmla="*/ 13472 h 457200"/>
                <a:gd name="connsiteX12" fmla="*/ 306991 w 447675"/>
                <a:gd name="connsiteY12" fmla="*/ 18425 h 457200"/>
                <a:gd name="connsiteX13" fmla="*/ 306610 w 447675"/>
                <a:gd name="connsiteY13" fmla="*/ 18806 h 457200"/>
                <a:gd name="connsiteX14" fmla="*/ 290322 w 447675"/>
                <a:gd name="connsiteY14" fmla="*/ 45952 h 457200"/>
                <a:gd name="connsiteX15" fmla="*/ 266033 w 447675"/>
                <a:gd name="connsiteY15" fmla="*/ 54906 h 457200"/>
                <a:gd name="connsiteX16" fmla="*/ 265176 w 447675"/>
                <a:gd name="connsiteY16" fmla="*/ 55573 h 457200"/>
                <a:gd name="connsiteX17" fmla="*/ 251651 w 447675"/>
                <a:gd name="connsiteY17" fmla="*/ 70813 h 457200"/>
                <a:gd name="connsiteX18" fmla="*/ 234506 w 447675"/>
                <a:gd name="connsiteY18" fmla="*/ 70241 h 457200"/>
                <a:gd name="connsiteX19" fmla="*/ 232410 w 447675"/>
                <a:gd name="connsiteY19" fmla="*/ 70622 h 457200"/>
                <a:gd name="connsiteX20" fmla="*/ 232315 w 447675"/>
                <a:gd name="connsiteY20" fmla="*/ 70622 h 457200"/>
                <a:gd name="connsiteX21" fmla="*/ 213931 w 447675"/>
                <a:gd name="connsiteY21" fmla="*/ 78052 h 457200"/>
                <a:gd name="connsiteX22" fmla="*/ 194786 w 447675"/>
                <a:gd name="connsiteY22" fmla="*/ 68622 h 457200"/>
                <a:gd name="connsiteX23" fmla="*/ 194024 w 447675"/>
                <a:gd name="connsiteY23" fmla="*/ 68431 h 457200"/>
                <a:gd name="connsiteX24" fmla="*/ 172879 w 447675"/>
                <a:gd name="connsiteY24" fmla="*/ 68146 h 457200"/>
                <a:gd name="connsiteX25" fmla="*/ 156591 w 447675"/>
                <a:gd name="connsiteY25" fmla="*/ 51191 h 457200"/>
                <a:gd name="connsiteX26" fmla="*/ 156686 w 447675"/>
                <a:gd name="connsiteY26" fmla="*/ 50905 h 457200"/>
                <a:gd name="connsiteX27" fmla="*/ 121253 w 447675"/>
                <a:gd name="connsiteY27" fmla="*/ 43762 h 457200"/>
                <a:gd name="connsiteX28" fmla="*/ 74009 w 447675"/>
                <a:gd name="connsiteY28" fmla="*/ 19473 h 457200"/>
                <a:gd name="connsiteX29" fmla="*/ 71533 w 447675"/>
                <a:gd name="connsiteY29" fmla="*/ 19759 h 457200"/>
                <a:gd name="connsiteX30" fmla="*/ 30861 w 447675"/>
                <a:gd name="connsiteY30" fmla="*/ 71575 h 457200"/>
                <a:gd name="connsiteX31" fmla="*/ 7144 w 447675"/>
                <a:gd name="connsiteY31" fmla="*/ 112818 h 457200"/>
                <a:gd name="connsiteX32" fmla="*/ 7144 w 447675"/>
                <a:gd name="connsiteY32" fmla="*/ 113770 h 457200"/>
                <a:gd name="connsiteX33" fmla="*/ 16764 w 447675"/>
                <a:gd name="connsiteY33" fmla="*/ 142345 h 457200"/>
                <a:gd name="connsiteX34" fmla="*/ 7144 w 447675"/>
                <a:gd name="connsiteY34" fmla="*/ 171016 h 457200"/>
                <a:gd name="connsiteX35" fmla="*/ 7144 w 447675"/>
                <a:gd name="connsiteY35" fmla="*/ 171968 h 457200"/>
                <a:gd name="connsiteX36" fmla="*/ 16764 w 447675"/>
                <a:gd name="connsiteY36" fmla="*/ 200543 h 457200"/>
                <a:gd name="connsiteX37" fmla="*/ 7144 w 447675"/>
                <a:gd name="connsiteY37" fmla="*/ 229309 h 457200"/>
                <a:gd name="connsiteX38" fmla="*/ 7144 w 447675"/>
                <a:gd name="connsiteY38" fmla="*/ 230261 h 457200"/>
                <a:gd name="connsiteX39" fmla="*/ 16955 w 447675"/>
                <a:gd name="connsiteY39" fmla="*/ 258931 h 457200"/>
                <a:gd name="connsiteX40" fmla="*/ 7144 w 447675"/>
                <a:gd name="connsiteY40" fmla="*/ 287506 h 457200"/>
                <a:gd name="connsiteX41" fmla="*/ 7144 w 447675"/>
                <a:gd name="connsiteY41" fmla="*/ 287983 h 457200"/>
                <a:gd name="connsiteX42" fmla="*/ 54769 w 447675"/>
                <a:gd name="connsiteY42" fmla="*/ 335417 h 457200"/>
                <a:gd name="connsiteX43" fmla="*/ 102394 w 447675"/>
                <a:gd name="connsiteY43" fmla="*/ 287506 h 457200"/>
                <a:gd name="connsiteX44" fmla="*/ 92583 w 447675"/>
                <a:gd name="connsiteY44" fmla="*/ 258836 h 457200"/>
                <a:gd name="connsiteX45" fmla="*/ 102394 w 447675"/>
                <a:gd name="connsiteY45" fmla="*/ 230261 h 457200"/>
                <a:gd name="connsiteX46" fmla="*/ 102394 w 447675"/>
                <a:gd name="connsiteY46" fmla="*/ 229309 h 457200"/>
                <a:gd name="connsiteX47" fmla="*/ 92488 w 447675"/>
                <a:gd name="connsiteY47" fmla="*/ 200257 h 457200"/>
                <a:gd name="connsiteX48" fmla="*/ 102394 w 447675"/>
                <a:gd name="connsiteY48" fmla="*/ 171016 h 457200"/>
                <a:gd name="connsiteX49" fmla="*/ 92488 w 447675"/>
                <a:gd name="connsiteY49" fmla="*/ 141964 h 457200"/>
                <a:gd name="connsiteX50" fmla="*/ 100108 w 447675"/>
                <a:gd name="connsiteY50" fmla="*/ 127391 h 457200"/>
                <a:gd name="connsiteX51" fmla="*/ 103823 w 447675"/>
                <a:gd name="connsiteY51" fmla="*/ 130153 h 457200"/>
                <a:gd name="connsiteX52" fmla="*/ 105918 w 447675"/>
                <a:gd name="connsiteY52" fmla="*/ 131487 h 457200"/>
                <a:gd name="connsiteX53" fmla="*/ 141351 w 447675"/>
                <a:gd name="connsiteY53" fmla="*/ 137678 h 457200"/>
                <a:gd name="connsiteX54" fmla="*/ 171736 w 447675"/>
                <a:gd name="connsiteY54" fmla="*/ 160824 h 457200"/>
                <a:gd name="connsiteX55" fmla="*/ 172784 w 447675"/>
                <a:gd name="connsiteY55" fmla="*/ 161110 h 457200"/>
                <a:gd name="connsiteX56" fmla="*/ 210312 w 447675"/>
                <a:gd name="connsiteY56" fmla="*/ 154347 h 457200"/>
                <a:gd name="connsiteX57" fmla="*/ 248603 w 447675"/>
                <a:gd name="connsiteY57" fmla="*/ 164348 h 457200"/>
                <a:gd name="connsiteX58" fmla="*/ 283178 w 447675"/>
                <a:gd name="connsiteY58" fmla="*/ 140440 h 457200"/>
                <a:gd name="connsiteX59" fmla="*/ 321278 w 447675"/>
                <a:gd name="connsiteY59" fmla="*/ 132439 h 457200"/>
                <a:gd name="connsiteX60" fmla="*/ 322040 w 447675"/>
                <a:gd name="connsiteY60" fmla="*/ 131868 h 457200"/>
                <a:gd name="connsiteX61" fmla="*/ 340709 w 447675"/>
                <a:gd name="connsiteY61" fmla="*/ 102817 h 457200"/>
                <a:gd name="connsiteX62" fmla="*/ 349282 w 447675"/>
                <a:gd name="connsiteY62" fmla="*/ 101293 h 457200"/>
                <a:gd name="connsiteX63" fmla="*/ 348139 w 447675"/>
                <a:gd name="connsiteY63" fmla="*/ 116818 h 457200"/>
                <a:gd name="connsiteX64" fmla="*/ 358521 w 447675"/>
                <a:gd name="connsiteY64" fmla="*/ 142536 h 457200"/>
                <a:gd name="connsiteX65" fmla="*/ 349949 w 447675"/>
                <a:gd name="connsiteY65" fmla="*/ 169111 h 457200"/>
                <a:gd name="connsiteX66" fmla="*/ 349949 w 447675"/>
                <a:gd name="connsiteY66" fmla="*/ 170730 h 457200"/>
                <a:gd name="connsiteX67" fmla="*/ 358045 w 447675"/>
                <a:gd name="connsiteY67" fmla="*/ 197305 h 457200"/>
                <a:gd name="connsiteX68" fmla="*/ 347091 w 447675"/>
                <a:gd name="connsiteY68" fmla="*/ 223117 h 457200"/>
                <a:gd name="connsiteX69" fmla="*/ 346900 w 447675"/>
                <a:gd name="connsiteY69" fmla="*/ 224737 h 457200"/>
                <a:gd name="connsiteX70" fmla="*/ 352425 w 447675"/>
                <a:gd name="connsiteY70" fmla="*/ 251502 h 457200"/>
                <a:gd name="connsiteX71" fmla="*/ 338900 w 447675"/>
                <a:gd name="connsiteY71" fmla="*/ 274933 h 457200"/>
                <a:gd name="connsiteX72" fmla="*/ 337471 w 447675"/>
                <a:gd name="connsiteY72" fmla="*/ 287316 h 457200"/>
                <a:gd name="connsiteX73" fmla="*/ 330422 w 447675"/>
                <a:gd name="connsiteY73" fmla="*/ 290650 h 457200"/>
                <a:gd name="connsiteX74" fmla="*/ 311753 w 447675"/>
                <a:gd name="connsiteY74" fmla="*/ 279791 h 457200"/>
                <a:gd name="connsiteX75" fmla="*/ 310610 w 447675"/>
                <a:gd name="connsiteY75" fmla="*/ 279410 h 457200"/>
                <a:gd name="connsiteX76" fmla="*/ 281464 w 447675"/>
                <a:gd name="connsiteY76" fmla="*/ 279886 h 457200"/>
                <a:gd name="connsiteX77" fmla="*/ 255175 w 447675"/>
                <a:gd name="connsiteY77" fmla="*/ 261408 h 457200"/>
                <a:gd name="connsiteX78" fmla="*/ 213074 w 447675"/>
                <a:gd name="connsiteY78" fmla="*/ 268742 h 457200"/>
                <a:gd name="connsiteX79" fmla="*/ 158306 w 447675"/>
                <a:gd name="connsiteY79" fmla="*/ 269123 h 457200"/>
                <a:gd name="connsiteX80" fmla="*/ 154781 w 447675"/>
                <a:gd name="connsiteY80" fmla="*/ 271790 h 457200"/>
                <a:gd name="connsiteX81" fmla="*/ 148590 w 447675"/>
                <a:gd name="connsiteY81" fmla="*/ 338846 h 457200"/>
                <a:gd name="connsiteX82" fmla="*/ 149924 w 447675"/>
                <a:gd name="connsiteY82" fmla="*/ 340370 h 457200"/>
                <a:gd name="connsiteX83" fmla="*/ 151257 w 447675"/>
                <a:gd name="connsiteY83" fmla="*/ 382566 h 457200"/>
                <a:gd name="connsiteX84" fmla="*/ 152019 w 447675"/>
                <a:gd name="connsiteY84" fmla="*/ 383900 h 457200"/>
                <a:gd name="connsiteX85" fmla="*/ 174498 w 447675"/>
                <a:gd name="connsiteY85" fmla="*/ 404474 h 457200"/>
                <a:gd name="connsiteX86" fmla="*/ 203930 w 447675"/>
                <a:gd name="connsiteY86" fmla="*/ 427619 h 457200"/>
                <a:gd name="connsiteX87" fmla="*/ 207931 w 447675"/>
                <a:gd name="connsiteY87" fmla="*/ 453813 h 457200"/>
                <a:gd name="connsiteX88" fmla="*/ 223171 w 447675"/>
                <a:gd name="connsiteY88" fmla="*/ 398282 h 457200"/>
                <a:gd name="connsiteX89" fmla="*/ 240983 w 447675"/>
                <a:gd name="connsiteY89" fmla="*/ 354848 h 457200"/>
                <a:gd name="connsiteX90" fmla="*/ 258032 w 447675"/>
                <a:gd name="connsiteY90" fmla="*/ 352277 h 457200"/>
                <a:gd name="connsiteX91" fmla="*/ 283274 w 447675"/>
                <a:gd name="connsiteY91" fmla="*/ 370564 h 457200"/>
                <a:gd name="connsiteX92" fmla="*/ 284036 w 447675"/>
                <a:gd name="connsiteY92" fmla="*/ 370755 h 457200"/>
                <a:gd name="connsiteX93" fmla="*/ 321564 w 447675"/>
                <a:gd name="connsiteY93" fmla="*/ 366659 h 457200"/>
                <a:gd name="connsiteX94" fmla="*/ 366808 w 447675"/>
                <a:gd name="connsiteY94" fmla="*/ 377994 h 457200"/>
                <a:gd name="connsiteX95" fmla="*/ 367760 w 447675"/>
                <a:gd name="connsiteY95" fmla="*/ 377708 h 457200"/>
                <a:gd name="connsiteX96" fmla="*/ 402908 w 447675"/>
                <a:gd name="connsiteY96" fmla="*/ 330845 h 457200"/>
                <a:gd name="connsiteX97" fmla="*/ 431673 w 447675"/>
                <a:gd name="connsiteY97" fmla="*/ 298079 h 457200"/>
                <a:gd name="connsiteX98" fmla="*/ 431959 w 447675"/>
                <a:gd name="connsiteY98" fmla="*/ 296841 h 457200"/>
                <a:gd name="connsiteX99" fmla="*/ 427577 w 447675"/>
                <a:gd name="connsiteY99" fmla="*/ 263218 h 457200"/>
                <a:gd name="connsiteX100" fmla="*/ 442055 w 447675"/>
                <a:gd name="connsiteY100" fmla="*/ 233309 h 457200"/>
                <a:gd name="connsiteX101" fmla="*/ 441960 w 447675"/>
                <a:gd name="connsiteY101" fmla="*/ 23302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47675" h="457200">
                  <a:moveTo>
                    <a:pt x="441960" y="233023"/>
                  </a:moveTo>
                  <a:cubicBezTo>
                    <a:pt x="443198" y="221403"/>
                    <a:pt x="440055" y="210354"/>
                    <a:pt x="433959" y="201400"/>
                  </a:cubicBezTo>
                  <a:cubicBezTo>
                    <a:pt x="440912" y="193209"/>
                    <a:pt x="445103" y="182541"/>
                    <a:pt x="445199" y="171016"/>
                  </a:cubicBezTo>
                  <a:lnTo>
                    <a:pt x="445199" y="170730"/>
                  </a:lnTo>
                  <a:cubicBezTo>
                    <a:pt x="445389" y="159109"/>
                    <a:pt x="441389" y="148441"/>
                    <a:pt x="434626" y="140059"/>
                  </a:cubicBezTo>
                  <a:cubicBezTo>
                    <a:pt x="440817" y="131201"/>
                    <a:pt x="444056" y="120152"/>
                    <a:pt x="443008" y="108532"/>
                  </a:cubicBezTo>
                  <a:lnTo>
                    <a:pt x="442913" y="107579"/>
                  </a:lnTo>
                  <a:cubicBezTo>
                    <a:pt x="441770" y="95006"/>
                    <a:pt x="435864" y="84052"/>
                    <a:pt x="427196" y="76432"/>
                  </a:cubicBezTo>
                  <a:cubicBezTo>
                    <a:pt x="432911" y="64526"/>
                    <a:pt x="433673" y="50334"/>
                    <a:pt x="428149" y="37189"/>
                  </a:cubicBezTo>
                  <a:cubicBezTo>
                    <a:pt x="428054" y="36999"/>
                    <a:pt x="427673" y="35951"/>
                    <a:pt x="427577" y="35856"/>
                  </a:cubicBezTo>
                  <a:cubicBezTo>
                    <a:pt x="417100" y="11853"/>
                    <a:pt x="389382" y="1185"/>
                    <a:pt x="365379" y="11567"/>
                  </a:cubicBezTo>
                  <a:cubicBezTo>
                    <a:pt x="364046" y="12139"/>
                    <a:pt x="362712" y="12805"/>
                    <a:pt x="361474" y="13472"/>
                  </a:cubicBezTo>
                  <a:cubicBezTo>
                    <a:pt x="344615" y="3757"/>
                    <a:pt x="322707" y="5090"/>
                    <a:pt x="306991" y="18425"/>
                  </a:cubicBezTo>
                  <a:lnTo>
                    <a:pt x="306610" y="18806"/>
                  </a:lnTo>
                  <a:cubicBezTo>
                    <a:pt x="297942" y="26045"/>
                    <a:pt x="292418" y="35665"/>
                    <a:pt x="290322" y="45952"/>
                  </a:cubicBezTo>
                  <a:cubicBezTo>
                    <a:pt x="281845" y="46619"/>
                    <a:pt x="273463" y="49572"/>
                    <a:pt x="266033" y="54906"/>
                  </a:cubicBezTo>
                  <a:cubicBezTo>
                    <a:pt x="265938" y="55001"/>
                    <a:pt x="265367" y="55382"/>
                    <a:pt x="265176" y="55573"/>
                  </a:cubicBezTo>
                  <a:cubicBezTo>
                    <a:pt x="259461" y="59764"/>
                    <a:pt x="254889" y="65002"/>
                    <a:pt x="251651" y="70813"/>
                  </a:cubicBezTo>
                  <a:cubicBezTo>
                    <a:pt x="246221" y="69574"/>
                    <a:pt x="240411" y="69384"/>
                    <a:pt x="234506" y="70241"/>
                  </a:cubicBezTo>
                  <a:cubicBezTo>
                    <a:pt x="234125" y="70336"/>
                    <a:pt x="232791" y="70527"/>
                    <a:pt x="232410" y="70622"/>
                  </a:cubicBezTo>
                  <a:lnTo>
                    <a:pt x="232315" y="70622"/>
                  </a:lnTo>
                  <a:cubicBezTo>
                    <a:pt x="225552" y="71860"/>
                    <a:pt x="219361" y="74432"/>
                    <a:pt x="213931" y="78052"/>
                  </a:cubicBezTo>
                  <a:cubicBezTo>
                    <a:pt x="208502" y="73670"/>
                    <a:pt x="202025" y="70336"/>
                    <a:pt x="194786" y="68622"/>
                  </a:cubicBezTo>
                  <a:lnTo>
                    <a:pt x="194024" y="68431"/>
                  </a:lnTo>
                  <a:cubicBezTo>
                    <a:pt x="186881" y="66717"/>
                    <a:pt x="179642" y="66717"/>
                    <a:pt x="172879" y="68146"/>
                  </a:cubicBezTo>
                  <a:cubicBezTo>
                    <a:pt x="169069" y="61478"/>
                    <a:pt x="163640" y="55573"/>
                    <a:pt x="156591" y="51191"/>
                  </a:cubicBezTo>
                  <a:lnTo>
                    <a:pt x="156686" y="50905"/>
                  </a:lnTo>
                  <a:cubicBezTo>
                    <a:pt x="145828" y="43666"/>
                    <a:pt x="133160" y="41476"/>
                    <a:pt x="121253" y="43762"/>
                  </a:cubicBezTo>
                  <a:cubicBezTo>
                    <a:pt x="112205" y="27283"/>
                    <a:pt x="93821" y="17282"/>
                    <a:pt x="74009" y="19473"/>
                  </a:cubicBezTo>
                  <a:lnTo>
                    <a:pt x="71533" y="19759"/>
                  </a:lnTo>
                  <a:cubicBezTo>
                    <a:pt x="46292" y="23569"/>
                    <a:pt x="28385" y="46429"/>
                    <a:pt x="30861" y="71575"/>
                  </a:cubicBezTo>
                  <a:cubicBezTo>
                    <a:pt x="16669" y="79861"/>
                    <a:pt x="7144" y="95197"/>
                    <a:pt x="7144" y="112818"/>
                  </a:cubicBezTo>
                  <a:lnTo>
                    <a:pt x="7144" y="113770"/>
                  </a:lnTo>
                  <a:cubicBezTo>
                    <a:pt x="7144" y="124534"/>
                    <a:pt x="10763" y="134440"/>
                    <a:pt x="16764" y="142345"/>
                  </a:cubicBezTo>
                  <a:cubicBezTo>
                    <a:pt x="10763" y="150251"/>
                    <a:pt x="7144" y="160252"/>
                    <a:pt x="7144" y="171016"/>
                  </a:cubicBezTo>
                  <a:lnTo>
                    <a:pt x="7144" y="171968"/>
                  </a:lnTo>
                  <a:cubicBezTo>
                    <a:pt x="7144" y="182731"/>
                    <a:pt x="10763" y="192637"/>
                    <a:pt x="16764" y="200543"/>
                  </a:cubicBezTo>
                  <a:cubicBezTo>
                    <a:pt x="10763" y="208544"/>
                    <a:pt x="7144" y="218450"/>
                    <a:pt x="7144" y="229309"/>
                  </a:cubicBezTo>
                  <a:lnTo>
                    <a:pt x="7144" y="230261"/>
                  </a:lnTo>
                  <a:cubicBezTo>
                    <a:pt x="7144" y="241024"/>
                    <a:pt x="10859" y="250930"/>
                    <a:pt x="16955" y="258931"/>
                  </a:cubicBezTo>
                  <a:cubicBezTo>
                    <a:pt x="10859" y="266837"/>
                    <a:pt x="7144" y="276743"/>
                    <a:pt x="7144" y="287506"/>
                  </a:cubicBezTo>
                  <a:lnTo>
                    <a:pt x="7144" y="287983"/>
                  </a:lnTo>
                  <a:cubicBezTo>
                    <a:pt x="7144" y="314272"/>
                    <a:pt x="28480" y="335417"/>
                    <a:pt x="54769" y="335417"/>
                  </a:cubicBezTo>
                  <a:cubicBezTo>
                    <a:pt x="81058" y="335417"/>
                    <a:pt x="102394" y="313891"/>
                    <a:pt x="102394" y="287506"/>
                  </a:cubicBezTo>
                  <a:cubicBezTo>
                    <a:pt x="102394" y="276743"/>
                    <a:pt x="98679" y="266837"/>
                    <a:pt x="92583" y="258836"/>
                  </a:cubicBezTo>
                  <a:cubicBezTo>
                    <a:pt x="98679" y="250930"/>
                    <a:pt x="102394" y="241024"/>
                    <a:pt x="102394" y="230261"/>
                  </a:cubicBezTo>
                  <a:lnTo>
                    <a:pt x="102394" y="229309"/>
                  </a:lnTo>
                  <a:cubicBezTo>
                    <a:pt x="102394" y="218355"/>
                    <a:pt x="98679" y="208354"/>
                    <a:pt x="92488" y="200257"/>
                  </a:cubicBezTo>
                  <a:cubicBezTo>
                    <a:pt x="98679" y="192066"/>
                    <a:pt x="102394" y="181969"/>
                    <a:pt x="102394" y="171016"/>
                  </a:cubicBezTo>
                  <a:cubicBezTo>
                    <a:pt x="102394" y="160062"/>
                    <a:pt x="98679" y="149965"/>
                    <a:pt x="92488" y="141964"/>
                  </a:cubicBezTo>
                  <a:cubicBezTo>
                    <a:pt x="95822" y="137583"/>
                    <a:pt x="98393" y="132725"/>
                    <a:pt x="100108" y="127391"/>
                  </a:cubicBezTo>
                  <a:cubicBezTo>
                    <a:pt x="101251" y="128344"/>
                    <a:pt x="102489" y="129296"/>
                    <a:pt x="103823" y="130153"/>
                  </a:cubicBezTo>
                  <a:lnTo>
                    <a:pt x="105918" y="131487"/>
                  </a:lnTo>
                  <a:cubicBezTo>
                    <a:pt x="116872" y="138250"/>
                    <a:pt x="129635" y="140155"/>
                    <a:pt x="141351" y="137678"/>
                  </a:cubicBezTo>
                  <a:cubicBezTo>
                    <a:pt x="147542" y="148918"/>
                    <a:pt x="158306" y="157585"/>
                    <a:pt x="171736" y="160824"/>
                  </a:cubicBezTo>
                  <a:lnTo>
                    <a:pt x="172784" y="161110"/>
                  </a:lnTo>
                  <a:cubicBezTo>
                    <a:pt x="186214" y="164348"/>
                    <a:pt x="199739" y="161491"/>
                    <a:pt x="210312" y="154347"/>
                  </a:cubicBezTo>
                  <a:cubicBezTo>
                    <a:pt x="220599" y="162824"/>
                    <a:pt x="234410" y="166825"/>
                    <a:pt x="248603" y="164348"/>
                  </a:cubicBezTo>
                  <a:cubicBezTo>
                    <a:pt x="263747" y="162062"/>
                    <a:pt x="276225" y="152918"/>
                    <a:pt x="283178" y="140440"/>
                  </a:cubicBezTo>
                  <a:cubicBezTo>
                    <a:pt x="295942" y="143203"/>
                    <a:pt x="309848" y="140726"/>
                    <a:pt x="321278" y="132439"/>
                  </a:cubicBezTo>
                  <a:lnTo>
                    <a:pt x="322040" y="131868"/>
                  </a:lnTo>
                  <a:cubicBezTo>
                    <a:pt x="332042" y="124534"/>
                    <a:pt x="338423" y="114056"/>
                    <a:pt x="340709" y="102817"/>
                  </a:cubicBezTo>
                  <a:cubicBezTo>
                    <a:pt x="343567" y="102626"/>
                    <a:pt x="346520" y="102055"/>
                    <a:pt x="349282" y="101293"/>
                  </a:cubicBezTo>
                  <a:cubicBezTo>
                    <a:pt x="348044" y="106246"/>
                    <a:pt x="347663" y="111484"/>
                    <a:pt x="348139" y="116818"/>
                  </a:cubicBezTo>
                  <a:cubicBezTo>
                    <a:pt x="348996" y="126629"/>
                    <a:pt x="352806" y="135487"/>
                    <a:pt x="358521" y="142536"/>
                  </a:cubicBezTo>
                  <a:cubicBezTo>
                    <a:pt x="353187" y="150061"/>
                    <a:pt x="350044" y="159205"/>
                    <a:pt x="349949" y="169111"/>
                  </a:cubicBezTo>
                  <a:cubicBezTo>
                    <a:pt x="349949" y="169301"/>
                    <a:pt x="349949" y="170539"/>
                    <a:pt x="349949" y="170730"/>
                  </a:cubicBezTo>
                  <a:cubicBezTo>
                    <a:pt x="349949" y="180636"/>
                    <a:pt x="352901" y="189780"/>
                    <a:pt x="358045" y="197305"/>
                  </a:cubicBezTo>
                  <a:cubicBezTo>
                    <a:pt x="352139" y="204353"/>
                    <a:pt x="348139" y="213211"/>
                    <a:pt x="347091" y="223117"/>
                  </a:cubicBezTo>
                  <a:lnTo>
                    <a:pt x="346900" y="224737"/>
                  </a:lnTo>
                  <a:cubicBezTo>
                    <a:pt x="346043" y="234357"/>
                    <a:pt x="348139" y="243596"/>
                    <a:pt x="352425" y="251502"/>
                  </a:cubicBezTo>
                  <a:cubicBezTo>
                    <a:pt x="345948" y="257693"/>
                    <a:pt x="341186" y="265694"/>
                    <a:pt x="338900" y="274933"/>
                  </a:cubicBezTo>
                  <a:cubicBezTo>
                    <a:pt x="337852" y="279029"/>
                    <a:pt x="337375" y="283220"/>
                    <a:pt x="337471" y="287316"/>
                  </a:cubicBezTo>
                  <a:cubicBezTo>
                    <a:pt x="334994" y="288268"/>
                    <a:pt x="332613" y="289316"/>
                    <a:pt x="330422" y="290650"/>
                  </a:cubicBezTo>
                  <a:cubicBezTo>
                    <a:pt x="325279" y="285792"/>
                    <a:pt x="318992" y="281982"/>
                    <a:pt x="311753" y="279791"/>
                  </a:cubicBezTo>
                  <a:lnTo>
                    <a:pt x="310610" y="279410"/>
                  </a:lnTo>
                  <a:cubicBezTo>
                    <a:pt x="300704" y="276457"/>
                    <a:pt x="290608" y="276743"/>
                    <a:pt x="281464" y="279886"/>
                  </a:cubicBezTo>
                  <a:cubicBezTo>
                    <a:pt x="275368" y="271123"/>
                    <a:pt x="266224" y="264456"/>
                    <a:pt x="255175" y="261408"/>
                  </a:cubicBezTo>
                  <a:cubicBezTo>
                    <a:pt x="240221" y="256836"/>
                    <a:pt x="224695" y="260074"/>
                    <a:pt x="213074" y="268742"/>
                  </a:cubicBezTo>
                  <a:cubicBezTo>
                    <a:pt x="196977" y="257598"/>
                    <a:pt x="175069" y="257122"/>
                    <a:pt x="158306" y="269123"/>
                  </a:cubicBezTo>
                  <a:cubicBezTo>
                    <a:pt x="157067" y="269980"/>
                    <a:pt x="155924" y="270838"/>
                    <a:pt x="154781" y="271790"/>
                  </a:cubicBezTo>
                  <a:cubicBezTo>
                    <a:pt x="134588" y="288554"/>
                    <a:pt x="131731" y="318653"/>
                    <a:pt x="148590" y="338846"/>
                  </a:cubicBezTo>
                  <a:cubicBezTo>
                    <a:pt x="149066" y="339323"/>
                    <a:pt x="149447" y="339894"/>
                    <a:pt x="149924" y="340370"/>
                  </a:cubicBezTo>
                  <a:cubicBezTo>
                    <a:pt x="144018" y="353419"/>
                    <a:pt x="143923" y="368945"/>
                    <a:pt x="151257" y="382566"/>
                  </a:cubicBezTo>
                  <a:cubicBezTo>
                    <a:pt x="151352" y="382756"/>
                    <a:pt x="151924" y="383804"/>
                    <a:pt x="152019" y="383900"/>
                  </a:cubicBezTo>
                  <a:cubicBezTo>
                    <a:pt x="157258" y="393425"/>
                    <a:pt x="165259" y="400378"/>
                    <a:pt x="174498" y="404474"/>
                  </a:cubicBezTo>
                  <a:cubicBezTo>
                    <a:pt x="177165" y="417237"/>
                    <a:pt x="195167" y="420761"/>
                    <a:pt x="203930" y="427619"/>
                  </a:cubicBezTo>
                  <a:cubicBezTo>
                    <a:pt x="215075" y="436382"/>
                    <a:pt x="207931" y="453813"/>
                    <a:pt x="207931" y="453813"/>
                  </a:cubicBezTo>
                  <a:cubicBezTo>
                    <a:pt x="228981" y="436478"/>
                    <a:pt x="227838" y="414094"/>
                    <a:pt x="223171" y="398282"/>
                  </a:cubicBezTo>
                  <a:cubicBezTo>
                    <a:pt x="236411" y="387805"/>
                    <a:pt x="242983" y="371231"/>
                    <a:pt x="240983" y="354848"/>
                  </a:cubicBezTo>
                  <a:cubicBezTo>
                    <a:pt x="246793" y="355039"/>
                    <a:pt x="252603" y="354181"/>
                    <a:pt x="258032" y="352277"/>
                  </a:cubicBezTo>
                  <a:cubicBezTo>
                    <a:pt x="263938" y="360754"/>
                    <a:pt x="272606" y="367326"/>
                    <a:pt x="283274" y="370564"/>
                  </a:cubicBezTo>
                  <a:lnTo>
                    <a:pt x="284036" y="370755"/>
                  </a:lnTo>
                  <a:cubicBezTo>
                    <a:pt x="297085" y="374755"/>
                    <a:pt x="310610" y="372851"/>
                    <a:pt x="321564" y="366659"/>
                  </a:cubicBezTo>
                  <a:cubicBezTo>
                    <a:pt x="333280" y="377613"/>
                    <a:pt x="350234" y="382471"/>
                    <a:pt x="366808" y="377994"/>
                  </a:cubicBezTo>
                  <a:lnTo>
                    <a:pt x="367760" y="377708"/>
                  </a:lnTo>
                  <a:cubicBezTo>
                    <a:pt x="389287" y="371803"/>
                    <a:pt x="403289" y="352181"/>
                    <a:pt x="402908" y="330845"/>
                  </a:cubicBezTo>
                  <a:cubicBezTo>
                    <a:pt x="416719" y="325416"/>
                    <a:pt x="427863" y="313605"/>
                    <a:pt x="431673" y="298079"/>
                  </a:cubicBezTo>
                  <a:lnTo>
                    <a:pt x="431959" y="296841"/>
                  </a:lnTo>
                  <a:cubicBezTo>
                    <a:pt x="434816" y="284935"/>
                    <a:pt x="433007" y="273124"/>
                    <a:pt x="427577" y="263218"/>
                  </a:cubicBezTo>
                  <a:cubicBezTo>
                    <a:pt x="435578" y="255598"/>
                    <a:pt x="440912" y="245120"/>
                    <a:pt x="442055" y="233309"/>
                  </a:cubicBezTo>
                  <a:lnTo>
                    <a:pt x="441960" y="233023"/>
                  </a:lnTo>
                  <a:close/>
                </a:path>
              </a:pathLst>
            </a:custGeom>
            <a:solidFill>
              <a:srgbClr val="1E70B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 sz="1467" dirty="0">
                <a:latin typeface="Arial" panose="020B0604020202020204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3635956" y="1852813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3661799" y="2198513"/>
              <a:ext cx="240001" cy="251310"/>
              <a:chOff x="3656928" y="2244240"/>
              <a:chExt cx="240001" cy="251310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AB1F0595-EDB1-E140-8678-83C6ACDF320C}"/>
                  </a:ext>
                </a:extLst>
              </p:cNvPr>
              <p:cNvGrpSpPr/>
              <p:nvPr/>
            </p:nvGrpSpPr>
            <p:grpSpPr>
              <a:xfrm>
                <a:off x="3724599" y="2281411"/>
                <a:ext cx="105751" cy="168566"/>
                <a:chOff x="7356475" y="1863725"/>
                <a:chExt cx="842977" cy="1290635"/>
              </a:xfrm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63500" sx="102000" sy="102000" algn="ctr" rotWithShape="0">
                  <a:schemeClr val="tx2">
                    <a:alpha val="16000"/>
                  </a:schemeClr>
                </a:outerShdw>
              </a:effectLst>
            </p:grpSpPr>
            <p:sp>
              <p:nvSpPr>
                <p:cNvPr id="69" name="Freeform 84">
                  <a:extLst>
                    <a:ext uri="{FF2B5EF4-FFF2-40B4-BE49-F238E27FC236}">
                      <a16:creationId xmlns:a16="http://schemas.microsoft.com/office/drawing/2014/main" id="{24139977-DB1A-1847-AC7E-616EF836A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2841" y="2068516"/>
                  <a:ext cx="836611" cy="1085844"/>
                </a:xfrm>
                <a:custGeom>
                  <a:avLst/>
                  <a:gdLst>
                    <a:gd name="T0" fmla="*/ 798 w 1101"/>
                    <a:gd name="T1" fmla="*/ 286 h 1430"/>
                    <a:gd name="T2" fmla="*/ 907 w 1101"/>
                    <a:gd name="T3" fmla="*/ 196 h 1430"/>
                    <a:gd name="T4" fmla="*/ 980 w 1101"/>
                    <a:gd name="T5" fmla="*/ 84 h 1430"/>
                    <a:gd name="T6" fmla="*/ 892 w 1101"/>
                    <a:gd name="T7" fmla="*/ 14 h 1430"/>
                    <a:gd name="T8" fmla="*/ 444 w 1101"/>
                    <a:gd name="T9" fmla="*/ 465 h 1430"/>
                    <a:gd name="T10" fmla="*/ 128 w 1101"/>
                    <a:gd name="T11" fmla="*/ 733 h 1430"/>
                    <a:gd name="T12" fmla="*/ 85 w 1101"/>
                    <a:gd name="T13" fmla="*/ 911 h 1430"/>
                    <a:gd name="T14" fmla="*/ 858 w 1101"/>
                    <a:gd name="T15" fmla="*/ 1418 h 1430"/>
                    <a:gd name="T16" fmla="*/ 1086 w 1101"/>
                    <a:gd name="T17" fmla="*/ 974 h 1430"/>
                    <a:gd name="T18" fmla="*/ 798 w 1101"/>
                    <a:gd name="T19" fmla="*/ 286 h 1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01" h="1430">
                      <a:moveTo>
                        <a:pt x="798" y="286"/>
                      </a:moveTo>
                      <a:cubicBezTo>
                        <a:pt x="810" y="269"/>
                        <a:pt x="866" y="215"/>
                        <a:pt x="907" y="196"/>
                      </a:cubicBezTo>
                      <a:cubicBezTo>
                        <a:pt x="948" y="177"/>
                        <a:pt x="997" y="169"/>
                        <a:pt x="980" y="84"/>
                      </a:cubicBezTo>
                      <a:cubicBezTo>
                        <a:pt x="963" y="0"/>
                        <a:pt x="892" y="14"/>
                        <a:pt x="892" y="14"/>
                      </a:cubicBezTo>
                      <a:cubicBezTo>
                        <a:pt x="635" y="58"/>
                        <a:pt x="490" y="334"/>
                        <a:pt x="444" y="465"/>
                      </a:cubicBezTo>
                      <a:cubicBezTo>
                        <a:pt x="398" y="596"/>
                        <a:pt x="257" y="683"/>
                        <a:pt x="128" y="733"/>
                      </a:cubicBezTo>
                      <a:cubicBezTo>
                        <a:pt x="0" y="784"/>
                        <a:pt x="85" y="911"/>
                        <a:pt x="85" y="911"/>
                      </a:cubicBezTo>
                      <a:cubicBezTo>
                        <a:pt x="359" y="1345"/>
                        <a:pt x="708" y="1406"/>
                        <a:pt x="858" y="1418"/>
                      </a:cubicBezTo>
                      <a:cubicBezTo>
                        <a:pt x="1009" y="1430"/>
                        <a:pt x="1072" y="1376"/>
                        <a:pt x="1086" y="974"/>
                      </a:cubicBezTo>
                      <a:cubicBezTo>
                        <a:pt x="1101" y="572"/>
                        <a:pt x="798" y="286"/>
                        <a:pt x="798" y="28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  <p:sp>
              <p:nvSpPr>
                <p:cNvPr id="70" name="Freeform 85">
                  <a:extLst>
                    <a:ext uri="{FF2B5EF4-FFF2-40B4-BE49-F238E27FC236}">
                      <a16:creationId xmlns:a16="http://schemas.microsoft.com/office/drawing/2014/main" id="{D1585969-832E-9045-8B44-66F08B70DF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475" y="2106613"/>
                  <a:ext cx="241300" cy="544513"/>
                </a:xfrm>
                <a:custGeom>
                  <a:avLst/>
                  <a:gdLst>
                    <a:gd name="T0" fmla="*/ 139 w 317"/>
                    <a:gd name="T1" fmla="*/ 632 h 716"/>
                    <a:gd name="T2" fmla="*/ 317 w 317"/>
                    <a:gd name="T3" fmla="*/ 529 h 716"/>
                    <a:gd name="T4" fmla="*/ 252 w 317"/>
                    <a:gd name="T5" fmla="*/ 238 h 716"/>
                    <a:gd name="T6" fmla="*/ 220 w 317"/>
                    <a:gd name="T7" fmla="*/ 10 h 716"/>
                    <a:gd name="T8" fmla="*/ 121 w 317"/>
                    <a:gd name="T9" fmla="*/ 78 h 716"/>
                    <a:gd name="T10" fmla="*/ 157 w 317"/>
                    <a:gd name="T11" fmla="*/ 182 h 716"/>
                    <a:gd name="T12" fmla="*/ 121 w 317"/>
                    <a:gd name="T13" fmla="*/ 361 h 716"/>
                    <a:gd name="T14" fmla="*/ 36 w 317"/>
                    <a:gd name="T15" fmla="*/ 716 h 716"/>
                    <a:gd name="T16" fmla="*/ 139 w 317"/>
                    <a:gd name="T17" fmla="*/ 632 h 7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7" h="716">
                      <a:moveTo>
                        <a:pt x="139" y="632"/>
                      </a:moveTo>
                      <a:cubicBezTo>
                        <a:pt x="237" y="593"/>
                        <a:pt x="317" y="529"/>
                        <a:pt x="317" y="529"/>
                      </a:cubicBezTo>
                      <a:cubicBezTo>
                        <a:pt x="317" y="529"/>
                        <a:pt x="232" y="350"/>
                        <a:pt x="252" y="238"/>
                      </a:cubicBezTo>
                      <a:cubicBezTo>
                        <a:pt x="271" y="127"/>
                        <a:pt x="261" y="20"/>
                        <a:pt x="220" y="10"/>
                      </a:cubicBezTo>
                      <a:cubicBezTo>
                        <a:pt x="179" y="0"/>
                        <a:pt x="111" y="5"/>
                        <a:pt x="121" y="78"/>
                      </a:cubicBezTo>
                      <a:cubicBezTo>
                        <a:pt x="121" y="78"/>
                        <a:pt x="184" y="97"/>
                        <a:pt x="157" y="182"/>
                      </a:cubicBezTo>
                      <a:cubicBezTo>
                        <a:pt x="130" y="267"/>
                        <a:pt x="111" y="331"/>
                        <a:pt x="121" y="361"/>
                      </a:cubicBezTo>
                      <a:cubicBezTo>
                        <a:pt x="121" y="361"/>
                        <a:pt x="0" y="541"/>
                        <a:pt x="36" y="716"/>
                      </a:cubicBezTo>
                      <a:cubicBezTo>
                        <a:pt x="36" y="716"/>
                        <a:pt x="49" y="668"/>
                        <a:pt x="139" y="632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  <p:sp>
              <p:nvSpPr>
                <p:cNvPr id="71" name="Freeform 86">
                  <a:extLst>
                    <a:ext uri="{FF2B5EF4-FFF2-40B4-BE49-F238E27FC236}">
                      <a16:creationId xmlns:a16="http://schemas.microsoft.com/office/drawing/2014/main" id="{33C54B1A-1670-4043-B393-8D0093E88D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7613" y="1863725"/>
                  <a:ext cx="420688" cy="611188"/>
                </a:xfrm>
                <a:custGeom>
                  <a:avLst/>
                  <a:gdLst>
                    <a:gd name="T0" fmla="*/ 143 w 555"/>
                    <a:gd name="T1" fmla="*/ 679 h 805"/>
                    <a:gd name="T2" fmla="*/ 272 w 555"/>
                    <a:gd name="T3" fmla="*/ 454 h 805"/>
                    <a:gd name="T4" fmla="*/ 332 w 555"/>
                    <a:gd name="T5" fmla="*/ 254 h 805"/>
                    <a:gd name="T6" fmla="*/ 463 w 555"/>
                    <a:gd name="T7" fmla="*/ 277 h 805"/>
                    <a:gd name="T8" fmla="*/ 555 w 555"/>
                    <a:gd name="T9" fmla="*/ 236 h 805"/>
                    <a:gd name="T10" fmla="*/ 400 w 555"/>
                    <a:gd name="T11" fmla="*/ 105 h 805"/>
                    <a:gd name="T12" fmla="*/ 386 w 555"/>
                    <a:gd name="T13" fmla="*/ 39 h 805"/>
                    <a:gd name="T14" fmla="*/ 349 w 555"/>
                    <a:gd name="T15" fmla="*/ 44 h 805"/>
                    <a:gd name="T16" fmla="*/ 306 w 555"/>
                    <a:gd name="T17" fmla="*/ 119 h 805"/>
                    <a:gd name="T18" fmla="*/ 272 w 555"/>
                    <a:gd name="T19" fmla="*/ 34 h 805"/>
                    <a:gd name="T20" fmla="*/ 231 w 555"/>
                    <a:gd name="T21" fmla="*/ 42 h 805"/>
                    <a:gd name="T22" fmla="*/ 209 w 555"/>
                    <a:gd name="T23" fmla="*/ 136 h 805"/>
                    <a:gd name="T24" fmla="*/ 146 w 555"/>
                    <a:gd name="T25" fmla="*/ 93 h 805"/>
                    <a:gd name="T26" fmla="*/ 80 w 555"/>
                    <a:gd name="T27" fmla="*/ 93 h 805"/>
                    <a:gd name="T28" fmla="*/ 88 w 555"/>
                    <a:gd name="T29" fmla="*/ 238 h 805"/>
                    <a:gd name="T30" fmla="*/ 15 w 555"/>
                    <a:gd name="T31" fmla="*/ 514 h 805"/>
                    <a:gd name="T32" fmla="*/ 85 w 555"/>
                    <a:gd name="T33" fmla="*/ 805 h 805"/>
                    <a:gd name="T34" fmla="*/ 143 w 555"/>
                    <a:gd name="T35" fmla="*/ 679 h 8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5" h="805">
                      <a:moveTo>
                        <a:pt x="143" y="679"/>
                      </a:moveTo>
                      <a:cubicBezTo>
                        <a:pt x="177" y="575"/>
                        <a:pt x="272" y="454"/>
                        <a:pt x="272" y="454"/>
                      </a:cubicBezTo>
                      <a:cubicBezTo>
                        <a:pt x="272" y="454"/>
                        <a:pt x="267" y="274"/>
                        <a:pt x="332" y="254"/>
                      </a:cubicBezTo>
                      <a:cubicBezTo>
                        <a:pt x="398" y="234"/>
                        <a:pt x="463" y="277"/>
                        <a:pt x="463" y="277"/>
                      </a:cubicBezTo>
                      <a:cubicBezTo>
                        <a:pt x="555" y="236"/>
                        <a:pt x="555" y="236"/>
                        <a:pt x="555" y="236"/>
                      </a:cubicBezTo>
                      <a:cubicBezTo>
                        <a:pt x="517" y="148"/>
                        <a:pt x="422" y="119"/>
                        <a:pt x="400" y="105"/>
                      </a:cubicBezTo>
                      <a:cubicBezTo>
                        <a:pt x="378" y="90"/>
                        <a:pt x="386" y="39"/>
                        <a:pt x="386" y="39"/>
                      </a:cubicBezTo>
                      <a:cubicBezTo>
                        <a:pt x="378" y="10"/>
                        <a:pt x="345" y="20"/>
                        <a:pt x="349" y="44"/>
                      </a:cubicBezTo>
                      <a:cubicBezTo>
                        <a:pt x="354" y="68"/>
                        <a:pt x="342" y="119"/>
                        <a:pt x="306" y="119"/>
                      </a:cubicBezTo>
                      <a:cubicBezTo>
                        <a:pt x="269" y="119"/>
                        <a:pt x="272" y="34"/>
                        <a:pt x="272" y="34"/>
                      </a:cubicBezTo>
                      <a:cubicBezTo>
                        <a:pt x="238" y="0"/>
                        <a:pt x="231" y="42"/>
                        <a:pt x="231" y="42"/>
                      </a:cubicBezTo>
                      <a:cubicBezTo>
                        <a:pt x="231" y="42"/>
                        <a:pt x="243" y="127"/>
                        <a:pt x="209" y="136"/>
                      </a:cubicBezTo>
                      <a:cubicBezTo>
                        <a:pt x="175" y="146"/>
                        <a:pt x="146" y="93"/>
                        <a:pt x="146" y="93"/>
                      </a:cubicBezTo>
                      <a:cubicBezTo>
                        <a:pt x="146" y="93"/>
                        <a:pt x="122" y="42"/>
                        <a:pt x="80" y="93"/>
                      </a:cubicBezTo>
                      <a:cubicBezTo>
                        <a:pt x="39" y="144"/>
                        <a:pt x="80" y="168"/>
                        <a:pt x="88" y="238"/>
                      </a:cubicBezTo>
                      <a:cubicBezTo>
                        <a:pt x="95" y="308"/>
                        <a:pt x="29" y="391"/>
                        <a:pt x="15" y="514"/>
                      </a:cubicBezTo>
                      <a:cubicBezTo>
                        <a:pt x="0" y="638"/>
                        <a:pt x="85" y="805"/>
                        <a:pt x="85" y="805"/>
                      </a:cubicBezTo>
                      <a:cubicBezTo>
                        <a:pt x="85" y="805"/>
                        <a:pt x="109" y="783"/>
                        <a:pt x="143" y="679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68" name="Oval 67"/>
              <p:cNvSpPr/>
              <p:nvPr/>
            </p:nvSpPr>
            <p:spPr>
              <a:xfrm>
                <a:off x="3656928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59641" y="2193111"/>
              <a:ext cx="240001" cy="251310"/>
              <a:chOff x="3037091" y="2244240"/>
              <a:chExt cx="240001" cy="251310"/>
            </a:xfrm>
          </p:grpSpPr>
          <p:pic>
            <p:nvPicPr>
              <p:cNvPr id="65" name="Graphic 64">
                <a:extLst>
                  <a:ext uri="{FF2B5EF4-FFF2-40B4-BE49-F238E27FC236}">
                    <a16:creationId xmlns:a16="http://schemas.microsoft.com/office/drawing/2014/main" id="{66551585-9E95-3745-8A00-10D3B69019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97559" y="2298538"/>
                <a:ext cx="112896" cy="161057"/>
              </a:xfrm>
              <a:prstGeom prst="rect">
                <a:avLst/>
              </a:prstGeom>
              <a:solidFill>
                <a:srgbClr val="1E70B2"/>
              </a:solidFill>
            </p:spPr>
          </p:pic>
          <p:sp>
            <p:nvSpPr>
              <p:cNvPr id="66" name="Oval 65"/>
              <p:cNvSpPr/>
              <p:nvPr/>
            </p:nvSpPr>
            <p:spPr>
              <a:xfrm>
                <a:off x="3037091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63" name="Oval 62"/>
            <p:cNvSpPr/>
            <p:nvPr/>
          </p:nvSpPr>
          <p:spPr>
            <a:xfrm>
              <a:off x="3365205" y="1714790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64" name="Graphic 55">
              <a:extLst>
                <a:ext uri="{FF2B5EF4-FFF2-40B4-BE49-F238E27FC236}">
                  <a16:creationId xmlns:a16="http://schemas.microsoft.com/office/drawing/2014/main" id="{69EC1B32-3E55-1F48-8A7A-2353834E1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27954" y="1766468"/>
              <a:ext cx="113860" cy="139958"/>
            </a:xfrm>
            <a:prstGeom prst="rect">
              <a:avLst/>
            </a:prstGeom>
            <a:solidFill>
              <a:srgbClr val="1E70B2"/>
            </a:solidFill>
          </p:spPr>
        </p:pic>
      </p:grpSp>
      <p:sp>
        <p:nvSpPr>
          <p:cNvPr id="83" name="Title 1"/>
          <p:cNvSpPr txBox="1">
            <a:spLocks/>
          </p:cNvSpPr>
          <p:nvPr/>
        </p:nvSpPr>
        <p:spPr>
          <a:xfrm>
            <a:off x="3748035" y="276902"/>
            <a:ext cx="8300308" cy="64683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sz="3600" b="1" spc="0" dirty="0"/>
              <a:t>Maligní komorbidity</a:t>
            </a:r>
            <a:endParaRPr lang="en-US" sz="3600" b="1" dirty="0"/>
          </a:p>
        </p:txBody>
      </p:sp>
      <p:sp>
        <p:nvSpPr>
          <p:cNvPr id="93" name="Rectangle 92">
            <a:hlinkClick r:id="" action="ppaction://noaction"/>
          </p:cNvPr>
          <p:cNvSpPr/>
          <p:nvPr/>
        </p:nvSpPr>
        <p:spPr>
          <a:xfrm>
            <a:off x="163690" y="0"/>
            <a:ext cx="854221" cy="889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/>
          </a:p>
        </p:txBody>
      </p:sp>
      <p:sp>
        <p:nvSpPr>
          <p:cNvPr id="95" name="Rectangle 94"/>
          <p:cNvSpPr/>
          <p:nvPr/>
        </p:nvSpPr>
        <p:spPr>
          <a:xfrm>
            <a:off x="1327904" y="1567239"/>
            <a:ext cx="10564146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Prevalence </a:t>
            </a:r>
            <a:r>
              <a:rPr lang="en-US" b="1" dirty="0">
                <a:solidFill>
                  <a:srgbClr val="0070C0"/>
                </a:solidFill>
              </a:rPr>
              <a:t>spinocelulárního karcinomu </a:t>
            </a:r>
            <a:r>
              <a:rPr lang="en-US" dirty="0"/>
              <a:t>u pacientů s HS se liší podle anatomické distribuce: </a:t>
            </a:r>
          </a:p>
          <a:p>
            <a:pPr marL="685794" lvl="1" indent="-228594">
              <a:buFont typeface="Wingdings" panose="05000000000000000000" pitchFamily="2" charset="2"/>
              <a:buChar char="§"/>
            </a:pPr>
            <a:r>
              <a:rPr lang="en-US" b="1" dirty="0" err="1">
                <a:solidFill>
                  <a:srgbClr val="FF0000"/>
                </a:solidFill>
              </a:rPr>
              <a:t>gluteální</a:t>
            </a:r>
            <a:r>
              <a:rPr lang="en-US" b="1" dirty="0">
                <a:solidFill>
                  <a:srgbClr val="FF0000"/>
                </a:solidFill>
              </a:rPr>
              <a:t> 37 %</a:t>
            </a:r>
          </a:p>
          <a:p>
            <a:pPr marL="685794" lvl="1" indent="-228594">
              <a:buFont typeface="Wingdings" panose="05000000000000000000" pitchFamily="2" charset="2"/>
              <a:buChar char="§"/>
            </a:pPr>
            <a:r>
              <a:rPr lang="en-US" b="1" dirty="0" err="1">
                <a:solidFill>
                  <a:srgbClr val="FF0000"/>
                </a:solidFill>
              </a:rPr>
              <a:t>perianální</a:t>
            </a:r>
            <a:r>
              <a:rPr lang="en-US" b="1" dirty="0">
                <a:solidFill>
                  <a:srgbClr val="FF0000"/>
                </a:solidFill>
              </a:rPr>
              <a:t> 29 %</a:t>
            </a:r>
          </a:p>
          <a:p>
            <a:pPr marL="685794" lvl="1" indent="-228594">
              <a:buFont typeface="Wingdings" panose="05000000000000000000" pitchFamily="2" charset="2"/>
              <a:buChar char="§"/>
            </a:pPr>
            <a:r>
              <a:rPr lang="en-US" b="1" dirty="0" err="1">
                <a:solidFill>
                  <a:srgbClr val="FF0000"/>
                </a:solidFill>
              </a:rPr>
              <a:t>perineální</a:t>
            </a:r>
            <a:r>
              <a:rPr lang="en-US" b="1" dirty="0">
                <a:solidFill>
                  <a:srgbClr val="FF0000"/>
                </a:solidFill>
              </a:rPr>
              <a:t> 21 %</a:t>
            </a:r>
          </a:p>
          <a:p>
            <a:pPr marL="685794" lvl="1" indent="-228594">
              <a:buFont typeface="Wingdings" panose="05000000000000000000" pitchFamily="2" charset="2"/>
              <a:buChar char="§"/>
            </a:pPr>
            <a:r>
              <a:rPr lang="en-US" b="1" dirty="0" err="1">
                <a:solidFill>
                  <a:srgbClr val="2568B9"/>
                </a:solidFill>
              </a:rPr>
              <a:t>stehenní</a:t>
            </a:r>
            <a:r>
              <a:rPr lang="en-US" b="1" dirty="0">
                <a:solidFill>
                  <a:srgbClr val="2568B9"/>
                </a:solidFill>
              </a:rPr>
              <a:t> 10 %</a:t>
            </a:r>
          </a:p>
          <a:p>
            <a:pPr marL="685794" lvl="1" indent="-228594">
              <a:buFont typeface="Wingdings" panose="05000000000000000000" pitchFamily="2" charset="2"/>
              <a:buChar char="§"/>
            </a:pPr>
            <a:r>
              <a:rPr lang="en-US" b="1" dirty="0" err="1">
                <a:solidFill>
                  <a:srgbClr val="2568B9"/>
                </a:solidFill>
              </a:rPr>
              <a:t>tříselná</a:t>
            </a:r>
            <a:r>
              <a:rPr lang="en-US" b="1" dirty="0">
                <a:solidFill>
                  <a:srgbClr val="2568B9"/>
                </a:solidFill>
              </a:rPr>
              <a:t> a trupová 3 %</a:t>
            </a:r>
            <a:r>
              <a:rPr lang="cs-CZ" b="1" dirty="0">
                <a:solidFill>
                  <a:srgbClr val="2568B9"/>
                </a:solidFill>
              </a:rPr>
              <a:t>.</a:t>
            </a:r>
            <a:r>
              <a:rPr lang="en-US" b="1" dirty="0">
                <a:solidFill>
                  <a:srgbClr val="2568B9"/>
                </a:solidFill>
              </a:rPr>
              <a:t> </a:t>
            </a:r>
            <a:r>
              <a:rPr lang="en-US" baseline="30000" dirty="0"/>
              <a:t>2</a:t>
            </a:r>
            <a:endParaRPr lang="en-US" dirty="0"/>
          </a:p>
          <a:p>
            <a:endParaRPr lang="en-US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Přibližně u </a:t>
            </a:r>
            <a:r>
              <a:rPr lang="en-US" b="1" dirty="0">
                <a:solidFill>
                  <a:srgbClr val="0070C0"/>
                </a:solidFill>
              </a:rPr>
              <a:t>2 %</a:t>
            </a:r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dirty="0"/>
              <a:t>pacientů s HS je diagnostikován </a:t>
            </a:r>
            <a:r>
              <a:rPr lang="en-US" b="1" dirty="0">
                <a:solidFill>
                  <a:srgbClr val="0070C0"/>
                </a:solidFill>
              </a:rPr>
              <a:t>lymfom.</a:t>
            </a:r>
            <a:r>
              <a:rPr lang="en-US" baseline="30000" dirty="0"/>
              <a:t>3</a:t>
            </a:r>
          </a:p>
          <a:p>
            <a:pPr marL="228594" indent="-228594">
              <a:buFont typeface="Wingdings" panose="05000000000000000000" pitchFamily="2" charset="2"/>
              <a:buChar char="§"/>
            </a:pPr>
            <a:endParaRPr lang="en-US" baseline="30000" dirty="0"/>
          </a:p>
          <a:p>
            <a:endParaRPr lang="en-US" baseline="30000" dirty="0"/>
          </a:p>
          <a:p>
            <a:pPr indent="232828">
              <a:buFont typeface="Wingdings" panose="05000000000000000000" pitchFamily="2" charset="2"/>
              <a:buChar char="§"/>
            </a:pPr>
            <a:r>
              <a:rPr lang="en-US" dirty="0"/>
              <a:t>Prevalence </a:t>
            </a:r>
            <a:r>
              <a:rPr lang="cs-CZ" b="1" dirty="0" err="1">
                <a:solidFill>
                  <a:srgbClr val="0070C0"/>
                </a:solidFill>
              </a:rPr>
              <a:t>nonH</a:t>
            </a:r>
            <a:r>
              <a:rPr lang="en-US" b="1" dirty="0" err="1">
                <a:solidFill>
                  <a:srgbClr val="0070C0"/>
                </a:solidFill>
              </a:rPr>
              <a:t>odgkin</a:t>
            </a:r>
            <a:r>
              <a:rPr lang="en-US" b="1" dirty="0">
                <a:solidFill>
                  <a:srgbClr val="0070C0"/>
                </a:solidFill>
              </a:rPr>
              <a:t> lymfomů, Hodgkin lymfomů a kožních T-buněčných lymfomů v </a:t>
            </a:r>
            <a:r>
              <a:rPr lang="en-US" b="1" dirty="0" err="1">
                <a:solidFill>
                  <a:srgbClr val="0070C0"/>
                </a:solidFill>
              </a:rPr>
              <a:t>České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b="1" dirty="0" err="1">
                <a:solidFill>
                  <a:srgbClr val="0070C0"/>
                </a:solidFill>
              </a:rPr>
              <a:t>republice</a:t>
            </a:r>
            <a:endParaRPr lang="cs-CZ" b="1" dirty="0">
              <a:solidFill>
                <a:srgbClr val="0070C0"/>
              </a:solidFill>
            </a:endParaRPr>
          </a:p>
          <a:p>
            <a:r>
              <a:rPr lang="cs-CZ" b="1" dirty="0">
                <a:solidFill>
                  <a:srgbClr val="0070C0"/>
                </a:solidFill>
              </a:rPr>
              <a:t>     </a:t>
            </a:r>
            <a:r>
              <a:rPr lang="en-US" dirty="0"/>
              <a:t>se zvýšila o 2,5 %.</a:t>
            </a:r>
          </a:p>
          <a:p>
            <a:pPr indent="232828">
              <a:buFont typeface="Wingdings" panose="05000000000000000000" pitchFamily="2" charset="2"/>
              <a:buChar char="§"/>
            </a:pPr>
            <a:endParaRPr lang="en-US" dirty="0"/>
          </a:p>
          <a:p>
            <a:pPr marL="685794" lvl="1" indent="-228594"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70C0"/>
                </a:solidFill>
              </a:rPr>
              <a:t>L</a:t>
            </a:r>
            <a:r>
              <a:rPr lang="en-US" b="1" dirty="0" err="1">
                <a:solidFill>
                  <a:srgbClr val="0070C0"/>
                </a:solidFill>
              </a:rPr>
              <a:t>ymfomy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dirty="0" err="1"/>
              <a:t>jsou</a:t>
            </a:r>
            <a:r>
              <a:rPr lang="en-US" dirty="0"/>
              <a:t> u pacientů s HS </a:t>
            </a:r>
            <a:r>
              <a:rPr lang="en-US" b="1" dirty="0">
                <a:solidFill>
                  <a:srgbClr val="2568B9"/>
                </a:solidFill>
              </a:rPr>
              <a:t>2-4krát vyšší </a:t>
            </a:r>
            <a:r>
              <a:rPr lang="en-US" dirty="0"/>
              <a:t>než v běžné populaci.</a:t>
            </a:r>
            <a:r>
              <a:rPr lang="en-US" baseline="30000" dirty="0"/>
              <a:t>4</a:t>
            </a:r>
            <a:r>
              <a:rPr lang="cs-CZ" baseline="30000" dirty="0"/>
              <a:t>,5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821267" y="2895211"/>
            <a:ext cx="609600" cy="609600"/>
            <a:chOff x="626826" y="2141982"/>
            <a:chExt cx="457200" cy="4572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D847917-0115-8A4A-B479-A30D49D76E85}"/>
                </a:ext>
              </a:extLst>
            </p:cNvPr>
            <p:cNvSpPr/>
            <p:nvPr/>
          </p:nvSpPr>
          <p:spPr>
            <a:xfrm>
              <a:off x="626826" y="2141982"/>
              <a:ext cx="457200" cy="457200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solidFill>
                <a:schemeClr val="accent1">
                  <a:lumMod val="75000"/>
                  <a:lumOff val="2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38" name="Group 37"/>
            <p:cNvGrpSpPr/>
            <p:nvPr/>
          </p:nvGrpSpPr>
          <p:grpSpPr>
            <a:xfrm flipH="1">
              <a:off x="671793" y="2200064"/>
              <a:ext cx="367266" cy="341036"/>
              <a:chOff x="1876425" y="5324475"/>
              <a:chExt cx="795338" cy="752475"/>
            </a:xfrm>
          </p:grpSpPr>
          <p:sp>
            <p:nvSpPr>
              <p:cNvPr id="39" name="Freeform 102"/>
              <p:cNvSpPr>
                <a:spLocks/>
              </p:cNvSpPr>
              <p:nvPr/>
            </p:nvSpPr>
            <p:spPr bwMode="auto">
              <a:xfrm>
                <a:off x="2044700" y="5486400"/>
                <a:ext cx="384175" cy="360363"/>
              </a:xfrm>
              <a:custGeom>
                <a:avLst/>
                <a:gdLst>
                  <a:gd name="T0" fmla="*/ 12 w 62"/>
                  <a:gd name="T1" fmla="*/ 53 h 58"/>
                  <a:gd name="T2" fmla="*/ 18 w 62"/>
                  <a:gd name="T3" fmla="*/ 51 h 58"/>
                  <a:gd name="T4" fmla="*/ 25 w 62"/>
                  <a:gd name="T5" fmla="*/ 47 h 58"/>
                  <a:gd name="T6" fmla="*/ 41 w 62"/>
                  <a:gd name="T7" fmla="*/ 38 h 58"/>
                  <a:gd name="T8" fmla="*/ 55 w 62"/>
                  <a:gd name="T9" fmla="*/ 23 h 58"/>
                  <a:gd name="T10" fmla="*/ 57 w 62"/>
                  <a:gd name="T11" fmla="*/ 2 h 58"/>
                  <a:gd name="T12" fmla="*/ 48 w 62"/>
                  <a:gd name="T13" fmla="*/ 3 h 58"/>
                  <a:gd name="T14" fmla="*/ 37 w 62"/>
                  <a:gd name="T15" fmla="*/ 6 h 58"/>
                  <a:gd name="T16" fmla="*/ 11 w 62"/>
                  <a:gd name="T17" fmla="*/ 26 h 58"/>
                  <a:gd name="T18" fmla="*/ 9 w 62"/>
                  <a:gd name="T19" fmla="*/ 30 h 58"/>
                  <a:gd name="T20" fmla="*/ 7 w 62"/>
                  <a:gd name="T21" fmla="*/ 35 h 58"/>
                  <a:gd name="T22" fmla="*/ 4 w 62"/>
                  <a:gd name="T23" fmla="*/ 44 h 58"/>
                  <a:gd name="T24" fmla="*/ 0 w 62"/>
                  <a:gd name="T25" fmla="*/ 58 h 58"/>
                  <a:gd name="T26" fmla="*/ 6 w 62"/>
                  <a:gd name="T27" fmla="*/ 56 h 58"/>
                  <a:gd name="T28" fmla="*/ 12 w 62"/>
                  <a:gd name="T29" fmla="*/ 5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" h="58">
                    <a:moveTo>
                      <a:pt x="12" y="53"/>
                    </a:moveTo>
                    <a:cubicBezTo>
                      <a:pt x="14" y="52"/>
                      <a:pt x="16" y="52"/>
                      <a:pt x="18" y="51"/>
                    </a:cubicBezTo>
                    <a:cubicBezTo>
                      <a:pt x="21" y="50"/>
                      <a:pt x="23" y="49"/>
                      <a:pt x="25" y="47"/>
                    </a:cubicBezTo>
                    <a:cubicBezTo>
                      <a:pt x="30" y="44"/>
                      <a:pt x="36" y="41"/>
                      <a:pt x="41" y="38"/>
                    </a:cubicBezTo>
                    <a:cubicBezTo>
                      <a:pt x="47" y="34"/>
                      <a:pt x="53" y="30"/>
                      <a:pt x="55" y="23"/>
                    </a:cubicBezTo>
                    <a:cubicBezTo>
                      <a:pt x="58" y="16"/>
                      <a:pt x="62" y="7"/>
                      <a:pt x="57" y="2"/>
                    </a:cubicBezTo>
                    <a:cubicBezTo>
                      <a:pt x="55" y="0"/>
                      <a:pt x="51" y="2"/>
                      <a:pt x="48" y="3"/>
                    </a:cubicBezTo>
                    <a:cubicBezTo>
                      <a:pt x="44" y="3"/>
                      <a:pt x="40" y="4"/>
                      <a:pt x="37" y="6"/>
                    </a:cubicBezTo>
                    <a:cubicBezTo>
                      <a:pt x="27" y="11"/>
                      <a:pt x="17" y="16"/>
                      <a:pt x="11" y="26"/>
                    </a:cubicBezTo>
                    <a:cubicBezTo>
                      <a:pt x="10" y="27"/>
                      <a:pt x="9" y="29"/>
                      <a:pt x="9" y="30"/>
                    </a:cubicBezTo>
                    <a:cubicBezTo>
                      <a:pt x="8" y="32"/>
                      <a:pt x="8" y="34"/>
                      <a:pt x="7" y="35"/>
                    </a:cubicBezTo>
                    <a:cubicBezTo>
                      <a:pt x="7" y="38"/>
                      <a:pt x="5" y="41"/>
                      <a:pt x="4" y="44"/>
                    </a:cubicBezTo>
                    <a:cubicBezTo>
                      <a:pt x="3" y="48"/>
                      <a:pt x="1" y="53"/>
                      <a:pt x="0" y="58"/>
                    </a:cubicBezTo>
                    <a:cubicBezTo>
                      <a:pt x="2" y="58"/>
                      <a:pt x="4" y="56"/>
                      <a:pt x="6" y="56"/>
                    </a:cubicBezTo>
                    <a:cubicBezTo>
                      <a:pt x="8" y="55"/>
                      <a:pt x="10" y="54"/>
                      <a:pt x="12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40" name="Freeform 103"/>
              <p:cNvSpPr>
                <a:spLocks/>
              </p:cNvSpPr>
              <p:nvPr/>
            </p:nvSpPr>
            <p:spPr bwMode="auto">
              <a:xfrm>
                <a:off x="2112963" y="5635625"/>
                <a:ext cx="111125" cy="149225"/>
              </a:xfrm>
              <a:custGeom>
                <a:avLst/>
                <a:gdLst>
                  <a:gd name="T0" fmla="*/ 15 w 18"/>
                  <a:gd name="T1" fmla="*/ 2 h 24"/>
                  <a:gd name="T2" fmla="*/ 15 w 18"/>
                  <a:gd name="T3" fmla="*/ 16 h 24"/>
                  <a:gd name="T4" fmla="*/ 3 w 18"/>
                  <a:gd name="T5" fmla="*/ 22 h 24"/>
                  <a:gd name="T6" fmla="*/ 3 w 18"/>
                  <a:gd name="T7" fmla="*/ 8 h 24"/>
                  <a:gd name="T8" fmla="*/ 15 w 18"/>
                  <a:gd name="T9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4">
                    <a:moveTo>
                      <a:pt x="15" y="2"/>
                    </a:moveTo>
                    <a:cubicBezTo>
                      <a:pt x="18" y="4"/>
                      <a:pt x="18" y="10"/>
                      <a:pt x="15" y="16"/>
                    </a:cubicBezTo>
                    <a:cubicBezTo>
                      <a:pt x="11" y="21"/>
                      <a:pt x="6" y="24"/>
                      <a:pt x="3" y="22"/>
                    </a:cubicBezTo>
                    <a:cubicBezTo>
                      <a:pt x="0" y="20"/>
                      <a:pt x="0" y="14"/>
                      <a:pt x="3" y="8"/>
                    </a:cubicBezTo>
                    <a:cubicBezTo>
                      <a:pt x="7" y="3"/>
                      <a:pt x="12" y="0"/>
                      <a:pt x="15" y="2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42" name="Freeform 104"/>
              <p:cNvSpPr>
                <a:spLocks/>
              </p:cNvSpPr>
              <p:nvPr/>
            </p:nvSpPr>
            <p:spPr bwMode="auto">
              <a:xfrm>
                <a:off x="1982788" y="5816600"/>
                <a:ext cx="484188" cy="166688"/>
              </a:xfrm>
              <a:custGeom>
                <a:avLst/>
                <a:gdLst>
                  <a:gd name="T0" fmla="*/ 24 w 78"/>
                  <a:gd name="T1" fmla="*/ 1 h 27"/>
                  <a:gd name="T2" fmla="*/ 31 w 78"/>
                  <a:gd name="T3" fmla="*/ 1 h 27"/>
                  <a:gd name="T4" fmla="*/ 42 w 78"/>
                  <a:gd name="T5" fmla="*/ 0 h 27"/>
                  <a:gd name="T6" fmla="*/ 52 w 78"/>
                  <a:gd name="T7" fmla="*/ 1 h 27"/>
                  <a:gd name="T8" fmla="*/ 69 w 78"/>
                  <a:gd name="T9" fmla="*/ 9 h 27"/>
                  <a:gd name="T10" fmla="*/ 77 w 78"/>
                  <a:gd name="T11" fmla="*/ 9 h 27"/>
                  <a:gd name="T12" fmla="*/ 78 w 78"/>
                  <a:gd name="T13" fmla="*/ 10 h 27"/>
                  <a:gd name="T14" fmla="*/ 78 w 78"/>
                  <a:gd name="T15" fmla="*/ 11 h 27"/>
                  <a:gd name="T16" fmla="*/ 77 w 78"/>
                  <a:gd name="T17" fmla="*/ 11 h 27"/>
                  <a:gd name="T18" fmla="*/ 69 w 78"/>
                  <a:gd name="T19" fmla="*/ 15 h 27"/>
                  <a:gd name="T20" fmla="*/ 62 w 78"/>
                  <a:gd name="T21" fmla="*/ 21 h 27"/>
                  <a:gd name="T22" fmla="*/ 54 w 78"/>
                  <a:gd name="T23" fmla="*/ 24 h 27"/>
                  <a:gd name="T24" fmla="*/ 35 w 78"/>
                  <a:gd name="T25" fmla="*/ 26 h 27"/>
                  <a:gd name="T26" fmla="*/ 18 w 78"/>
                  <a:gd name="T27" fmla="*/ 19 h 27"/>
                  <a:gd name="T28" fmla="*/ 11 w 78"/>
                  <a:gd name="T29" fmla="*/ 10 h 27"/>
                  <a:gd name="T30" fmla="*/ 2 w 78"/>
                  <a:gd name="T31" fmla="*/ 4 h 27"/>
                  <a:gd name="T32" fmla="*/ 0 w 78"/>
                  <a:gd name="T33" fmla="*/ 3 h 27"/>
                  <a:gd name="T34" fmla="*/ 5 w 78"/>
                  <a:gd name="T35" fmla="*/ 2 h 27"/>
                  <a:gd name="T36" fmla="*/ 11 w 78"/>
                  <a:gd name="T37" fmla="*/ 2 h 27"/>
                  <a:gd name="T38" fmla="*/ 24 w 78"/>
                  <a:gd name="T39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8" h="27">
                    <a:moveTo>
                      <a:pt x="24" y="1"/>
                    </a:moveTo>
                    <a:cubicBezTo>
                      <a:pt x="27" y="1"/>
                      <a:pt x="29" y="1"/>
                      <a:pt x="31" y="1"/>
                    </a:cubicBezTo>
                    <a:cubicBezTo>
                      <a:pt x="35" y="0"/>
                      <a:pt x="38" y="0"/>
                      <a:pt x="42" y="0"/>
                    </a:cubicBezTo>
                    <a:cubicBezTo>
                      <a:pt x="45" y="0"/>
                      <a:pt x="49" y="0"/>
                      <a:pt x="52" y="1"/>
                    </a:cubicBezTo>
                    <a:cubicBezTo>
                      <a:pt x="58" y="3"/>
                      <a:pt x="63" y="8"/>
                      <a:pt x="69" y="9"/>
                    </a:cubicBezTo>
                    <a:cubicBezTo>
                      <a:pt x="71" y="9"/>
                      <a:pt x="74" y="9"/>
                      <a:pt x="77" y="9"/>
                    </a:cubicBezTo>
                    <a:cubicBezTo>
                      <a:pt x="77" y="10"/>
                      <a:pt x="78" y="10"/>
                      <a:pt x="78" y="10"/>
                    </a:cubicBezTo>
                    <a:cubicBezTo>
                      <a:pt x="78" y="10"/>
                      <a:pt x="78" y="11"/>
                      <a:pt x="78" y="11"/>
                    </a:cubicBezTo>
                    <a:cubicBezTo>
                      <a:pt x="78" y="11"/>
                      <a:pt x="77" y="11"/>
                      <a:pt x="77" y="11"/>
                    </a:cubicBezTo>
                    <a:cubicBezTo>
                      <a:pt x="74" y="11"/>
                      <a:pt x="71" y="13"/>
                      <a:pt x="69" y="15"/>
                    </a:cubicBezTo>
                    <a:cubicBezTo>
                      <a:pt x="67" y="17"/>
                      <a:pt x="65" y="20"/>
                      <a:pt x="62" y="21"/>
                    </a:cubicBezTo>
                    <a:cubicBezTo>
                      <a:pt x="59" y="23"/>
                      <a:pt x="57" y="23"/>
                      <a:pt x="54" y="24"/>
                    </a:cubicBezTo>
                    <a:cubicBezTo>
                      <a:pt x="48" y="25"/>
                      <a:pt x="41" y="27"/>
                      <a:pt x="35" y="26"/>
                    </a:cubicBezTo>
                    <a:cubicBezTo>
                      <a:pt x="29" y="26"/>
                      <a:pt x="23" y="24"/>
                      <a:pt x="18" y="19"/>
                    </a:cubicBezTo>
                    <a:cubicBezTo>
                      <a:pt x="16" y="17"/>
                      <a:pt x="14" y="13"/>
                      <a:pt x="11" y="10"/>
                    </a:cubicBezTo>
                    <a:cubicBezTo>
                      <a:pt x="9" y="7"/>
                      <a:pt x="6" y="4"/>
                      <a:pt x="2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3" y="2"/>
                      <a:pt x="5" y="2"/>
                    </a:cubicBezTo>
                    <a:cubicBezTo>
                      <a:pt x="7" y="2"/>
                      <a:pt x="9" y="2"/>
                      <a:pt x="11" y="2"/>
                    </a:cubicBezTo>
                    <a:cubicBezTo>
                      <a:pt x="16" y="2"/>
                      <a:pt x="20" y="2"/>
                      <a:pt x="2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43" name="Freeform 105"/>
              <p:cNvSpPr>
                <a:spLocks/>
              </p:cNvSpPr>
              <p:nvPr/>
            </p:nvSpPr>
            <p:spPr bwMode="auto">
              <a:xfrm>
                <a:off x="2143125" y="5846763"/>
                <a:ext cx="142875" cy="100013"/>
              </a:xfrm>
              <a:custGeom>
                <a:avLst/>
                <a:gdLst>
                  <a:gd name="T0" fmla="*/ 23 w 23"/>
                  <a:gd name="T1" fmla="*/ 6 h 16"/>
                  <a:gd name="T2" fmla="*/ 13 w 23"/>
                  <a:gd name="T3" fmla="*/ 14 h 16"/>
                  <a:gd name="T4" fmla="*/ 0 w 23"/>
                  <a:gd name="T5" fmla="*/ 10 h 16"/>
                  <a:gd name="T6" fmla="*/ 10 w 23"/>
                  <a:gd name="T7" fmla="*/ 1 h 16"/>
                  <a:gd name="T8" fmla="*/ 23 w 23"/>
                  <a:gd name="T9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6">
                    <a:moveTo>
                      <a:pt x="23" y="6"/>
                    </a:moveTo>
                    <a:cubicBezTo>
                      <a:pt x="23" y="9"/>
                      <a:pt x="19" y="13"/>
                      <a:pt x="13" y="14"/>
                    </a:cubicBezTo>
                    <a:cubicBezTo>
                      <a:pt x="7" y="16"/>
                      <a:pt x="1" y="14"/>
                      <a:pt x="0" y="10"/>
                    </a:cubicBezTo>
                    <a:cubicBezTo>
                      <a:pt x="0" y="6"/>
                      <a:pt x="4" y="2"/>
                      <a:pt x="10" y="1"/>
                    </a:cubicBezTo>
                    <a:cubicBezTo>
                      <a:pt x="16" y="0"/>
                      <a:pt x="22" y="2"/>
                      <a:pt x="23" y="6"/>
                    </a:cubicBezTo>
                    <a:close/>
                  </a:path>
                </a:pathLst>
              </a:custGeom>
              <a:noFill/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44" name="Freeform 106"/>
              <p:cNvSpPr>
                <a:spLocks/>
              </p:cNvSpPr>
              <p:nvPr/>
            </p:nvSpPr>
            <p:spPr bwMode="auto">
              <a:xfrm>
                <a:off x="1876425" y="5343525"/>
                <a:ext cx="484188" cy="379413"/>
              </a:xfrm>
              <a:custGeom>
                <a:avLst/>
                <a:gdLst>
                  <a:gd name="T0" fmla="*/ 57 w 78"/>
                  <a:gd name="T1" fmla="*/ 2 h 61"/>
                  <a:gd name="T2" fmla="*/ 43 w 78"/>
                  <a:gd name="T3" fmla="*/ 4 h 61"/>
                  <a:gd name="T4" fmla="*/ 16 w 78"/>
                  <a:gd name="T5" fmla="*/ 22 h 61"/>
                  <a:gd name="T6" fmla="*/ 2 w 78"/>
                  <a:gd name="T7" fmla="*/ 55 h 61"/>
                  <a:gd name="T8" fmla="*/ 0 w 78"/>
                  <a:gd name="T9" fmla="*/ 61 h 61"/>
                  <a:gd name="T10" fmla="*/ 5 w 78"/>
                  <a:gd name="T11" fmla="*/ 59 h 61"/>
                  <a:gd name="T12" fmla="*/ 50 w 78"/>
                  <a:gd name="T13" fmla="*/ 32 h 61"/>
                  <a:gd name="T14" fmla="*/ 60 w 78"/>
                  <a:gd name="T15" fmla="*/ 21 h 61"/>
                  <a:gd name="T16" fmla="*/ 71 w 78"/>
                  <a:gd name="T17" fmla="*/ 12 h 61"/>
                  <a:gd name="T18" fmla="*/ 78 w 78"/>
                  <a:gd name="T19" fmla="*/ 0 h 61"/>
                  <a:gd name="T20" fmla="*/ 68 w 78"/>
                  <a:gd name="T21" fmla="*/ 1 h 61"/>
                  <a:gd name="T22" fmla="*/ 57 w 78"/>
                  <a:gd name="T23" fmla="*/ 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61">
                    <a:moveTo>
                      <a:pt x="57" y="2"/>
                    </a:moveTo>
                    <a:cubicBezTo>
                      <a:pt x="53" y="2"/>
                      <a:pt x="48" y="2"/>
                      <a:pt x="43" y="4"/>
                    </a:cubicBezTo>
                    <a:cubicBezTo>
                      <a:pt x="32" y="6"/>
                      <a:pt x="21" y="12"/>
                      <a:pt x="16" y="22"/>
                    </a:cubicBezTo>
                    <a:cubicBezTo>
                      <a:pt x="10" y="32"/>
                      <a:pt x="10" y="46"/>
                      <a:pt x="2" y="55"/>
                    </a:cubicBezTo>
                    <a:cubicBezTo>
                      <a:pt x="1" y="57"/>
                      <a:pt x="0" y="59"/>
                      <a:pt x="0" y="61"/>
                    </a:cubicBezTo>
                    <a:cubicBezTo>
                      <a:pt x="1" y="61"/>
                      <a:pt x="3" y="60"/>
                      <a:pt x="5" y="59"/>
                    </a:cubicBezTo>
                    <a:cubicBezTo>
                      <a:pt x="20" y="50"/>
                      <a:pt x="38" y="45"/>
                      <a:pt x="50" y="32"/>
                    </a:cubicBezTo>
                    <a:cubicBezTo>
                      <a:pt x="54" y="28"/>
                      <a:pt x="57" y="25"/>
                      <a:pt x="60" y="21"/>
                    </a:cubicBezTo>
                    <a:cubicBezTo>
                      <a:pt x="63" y="18"/>
                      <a:pt x="67" y="15"/>
                      <a:pt x="71" y="12"/>
                    </a:cubicBezTo>
                    <a:cubicBezTo>
                      <a:pt x="74" y="8"/>
                      <a:pt x="77" y="4"/>
                      <a:pt x="78" y="0"/>
                    </a:cubicBezTo>
                    <a:cubicBezTo>
                      <a:pt x="75" y="0"/>
                      <a:pt x="71" y="0"/>
                      <a:pt x="68" y="1"/>
                    </a:cubicBezTo>
                    <a:cubicBezTo>
                      <a:pt x="65" y="1"/>
                      <a:pt x="61" y="1"/>
                      <a:pt x="57" y="2"/>
                    </a:cubicBezTo>
                    <a:close/>
                  </a:path>
                </a:pathLst>
              </a:custGeom>
              <a:noFill/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47" name="Freeform 107"/>
              <p:cNvSpPr>
                <a:spLocks/>
              </p:cNvSpPr>
              <p:nvPr/>
            </p:nvSpPr>
            <p:spPr bwMode="auto">
              <a:xfrm>
                <a:off x="1987550" y="5411788"/>
                <a:ext cx="138113" cy="130175"/>
              </a:xfrm>
              <a:custGeom>
                <a:avLst/>
                <a:gdLst>
                  <a:gd name="T0" fmla="*/ 19 w 22"/>
                  <a:gd name="T1" fmla="*/ 3 h 21"/>
                  <a:gd name="T2" fmla="*/ 15 w 22"/>
                  <a:gd name="T3" fmla="*/ 16 h 21"/>
                  <a:gd name="T4" fmla="*/ 2 w 22"/>
                  <a:gd name="T5" fmla="*/ 18 h 21"/>
                  <a:gd name="T6" fmla="*/ 6 w 22"/>
                  <a:gd name="T7" fmla="*/ 5 h 21"/>
                  <a:gd name="T8" fmla="*/ 19 w 22"/>
                  <a:gd name="T9" fmla="*/ 3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1">
                    <a:moveTo>
                      <a:pt x="19" y="3"/>
                    </a:moveTo>
                    <a:cubicBezTo>
                      <a:pt x="22" y="6"/>
                      <a:pt x="20" y="12"/>
                      <a:pt x="15" y="16"/>
                    </a:cubicBezTo>
                    <a:cubicBezTo>
                      <a:pt x="10" y="20"/>
                      <a:pt x="4" y="21"/>
                      <a:pt x="2" y="18"/>
                    </a:cubicBezTo>
                    <a:cubicBezTo>
                      <a:pt x="0" y="15"/>
                      <a:pt x="2" y="10"/>
                      <a:pt x="6" y="5"/>
                    </a:cubicBezTo>
                    <a:cubicBezTo>
                      <a:pt x="11" y="1"/>
                      <a:pt x="17" y="0"/>
                      <a:pt x="19" y="3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48" name="Freeform 108"/>
              <p:cNvSpPr>
                <a:spLocks/>
              </p:cNvSpPr>
              <p:nvPr/>
            </p:nvSpPr>
            <p:spPr bwMode="auto">
              <a:xfrm>
                <a:off x="2441575" y="5324475"/>
                <a:ext cx="223838" cy="466725"/>
              </a:xfrm>
              <a:custGeom>
                <a:avLst/>
                <a:gdLst>
                  <a:gd name="T0" fmla="*/ 7 w 36"/>
                  <a:gd name="T1" fmla="*/ 17 h 75"/>
                  <a:gd name="T2" fmla="*/ 8 w 36"/>
                  <a:gd name="T3" fmla="*/ 30 h 75"/>
                  <a:gd name="T4" fmla="*/ 15 w 36"/>
                  <a:gd name="T5" fmla="*/ 50 h 75"/>
                  <a:gd name="T6" fmla="*/ 31 w 36"/>
                  <a:gd name="T7" fmla="*/ 66 h 75"/>
                  <a:gd name="T8" fmla="*/ 34 w 36"/>
                  <a:gd name="T9" fmla="*/ 75 h 75"/>
                  <a:gd name="T10" fmla="*/ 35 w 36"/>
                  <a:gd name="T11" fmla="*/ 74 h 75"/>
                  <a:gd name="T12" fmla="*/ 34 w 36"/>
                  <a:gd name="T13" fmla="*/ 45 h 75"/>
                  <a:gd name="T14" fmla="*/ 32 w 36"/>
                  <a:gd name="T15" fmla="*/ 38 h 75"/>
                  <a:gd name="T16" fmla="*/ 31 w 36"/>
                  <a:gd name="T17" fmla="*/ 33 h 75"/>
                  <a:gd name="T18" fmla="*/ 21 w 36"/>
                  <a:gd name="T19" fmla="*/ 15 h 75"/>
                  <a:gd name="T20" fmla="*/ 8 w 36"/>
                  <a:gd name="T21" fmla="*/ 4 h 75"/>
                  <a:gd name="T22" fmla="*/ 1 w 36"/>
                  <a:gd name="T23" fmla="*/ 2 h 75"/>
                  <a:gd name="T24" fmla="*/ 5 w 36"/>
                  <a:gd name="T25" fmla="*/ 8 h 75"/>
                  <a:gd name="T26" fmla="*/ 7 w 36"/>
                  <a:gd name="T27" fmla="*/ 1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75">
                    <a:moveTo>
                      <a:pt x="7" y="17"/>
                    </a:moveTo>
                    <a:cubicBezTo>
                      <a:pt x="8" y="21"/>
                      <a:pt x="7" y="26"/>
                      <a:pt x="8" y="30"/>
                    </a:cubicBezTo>
                    <a:cubicBezTo>
                      <a:pt x="8" y="37"/>
                      <a:pt x="10" y="45"/>
                      <a:pt x="15" y="50"/>
                    </a:cubicBezTo>
                    <a:cubicBezTo>
                      <a:pt x="20" y="55"/>
                      <a:pt x="27" y="59"/>
                      <a:pt x="31" y="66"/>
                    </a:cubicBezTo>
                    <a:cubicBezTo>
                      <a:pt x="32" y="69"/>
                      <a:pt x="32" y="72"/>
                      <a:pt x="34" y="75"/>
                    </a:cubicBezTo>
                    <a:cubicBezTo>
                      <a:pt x="35" y="75"/>
                      <a:pt x="35" y="74"/>
                      <a:pt x="35" y="74"/>
                    </a:cubicBezTo>
                    <a:cubicBezTo>
                      <a:pt x="36" y="64"/>
                      <a:pt x="35" y="54"/>
                      <a:pt x="34" y="45"/>
                    </a:cubicBezTo>
                    <a:cubicBezTo>
                      <a:pt x="33" y="42"/>
                      <a:pt x="33" y="40"/>
                      <a:pt x="32" y="38"/>
                    </a:cubicBezTo>
                    <a:cubicBezTo>
                      <a:pt x="32" y="36"/>
                      <a:pt x="31" y="35"/>
                      <a:pt x="31" y="33"/>
                    </a:cubicBezTo>
                    <a:cubicBezTo>
                      <a:pt x="28" y="27"/>
                      <a:pt x="26" y="21"/>
                      <a:pt x="21" y="15"/>
                    </a:cubicBezTo>
                    <a:cubicBezTo>
                      <a:pt x="18" y="10"/>
                      <a:pt x="13" y="6"/>
                      <a:pt x="8" y="4"/>
                    </a:cubicBezTo>
                    <a:cubicBezTo>
                      <a:pt x="6" y="3"/>
                      <a:pt x="2" y="0"/>
                      <a:pt x="1" y="2"/>
                    </a:cubicBezTo>
                    <a:cubicBezTo>
                      <a:pt x="0" y="4"/>
                      <a:pt x="4" y="7"/>
                      <a:pt x="5" y="8"/>
                    </a:cubicBezTo>
                    <a:cubicBezTo>
                      <a:pt x="6" y="10"/>
                      <a:pt x="7" y="14"/>
                      <a:pt x="7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73" name="Freeform 109"/>
              <p:cNvSpPr>
                <a:spLocks/>
              </p:cNvSpPr>
              <p:nvPr/>
            </p:nvSpPr>
            <p:spPr bwMode="auto">
              <a:xfrm>
                <a:off x="2522538" y="5473700"/>
                <a:ext cx="80963" cy="130175"/>
              </a:xfrm>
              <a:custGeom>
                <a:avLst/>
                <a:gdLst>
                  <a:gd name="T0" fmla="*/ 4 w 13"/>
                  <a:gd name="T1" fmla="*/ 0 h 21"/>
                  <a:gd name="T2" fmla="*/ 12 w 13"/>
                  <a:gd name="T3" fmla="*/ 9 h 21"/>
                  <a:gd name="T4" fmla="*/ 10 w 13"/>
                  <a:gd name="T5" fmla="*/ 20 h 21"/>
                  <a:gd name="T6" fmla="*/ 2 w 13"/>
                  <a:gd name="T7" fmla="*/ 12 h 21"/>
                  <a:gd name="T8" fmla="*/ 4 w 1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1">
                    <a:moveTo>
                      <a:pt x="4" y="0"/>
                    </a:moveTo>
                    <a:cubicBezTo>
                      <a:pt x="7" y="0"/>
                      <a:pt x="10" y="3"/>
                      <a:pt x="12" y="9"/>
                    </a:cubicBezTo>
                    <a:cubicBezTo>
                      <a:pt x="13" y="14"/>
                      <a:pt x="12" y="20"/>
                      <a:pt x="10" y="20"/>
                    </a:cubicBezTo>
                    <a:cubicBezTo>
                      <a:pt x="7" y="21"/>
                      <a:pt x="3" y="17"/>
                      <a:pt x="2" y="12"/>
                    </a:cubicBezTo>
                    <a:cubicBezTo>
                      <a:pt x="0" y="6"/>
                      <a:pt x="1" y="1"/>
                      <a:pt x="4" y="0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74" name="Freeform 110"/>
              <p:cNvSpPr>
                <a:spLocks/>
              </p:cNvSpPr>
              <p:nvPr/>
            </p:nvSpPr>
            <p:spPr bwMode="auto">
              <a:xfrm>
                <a:off x="1901825" y="5654675"/>
                <a:ext cx="396875" cy="422275"/>
              </a:xfrm>
              <a:custGeom>
                <a:avLst/>
                <a:gdLst>
                  <a:gd name="T0" fmla="*/ 0 w 64"/>
                  <a:gd name="T1" fmla="*/ 8 h 68"/>
                  <a:gd name="T2" fmla="*/ 2 w 64"/>
                  <a:gd name="T3" fmla="*/ 16 h 68"/>
                  <a:gd name="T4" fmla="*/ 11 w 64"/>
                  <a:gd name="T5" fmla="*/ 55 h 68"/>
                  <a:gd name="T6" fmla="*/ 14 w 64"/>
                  <a:gd name="T7" fmla="*/ 59 h 68"/>
                  <a:gd name="T8" fmla="*/ 21 w 64"/>
                  <a:gd name="T9" fmla="*/ 62 h 68"/>
                  <a:gd name="T10" fmla="*/ 44 w 64"/>
                  <a:gd name="T11" fmla="*/ 63 h 68"/>
                  <a:gd name="T12" fmla="*/ 51 w 64"/>
                  <a:gd name="T13" fmla="*/ 63 h 68"/>
                  <a:gd name="T14" fmla="*/ 59 w 64"/>
                  <a:gd name="T15" fmla="*/ 67 h 68"/>
                  <a:gd name="T16" fmla="*/ 61 w 64"/>
                  <a:gd name="T17" fmla="*/ 68 h 68"/>
                  <a:gd name="T18" fmla="*/ 63 w 64"/>
                  <a:gd name="T19" fmla="*/ 67 h 68"/>
                  <a:gd name="T20" fmla="*/ 61 w 64"/>
                  <a:gd name="T21" fmla="*/ 64 h 68"/>
                  <a:gd name="T22" fmla="*/ 38 w 64"/>
                  <a:gd name="T23" fmla="*/ 48 h 68"/>
                  <a:gd name="T24" fmla="*/ 10 w 64"/>
                  <a:gd name="T25" fmla="*/ 18 h 68"/>
                  <a:gd name="T26" fmla="*/ 4 w 64"/>
                  <a:gd name="T27" fmla="*/ 13 h 68"/>
                  <a:gd name="T28" fmla="*/ 3 w 64"/>
                  <a:gd name="T29" fmla="*/ 4 h 68"/>
                  <a:gd name="T30" fmla="*/ 1 w 64"/>
                  <a:gd name="T31" fmla="*/ 3 h 68"/>
                  <a:gd name="T32" fmla="*/ 0 w 64"/>
                  <a:gd name="T33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4" h="68">
                    <a:moveTo>
                      <a:pt x="0" y="8"/>
                    </a:moveTo>
                    <a:cubicBezTo>
                      <a:pt x="0" y="11"/>
                      <a:pt x="1" y="13"/>
                      <a:pt x="2" y="16"/>
                    </a:cubicBezTo>
                    <a:cubicBezTo>
                      <a:pt x="5" y="29"/>
                      <a:pt x="4" y="43"/>
                      <a:pt x="11" y="55"/>
                    </a:cubicBezTo>
                    <a:cubicBezTo>
                      <a:pt x="12" y="56"/>
                      <a:pt x="13" y="58"/>
                      <a:pt x="14" y="59"/>
                    </a:cubicBezTo>
                    <a:cubicBezTo>
                      <a:pt x="16" y="60"/>
                      <a:pt x="19" y="61"/>
                      <a:pt x="21" y="62"/>
                    </a:cubicBezTo>
                    <a:cubicBezTo>
                      <a:pt x="28" y="63"/>
                      <a:pt x="36" y="64"/>
                      <a:pt x="44" y="63"/>
                    </a:cubicBezTo>
                    <a:cubicBezTo>
                      <a:pt x="46" y="63"/>
                      <a:pt x="48" y="63"/>
                      <a:pt x="51" y="63"/>
                    </a:cubicBezTo>
                    <a:cubicBezTo>
                      <a:pt x="54" y="64"/>
                      <a:pt x="56" y="66"/>
                      <a:pt x="59" y="67"/>
                    </a:cubicBezTo>
                    <a:cubicBezTo>
                      <a:pt x="60" y="67"/>
                      <a:pt x="61" y="68"/>
                      <a:pt x="61" y="68"/>
                    </a:cubicBezTo>
                    <a:cubicBezTo>
                      <a:pt x="62" y="68"/>
                      <a:pt x="63" y="68"/>
                      <a:pt x="63" y="67"/>
                    </a:cubicBezTo>
                    <a:cubicBezTo>
                      <a:pt x="64" y="66"/>
                      <a:pt x="62" y="64"/>
                      <a:pt x="61" y="64"/>
                    </a:cubicBezTo>
                    <a:cubicBezTo>
                      <a:pt x="53" y="59"/>
                      <a:pt x="44" y="54"/>
                      <a:pt x="38" y="48"/>
                    </a:cubicBezTo>
                    <a:cubicBezTo>
                      <a:pt x="33" y="43"/>
                      <a:pt x="15" y="21"/>
                      <a:pt x="10" y="18"/>
                    </a:cubicBezTo>
                    <a:cubicBezTo>
                      <a:pt x="7" y="17"/>
                      <a:pt x="5" y="15"/>
                      <a:pt x="4" y="13"/>
                    </a:cubicBezTo>
                    <a:cubicBezTo>
                      <a:pt x="2" y="10"/>
                      <a:pt x="2" y="7"/>
                      <a:pt x="3" y="4"/>
                    </a:cubicBezTo>
                    <a:cubicBezTo>
                      <a:pt x="3" y="2"/>
                      <a:pt x="2" y="0"/>
                      <a:pt x="1" y="3"/>
                    </a:cubicBezTo>
                    <a:cubicBezTo>
                      <a:pt x="0" y="4"/>
                      <a:pt x="0" y="6"/>
                      <a:pt x="0" y="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75" name="Freeform 111"/>
              <p:cNvSpPr>
                <a:spLocks/>
              </p:cNvSpPr>
              <p:nvPr/>
            </p:nvSpPr>
            <p:spPr bwMode="auto">
              <a:xfrm>
                <a:off x="1970088" y="5878513"/>
                <a:ext cx="98425" cy="111125"/>
              </a:xfrm>
              <a:custGeom>
                <a:avLst/>
                <a:gdLst>
                  <a:gd name="T0" fmla="*/ 2 w 16"/>
                  <a:gd name="T1" fmla="*/ 2 h 18"/>
                  <a:gd name="T2" fmla="*/ 12 w 16"/>
                  <a:gd name="T3" fmla="*/ 6 h 18"/>
                  <a:gd name="T4" fmla="*/ 14 w 16"/>
                  <a:gd name="T5" fmla="*/ 17 h 18"/>
                  <a:gd name="T6" fmla="*/ 4 w 16"/>
                  <a:gd name="T7" fmla="*/ 13 h 18"/>
                  <a:gd name="T8" fmla="*/ 2 w 16"/>
                  <a:gd name="T9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8">
                    <a:moveTo>
                      <a:pt x="2" y="2"/>
                    </a:moveTo>
                    <a:cubicBezTo>
                      <a:pt x="4" y="0"/>
                      <a:pt x="9" y="2"/>
                      <a:pt x="12" y="6"/>
                    </a:cubicBezTo>
                    <a:cubicBezTo>
                      <a:pt x="16" y="10"/>
                      <a:pt x="16" y="15"/>
                      <a:pt x="14" y="17"/>
                    </a:cubicBezTo>
                    <a:cubicBezTo>
                      <a:pt x="11" y="18"/>
                      <a:pt x="7" y="17"/>
                      <a:pt x="4" y="13"/>
                    </a:cubicBezTo>
                    <a:cubicBezTo>
                      <a:pt x="0" y="9"/>
                      <a:pt x="0" y="4"/>
                      <a:pt x="2" y="2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79" name="Freeform 112"/>
              <p:cNvSpPr>
                <a:spLocks/>
              </p:cNvSpPr>
              <p:nvPr/>
            </p:nvSpPr>
            <p:spPr bwMode="auto">
              <a:xfrm>
                <a:off x="1889125" y="5386388"/>
                <a:ext cx="546100" cy="161925"/>
              </a:xfrm>
              <a:custGeom>
                <a:avLst/>
                <a:gdLst>
                  <a:gd name="T0" fmla="*/ 22 w 88"/>
                  <a:gd name="T1" fmla="*/ 14 h 26"/>
                  <a:gd name="T2" fmla="*/ 38 w 88"/>
                  <a:gd name="T3" fmla="*/ 2 h 26"/>
                  <a:gd name="T4" fmla="*/ 59 w 88"/>
                  <a:gd name="T5" fmla="*/ 4 h 26"/>
                  <a:gd name="T6" fmla="*/ 63 w 88"/>
                  <a:gd name="T7" fmla="*/ 6 h 26"/>
                  <a:gd name="T8" fmla="*/ 68 w 88"/>
                  <a:gd name="T9" fmla="*/ 6 h 26"/>
                  <a:gd name="T10" fmla="*/ 86 w 88"/>
                  <a:gd name="T11" fmla="*/ 6 h 26"/>
                  <a:gd name="T12" fmla="*/ 88 w 88"/>
                  <a:gd name="T13" fmla="*/ 6 h 26"/>
                  <a:gd name="T14" fmla="*/ 87 w 88"/>
                  <a:gd name="T15" fmla="*/ 8 h 26"/>
                  <a:gd name="T16" fmla="*/ 66 w 88"/>
                  <a:gd name="T17" fmla="*/ 17 h 26"/>
                  <a:gd name="T18" fmla="*/ 60 w 88"/>
                  <a:gd name="T19" fmla="*/ 20 h 26"/>
                  <a:gd name="T20" fmla="*/ 47 w 88"/>
                  <a:gd name="T21" fmla="*/ 23 h 26"/>
                  <a:gd name="T22" fmla="*/ 38 w 88"/>
                  <a:gd name="T23" fmla="*/ 24 h 26"/>
                  <a:gd name="T24" fmla="*/ 11 w 88"/>
                  <a:gd name="T25" fmla="*/ 26 h 26"/>
                  <a:gd name="T26" fmla="*/ 5 w 88"/>
                  <a:gd name="T27" fmla="*/ 25 h 26"/>
                  <a:gd name="T28" fmla="*/ 1 w 88"/>
                  <a:gd name="T29" fmla="*/ 24 h 26"/>
                  <a:gd name="T30" fmla="*/ 6 w 88"/>
                  <a:gd name="T31" fmla="*/ 23 h 26"/>
                  <a:gd name="T32" fmla="*/ 11 w 88"/>
                  <a:gd name="T33" fmla="*/ 21 h 26"/>
                  <a:gd name="T34" fmla="*/ 22 w 88"/>
                  <a:gd name="T35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26">
                    <a:moveTo>
                      <a:pt x="22" y="14"/>
                    </a:moveTo>
                    <a:cubicBezTo>
                      <a:pt x="28" y="10"/>
                      <a:pt x="32" y="4"/>
                      <a:pt x="38" y="2"/>
                    </a:cubicBezTo>
                    <a:cubicBezTo>
                      <a:pt x="45" y="0"/>
                      <a:pt x="52" y="2"/>
                      <a:pt x="59" y="4"/>
                    </a:cubicBezTo>
                    <a:cubicBezTo>
                      <a:pt x="60" y="5"/>
                      <a:pt x="62" y="5"/>
                      <a:pt x="63" y="6"/>
                    </a:cubicBezTo>
                    <a:cubicBezTo>
                      <a:pt x="65" y="6"/>
                      <a:pt x="66" y="6"/>
                      <a:pt x="68" y="6"/>
                    </a:cubicBezTo>
                    <a:cubicBezTo>
                      <a:pt x="74" y="6"/>
                      <a:pt x="80" y="6"/>
                      <a:pt x="86" y="6"/>
                    </a:cubicBezTo>
                    <a:cubicBezTo>
                      <a:pt x="87" y="6"/>
                      <a:pt x="87" y="6"/>
                      <a:pt x="88" y="6"/>
                    </a:cubicBezTo>
                    <a:cubicBezTo>
                      <a:pt x="88" y="7"/>
                      <a:pt x="87" y="7"/>
                      <a:pt x="87" y="8"/>
                    </a:cubicBezTo>
                    <a:cubicBezTo>
                      <a:pt x="80" y="11"/>
                      <a:pt x="73" y="14"/>
                      <a:pt x="66" y="17"/>
                    </a:cubicBezTo>
                    <a:cubicBezTo>
                      <a:pt x="64" y="18"/>
                      <a:pt x="62" y="19"/>
                      <a:pt x="60" y="20"/>
                    </a:cubicBezTo>
                    <a:cubicBezTo>
                      <a:pt x="56" y="22"/>
                      <a:pt x="51" y="22"/>
                      <a:pt x="47" y="23"/>
                    </a:cubicBezTo>
                    <a:cubicBezTo>
                      <a:pt x="44" y="24"/>
                      <a:pt x="41" y="24"/>
                      <a:pt x="38" y="24"/>
                    </a:cubicBezTo>
                    <a:cubicBezTo>
                      <a:pt x="29" y="25"/>
                      <a:pt x="20" y="26"/>
                      <a:pt x="11" y="26"/>
                    </a:cubicBezTo>
                    <a:cubicBezTo>
                      <a:pt x="9" y="26"/>
                      <a:pt x="7" y="26"/>
                      <a:pt x="5" y="25"/>
                    </a:cubicBezTo>
                    <a:cubicBezTo>
                      <a:pt x="4" y="25"/>
                      <a:pt x="0" y="26"/>
                      <a:pt x="1" y="24"/>
                    </a:cubicBezTo>
                    <a:cubicBezTo>
                      <a:pt x="1" y="23"/>
                      <a:pt x="5" y="23"/>
                      <a:pt x="6" y="23"/>
                    </a:cubicBezTo>
                    <a:cubicBezTo>
                      <a:pt x="8" y="22"/>
                      <a:pt x="9" y="21"/>
                      <a:pt x="11" y="21"/>
                    </a:cubicBezTo>
                    <a:cubicBezTo>
                      <a:pt x="15" y="19"/>
                      <a:pt x="19" y="17"/>
                      <a:pt x="22" y="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80" name="Freeform 113"/>
              <p:cNvSpPr>
                <a:spLocks/>
              </p:cNvSpPr>
              <p:nvPr/>
            </p:nvSpPr>
            <p:spPr bwMode="auto">
              <a:xfrm>
                <a:off x="2162175" y="5573713"/>
                <a:ext cx="477838" cy="254000"/>
              </a:xfrm>
              <a:custGeom>
                <a:avLst/>
                <a:gdLst>
                  <a:gd name="T0" fmla="*/ 24 w 77"/>
                  <a:gd name="T1" fmla="*/ 7 h 41"/>
                  <a:gd name="T2" fmla="*/ 43 w 77"/>
                  <a:gd name="T3" fmla="*/ 8 h 41"/>
                  <a:gd name="T4" fmla="*/ 56 w 77"/>
                  <a:gd name="T5" fmla="*/ 22 h 41"/>
                  <a:gd name="T6" fmla="*/ 58 w 77"/>
                  <a:gd name="T7" fmla="*/ 25 h 41"/>
                  <a:gd name="T8" fmla="*/ 62 w 77"/>
                  <a:gd name="T9" fmla="*/ 28 h 41"/>
                  <a:gd name="T10" fmla="*/ 76 w 77"/>
                  <a:gd name="T11" fmla="*/ 39 h 41"/>
                  <a:gd name="T12" fmla="*/ 76 w 77"/>
                  <a:gd name="T13" fmla="*/ 40 h 41"/>
                  <a:gd name="T14" fmla="*/ 75 w 77"/>
                  <a:gd name="T15" fmla="*/ 41 h 41"/>
                  <a:gd name="T16" fmla="*/ 54 w 77"/>
                  <a:gd name="T17" fmla="*/ 36 h 41"/>
                  <a:gd name="T18" fmla="*/ 47 w 77"/>
                  <a:gd name="T19" fmla="*/ 34 h 41"/>
                  <a:gd name="T20" fmla="*/ 36 w 77"/>
                  <a:gd name="T21" fmla="*/ 28 h 41"/>
                  <a:gd name="T22" fmla="*/ 29 w 77"/>
                  <a:gd name="T23" fmla="*/ 24 h 41"/>
                  <a:gd name="T24" fmla="*/ 8 w 77"/>
                  <a:gd name="T25" fmla="*/ 8 h 41"/>
                  <a:gd name="T26" fmla="*/ 3 w 77"/>
                  <a:gd name="T27" fmla="*/ 4 h 41"/>
                  <a:gd name="T28" fmla="*/ 1 w 77"/>
                  <a:gd name="T29" fmla="*/ 1 h 41"/>
                  <a:gd name="T30" fmla="*/ 6 w 77"/>
                  <a:gd name="T31" fmla="*/ 3 h 41"/>
                  <a:gd name="T32" fmla="*/ 11 w 77"/>
                  <a:gd name="T33" fmla="*/ 5 h 41"/>
                  <a:gd name="T34" fmla="*/ 24 w 77"/>
                  <a:gd name="T35" fmla="*/ 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7" h="41">
                    <a:moveTo>
                      <a:pt x="24" y="7"/>
                    </a:moveTo>
                    <a:cubicBezTo>
                      <a:pt x="30" y="7"/>
                      <a:pt x="37" y="5"/>
                      <a:pt x="43" y="8"/>
                    </a:cubicBezTo>
                    <a:cubicBezTo>
                      <a:pt x="49" y="10"/>
                      <a:pt x="53" y="16"/>
                      <a:pt x="56" y="22"/>
                    </a:cubicBezTo>
                    <a:cubicBezTo>
                      <a:pt x="57" y="23"/>
                      <a:pt x="58" y="24"/>
                      <a:pt x="58" y="25"/>
                    </a:cubicBezTo>
                    <a:cubicBezTo>
                      <a:pt x="59" y="26"/>
                      <a:pt x="61" y="27"/>
                      <a:pt x="62" y="28"/>
                    </a:cubicBezTo>
                    <a:cubicBezTo>
                      <a:pt x="66" y="32"/>
                      <a:pt x="71" y="36"/>
                      <a:pt x="76" y="39"/>
                    </a:cubicBezTo>
                    <a:cubicBezTo>
                      <a:pt x="76" y="39"/>
                      <a:pt x="77" y="40"/>
                      <a:pt x="76" y="40"/>
                    </a:cubicBezTo>
                    <a:cubicBezTo>
                      <a:pt x="76" y="41"/>
                      <a:pt x="75" y="41"/>
                      <a:pt x="75" y="41"/>
                    </a:cubicBezTo>
                    <a:cubicBezTo>
                      <a:pt x="68" y="39"/>
                      <a:pt x="61" y="37"/>
                      <a:pt x="54" y="36"/>
                    </a:cubicBezTo>
                    <a:cubicBezTo>
                      <a:pt x="52" y="35"/>
                      <a:pt x="50" y="35"/>
                      <a:pt x="47" y="34"/>
                    </a:cubicBezTo>
                    <a:cubicBezTo>
                      <a:pt x="43" y="33"/>
                      <a:pt x="40" y="30"/>
                      <a:pt x="36" y="28"/>
                    </a:cubicBezTo>
                    <a:cubicBezTo>
                      <a:pt x="33" y="27"/>
                      <a:pt x="31" y="25"/>
                      <a:pt x="29" y="24"/>
                    </a:cubicBezTo>
                    <a:cubicBezTo>
                      <a:pt x="21" y="19"/>
                      <a:pt x="15" y="14"/>
                      <a:pt x="8" y="8"/>
                    </a:cubicBezTo>
                    <a:cubicBezTo>
                      <a:pt x="7" y="7"/>
                      <a:pt x="5" y="6"/>
                      <a:pt x="3" y="4"/>
                    </a:cubicBezTo>
                    <a:cubicBezTo>
                      <a:pt x="3" y="4"/>
                      <a:pt x="0" y="2"/>
                      <a:pt x="1" y="1"/>
                    </a:cubicBezTo>
                    <a:cubicBezTo>
                      <a:pt x="2" y="0"/>
                      <a:pt x="5" y="3"/>
                      <a:pt x="6" y="3"/>
                    </a:cubicBezTo>
                    <a:cubicBezTo>
                      <a:pt x="8" y="4"/>
                      <a:pt x="10" y="4"/>
                      <a:pt x="11" y="5"/>
                    </a:cubicBezTo>
                    <a:cubicBezTo>
                      <a:pt x="15" y="6"/>
                      <a:pt x="19" y="7"/>
                      <a:pt x="24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84" name="Freeform 114"/>
              <p:cNvSpPr>
                <a:spLocks/>
              </p:cNvSpPr>
              <p:nvPr/>
            </p:nvSpPr>
            <p:spPr bwMode="auto">
              <a:xfrm>
                <a:off x="2354263" y="5635625"/>
                <a:ext cx="123825" cy="106363"/>
              </a:xfrm>
              <a:custGeom>
                <a:avLst/>
                <a:gdLst>
                  <a:gd name="T0" fmla="*/ 18 w 20"/>
                  <a:gd name="T1" fmla="*/ 14 h 17"/>
                  <a:gd name="T2" fmla="*/ 6 w 20"/>
                  <a:gd name="T3" fmla="*/ 14 h 17"/>
                  <a:gd name="T4" fmla="*/ 2 w 20"/>
                  <a:gd name="T5" fmla="*/ 3 h 17"/>
                  <a:gd name="T6" fmla="*/ 13 w 20"/>
                  <a:gd name="T7" fmla="*/ 4 h 17"/>
                  <a:gd name="T8" fmla="*/ 18 w 20"/>
                  <a:gd name="T9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7">
                    <a:moveTo>
                      <a:pt x="18" y="14"/>
                    </a:moveTo>
                    <a:cubicBezTo>
                      <a:pt x="16" y="17"/>
                      <a:pt x="11" y="17"/>
                      <a:pt x="6" y="14"/>
                    </a:cubicBezTo>
                    <a:cubicBezTo>
                      <a:pt x="2" y="11"/>
                      <a:pt x="0" y="6"/>
                      <a:pt x="2" y="3"/>
                    </a:cubicBezTo>
                    <a:cubicBezTo>
                      <a:pt x="4" y="0"/>
                      <a:pt x="9" y="1"/>
                      <a:pt x="13" y="4"/>
                    </a:cubicBezTo>
                    <a:cubicBezTo>
                      <a:pt x="18" y="7"/>
                      <a:pt x="20" y="12"/>
                      <a:pt x="18" y="14"/>
                    </a:cubicBezTo>
                    <a:close/>
                  </a:path>
                </a:pathLst>
              </a:custGeom>
              <a:solidFill>
                <a:srgbClr val="B06F65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85" name="Freeform 115"/>
              <p:cNvSpPr>
                <a:spLocks/>
              </p:cNvSpPr>
              <p:nvPr/>
            </p:nvSpPr>
            <p:spPr bwMode="auto">
              <a:xfrm>
                <a:off x="2143125" y="5480050"/>
                <a:ext cx="415925" cy="447675"/>
              </a:xfrm>
              <a:custGeom>
                <a:avLst/>
                <a:gdLst>
                  <a:gd name="T0" fmla="*/ 42 w 67"/>
                  <a:gd name="T1" fmla="*/ 16 h 72"/>
                  <a:gd name="T2" fmla="*/ 30 w 67"/>
                  <a:gd name="T3" fmla="*/ 27 h 72"/>
                  <a:gd name="T4" fmla="*/ 25 w 67"/>
                  <a:gd name="T5" fmla="*/ 32 h 72"/>
                  <a:gd name="T6" fmla="*/ 22 w 67"/>
                  <a:gd name="T7" fmla="*/ 41 h 72"/>
                  <a:gd name="T8" fmla="*/ 5 w 67"/>
                  <a:gd name="T9" fmla="*/ 67 h 72"/>
                  <a:gd name="T10" fmla="*/ 0 w 67"/>
                  <a:gd name="T11" fmla="*/ 72 h 72"/>
                  <a:gd name="T12" fmla="*/ 14 w 67"/>
                  <a:gd name="T13" fmla="*/ 66 h 72"/>
                  <a:gd name="T14" fmla="*/ 36 w 67"/>
                  <a:gd name="T15" fmla="*/ 57 h 72"/>
                  <a:gd name="T16" fmla="*/ 47 w 67"/>
                  <a:gd name="T17" fmla="*/ 51 h 72"/>
                  <a:gd name="T18" fmla="*/ 58 w 67"/>
                  <a:gd name="T19" fmla="*/ 35 h 72"/>
                  <a:gd name="T20" fmla="*/ 59 w 67"/>
                  <a:gd name="T21" fmla="*/ 18 h 72"/>
                  <a:gd name="T22" fmla="*/ 62 w 67"/>
                  <a:gd name="T23" fmla="*/ 9 h 72"/>
                  <a:gd name="T24" fmla="*/ 67 w 67"/>
                  <a:gd name="T25" fmla="*/ 1 h 72"/>
                  <a:gd name="T26" fmla="*/ 63 w 67"/>
                  <a:gd name="T27" fmla="*/ 4 h 72"/>
                  <a:gd name="T28" fmla="*/ 60 w 67"/>
                  <a:gd name="T29" fmla="*/ 6 h 72"/>
                  <a:gd name="T30" fmla="*/ 52 w 67"/>
                  <a:gd name="T31" fmla="*/ 11 h 72"/>
                  <a:gd name="T32" fmla="*/ 42 w 67"/>
                  <a:gd name="T33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7" h="72">
                    <a:moveTo>
                      <a:pt x="42" y="16"/>
                    </a:moveTo>
                    <a:cubicBezTo>
                      <a:pt x="38" y="19"/>
                      <a:pt x="34" y="23"/>
                      <a:pt x="30" y="27"/>
                    </a:cubicBezTo>
                    <a:cubicBezTo>
                      <a:pt x="28" y="28"/>
                      <a:pt x="27" y="30"/>
                      <a:pt x="25" y="32"/>
                    </a:cubicBezTo>
                    <a:cubicBezTo>
                      <a:pt x="24" y="34"/>
                      <a:pt x="23" y="38"/>
                      <a:pt x="22" y="41"/>
                    </a:cubicBezTo>
                    <a:cubicBezTo>
                      <a:pt x="19" y="51"/>
                      <a:pt x="14" y="61"/>
                      <a:pt x="5" y="67"/>
                    </a:cubicBezTo>
                    <a:cubicBezTo>
                      <a:pt x="3" y="69"/>
                      <a:pt x="0" y="70"/>
                      <a:pt x="0" y="72"/>
                    </a:cubicBezTo>
                    <a:cubicBezTo>
                      <a:pt x="4" y="70"/>
                      <a:pt x="9" y="68"/>
                      <a:pt x="14" y="66"/>
                    </a:cubicBezTo>
                    <a:cubicBezTo>
                      <a:pt x="21" y="63"/>
                      <a:pt x="28" y="60"/>
                      <a:pt x="36" y="57"/>
                    </a:cubicBezTo>
                    <a:cubicBezTo>
                      <a:pt x="39" y="55"/>
                      <a:pt x="43" y="53"/>
                      <a:pt x="47" y="51"/>
                    </a:cubicBezTo>
                    <a:cubicBezTo>
                      <a:pt x="52" y="47"/>
                      <a:pt x="56" y="41"/>
                      <a:pt x="58" y="35"/>
                    </a:cubicBezTo>
                    <a:cubicBezTo>
                      <a:pt x="59" y="29"/>
                      <a:pt x="58" y="24"/>
                      <a:pt x="59" y="18"/>
                    </a:cubicBezTo>
                    <a:cubicBezTo>
                      <a:pt x="59" y="15"/>
                      <a:pt x="60" y="12"/>
                      <a:pt x="62" y="9"/>
                    </a:cubicBezTo>
                    <a:cubicBezTo>
                      <a:pt x="63" y="8"/>
                      <a:pt x="67" y="2"/>
                      <a:pt x="67" y="1"/>
                    </a:cubicBezTo>
                    <a:cubicBezTo>
                      <a:pt x="66" y="0"/>
                      <a:pt x="64" y="3"/>
                      <a:pt x="63" y="4"/>
                    </a:cubicBezTo>
                    <a:cubicBezTo>
                      <a:pt x="62" y="5"/>
                      <a:pt x="61" y="6"/>
                      <a:pt x="60" y="6"/>
                    </a:cubicBezTo>
                    <a:cubicBezTo>
                      <a:pt x="57" y="8"/>
                      <a:pt x="55" y="10"/>
                      <a:pt x="52" y="11"/>
                    </a:cubicBezTo>
                    <a:cubicBezTo>
                      <a:pt x="49" y="13"/>
                      <a:pt x="45" y="14"/>
                      <a:pt x="42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86" name="Freeform 116"/>
              <p:cNvSpPr>
                <a:spLocks/>
              </p:cNvSpPr>
              <p:nvPr/>
            </p:nvSpPr>
            <p:spPr bwMode="auto">
              <a:xfrm>
                <a:off x="2057400" y="5573713"/>
                <a:ext cx="508000" cy="304800"/>
              </a:xfrm>
              <a:custGeom>
                <a:avLst/>
                <a:gdLst>
                  <a:gd name="T0" fmla="*/ 63 w 82"/>
                  <a:gd name="T1" fmla="*/ 20 h 49"/>
                  <a:gd name="T2" fmla="*/ 50 w 82"/>
                  <a:gd name="T3" fmla="*/ 30 h 49"/>
                  <a:gd name="T4" fmla="*/ 44 w 82"/>
                  <a:gd name="T5" fmla="*/ 33 h 49"/>
                  <a:gd name="T6" fmla="*/ 35 w 82"/>
                  <a:gd name="T7" fmla="*/ 34 h 49"/>
                  <a:gd name="T8" fmla="*/ 6 w 82"/>
                  <a:gd name="T9" fmla="*/ 45 h 49"/>
                  <a:gd name="T10" fmla="*/ 0 w 82"/>
                  <a:gd name="T11" fmla="*/ 49 h 49"/>
                  <a:gd name="T12" fmla="*/ 8 w 82"/>
                  <a:gd name="T13" fmla="*/ 37 h 49"/>
                  <a:gd name="T14" fmla="*/ 21 w 82"/>
                  <a:gd name="T15" fmla="*/ 19 h 49"/>
                  <a:gd name="T16" fmla="*/ 29 w 82"/>
                  <a:gd name="T17" fmla="*/ 10 h 49"/>
                  <a:gd name="T18" fmla="*/ 47 w 82"/>
                  <a:gd name="T19" fmla="*/ 3 h 49"/>
                  <a:gd name="T20" fmla="*/ 63 w 82"/>
                  <a:gd name="T21" fmla="*/ 5 h 49"/>
                  <a:gd name="T22" fmla="*/ 73 w 82"/>
                  <a:gd name="T23" fmla="*/ 4 h 49"/>
                  <a:gd name="T24" fmla="*/ 81 w 82"/>
                  <a:gd name="T25" fmla="*/ 1 h 49"/>
                  <a:gd name="T26" fmla="*/ 78 w 82"/>
                  <a:gd name="T27" fmla="*/ 3 h 49"/>
                  <a:gd name="T28" fmla="*/ 75 w 82"/>
                  <a:gd name="T29" fmla="*/ 6 h 49"/>
                  <a:gd name="T30" fmla="*/ 69 w 82"/>
                  <a:gd name="T31" fmla="*/ 13 h 49"/>
                  <a:gd name="T32" fmla="*/ 63 w 82"/>
                  <a:gd name="T33" fmla="*/ 2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49">
                    <a:moveTo>
                      <a:pt x="63" y="20"/>
                    </a:moveTo>
                    <a:cubicBezTo>
                      <a:pt x="59" y="24"/>
                      <a:pt x="54" y="27"/>
                      <a:pt x="50" y="30"/>
                    </a:cubicBezTo>
                    <a:cubicBezTo>
                      <a:pt x="48" y="31"/>
                      <a:pt x="46" y="32"/>
                      <a:pt x="44" y="33"/>
                    </a:cubicBezTo>
                    <a:cubicBezTo>
                      <a:pt x="41" y="34"/>
                      <a:pt x="38" y="34"/>
                      <a:pt x="35" y="34"/>
                    </a:cubicBezTo>
                    <a:cubicBezTo>
                      <a:pt x="24" y="35"/>
                      <a:pt x="13" y="38"/>
                      <a:pt x="6" y="45"/>
                    </a:cubicBezTo>
                    <a:cubicBezTo>
                      <a:pt x="4" y="46"/>
                      <a:pt x="2" y="48"/>
                      <a:pt x="0" y="49"/>
                    </a:cubicBezTo>
                    <a:cubicBezTo>
                      <a:pt x="3" y="45"/>
                      <a:pt x="5" y="41"/>
                      <a:pt x="8" y="37"/>
                    </a:cubicBezTo>
                    <a:cubicBezTo>
                      <a:pt x="13" y="31"/>
                      <a:pt x="17" y="25"/>
                      <a:pt x="21" y="19"/>
                    </a:cubicBezTo>
                    <a:cubicBezTo>
                      <a:pt x="24" y="16"/>
                      <a:pt x="26" y="13"/>
                      <a:pt x="29" y="10"/>
                    </a:cubicBezTo>
                    <a:cubicBezTo>
                      <a:pt x="34" y="6"/>
                      <a:pt x="40" y="3"/>
                      <a:pt x="47" y="3"/>
                    </a:cubicBezTo>
                    <a:cubicBezTo>
                      <a:pt x="52" y="3"/>
                      <a:pt x="58" y="5"/>
                      <a:pt x="63" y="5"/>
                    </a:cubicBezTo>
                    <a:cubicBezTo>
                      <a:pt x="66" y="5"/>
                      <a:pt x="70" y="5"/>
                      <a:pt x="73" y="4"/>
                    </a:cubicBezTo>
                    <a:cubicBezTo>
                      <a:pt x="74" y="3"/>
                      <a:pt x="80" y="0"/>
                      <a:pt x="81" y="1"/>
                    </a:cubicBezTo>
                    <a:cubicBezTo>
                      <a:pt x="82" y="2"/>
                      <a:pt x="79" y="3"/>
                      <a:pt x="78" y="3"/>
                    </a:cubicBezTo>
                    <a:cubicBezTo>
                      <a:pt x="77" y="4"/>
                      <a:pt x="76" y="5"/>
                      <a:pt x="75" y="6"/>
                    </a:cubicBezTo>
                    <a:cubicBezTo>
                      <a:pt x="73" y="8"/>
                      <a:pt x="71" y="10"/>
                      <a:pt x="69" y="13"/>
                    </a:cubicBezTo>
                    <a:cubicBezTo>
                      <a:pt x="67" y="15"/>
                      <a:pt x="65" y="18"/>
                      <a:pt x="6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87" name="Freeform 117"/>
              <p:cNvSpPr>
                <a:spLocks/>
              </p:cNvSpPr>
              <p:nvPr/>
            </p:nvSpPr>
            <p:spPr bwMode="auto">
              <a:xfrm>
                <a:off x="2249488" y="5648325"/>
                <a:ext cx="142875" cy="111125"/>
              </a:xfrm>
              <a:custGeom>
                <a:avLst/>
                <a:gdLst>
                  <a:gd name="T0" fmla="*/ 21 w 23"/>
                  <a:gd name="T1" fmla="*/ 4 h 18"/>
                  <a:gd name="T2" fmla="*/ 14 w 23"/>
                  <a:gd name="T3" fmla="*/ 15 h 18"/>
                  <a:gd name="T4" fmla="*/ 1 w 23"/>
                  <a:gd name="T5" fmla="*/ 13 h 18"/>
                  <a:gd name="T6" fmla="*/ 8 w 23"/>
                  <a:gd name="T7" fmla="*/ 3 h 18"/>
                  <a:gd name="T8" fmla="*/ 21 w 23"/>
                  <a:gd name="T9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8">
                    <a:moveTo>
                      <a:pt x="21" y="4"/>
                    </a:moveTo>
                    <a:cubicBezTo>
                      <a:pt x="23" y="7"/>
                      <a:pt x="20" y="12"/>
                      <a:pt x="14" y="15"/>
                    </a:cubicBezTo>
                    <a:cubicBezTo>
                      <a:pt x="9" y="18"/>
                      <a:pt x="3" y="17"/>
                      <a:pt x="1" y="13"/>
                    </a:cubicBezTo>
                    <a:cubicBezTo>
                      <a:pt x="0" y="10"/>
                      <a:pt x="3" y="5"/>
                      <a:pt x="8" y="3"/>
                    </a:cubicBezTo>
                    <a:cubicBezTo>
                      <a:pt x="14" y="0"/>
                      <a:pt x="20" y="1"/>
                      <a:pt x="21" y="4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88" name="Freeform 118"/>
              <p:cNvSpPr>
                <a:spLocks/>
              </p:cNvSpPr>
              <p:nvPr/>
            </p:nvSpPr>
            <p:spPr bwMode="auto">
              <a:xfrm>
                <a:off x="2236788" y="5641975"/>
                <a:ext cx="434975" cy="404813"/>
              </a:xfrm>
              <a:custGeom>
                <a:avLst/>
                <a:gdLst>
                  <a:gd name="T0" fmla="*/ 0 w 70"/>
                  <a:gd name="T1" fmla="*/ 59 h 65"/>
                  <a:gd name="T2" fmla="*/ 4 w 70"/>
                  <a:gd name="T3" fmla="*/ 59 h 65"/>
                  <a:gd name="T4" fmla="*/ 18 w 70"/>
                  <a:gd name="T5" fmla="*/ 53 h 65"/>
                  <a:gd name="T6" fmla="*/ 23 w 70"/>
                  <a:gd name="T7" fmla="*/ 46 h 65"/>
                  <a:gd name="T8" fmla="*/ 26 w 70"/>
                  <a:gd name="T9" fmla="*/ 39 h 65"/>
                  <a:gd name="T10" fmla="*/ 35 w 70"/>
                  <a:gd name="T11" fmla="*/ 23 h 65"/>
                  <a:gd name="T12" fmla="*/ 41 w 70"/>
                  <a:gd name="T13" fmla="*/ 15 h 65"/>
                  <a:gd name="T14" fmla="*/ 48 w 70"/>
                  <a:gd name="T15" fmla="*/ 9 h 65"/>
                  <a:gd name="T16" fmla="*/ 69 w 70"/>
                  <a:gd name="T17" fmla="*/ 0 h 65"/>
                  <a:gd name="T18" fmla="*/ 68 w 70"/>
                  <a:gd name="T19" fmla="*/ 4 h 65"/>
                  <a:gd name="T20" fmla="*/ 64 w 70"/>
                  <a:gd name="T21" fmla="*/ 7 h 65"/>
                  <a:gd name="T22" fmla="*/ 60 w 70"/>
                  <a:gd name="T23" fmla="*/ 16 h 65"/>
                  <a:gd name="T24" fmla="*/ 55 w 70"/>
                  <a:gd name="T25" fmla="*/ 47 h 65"/>
                  <a:gd name="T26" fmla="*/ 39 w 70"/>
                  <a:gd name="T27" fmla="*/ 62 h 65"/>
                  <a:gd name="T28" fmla="*/ 20 w 70"/>
                  <a:gd name="T29" fmla="*/ 64 h 65"/>
                  <a:gd name="T30" fmla="*/ 14 w 70"/>
                  <a:gd name="T31" fmla="*/ 64 h 65"/>
                  <a:gd name="T32" fmla="*/ 6 w 70"/>
                  <a:gd name="T33" fmla="*/ 62 h 65"/>
                  <a:gd name="T34" fmla="*/ 2 w 70"/>
                  <a:gd name="T35" fmla="*/ 61 h 65"/>
                  <a:gd name="T36" fmla="*/ 0 w 70"/>
                  <a:gd name="T37" fmla="*/ 5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0" h="65">
                    <a:moveTo>
                      <a:pt x="0" y="59"/>
                    </a:moveTo>
                    <a:cubicBezTo>
                      <a:pt x="1" y="58"/>
                      <a:pt x="3" y="59"/>
                      <a:pt x="4" y="59"/>
                    </a:cubicBezTo>
                    <a:cubicBezTo>
                      <a:pt x="9" y="59"/>
                      <a:pt x="15" y="57"/>
                      <a:pt x="18" y="53"/>
                    </a:cubicBezTo>
                    <a:cubicBezTo>
                      <a:pt x="20" y="51"/>
                      <a:pt x="22" y="49"/>
                      <a:pt x="23" y="46"/>
                    </a:cubicBezTo>
                    <a:cubicBezTo>
                      <a:pt x="24" y="44"/>
                      <a:pt x="25" y="41"/>
                      <a:pt x="26" y="39"/>
                    </a:cubicBezTo>
                    <a:cubicBezTo>
                      <a:pt x="28" y="33"/>
                      <a:pt x="32" y="28"/>
                      <a:pt x="35" y="23"/>
                    </a:cubicBezTo>
                    <a:cubicBezTo>
                      <a:pt x="37" y="20"/>
                      <a:pt x="39" y="17"/>
                      <a:pt x="41" y="15"/>
                    </a:cubicBezTo>
                    <a:cubicBezTo>
                      <a:pt x="43" y="13"/>
                      <a:pt x="46" y="11"/>
                      <a:pt x="48" y="9"/>
                    </a:cubicBezTo>
                    <a:cubicBezTo>
                      <a:pt x="54" y="5"/>
                      <a:pt x="61" y="1"/>
                      <a:pt x="69" y="0"/>
                    </a:cubicBezTo>
                    <a:cubicBezTo>
                      <a:pt x="70" y="1"/>
                      <a:pt x="69" y="3"/>
                      <a:pt x="68" y="4"/>
                    </a:cubicBezTo>
                    <a:cubicBezTo>
                      <a:pt x="67" y="5"/>
                      <a:pt x="65" y="6"/>
                      <a:pt x="64" y="7"/>
                    </a:cubicBezTo>
                    <a:cubicBezTo>
                      <a:pt x="61" y="9"/>
                      <a:pt x="60" y="12"/>
                      <a:pt x="60" y="16"/>
                    </a:cubicBezTo>
                    <a:cubicBezTo>
                      <a:pt x="58" y="26"/>
                      <a:pt x="60" y="38"/>
                      <a:pt x="55" y="47"/>
                    </a:cubicBezTo>
                    <a:cubicBezTo>
                      <a:pt x="52" y="54"/>
                      <a:pt x="46" y="59"/>
                      <a:pt x="39" y="62"/>
                    </a:cubicBezTo>
                    <a:cubicBezTo>
                      <a:pt x="33" y="64"/>
                      <a:pt x="27" y="65"/>
                      <a:pt x="20" y="64"/>
                    </a:cubicBezTo>
                    <a:cubicBezTo>
                      <a:pt x="18" y="64"/>
                      <a:pt x="16" y="64"/>
                      <a:pt x="14" y="64"/>
                    </a:cubicBezTo>
                    <a:cubicBezTo>
                      <a:pt x="11" y="63"/>
                      <a:pt x="8" y="63"/>
                      <a:pt x="6" y="62"/>
                    </a:cubicBezTo>
                    <a:cubicBezTo>
                      <a:pt x="4" y="62"/>
                      <a:pt x="3" y="62"/>
                      <a:pt x="2" y="61"/>
                    </a:cubicBezTo>
                    <a:cubicBezTo>
                      <a:pt x="1" y="61"/>
                      <a:pt x="1" y="60"/>
                      <a:pt x="0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89" name="Freeform 119"/>
              <p:cNvSpPr>
                <a:spLocks/>
              </p:cNvSpPr>
              <p:nvPr/>
            </p:nvSpPr>
            <p:spPr bwMode="auto">
              <a:xfrm>
                <a:off x="2460625" y="5803900"/>
                <a:ext cx="117475" cy="142875"/>
              </a:xfrm>
              <a:custGeom>
                <a:avLst/>
                <a:gdLst>
                  <a:gd name="T0" fmla="*/ 15 w 19"/>
                  <a:gd name="T1" fmla="*/ 2 h 23"/>
                  <a:gd name="T2" fmla="*/ 15 w 19"/>
                  <a:gd name="T3" fmla="*/ 15 h 23"/>
                  <a:gd name="T4" fmla="*/ 3 w 19"/>
                  <a:gd name="T5" fmla="*/ 21 h 23"/>
                  <a:gd name="T6" fmla="*/ 4 w 19"/>
                  <a:gd name="T7" fmla="*/ 8 h 23"/>
                  <a:gd name="T8" fmla="*/ 15 w 19"/>
                  <a:gd name="T9" fmla="*/ 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3">
                    <a:moveTo>
                      <a:pt x="15" y="2"/>
                    </a:moveTo>
                    <a:cubicBezTo>
                      <a:pt x="19" y="3"/>
                      <a:pt x="18" y="9"/>
                      <a:pt x="15" y="15"/>
                    </a:cubicBezTo>
                    <a:cubicBezTo>
                      <a:pt x="12" y="20"/>
                      <a:pt x="6" y="23"/>
                      <a:pt x="3" y="21"/>
                    </a:cubicBezTo>
                    <a:cubicBezTo>
                      <a:pt x="0" y="19"/>
                      <a:pt x="0" y="13"/>
                      <a:pt x="4" y="8"/>
                    </a:cubicBezTo>
                    <a:cubicBezTo>
                      <a:pt x="7" y="2"/>
                      <a:pt x="12" y="0"/>
                      <a:pt x="15" y="2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0" name="Freeform 120"/>
              <p:cNvSpPr>
                <a:spLocks/>
              </p:cNvSpPr>
              <p:nvPr/>
            </p:nvSpPr>
            <p:spPr bwMode="auto">
              <a:xfrm>
                <a:off x="2100263" y="5418138"/>
                <a:ext cx="130175" cy="87313"/>
              </a:xfrm>
              <a:custGeom>
                <a:avLst/>
                <a:gdLst>
                  <a:gd name="T0" fmla="*/ 21 w 21"/>
                  <a:gd name="T1" fmla="*/ 6 h 14"/>
                  <a:gd name="T2" fmla="*/ 11 w 21"/>
                  <a:gd name="T3" fmla="*/ 14 h 14"/>
                  <a:gd name="T4" fmla="*/ 0 w 21"/>
                  <a:gd name="T5" fmla="*/ 8 h 14"/>
                  <a:gd name="T6" fmla="*/ 10 w 21"/>
                  <a:gd name="T7" fmla="*/ 1 h 14"/>
                  <a:gd name="T8" fmla="*/ 21 w 21"/>
                  <a:gd name="T9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4">
                    <a:moveTo>
                      <a:pt x="21" y="6"/>
                    </a:moveTo>
                    <a:cubicBezTo>
                      <a:pt x="21" y="10"/>
                      <a:pt x="17" y="13"/>
                      <a:pt x="11" y="14"/>
                    </a:cubicBezTo>
                    <a:cubicBezTo>
                      <a:pt x="5" y="14"/>
                      <a:pt x="0" y="12"/>
                      <a:pt x="0" y="8"/>
                    </a:cubicBezTo>
                    <a:cubicBezTo>
                      <a:pt x="0" y="5"/>
                      <a:pt x="4" y="1"/>
                      <a:pt x="10" y="1"/>
                    </a:cubicBezTo>
                    <a:cubicBezTo>
                      <a:pt x="16" y="0"/>
                      <a:pt x="20" y="3"/>
                      <a:pt x="21" y="6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1" name="Freeform 121"/>
              <p:cNvSpPr>
                <a:spLocks/>
              </p:cNvSpPr>
              <p:nvPr/>
            </p:nvSpPr>
            <p:spPr bwMode="auto">
              <a:xfrm>
                <a:off x="2125663" y="5392738"/>
                <a:ext cx="484188" cy="155575"/>
              </a:xfrm>
              <a:custGeom>
                <a:avLst/>
                <a:gdLst>
                  <a:gd name="T0" fmla="*/ 55 w 78"/>
                  <a:gd name="T1" fmla="*/ 25 h 25"/>
                  <a:gd name="T2" fmla="*/ 42 w 78"/>
                  <a:gd name="T3" fmla="*/ 24 h 25"/>
                  <a:gd name="T4" fmla="*/ 37 w 78"/>
                  <a:gd name="T5" fmla="*/ 22 h 25"/>
                  <a:gd name="T6" fmla="*/ 30 w 78"/>
                  <a:gd name="T7" fmla="*/ 18 h 25"/>
                  <a:gd name="T8" fmla="*/ 6 w 78"/>
                  <a:gd name="T9" fmla="*/ 8 h 25"/>
                  <a:gd name="T10" fmla="*/ 0 w 78"/>
                  <a:gd name="T11" fmla="*/ 8 h 25"/>
                  <a:gd name="T12" fmla="*/ 12 w 78"/>
                  <a:gd name="T13" fmla="*/ 5 h 25"/>
                  <a:gd name="T14" fmla="*/ 30 w 78"/>
                  <a:gd name="T15" fmla="*/ 1 h 25"/>
                  <a:gd name="T16" fmla="*/ 40 w 78"/>
                  <a:gd name="T17" fmla="*/ 0 h 25"/>
                  <a:gd name="T18" fmla="*/ 55 w 78"/>
                  <a:gd name="T19" fmla="*/ 5 h 25"/>
                  <a:gd name="T20" fmla="*/ 64 w 78"/>
                  <a:gd name="T21" fmla="*/ 16 h 25"/>
                  <a:gd name="T22" fmla="*/ 71 w 78"/>
                  <a:gd name="T23" fmla="*/ 20 h 25"/>
                  <a:gd name="T24" fmla="*/ 78 w 78"/>
                  <a:gd name="T25" fmla="*/ 23 h 25"/>
                  <a:gd name="T26" fmla="*/ 75 w 78"/>
                  <a:gd name="T27" fmla="*/ 23 h 25"/>
                  <a:gd name="T28" fmla="*/ 71 w 78"/>
                  <a:gd name="T29" fmla="*/ 23 h 25"/>
                  <a:gd name="T30" fmla="*/ 64 w 78"/>
                  <a:gd name="T31" fmla="*/ 24 h 25"/>
                  <a:gd name="T32" fmla="*/ 55 w 78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8" h="25">
                    <a:moveTo>
                      <a:pt x="55" y="25"/>
                    </a:moveTo>
                    <a:cubicBezTo>
                      <a:pt x="51" y="25"/>
                      <a:pt x="47" y="24"/>
                      <a:pt x="42" y="24"/>
                    </a:cubicBezTo>
                    <a:cubicBezTo>
                      <a:pt x="40" y="23"/>
                      <a:pt x="39" y="23"/>
                      <a:pt x="37" y="22"/>
                    </a:cubicBezTo>
                    <a:cubicBezTo>
                      <a:pt x="34" y="21"/>
                      <a:pt x="32" y="20"/>
                      <a:pt x="30" y="18"/>
                    </a:cubicBezTo>
                    <a:cubicBezTo>
                      <a:pt x="23" y="13"/>
                      <a:pt x="15" y="8"/>
                      <a:pt x="6" y="8"/>
                    </a:cubicBezTo>
                    <a:cubicBezTo>
                      <a:pt x="4" y="8"/>
                      <a:pt x="2" y="9"/>
                      <a:pt x="0" y="8"/>
                    </a:cubicBezTo>
                    <a:cubicBezTo>
                      <a:pt x="4" y="7"/>
                      <a:pt x="8" y="6"/>
                      <a:pt x="12" y="5"/>
                    </a:cubicBezTo>
                    <a:cubicBezTo>
                      <a:pt x="18" y="4"/>
                      <a:pt x="24" y="2"/>
                      <a:pt x="30" y="1"/>
                    </a:cubicBezTo>
                    <a:cubicBezTo>
                      <a:pt x="33" y="0"/>
                      <a:pt x="36" y="0"/>
                      <a:pt x="40" y="0"/>
                    </a:cubicBezTo>
                    <a:cubicBezTo>
                      <a:pt x="45" y="0"/>
                      <a:pt x="51" y="2"/>
                      <a:pt x="55" y="5"/>
                    </a:cubicBezTo>
                    <a:cubicBezTo>
                      <a:pt x="58" y="8"/>
                      <a:pt x="61" y="12"/>
                      <a:pt x="64" y="16"/>
                    </a:cubicBezTo>
                    <a:cubicBezTo>
                      <a:pt x="66" y="18"/>
                      <a:pt x="69" y="19"/>
                      <a:pt x="71" y="20"/>
                    </a:cubicBezTo>
                    <a:cubicBezTo>
                      <a:pt x="72" y="21"/>
                      <a:pt x="78" y="22"/>
                      <a:pt x="78" y="23"/>
                    </a:cubicBezTo>
                    <a:cubicBezTo>
                      <a:pt x="78" y="24"/>
                      <a:pt x="75" y="23"/>
                      <a:pt x="75" y="23"/>
                    </a:cubicBezTo>
                    <a:cubicBezTo>
                      <a:pt x="74" y="23"/>
                      <a:pt x="72" y="23"/>
                      <a:pt x="71" y="23"/>
                    </a:cubicBezTo>
                    <a:cubicBezTo>
                      <a:pt x="69" y="23"/>
                      <a:pt x="66" y="23"/>
                      <a:pt x="64" y="24"/>
                    </a:cubicBezTo>
                    <a:cubicBezTo>
                      <a:pt x="61" y="24"/>
                      <a:pt x="58" y="25"/>
                      <a:pt x="55" y="2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2" name="Freeform 122"/>
              <p:cNvSpPr>
                <a:spLocks/>
              </p:cNvSpPr>
              <p:nvPr/>
            </p:nvSpPr>
            <p:spPr bwMode="auto">
              <a:xfrm>
                <a:off x="2330450" y="5437188"/>
                <a:ext cx="117475" cy="87313"/>
              </a:xfrm>
              <a:custGeom>
                <a:avLst/>
                <a:gdLst>
                  <a:gd name="T0" fmla="*/ 18 w 19"/>
                  <a:gd name="T1" fmla="*/ 9 h 14"/>
                  <a:gd name="T2" fmla="*/ 8 w 19"/>
                  <a:gd name="T3" fmla="*/ 12 h 14"/>
                  <a:gd name="T4" fmla="*/ 0 w 19"/>
                  <a:gd name="T5" fmla="*/ 4 h 14"/>
                  <a:gd name="T6" fmla="*/ 11 w 19"/>
                  <a:gd name="T7" fmla="*/ 1 h 14"/>
                  <a:gd name="T8" fmla="*/ 18 w 19"/>
                  <a:gd name="T9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4">
                    <a:moveTo>
                      <a:pt x="18" y="9"/>
                    </a:moveTo>
                    <a:cubicBezTo>
                      <a:pt x="17" y="12"/>
                      <a:pt x="13" y="14"/>
                      <a:pt x="8" y="12"/>
                    </a:cubicBezTo>
                    <a:cubicBezTo>
                      <a:pt x="3" y="11"/>
                      <a:pt x="0" y="7"/>
                      <a:pt x="0" y="4"/>
                    </a:cubicBezTo>
                    <a:cubicBezTo>
                      <a:pt x="1" y="1"/>
                      <a:pt x="6" y="0"/>
                      <a:pt x="11" y="1"/>
                    </a:cubicBezTo>
                    <a:cubicBezTo>
                      <a:pt x="16" y="3"/>
                      <a:pt x="19" y="6"/>
                      <a:pt x="18" y="9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4" name="Freeform 123"/>
              <p:cNvSpPr>
                <a:spLocks/>
              </p:cNvSpPr>
              <p:nvPr/>
            </p:nvSpPr>
            <p:spPr bwMode="auto">
              <a:xfrm>
                <a:off x="2155825" y="5759450"/>
                <a:ext cx="465138" cy="223838"/>
              </a:xfrm>
              <a:custGeom>
                <a:avLst/>
                <a:gdLst>
                  <a:gd name="T0" fmla="*/ 4 w 75"/>
                  <a:gd name="T1" fmla="*/ 27 h 36"/>
                  <a:gd name="T2" fmla="*/ 9 w 75"/>
                  <a:gd name="T3" fmla="*/ 27 h 36"/>
                  <a:gd name="T4" fmla="*/ 16 w 75"/>
                  <a:gd name="T5" fmla="*/ 25 h 36"/>
                  <a:gd name="T6" fmla="*/ 22 w 75"/>
                  <a:gd name="T7" fmla="*/ 21 h 36"/>
                  <a:gd name="T8" fmla="*/ 57 w 75"/>
                  <a:gd name="T9" fmla="*/ 6 h 36"/>
                  <a:gd name="T10" fmla="*/ 65 w 75"/>
                  <a:gd name="T11" fmla="*/ 5 h 36"/>
                  <a:gd name="T12" fmla="*/ 73 w 75"/>
                  <a:gd name="T13" fmla="*/ 0 h 36"/>
                  <a:gd name="T14" fmla="*/ 74 w 75"/>
                  <a:gd name="T15" fmla="*/ 0 h 36"/>
                  <a:gd name="T16" fmla="*/ 75 w 75"/>
                  <a:gd name="T17" fmla="*/ 1 h 36"/>
                  <a:gd name="T18" fmla="*/ 74 w 75"/>
                  <a:gd name="T19" fmla="*/ 3 h 36"/>
                  <a:gd name="T20" fmla="*/ 64 w 75"/>
                  <a:gd name="T21" fmla="*/ 12 h 36"/>
                  <a:gd name="T22" fmla="*/ 61 w 75"/>
                  <a:gd name="T23" fmla="*/ 16 h 36"/>
                  <a:gd name="T24" fmla="*/ 49 w 75"/>
                  <a:gd name="T25" fmla="*/ 30 h 36"/>
                  <a:gd name="T26" fmla="*/ 31 w 75"/>
                  <a:gd name="T27" fmla="*/ 35 h 36"/>
                  <a:gd name="T28" fmla="*/ 26 w 75"/>
                  <a:gd name="T29" fmla="*/ 34 h 36"/>
                  <a:gd name="T30" fmla="*/ 10 w 75"/>
                  <a:gd name="T31" fmla="*/ 31 h 36"/>
                  <a:gd name="T32" fmla="*/ 2 w 75"/>
                  <a:gd name="T33" fmla="*/ 30 h 36"/>
                  <a:gd name="T34" fmla="*/ 4 w 75"/>
                  <a:gd name="T35" fmla="*/ 2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5" h="36">
                    <a:moveTo>
                      <a:pt x="4" y="27"/>
                    </a:moveTo>
                    <a:cubicBezTo>
                      <a:pt x="6" y="26"/>
                      <a:pt x="7" y="27"/>
                      <a:pt x="9" y="27"/>
                    </a:cubicBezTo>
                    <a:cubicBezTo>
                      <a:pt x="11" y="28"/>
                      <a:pt x="14" y="27"/>
                      <a:pt x="16" y="25"/>
                    </a:cubicBezTo>
                    <a:cubicBezTo>
                      <a:pt x="18" y="24"/>
                      <a:pt x="20" y="22"/>
                      <a:pt x="22" y="21"/>
                    </a:cubicBezTo>
                    <a:cubicBezTo>
                      <a:pt x="32" y="13"/>
                      <a:pt x="44" y="8"/>
                      <a:pt x="57" y="6"/>
                    </a:cubicBezTo>
                    <a:cubicBezTo>
                      <a:pt x="60" y="6"/>
                      <a:pt x="62" y="6"/>
                      <a:pt x="65" y="5"/>
                    </a:cubicBezTo>
                    <a:cubicBezTo>
                      <a:pt x="68" y="3"/>
                      <a:pt x="70" y="1"/>
                      <a:pt x="73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5" y="1"/>
                      <a:pt x="75" y="1"/>
                    </a:cubicBezTo>
                    <a:cubicBezTo>
                      <a:pt x="75" y="2"/>
                      <a:pt x="75" y="3"/>
                      <a:pt x="74" y="3"/>
                    </a:cubicBezTo>
                    <a:cubicBezTo>
                      <a:pt x="71" y="7"/>
                      <a:pt x="67" y="8"/>
                      <a:pt x="64" y="12"/>
                    </a:cubicBezTo>
                    <a:cubicBezTo>
                      <a:pt x="63" y="13"/>
                      <a:pt x="62" y="14"/>
                      <a:pt x="61" y="16"/>
                    </a:cubicBezTo>
                    <a:cubicBezTo>
                      <a:pt x="58" y="21"/>
                      <a:pt x="54" y="27"/>
                      <a:pt x="49" y="30"/>
                    </a:cubicBezTo>
                    <a:cubicBezTo>
                      <a:pt x="44" y="34"/>
                      <a:pt x="37" y="36"/>
                      <a:pt x="31" y="35"/>
                    </a:cubicBezTo>
                    <a:cubicBezTo>
                      <a:pt x="29" y="35"/>
                      <a:pt x="27" y="34"/>
                      <a:pt x="26" y="34"/>
                    </a:cubicBezTo>
                    <a:cubicBezTo>
                      <a:pt x="20" y="33"/>
                      <a:pt x="15" y="32"/>
                      <a:pt x="10" y="31"/>
                    </a:cubicBezTo>
                    <a:cubicBezTo>
                      <a:pt x="8" y="31"/>
                      <a:pt x="4" y="31"/>
                      <a:pt x="2" y="30"/>
                    </a:cubicBezTo>
                    <a:cubicBezTo>
                      <a:pt x="0" y="29"/>
                      <a:pt x="2" y="27"/>
                      <a:pt x="4" y="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7" name="Freeform 124"/>
              <p:cNvSpPr>
                <a:spLocks/>
              </p:cNvSpPr>
              <p:nvPr/>
            </p:nvSpPr>
            <p:spPr bwMode="auto">
              <a:xfrm>
                <a:off x="2347913" y="5853113"/>
                <a:ext cx="136525" cy="100013"/>
              </a:xfrm>
              <a:custGeom>
                <a:avLst/>
                <a:gdLst>
                  <a:gd name="T0" fmla="*/ 20 w 22"/>
                  <a:gd name="T1" fmla="*/ 4 h 16"/>
                  <a:gd name="T2" fmla="*/ 14 w 22"/>
                  <a:gd name="T3" fmla="*/ 14 h 16"/>
                  <a:gd name="T4" fmla="*/ 2 w 22"/>
                  <a:gd name="T5" fmla="*/ 12 h 16"/>
                  <a:gd name="T6" fmla="*/ 8 w 22"/>
                  <a:gd name="T7" fmla="*/ 2 h 16"/>
                  <a:gd name="T8" fmla="*/ 20 w 22"/>
                  <a:gd name="T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16">
                    <a:moveTo>
                      <a:pt x="20" y="4"/>
                    </a:moveTo>
                    <a:cubicBezTo>
                      <a:pt x="22" y="7"/>
                      <a:pt x="19" y="11"/>
                      <a:pt x="14" y="14"/>
                    </a:cubicBezTo>
                    <a:cubicBezTo>
                      <a:pt x="9" y="16"/>
                      <a:pt x="3" y="16"/>
                      <a:pt x="2" y="12"/>
                    </a:cubicBezTo>
                    <a:cubicBezTo>
                      <a:pt x="0" y="9"/>
                      <a:pt x="3" y="5"/>
                      <a:pt x="8" y="2"/>
                    </a:cubicBezTo>
                    <a:cubicBezTo>
                      <a:pt x="13" y="0"/>
                      <a:pt x="19" y="0"/>
                      <a:pt x="20" y="4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8" name="Freeform 125"/>
              <p:cNvSpPr>
                <a:spLocks/>
              </p:cNvSpPr>
              <p:nvPr/>
            </p:nvSpPr>
            <p:spPr bwMode="auto">
              <a:xfrm>
                <a:off x="1938338" y="5541963"/>
                <a:ext cx="317500" cy="434975"/>
              </a:xfrm>
              <a:custGeom>
                <a:avLst/>
                <a:gdLst>
                  <a:gd name="T0" fmla="*/ 34 w 51"/>
                  <a:gd name="T1" fmla="*/ 3 h 70"/>
                  <a:gd name="T2" fmla="*/ 20 w 51"/>
                  <a:gd name="T3" fmla="*/ 5 h 70"/>
                  <a:gd name="T4" fmla="*/ 8 w 51"/>
                  <a:gd name="T5" fmla="*/ 12 h 70"/>
                  <a:gd name="T6" fmla="*/ 1 w 51"/>
                  <a:gd name="T7" fmla="*/ 25 h 70"/>
                  <a:gd name="T8" fmla="*/ 1 w 51"/>
                  <a:gd name="T9" fmla="*/ 40 h 70"/>
                  <a:gd name="T10" fmla="*/ 7 w 51"/>
                  <a:gd name="T11" fmla="*/ 64 h 70"/>
                  <a:gd name="T12" fmla="*/ 7 w 51"/>
                  <a:gd name="T13" fmla="*/ 69 h 70"/>
                  <a:gd name="T14" fmla="*/ 9 w 51"/>
                  <a:gd name="T15" fmla="*/ 70 h 70"/>
                  <a:gd name="T16" fmla="*/ 10 w 51"/>
                  <a:gd name="T17" fmla="*/ 69 h 70"/>
                  <a:gd name="T18" fmla="*/ 12 w 51"/>
                  <a:gd name="T19" fmla="*/ 61 h 70"/>
                  <a:gd name="T20" fmla="*/ 18 w 51"/>
                  <a:gd name="T21" fmla="*/ 47 h 70"/>
                  <a:gd name="T22" fmla="*/ 25 w 51"/>
                  <a:gd name="T23" fmla="*/ 38 h 70"/>
                  <a:gd name="T24" fmla="*/ 33 w 51"/>
                  <a:gd name="T25" fmla="*/ 22 h 70"/>
                  <a:gd name="T26" fmla="*/ 38 w 51"/>
                  <a:gd name="T27" fmla="*/ 13 h 70"/>
                  <a:gd name="T28" fmla="*/ 49 w 51"/>
                  <a:gd name="T29" fmla="*/ 5 h 70"/>
                  <a:gd name="T30" fmla="*/ 50 w 51"/>
                  <a:gd name="T31" fmla="*/ 1 h 70"/>
                  <a:gd name="T32" fmla="*/ 46 w 51"/>
                  <a:gd name="T33" fmla="*/ 1 h 70"/>
                  <a:gd name="T34" fmla="*/ 34 w 51"/>
                  <a:gd name="T35" fmla="*/ 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1" h="70">
                    <a:moveTo>
                      <a:pt x="34" y="3"/>
                    </a:moveTo>
                    <a:cubicBezTo>
                      <a:pt x="30" y="3"/>
                      <a:pt x="25" y="4"/>
                      <a:pt x="20" y="5"/>
                    </a:cubicBezTo>
                    <a:cubicBezTo>
                      <a:pt x="16" y="6"/>
                      <a:pt x="11" y="9"/>
                      <a:pt x="8" y="12"/>
                    </a:cubicBezTo>
                    <a:cubicBezTo>
                      <a:pt x="4" y="15"/>
                      <a:pt x="2" y="20"/>
                      <a:pt x="1" y="25"/>
                    </a:cubicBezTo>
                    <a:cubicBezTo>
                      <a:pt x="0" y="30"/>
                      <a:pt x="0" y="35"/>
                      <a:pt x="1" y="40"/>
                    </a:cubicBezTo>
                    <a:cubicBezTo>
                      <a:pt x="3" y="48"/>
                      <a:pt x="7" y="55"/>
                      <a:pt x="7" y="64"/>
                    </a:cubicBezTo>
                    <a:cubicBezTo>
                      <a:pt x="7" y="65"/>
                      <a:pt x="6" y="67"/>
                      <a:pt x="7" y="69"/>
                    </a:cubicBezTo>
                    <a:cubicBezTo>
                      <a:pt x="8" y="70"/>
                      <a:pt x="9" y="70"/>
                      <a:pt x="9" y="70"/>
                    </a:cubicBezTo>
                    <a:cubicBezTo>
                      <a:pt x="10" y="70"/>
                      <a:pt x="10" y="70"/>
                      <a:pt x="10" y="69"/>
                    </a:cubicBezTo>
                    <a:cubicBezTo>
                      <a:pt x="12" y="67"/>
                      <a:pt x="12" y="64"/>
                      <a:pt x="12" y="61"/>
                    </a:cubicBezTo>
                    <a:cubicBezTo>
                      <a:pt x="13" y="56"/>
                      <a:pt x="15" y="51"/>
                      <a:pt x="18" y="47"/>
                    </a:cubicBezTo>
                    <a:cubicBezTo>
                      <a:pt x="20" y="43"/>
                      <a:pt x="23" y="41"/>
                      <a:pt x="25" y="38"/>
                    </a:cubicBezTo>
                    <a:cubicBezTo>
                      <a:pt x="29" y="33"/>
                      <a:pt x="31" y="28"/>
                      <a:pt x="33" y="22"/>
                    </a:cubicBezTo>
                    <a:cubicBezTo>
                      <a:pt x="35" y="19"/>
                      <a:pt x="36" y="15"/>
                      <a:pt x="38" y="13"/>
                    </a:cubicBezTo>
                    <a:cubicBezTo>
                      <a:pt x="41" y="9"/>
                      <a:pt x="46" y="8"/>
                      <a:pt x="49" y="5"/>
                    </a:cubicBezTo>
                    <a:cubicBezTo>
                      <a:pt x="50" y="4"/>
                      <a:pt x="51" y="2"/>
                      <a:pt x="50" y="1"/>
                    </a:cubicBezTo>
                    <a:cubicBezTo>
                      <a:pt x="49" y="0"/>
                      <a:pt x="47" y="1"/>
                      <a:pt x="46" y="1"/>
                    </a:cubicBezTo>
                    <a:cubicBezTo>
                      <a:pt x="42" y="2"/>
                      <a:pt x="38" y="2"/>
                      <a:pt x="3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9" name="Freeform 126"/>
              <p:cNvSpPr>
                <a:spLocks/>
              </p:cNvSpPr>
              <p:nvPr/>
            </p:nvSpPr>
            <p:spPr bwMode="auto">
              <a:xfrm>
                <a:off x="1957388" y="5635625"/>
                <a:ext cx="117475" cy="142875"/>
              </a:xfrm>
              <a:custGeom>
                <a:avLst/>
                <a:gdLst>
                  <a:gd name="T0" fmla="*/ 15 w 19"/>
                  <a:gd name="T1" fmla="*/ 2 h 23"/>
                  <a:gd name="T2" fmla="*/ 15 w 19"/>
                  <a:gd name="T3" fmla="*/ 15 h 23"/>
                  <a:gd name="T4" fmla="*/ 3 w 19"/>
                  <a:gd name="T5" fmla="*/ 21 h 23"/>
                  <a:gd name="T6" fmla="*/ 4 w 19"/>
                  <a:gd name="T7" fmla="*/ 8 h 23"/>
                  <a:gd name="T8" fmla="*/ 15 w 19"/>
                  <a:gd name="T9" fmla="*/ 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3">
                    <a:moveTo>
                      <a:pt x="15" y="2"/>
                    </a:moveTo>
                    <a:cubicBezTo>
                      <a:pt x="19" y="4"/>
                      <a:pt x="18" y="10"/>
                      <a:pt x="15" y="15"/>
                    </a:cubicBezTo>
                    <a:cubicBezTo>
                      <a:pt x="12" y="21"/>
                      <a:pt x="6" y="23"/>
                      <a:pt x="3" y="21"/>
                    </a:cubicBezTo>
                    <a:cubicBezTo>
                      <a:pt x="0" y="19"/>
                      <a:pt x="0" y="13"/>
                      <a:pt x="4" y="8"/>
                    </a:cubicBezTo>
                    <a:cubicBezTo>
                      <a:pt x="7" y="3"/>
                      <a:pt x="12" y="0"/>
                      <a:pt x="15" y="2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>
                <a:solidFill>
                  <a:srgbClr val="2568B9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</p:grpSp>
      </p:grpSp>
      <p:sp>
        <p:nvSpPr>
          <p:cNvPr id="100" name="TextBox 99"/>
          <p:cNvSpPr txBox="1"/>
          <p:nvPr/>
        </p:nvSpPr>
        <p:spPr>
          <a:xfrm>
            <a:off x="582072" y="6086158"/>
            <a:ext cx="7090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HS, hidradenitis suppurativa</a:t>
            </a:r>
            <a:endParaRPr lang="en-US" sz="800" strike="sngStrike" dirty="0">
              <a:solidFill>
                <a:srgbClr val="FF0000"/>
              </a:solidFill>
            </a:endParaRPr>
          </a:p>
          <a:p>
            <a:r>
              <a:rPr lang="cs-CZ" sz="800" dirty="0">
                <a:solidFill>
                  <a:srgbClr val="0070C0"/>
                </a:solidFill>
              </a:rPr>
              <a:t>1.</a:t>
            </a:r>
            <a:r>
              <a:rPr lang="en-US" sz="800" dirty="0"/>
              <a:t> </a:t>
            </a:r>
            <a:r>
              <a:rPr lang="en-US" sz="800" dirty="0">
                <a:hlinkClick r:id="rId10"/>
              </a:rPr>
              <a:t>Lapins J, et al. </a:t>
            </a:r>
            <a:r>
              <a:rPr lang="en-US" sz="800" i="1" dirty="0">
                <a:hlinkClick r:id="rId10"/>
              </a:rPr>
              <a:t>Arch Dermatol</a:t>
            </a:r>
            <a:r>
              <a:rPr lang="en-US" sz="800" dirty="0">
                <a:hlinkClick r:id="rId10"/>
              </a:rPr>
              <a:t>. 2001;137(6):730-734</a:t>
            </a:r>
            <a:r>
              <a:rPr lang="en-US" sz="800" dirty="0"/>
              <a:t>; </a:t>
            </a:r>
            <a:r>
              <a:rPr lang="en-US" sz="800" dirty="0">
                <a:solidFill>
                  <a:srgbClr val="0070C0"/>
                </a:solidFill>
              </a:rPr>
              <a:t>2. </a:t>
            </a:r>
            <a:r>
              <a:rPr lang="en-US" sz="800" dirty="0">
                <a:hlinkClick r:id="rId11"/>
              </a:rPr>
              <a:t>Losanoff JE, et al. </a:t>
            </a:r>
            <a:r>
              <a:rPr lang="en-US" sz="800" i="1" dirty="0">
                <a:hlinkClick r:id="rId11"/>
              </a:rPr>
              <a:t>Am Surg</a:t>
            </a:r>
            <a:r>
              <a:rPr lang="en-US" sz="800" dirty="0">
                <a:hlinkClick r:id="rId11"/>
              </a:rPr>
              <a:t>. 2011;77(11):1449-1453</a:t>
            </a:r>
            <a:r>
              <a:rPr lang="en-US" sz="800" dirty="0"/>
              <a:t>; </a:t>
            </a:r>
            <a:r>
              <a:rPr lang="en-US" sz="800" dirty="0">
                <a:solidFill>
                  <a:srgbClr val="0070C0"/>
                </a:solidFill>
              </a:rPr>
              <a:t>3</a:t>
            </a:r>
            <a:r>
              <a:rPr lang="en-US" sz="800" dirty="0"/>
              <a:t>. </a:t>
            </a:r>
            <a:r>
              <a:rPr lang="en-US" sz="800" dirty="0">
                <a:hlinkClick r:id="rId12"/>
              </a:rPr>
              <a:t>Shlyankevich J, et al. </a:t>
            </a:r>
            <a:r>
              <a:rPr lang="en-US" sz="800" i="1" dirty="0">
                <a:hlinkClick r:id="rId12"/>
              </a:rPr>
              <a:t>J Am Acad Dermatol</a:t>
            </a:r>
            <a:r>
              <a:rPr lang="en-US" sz="800" dirty="0">
                <a:hlinkClick r:id="rId12"/>
              </a:rPr>
              <a:t>. 2014;71(6):1144-1150</a:t>
            </a:r>
            <a:r>
              <a:rPr lang="en-US" sz="800" dirty="0"/>
              <a:t>; </a:t>
            </a:r>
            <a:r>
              <a:rPr lang="en-US" sz="800" dirty="0">
                <a:solidFill>
                  <a:srgbClr val="0070C0"/>
                </a:solidFill>
              </a:rPr>
              <a:t>4. </a:t>
            </a:r>
            <a:r>
              <a:rPr lang="en-US" sz="800" dirty="0">
                <a:hlinkClick r:id="rId13"/>
              </a:rPr>
              <a:t>Tannenbaum R, et al. </a:t>
            </a:r>
            <a:r>
              <a:rPr lang="en-US" sz="800" i="1" dirty="0">
                <a:hlinkClick r:id="rId13"/>
              </a:rPr>
              <a:t>JAMA Dermatol</a:t>
            </a:r>
            <a:r>
              <a:rPr lang="en-US" sz="800" dirty="0">
                <a:hlinkClick r:id="rId13"/>
              </a:rPr>
              <a:t>. 2019;155(5):624-625</a:t>
            </a:r>
            <a:r>
              <a:rPr lang="en-US" sz="800" dirty="0">
                <a:solidFill>
                  <a:srgbClr val="0070C0"/>
                </a:solidFill>
              </a:rPr>
              <a:t>.</a:t>
            </a:r>
            <a:r>
              <a:rPr lang="cs-CZ" sz="800" dirty="0">
                <a:solidFill>
                  <a:srgbClr val="0070C0"/>
                </a:solidFill>
              </a:rPr>
              <a:t> 5. www.svod.cz</a:t>
            </a:r>
            <a:endParaRPr lang="en-US" sz="800" dirty="0">
              <a:solidFill>
                <a:srgbClr val="0070C0"/>
              </a:solidFill>
            </a:endParaRPr>
          </a:p>
        </p:txBody>
      </p:sp>
      <p:sp>
        <p:nvSpPr>
          <p:cNvPr id="101" name="Rectangle 100">
            <a:hlinkClick r:id="rId14" action="ppaction://hlinksldjump"/>
          </p:cNvPr>
          <p:cNvSpPr/>
          <p:nvPr/>
        </p:nvSpPr>
        <p:spPr>
          <a:xfrm>
            <a:off x="11593301" y="1"/>
            <a:ext cx="598699" cy="651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102" name="Slide Number Placeholder 4">
            <a:extLst>
              <a:ext uri="{FF2B5EF4-FFF2-40B4-BE49-F238E27FC236}">
                <a16:creationId xmlns:a16="http://schemas.microsoft.com/office/drawing/2014/main" id="{B80E4503-FE03-44DD-B7FD-55B496CC29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1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9889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Arrow 9"/>
          <p:cNvSpPr/>
          <p:nvPr/>
        </p:nvSpPr>
        <p:spPr>
          <a:xfrm>
            <a:off x="640227" y="1983005"/>
            <a:ext cx="7073533" cy="471353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DEF83A9-F80F-D848-8D75-A4C072924F64}"/>
              </a:ext>
            </a:extLst>
          </p:cNvPr>
          <p:cNvSpPr txBox="1">
            <a:spLocks/>
          </p:cNvSpPr>
          <p:nvPr/>
        </p:nvSpPr>
        <p:spPr>
          <a:xfrm>
            <a:off x="1393463" y="1216243"/>
            <a:ext cx="9265920" cy="47975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  <a:defRPr/>
            </a:pPr>
            <a:r>
              <a:rPr lang="en-US" sz="1333" b="1" dirty="0"/>
              <a:t>Hidradenitis suppurativa (HS) je chronické, zánětlivé, </a:t>
            </a:r>
            <a:r>
              <a:rPr lang="en-US" sz="1333" b="1" dirty="0" err="1"/>
              <a:t>recidivující</a:t>
            </a:r>
            <a:r>
              <a:rPr lang="cs-CZ" sz="1333" b="1" dirty="0"/>
              <a:t> </a:t>
            </a:r>
            <a:r>
              <a:rPr lang="en-US" sz="1333" b="1" dirty="0" err="1"/>
              <a:t>kožní</a:t>
            </a:r>
            <a:r>
              <a:rPr lang="en-US" sz="1333" b="1" dirty="0"/>
              <a:t> onemocnění </a:t>
            </a:r>
            <a:r>
              <a:rPr lang="en-US" sz="1333" b="1" dirty="0" err="1"/>
              <a:t>pilosebaceózní</a:t>
            </a:r>
            <a:r>
              <a:rPr lang="en-US" sz="1333" b="1" dirty="0"/>
              <a:t> jednotky.</a:t>
            </a:r>
            <a:r>
              <a:rPr lang="en-US" sz="1333" b="1" baseline="30000" dirty="0"/>
              <a:t>1,2</a:t>
            </a:r>
            <a:endParaRPr lang="en-GB" sz="1333" b="1" baseline="30000" dirty="0"/>
          </a:p>
        </p:txBody>
      </p:sp>
      <p:sp>
        <p:nvSpPr>
          <p:cNvPr id="817" name="Rectangle 816"/>
          <p:cNvSpPr/>
          <p:nvPr/>
        </p:nvSpPr>
        <p:spPr>
          <a:xfrm>
            <a:off x="11582400" y="8738"/>
            <a:ext cx="609600" cy="5754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cxnSp>
        <p:nvCxnSpPr>
          <p:cNvPr id="1045" name="Straight Connector 1044"/>
          <p:cNvCxnSpPr/>
          <p:nvPr/>
        </p:nvCxnSpPr>
        <p:spPr>
          <a:xfrm>
            <a:off x="2574784" y="1164618"/>
            <a:ext cx="6096000" cy="5581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46" name="TextBox 1045"/>
          <p:cNvSpPr txBox="1"/>
          <p:nvPr/>
        </p:nvSpPr>
        <p:spPr>
          <a:xfrm>
            <a:off x="4139223" y="829243"/>
            <a:ext cx="35864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dradenitis suppurativa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54" name="Group 1053"/>
          <p:cNvGrpSpPr/>
          <p:nvPr/>
        </p:nvGrpSpPr>
        <p:grpSpPr>
          <a:xfrm>
            <a:off x="49782" y="2507980"/>
            <a:ext cx="7971287" cy="1166423"/>
            <a:chOff x="2971835" y="1553137"/>
            <a:chExt cx="5943680" cy="892317"/>
          </a:xfrm>
          <a:noFill/>
        </p:grpSpPr>
        <p:sp>
          <p:nvSpPr>
            <p:cNvPr id="1056" name="TextBox 1055"/>
            <p:cNvSpPr txBox="1"/>
            <p:nvPr/>
          </p:nvSpPr>
          <p:spPr>
            <a:xfrm>
              <a:off x="4580592" y="1747148"/>
              <a:ext cx="1685735" cy="698306"/>
            </a:xfrm>
            <a:prstGeom prst="rect">
              <a:avLst/>
            </a:prstGeom>
            <a:grpFill/>
          </p:spPr>
          <p:txBody>
            <a:bodyPr wrap="square" rtlCol="0" anchor="b">
              <a:spAutoFit/>
            </a:bodyPr>
            <a:lstStyle/>
            <a:p>
              <a:pPr lvl="0" algn="ctr">
                <a:defRPr/>
              </a:pPr>
              <a:r>
                <a:rPr lang="en-US" sz="1333" b="1" kern="0" dirty="0"/>
                <a:t>Při prasknutí vlasového folikulu se jeho obsah, včetně keratinu a bakterií, vylije do </a:t>
              </a:r>
              <a:r>
                <a:rPr lang="en-US" sz="1333" b="1" kern="0" dirty="0" err="1"/>
                <a:t>okolní</a:t>
              </a:r>
              <a:r>
                <a:rPr lang="en-US" sz="1333" b="1" kern="0" dirty="0"/>
                <a:t> dermis</a:t>
              </a:r>
              <a:r>
                <a:rPr lang="cs-CZ" sz="1333" b="1" kern="0" dirty="0"/>
                <a:t> </a:t>
              </a:r>
              <a:r>
                <a:rPr lang="en-US" sz="1333" b="1" kern="0" baseline="30000" dirty="0"/>
                <a:t>2</a:t>
              </a:r>
              <a:endParaRPr lang="en-GB" sz="1333" b="1" kern="0" baseline="30000" dirty="0"/>
            </a:p>
          </p:txBody>
        </p:sp>
        <p:sp>
          <p:nvSpPr>
            <p:cNvPr id="1057" name="TextBox 1056"/>
            <p:cNvSpPr txBox="1"/>
            <p:nvPr/>
          </p:nvSpPr>
          <p:spPr>
            <a:xfrm>
              <a:off x="6137675" y="1553137"/>
              <a:ext cx="1260255" cy="54138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 defTabSz="1219170">
                <a:defRPr/>
              </a:pPr>
              <a:r>
                <a:rPr lang="en-GB" sz="1333" b="1" kern="0" dirty="0"/>
                <a:t>Reakce imunitního systému vede k </a:t>
              </a:r>
              <a:r>
                <a:rPr lang="en-GB" sz="1333" b="1" kern="0" dirty="0" err="1"/>
                <a:t>zánětu</a:t>
              </a:r>
              <a:r>
                <a:rPr lang="cs-CZ" sz="1333" b="1" kern="0" dirty="0"/>
                <a:t> </a:t>
              </a:r>
              <a:r>
                <a:rPr lang="en-GB" sz="1333" b="1" kern="0" baseline="30000" dirty="0"/>
                <a:t>3</a:t>
              </a:r>
            </a:p>
          </p:txBody>
        </p:sp>
        <p:sp>
          <p:nvSpPr>
            <p:cNvPr id="1058" name="TextBox 1057"/>
            <p:cNvSpPr txBox="1"/>
            <p:nvPr/>
          </p:nvSpPr>
          <p:spPr>
            <a:xfrm>
              <a:off x="7354024" y="1566441"/>
              <a:ext cx="1561491" cy="69830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 defTabSz="1219170">
                <a:defRPr/>
              </a:pPr>
              <a:r>
                <a:rPr lang="en-GB" sz="1333" b="1" kern="0" dirty="0"/>
                <a:t>Objevují se </a:t>
              </a:r>
              <a:r>
                <a:rPr lang="en-GB" sz="1333" b="1" kern="0" dirty="0" err="1"/>
                <a:t>bolestivé</a:t>
              </a:r>
              <a:r>
                <a:rPr lang="en-GB" sz="1333" b="1" kern="0" dirty="0"/>
                <a:t> </a:t>
              </a:r>
              <a:r>
                <a:rPr lang="cs-CZ" sz="1333" b="1" kern="0" dirty="0"/>
                <a:t>abscesy, píštěle</a:t>
              </a:r>
              <a:r>
                <a:rPr lang="en-GB" sz="1333" b="1" kern="0" dirty="0"/>
                <a:t>, které trvají týdny nebo měsíce; </a:t>
              </a:r>
              <a:r>
                <a:rPr lang="cs-CZ" sz="1333" b="1" kern="0" dirty="0"/>
                <a:t>typické jsou exacerbace </a:t>
              </a:r>
              <a:r>
                <a:rPr lang="en-GB" sz="1333" b="1" kern="0" baseline="30000" dirty="0"/>
                <a:t>3</a:t>
              </a:r>
            </a:p>
          </p:txBody>
        </p:sp>
        <p:sp>
          <p:nvSpPr>
            <p:cNvPr id="1059" name="TextBox 1058"/>
            <p:cNvSpPr txBox="1"/>
            <p:nvPr/>
          </p:nvSpPr>
          <p:spPr>
            <a:xfrm>
              <a:off x="2971835" y="1581123"/>
              <a:ext cx="1849930" cy="85522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cs-CZ" sz="1333" b="1" kern="0" dirty="0"/>
                <a:t>J</a:t>
              </a:r>
              <a:r>
                <a:rPr lang="en-US" sz="1333" b="1" kern="0" dirty="0" err="1"/>
                <a:t>ako</a:t>
              </a:r>
              <a:r>
                <a:rPr lang="en-US" sz="1333" b="1" kern="0" dirty="0"/>
                <a:t> </a:t>
              </a:r>
              <a:r>
                <a:rPr lang="en-US" sz="1333" b="1" kern="0" dirty="0" err="1"/>
                <a:t>časná</a:t>
              </a:r>
              <a:endParaRPr lang="en-US" sz="1333" b="1" kern="0" dirty="0"/>
            </a:p>
            <a:p>
              <a:pPr lvl="0" algn="ctr">
                <a:defRPr/>
              </a:pPr>
              <a:r>
                <a:rPr lang="en-US" sz="1333" b="1" kern="0" dirty="0" err="1"/>
                <a:t>manifestace</a:t>
              </a:r>
              <a:r>
                <a:rPr lang="en-US" sz="1333" b="1" kern="0" dirty="0"/>
                <a:t> </a:t>
              </a:r>
              <a:r>
                <a:rPr lang="cs-CZ" sz="1333" b="1" kern="0" dirty="0"/>
                <a:t>u</a:t>
              </a:r>
              <a:r>
                <a:rPr lang="en-US" sz="1333" b="1" kern="0" dirty="0"/>
                <a:t> HS</a:t>
              </a:r>
              <a:r>
                <a:rPr lang="cs-CZ" sz="1333" b="1" kern="0" dirty="0"/>
                <a:t> se projevuje f</a:t>
              </a:r>
              <a:r>
                <a:rPr lang="en-US" sz="1333" b="1" kern="0" dirty="0" err="1"/>
                <a:t>olikulární</a:t>
              </a:r>
              <a:r>
                <a:rPr lang="en-US" sz="1333" b="1" kern="0" dirty="0"/>
                <a:t> hyperkeratóza se zátkou a</a:t>
              </a:r>
            </a:p>
            <a:p>
              <a:pPr lvl="0" algn="ctr">
                <a:defRPr/>
              </a:pPr>
              <a:r>
                <a:rPr lang="en-US" sz="1333" b="1" kern="0" dirty="0" err="1"/>
                <a:t>dilatac</a:t>
              </a:r>
              <a:r>
                <a:rPr lang="cs-CZ" sz="1333" b="1" kern="0" dirty="0"/>
                <a:t>í</a:t>
              </a:r>
              <a:r>
                <a:rPr lang="en-US" sz="1333" b="1" kern="0" dirty="0"/>
                <a:t> vlasového </a:t>
              </a:r>
              <a:r>
                <a:rPr lang="en-US" sz="1333" b="1" kern="0" dirty="0" err="1"/>
                <a:t>folikulu</a:t>
              </a:r>
              <a:r>
                <a:rPr lang="en-US" sz="1333" b="1" kern="0" dirty="0"/>
                <a:t>  </a:t>
              </a:r>
              <a:r>
                <a:rPr lang="en-US" sz="1333" b="1" kern="0" baseline="30000" dirty="0"/>
                <a:t>2</a:t>
              </a:r>
              <a:endParaRPr lang="en-GB" sz="1333" b="1" kern="0" baseline="30000" dirty="0"/>
            </a:p>
          </p:txBody>
        </p:sp>
      </p:grpSp>
      <p:grpSp>
        <p:nvGrpSpPr>
          <p:cNvPr id="1283" name="Group 1282"/>
          <p:cNvGrpSpPr/>
          <p:nvPr/>
        </p:nvGrpSpPr>
        <p:grpSpPr>
          <a:xfrm>
            <a:off x="984108" y="1912684"/>
            <a:ext cx="609600" cy="609600"/>
            <a:chOff x="3688739" y="1101191"/>
            <a:chExt cx="1483360" cy="1483360"/>
          </a:xfrm>
        </p:grpSpPr>
        <p:sp>
          <p:nvSpPr>
            <p:cNvPr id="1284" name="Oval 1283"/>
            <p:cNvSpPr/>
            <p:nvPr/>
          </p:nvSpPr>
          <p:spPr>
            <a:xfrm>
              <a:off x="3688739" y="1101191"/>
              <a:ext cx="1483360" cy="148336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1285" name="Group 1284"/>
            <p:cNvGrpSpPr/>
            <p:nvPr/>
          </p:nvGrpSpPr>
          <p:grpSpPr>
            <a:xfrm>
              <a:off x="3852385" y="1342231"/>
              <a:ext cx="1071562" cy="952603"/>
              <a:chOff x="3851092" y="1386681"/>
              <a:chExt cx="1071562" cy="952603"/>
            </a:xfrm>
          </p:grpSpPr>
          <p:sp>
            <p:nvSpPr>
              <p:cNvPr id="1286" name="Freeform 60"/>
              <p:cNvSpPr>
                <a:spLocks/>
              </p:cNvSpPr>
              <p:nvPr/>
            </p:nvSpPr>
            <p:spPr bwMode="auto">
              <a:xfrm>
                <a:off x="3852680" y="1883672"/>
                <a:ext cx="1068387" cy="455612"/>
              </a:xfrm>
              <a:custGeom>
                <a:avLst/>
                <a:gdLst>
                  <a:gd name="T0" fmla="*/ 141 w 281"/>
                  <a:gd name="T1" fmla="*/ 119 h 119"/>
                  <a:gd name="T2" fmla="*/ 281 w 281"/>
                  <a:gd name="T3" fmla="*/ 0 h 119"/>
                  <a:gd name="T4" fmla="*/ 0 w 281"/>
                  <a:gd name="T5" fmla="*/ 0 h 119"/>
                  <a:gd name="T6" fmla="*/ 141 w 281"/>
                  <a:gd name="T7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1" h="119">
                    <a:moveTo>
                      <a:pt x="141" y="119"/>
                    </a:moveTo>
                    <a:cubicBezTo>
                      <a:pt x="212" y="119"/>
                      <a:pt x="270" y="67"/>
                      <a:pt x="28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67"/>
                      <a:pt x="70" y="119"/>
                      <a:pt x="141" y="119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87" name="Freeform 78"/>
              <p:cNvSpPr>
                <a:spLocks/>
              </p:cNvSpPr>
              <p:nvPr/>
            </p:nvSpPr>
            <p:spPr bwMode="auto">
              <a:xfrm>
                <a:off x="4160578" y="1868011"/>
                <a:ext cx="430470" cy="306335"/>
              </a:xfrm>
              <a:custGeom>
                <a:avLst/>
                <a:gdLst>
                  <a:gd name="T0" fmla="*/ 54 w 107"/>
                  <a:gd name="T1" fmla="*/ 84 h 84"/>
                  <a:gd name="T2" fmla="*/ 107 w 107"/>
                  <a:gd name="T3" fmla="*/ 30 h 84"/>
                  <a:gd name="T4" fmla="*/ 98 w 107"/>
                  <a:gd name="T5" fmla="*/ 0 h 84"/>
                  <a:gd name="T6" fmla="*/ 9 w 107"/>
                  <a:gd name="T7" fmla="*/ 0 h 84"/>
                  <a:gd name="T8" fmla="*/ 0 w 107"/>
                  <a:gd name="T9" fmla="*/ 30 h 84"/>
                  <a:gd name="T10" fmla="*/ 54 w 107"/>
                  <a:gd name="T1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84">
                    <a:moveTo>
                      <a:pt x="54" y="84"/>
                    </a:moveTo>
                    <a:cubicBezTo>
                      <a:pt x="83" y="84"/>
                      <a:pt x="107" y="60"/>
                      <a:pt x="107" y="30"/>
                    </a:cubicBezTo>
                    <a:cubicBezTo>
                      <a:pt x="107" y="19"/>
                      <a:pt x="104" y="9"/>
                      <a:pt x="9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3" y="9"/>
                      <a:pt x="0" y="19"/>
                      <a:pt x="0" y="30"/>
                    </a:cubicBezTo>
                    <a:cubicBezTo>
                      <a:pt x="0" y="60"/>
                      <a:pt x="24" y="84"/>
                      <a:pt x="54" y="84"/>
                    </a:cubicBezTo>
                    <a:close/>
                  </a:path>
                </a:pathLst>
              </a:custGeom>
              <a:gradFill flip="none" rotWithShape="1">
                <a:gsLst>
                  <a:gs pos="34000">
                    <a:srgbClr val="AC4E1B"/>
                  </a:gs>
                  <a:gs pos="62000">
                    <a:srgbClr val="D9D9D9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  <p:sp>
            <p:nvSpPr>
              <p:cNvPr id="1288" name="Line 61"/>
              <p:cNvSpPr>
                <a:spLocks noChangeShapeType="1"/>
              </p:cNvSpPr>
              <p:nvPr/>
            </p:nvSpPr>
            <p:spPr bwMode="auto">
              <a:xfrm>
                <a:off x="3851092" y="1883672"/>
                <a:ext cx="1071562" cy="0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89" name="Freeform 65"/>
              <p:cNvSpPr>
                <a:spLocks/>
              </p:cNvSpPr>
              <p:nvPr/>
            </p:nvSpPr>
            <p:spPr bwMode="auto">
              <a:xfrm>
                <a:off x="4308427" y="1884599"/>
                <a:ext cx="137160" cy="192024"/>
              </a:xfrm>
              <a:custGeom>
                <a:avLst/>
                <a:gdLst>
                  <a:gd name="T0" fmla="*/ 3 w 32"/>
                  <a:gd name="T1" fmla="*/ 19 h 43"/>
                  <a:gd name="T2" fmla="*/ 0 w 32"/>
                  <a:gd name="T3" fmla="*/ 29 h 43"/>
                  <a:gd name="T4" fmla="*/ 16 w 32"/>
                  <a:gd name="T5" fmla="*/ 43 h 43"/>
                  <a:gd name="T6" fmla="*/ 32 w 32"/>
                  <a:gd name="T7" fmla="*/ 29 h 43"/>
                  <a:gd name="T8" fmla="*/ 29 w 32"/>
                  <a:gd name="T9" fmla="*/ 20 h 43"/>
                  <a:gd name="T10" fmla="*/ 21 w 32"/>
                  <a:gd name="T11" fmla="*/ 9 h 43"/>
                  <a:gd name="T12" fmla="*/ 22 w 32"/>
                  <a:gd name="T13" fmla="*/ 0 h 43"/>
                  <a:gd name="T14" fmla="*/ 13 w 32"/>
                  <a:gd name="T15" fmla="*/ 0 h 43"/>
                  <a:gd name="T16" fmla="*/ 13 w 32"/>
                  <a:gd name="T17" fmla="*/ 6 h 43"/>
                  <a:gd name="T18" fmla="*/ 3 w 32"/>
                  <a:gd name="T19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3">
                    <a:moveTo>
                      <a:pt x="3" y="19"/>
                    </a:moveTo>
                    <a:cubicBezTo>
                      <a:pt x="1" y="22"/>
                      <a:pt x="0" y="25"/>
                      <a:pt x="0" y="29"/>
                    </a:cubicBezTo>
                    <a:cubicBezTo>
                      <a:pt x="0" y="36"/>
                      <a:pt x="7" y="43"/>
                      <a:pt x="16" y="43"/>
                    </a:cubicBezTo>
                    <a:cubicBezTo>
                      <a:pt x="25" y="43"/>
                      <a:pt x="32" y="36"/>
                      <a:pt x="32" y="29"/>
                    </a:cubicBezTo>
                    <a:cubicBezTo>
                      <a:pt x="32" y="26"/>
                      <a:pt x="32" y="24"/>
                      <a:pt x="29" y="20"/>
                    </a:cubicBezTo>
                    <a:cubicBezTo>
                      <a:pt x="27" y="17"/>
                      <a:pt x="24" y="13"/>
                      <a:pt x="21" y="9"/>
                    </a:cubicBezTo>
                    <a:cubicBezTo>
                      <a:pt x="21" y="6"/>
                      <a:pt x="21" y="3"/>
                      <a:pt x="2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2"/>
                      <a:pt x="13" y="4"/>
                      <a:pt x="13" y="6"/>
                    </a:cubicBezTo>
                    <a:cubicBezTo>
                      <a:pt x="10" y="10"/>
                      <a:pt x="5" y="18"/>
                      <a:pt x="3" y="19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90" name="Freeform 65"/>
              <p:cNvSpPr>
                <a:spLocks/>
              </p:cNvSpPr>
              <p:nvPr/>
            </p:nvSpPr>
            <p:spPr bwMode="auto">
              <a:xfrm>
                <a:off x="4071766" y="1884599"/>
                <a:ext cx="137160" cy="192024"/>
              </a:xfrm>
              <a:custGeom>
                <a:avLst/>
                <a:gdLst>
                  <a:gd name="T0" fmla="*/ 3 w 32"/>
                  <a:gd name="T1" fmla="*/ 19 h 43"/>
                  <a:gd name="T2" fmla="*/ 0 w 32"/>
                  <a:gd name="T3" fmla="*/ 29 h 43"/>
                  <a:gd name="T4" fmla="*/ 16 w 32"/>
                  <a:gd name="T5" fmla="*/ 43 h 43"/>
                  <a:gd name="T6" fmla="*/ 32 w 32"/>
                  <a:gd name="T7" fmla="*/ 29 h 43"/>
                  <a:gd name="T8" fmla="*/ 29 w 32"/>
                  <a:gd name="T9" fmla="*/ 20 h 43"/>
                  <a:gd name="T10" fmla="*/ 21 w 32"/>
                  <a:gd name="T11" fmla="*/ 9 h 43"/>
                  <a:gd name="T12" fmla="*/ 22 w 32"/>
                  <a:gd name="T13" fmla="*/ 0 h 43"/>
                  <a:gd name="T14" fmla="*/ 13 w 32"/>
                  <a:gd name="T15" fmla="*/ 0 h 43"/>
                  <a:gd name="T16" fmla="*/ 13 w 32"/>
                  <a:gd name="T17" fmla="*/ 6 h 43"/>
                  <a:gd name="T18" fmla="*/ 3 w 32"/>
                  <a:gd name="T19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3">
                    <a:moveTo>
                      <a:pt x="3" y="19"/>
                    </a:moveTo>
                    <a:cubicBezTo>
                      <a:pt x="1" y="22"/>
                      <a:pt x="0" y="25"/>
                      <a:pt x="0" y="29"/>
                    </a:cubicBezTo>
                    <a:cubicBezTo>
                      <a:pt x="0" y="36"/>
                      <a:pt x="7" y="43"/>
                      <a:pt x="16" y="43"/>
                    </a:cubicBezTo>
                    <a:cubicBezTo>
                      <a:pt x="25" y="43"/>
                      <a:pt x="32" y="36"/>
                      <a:pt x="32" y="29"/>
                    </a:cubicBezTo>
                    <a:cubicBezTo>
                      <a:pt x="32" y="26"/>
                      <a:pt x="32" y="24"/>
                      <a:pt x="29" y="20"/>
                    </a:cubicBezTo>
                    <a:cubicBezTo>
                      <a:pt x="27" y="17"/>
                      <a:pt x="24" y="13"/>
                      <a:pt x="21" y="9"/>
                    </a:cubicBezTo>
                    <a:cubicBezTo>
                      <a:pt x="21" y="6"/>
                      <a:pt x="21" y="3"/>
                      <a:pt x="2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2"/>
                      <a:pt x="13" y="4"/>
                      <a:pt x="13" y="6"/>
                    </a:cubicBezTo>
                    <a:cubicBezTo>
                      <a:pt x="10" y="10"/>
                      <a:pt x="5" y="18"/>
                      <a:pt x="3" y="19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91" name="Freeform 65"/>
              <p:cNvSpPr>
                <a:spLocks/>
              </p:cNvSpPr>
              <p:nvPr/>
            </p:nvSpPr>
            <p:spPr bwMode="auto">
              <a:xfrm>
                <a:off x="4549727" y="1884599"/>
                <a:ext cx="137160" cy="192024"/>
              </a:xfrm>
              <a:custGeom>
                <a:avLst/>
                <a:gdLst>
                  <a:gd name="T0" fmla="*/ 3 w 32"/>
                  <a:gd name="T1" fmla="*/ 19 h 43"/>
                  <a:gd name="T2" fmla="*/ 0 w 32"/>
                  <a:gd name="T3" fmla="*/ 29 h 43"/>
                  <a:gd name="T4" fmla="*/ 16 w 32"/>
                  <a:gd name="T5" fmla="*/ 43 h 43"/>
                  <a:gd name="T6" fmla="*/ 32 w 32"/>
                  <a:gd name="T7" fmla="*/ 29 h 43"/>
                  <a:gd name="T8" fmla="*/ 29 w 32"/>
                  <a:gd name="T9" fmla="*/ 20 h 43"/>
                  <a:gd name="T10" fmla="*/ 21 w 32"/>
                  <a:gd name="T11" fmla="*/ 9 h 43"/>
                  <a:gd name="T12" fmla="*/ 22 w 32"/>
                  <a:gd name="T13" fmla="*/ 0 h 43"/>
                  <a:gd name="T14" fmla="*/ 13 w 32"/>
                  <a:gd name="T15" fmla="*/ 0 h 43"/>
                  <a:gd name="T16" fmla="*/ 13 w 32"/>
                  <a:gd name="T17" fmla="*/ 6 h 43"/>
                  <a:gd name="T18" fmla="*/ 3 w 32"/>
                  <a:gd name="T19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3">
                    <a:moveTo>
                      <a:pt x="3" y="19"/>
                    </a:moveTo>
                    <a:cubicBezTo>
                      <a:pt x="1" y="22"/>
                      <a:pt x="0" y="25"/>
                      <a:pt x="0" y="29"/>
                    </a:cubicBezTo>
                    <a:cubicBezTo>
                      <a:pt x="0" y="36"/>
                      <a:pt x="7" y="43"/>
                      <a:pt x="16" y="43"/>
                    </a:cubicBezTo>
                    <a:cubicBezTo>
                      <a:pt x="25" y="43"/>
                      <a:pt x="32" y="36"/>
                      <a:pt x="32" y="29"/>
                    </a:cubicBezTo>
                    <a:cubicBezTo>
                      <a:pt x="32" y="26"/>
                      <a:pt x="32" y="24"/>
                      <a:pt x="29" y="20"/>
                    </a:cubicBezTo>
                    <a:cubicBezTo>
                      <a:pt x="27" y="17"/>
                      <a:pt x="24" y="13"/>
                      <a:pt x="21" y="9"/>
                    </a:cubicBezTo>
                    <a:cubicBezTo>
                      <a:pt x="21" y="6"/>
                      <a:pt x="21" y="3"/>
                      <a:pt x="2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2"/>
                      <a:pt x="13" y="4"/>
                      <a:pt x="13" y="6"/>
                    </a:cubicBezTo>
                    <a:cubicBezTo>
                      <a:pt x="10" y="10"/>
                      <a:pt x="5" y="18"/>
                      <a:pt x="3" y="19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grpSp>
            <p:nvGrpSpPr>
              <p:cNvPr id="1292" name="Group 1291"/>
              <p:cNvGrpSpPr/>
              <p:nvPr/>
            </p:nvGrpSpPr>
            <p:grpSpPr>
              <a:xfrm>
                <a:off x="4075891" y="1386681"/>
                <a:ext cx="744538" cy="681038"/>
                <a:chOff x="9061450" y="2819400"/>
                <a:chExt cx="744538" cy="681038"/>
              </a:xfrm>
            </p:grpSpPr>
            <p:sp>
              <p:nvSpPr>
                <p:cNvPr id="1293" name="Freeform 71"/>
                <p:cNvSpPr>
                  <a:spLocks/>
                </p:cNvSpPr>
                <p:nvPr/>
              </p:nvSpPr>
              <p:spPr bwMode="auto">
                <a:xfrm>
                  <a:off x="9536113" y="2819400"/>
                  <a:ext cx="3175" cy="3175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1" y="0"/>
                        <a:pt x="0" y="1"/>
                        <a:pt x="0" y="1"/>
                      </a:cubicBezTo>
                      <a:close/>
                    </a:path>
                  </a:pathLst>
                </a:custGeom>
                <a:solidFill>
                  <a:srgbClr val="0070C0"/>
                </a:solidFill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1294" name="Freeform 72"/>
                <p:cNvSpPr>
                  <a:spLocks/>
                </p:cNvSpPr>
                <p:nvPr/>
              </p:nvSpPr>
              <p:spPr bwMode="auto">
                <a:xfrm>
                  <a:off x="9061450" y="2822575"/>
                  <a:ext cx="474663" cy="677863"/>
                </a:xfrm>
                <a:custGeom>
                  <a:avLst/>
                  <a:gdLst>
                    <a:gd name="T0" fmla="*/ 124 w 124"/>
                    <a:gd name="T1" fmla="*/ 0 h 177"/>
                    <a:gd name="T2" fmla="*/ 14 w 124"/>
                    <a:gd name="T3" fmla="*/ 140 h 177"/>
                    <a:gd name="T4" fmla="*/ 4 w 124"/>
                    <a:gd name="T5" fmla="*/ 153 h 177"/>
                    <a:gd name="T6" fmla="*/ 0 w 124"/>
                    <a:gd name="T7" fmla="*/ 163 h 177"/>
                    <a:gd name="T8" fmla="*/ 16 w 124"/>
                    <a:gd name="T9" fmla="*/ 177 h 177"/>
                    <a:gd name="T10" fmla="*/ 32 w 124"/>
                    <a:gd name="T11" fmla="*/ 163 h 177"/>
                    <a:gd name="T12" fmla="*/ 29 w 124"/>
                    <a:gd name="T13" fmla="*/ 154 h 177"/>
                    <a:gd name="T14" fmla="*/ 21 w 124"/>
                    <a:gd name="T15" fmla="*/ 143 h 177"/>
                    <a:gd name="T16" fmla="*/ 124 w 124"/>
                    <a:gd name="T17" fmla="*/ 0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4" h="177">
                      <a:moveTo>
                        <a:pt x="124" y="0"/>
                      </a:moveTo>
                      <a:cubicBezTo>
                        <a:pt x="22" y="3"/>
                        <a:pt x="14" y="127"/>
                        <a:pt x="14" y="140"/>
                      </a:cubicBezTo>
                      <a:cubicBezTo>
                        <a:pt x="10" y="144"/>
                        <a:pt x="5" y="152"/>
                        <a:pt x="4" y="153"/>
                      </a:cubicBezTo>
                      <a:cubicBezTo>
                        <a:pt x="2" y="156"/>
                        <a:pt x="0" y="159"/>
                        <a:pt x="0" y="163"/>
                      </a:cubicBezTo>
                      <a:cubicBezTo>
                        <a:pt x="0" y="170"/>
                        <a:pt x="7" y="177"/>
                        <a:pt x="16" y="177"/>
                      </a:cubicBezTo>
                      <a:cubicBezTo>
                        <a:pt x="25" y="177"/>
                        <a:pt x="32" y="170"/>
                        <a:pt x="32" y="163"/>
                      </a:cubicBezTo>
                      <a:cubicBezTo>
                        <a:pt x="32" y="160"/>
                        <a:pt x="32" y="158"/>
                        <a:pt x="29" y="154"/>
                      </a:cubicBezTo>
                      <a:cubicBezTo>
                        <a:pt x="28" y="151"/>
                        <a:pt x="24" y="147"/>
                        <a:pt x="21" y="143"/>
                      </a:cubicBezTo>
                      <a:cubicBezTo>
                        <a:pt x="35" y="11"/>
                        <a:pt x="113" y="0"/>
                        <a:pt x="124" y="0"/>
                      </a:cubicBezTo>
                      <a:close/>
                    </a:path>
                  </a:pathLst>
                </a:custGeom>
                <a:solidFill>
                  <a:srgbClr val="0070C0"/>
                </a:solidFill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1295" name="Freeform 73"/>
                <p:cNvSpPr>
                  <a:spLocks/>
                </p:cNvSpPr>
                <p:nvPr/>
              </p:nvSpPr>
              <p:spPr bwMode="auto">
                <a:xfrm>
                  <a:off x="9302750" y="3006725"/>
                  <a:ext cx="266700" cy="493713"/>
                </a:xfrm>
                <a:custGeom>
                  <a:avLst/>
                  <a:gdLst>
                    <a:gd name="T0" fmla="*/ 70 w 70"/>
                    <a:gd name="T1" fmla="*/ 0 h 129"/>
                    <a:gd name="T2" fmla="*/ 13 w 70"/>
                    <a:gd name="T3" fmla="*/ 91 h 129"/>
                    <a:gd name="T4" fmla="*/ 4 w 70"/>
                    <a:gd name="T5" fmla="*/ 105 h 129"/>
                    <a:gd name="T6" fmla="*/ 0 w 70"/>
                    <a:gd name="T7" fmla="*/ 115 h 129"/>
                    <a:gd name="T8" fmla="*/ 16 w 70"/>
                    <a:gd name="T9" fmla="*/ 129 h 129"/>
                    <a:gd name="T10" fmla="*/ 32 w 70"/>
                    <a:gd name="T11" fmla="*/ 115 h 129"/>
                    <a:gd name="T12" fmla="*/ 29 w 70"/>
                    <a:gd name="T13" fmla="*/ 106 h 129"/>
                    <a:gd name="T14" fmla="*/ 19 w 70"/>
                    <a:gd name="T15" fmla="*/ 92 h 129"/>
                    <a:gd name="T16" fmla="*/ 70 w 70"/>
                    <a:gd name="T1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129">
                      <a:moveTo>
                        <a:pt x="70" y="0"/>
                      </a:moveTo>
                      <a:cubicBezTo>
                        <a:pt x="19" y="14"/>
                        <a:pt x="14" y="79"/>
                        <a:pt x="13" y="91"/>
                      </a:cubicBezTo>
                      <a:cubicBezTo>
                        <a:pt x="10" y="96"/>
                        <a:pt x="5" y="104"/>
                        <a:pt x="4" y="105"/>
                      </a:cubicBezTo>
                      <a:cubicBezTo>
                        <a:pt x="2" y="108"/>
                        <a:pt x="0" y="111"/>
                        <a:pt x="0" y="115"/>
                      </a:cubicBezTo>
                      <a:cubicBezTo>
                        <a:pt x="0" y="122"/>
                        <a:pt x="7" y="129"/>
                        <a:pt x="16" y="129"/>
                      </a:cubicBezTo>
                      <a:cubicBezTo>
                        <a:pt x="25" y="129"/>
                        <a:pt x="32" y="122"/>
                        <a:pt x="32" y="115"/>
                      </a:cubicBezTo>
                      <a:cubicBezTo>
                        <a:pt x="32" y="112"/>
                        <a:pt x="32" y="110"/>
                        <a:pt x="29" y="106"/>
                      </a:cubicBezTo>
                      <a:cubicBezTo>
                        <a:pt x="27" y="103"/>
                        <a:pt x="22" y="96"/>
                        <a:pt x="19" y="92"/>
                      </a:cubicBezTo>
                      <a:cubicBezTo>
                        <a:pt x="29" y="15"/>
                        <a:pt x="70" y="0"/>
                        <a:pt x="70" y="0"/>
                      </a:cubicBezTo>
                      <a:close/>
                    </a:path>
                  </a:pathLst>
                </a:custGeom>
                <a:solidFill>
                  <a:srgbClr val="0070C0"/>
                </a:solidFill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1296" name="Freeform 74"/>
                <p:cNvSpPr>
                  <a:spLocks/>
                </p:cNvSpPr>
                <p:nvPr/>
              </p:nvSpPr>
              <p:spPr bwMode="auto">
                <a:xfrm>
                  <a:off x="9542463" y="3006725"/>
                  <a:ext cx="263525" cy="493713"/>
                </a:xfrm>
                <a:custGeom>
                  <a:avLst/>
                  <a:gdLst>
                    <a:gd name="T0" fmla="*/ 69 w 69"/>
                    <a:gd name="T1" fmla="*/ 0 h 129"/>
                    <a:gd name="T2" fmla="*/ 13 w 69"/>
                    <a:gd name="T3" fmla="*/ 91 h 129"/>
                    <a:gd name="T4" fmla="*/ 3 w 69"/>
                    <a:gd name="T5" fmla="*/ 105 h 129"/>
                    <a:gd name="T6" fmla="*/ 0 w 69"/>
                    <a:gd name="T7" fmla="*/ 115 h 129"/>
                    <a:gd name="T8" fmla="*/ 16 w 69"/>
                    <a:gd name="T9" fmla="*/ 129 h 129"/>
                    <a:gd name="T10" fmla="*/ 32 w 69"/>
                    <a:gd name="T11" fmla="*/ 115 h 129"/>
                    <a:gd name="T12" fmla="*/ 29 w 69"/>
                    <a:gd name="T13" fmla="*/ 106 h 129"/>
                    <a:gd name="T14" fmla="*/ 19 w 69"/>
                    <a:gd name="T15" fmla="*/ 92 h 129"/>
                    <a:gd name="T16" fmla="*/ 69 w 69"/>
                    <a:gd name="T1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129">
                      <a:moveTo>
                        <a:pt x="69" y="0"/>
                      </a:moveTo>
                      <a:cubicBezTo>
                        <a:pt x="19" y="14"/>
                        <a:pt x="14" y="79"/>
                        <a:pt x="13" y="91"/>
                      </a:cubicBezTo>
                      <a:cubicBezTo>
                        <a:pt x="10" y="96"/>
                        <a:pt x="5" y="104"/>
                        <a:pt x="3" y="105"/>
                      </a:cubicBezTo>
                      <a:cubicBezTo>
                        <a:pt x="1" y="108"/>
                        <a:pt x="0" y="111"/>
                        <a:pt x="0" y="115"/>
                      </a:cubicBezTo>
                      <a:cubicBezTo>
                        <a:pt x="0" y="122"/>
                        <a:pt x="7" y="129"/>
                        <a:pt x="16" y="129"/>
                      </a:cubicBezTo>
                      <a:cubicBezTo>
                        <a:pt x="25" y="129"/>
                        <a:pt x="32" y="122"/>
                        <a:pt x="32" y="115"/>
                      </a:cubicBezTo>
                      <a:cubicBezTo>
                        <a:pt x="32" y="112"/>
                        <a:pt x="32" y="110"/>
                        <a:pt x="29" y="106"/>
                      </a:cubicBezTo>
                      <a:cubicBezTo>
                        <a:pt x="27" y="103"/>
                        <a:pt x="22" y="96"/>
                        <a:pt x="19" y="92"/>
                      </a:cubicBezTo>
                      <a:cubicBezTo>
                        <a:pt x="29" y="15"/>
                        <a:pt x="69" y="0"/>
                        <a:pt x="69" y="0"/>
                      </a:cubicBezTo>
                      <a:close/>
                    </a:path>
                  </a:pathLst>
                </a:custGeom>
                <a:solidFill>
                  <a:srgbClr val="0070C0"/>
                </a:solidFill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</p:grpSp>
        </p:grpSp>
      </p:grpSp>
      <p:grpSp>
        <p:nvGrpSpPr>
          <p:cNvPr id="1297" name="Group 1296"/>
          <p:cNvGrpSpPr/>
          <p:nvPr/>
        </p:nvGrpSpPr>
        <p:grpSpPr>
          <a:xfrm>
            <a:off x="6511417" y="1943601"/>
            <a:ext cx="609600" cy="609600"/>
            <a:chOff x="7555727" y="1018788"/>
            <a:chExt cx="1483360" cy="1483360"/>
          </a:xfrm>
        </p:grpSpPr>
        <p:sp>
          <p:nvSpPr>
            <p:cNvPr id="1298" name="Oval 1297"/>
            <p:cNvSpPr/>
            <p:nvPr/>
          </p:nvSpPr>
          <p:spPr>
            <a:xfrm>
              <a:off x="7555727" y="1018788"/>
              <a:ext cx="1483360" cy="148336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1299" name="Group 1298"/>
            <p:cNvGrpSpPr/>
            <p:nvPr/>
          </p:nvGrpSpPr>
          <p:grpSpPr>
            <a:xfrm>
              <a:off x="7761626" y="1336675"/>
              <a:ext cx="1071562" cy="952603"/>
              <a:chOff x="7787026" y="1330325"/>
              <a:chExt cx="1071562" cy="952603"/>
            </a:xfrm>
          </p:grpSpPr>
          <p:sp>
            <p:nvSpPr>
              <p:cNvPr id="1300" name="Freeform 60"/>
              <p:cNvSpPr>
                <a:spLocks/>
              </p:cNvSpPr>
              <p:nvPr/>
            </p:nvSpPr>
            <p:spPr bwMode="auto">
              <a:xfrm>
                <a:off x="7788614" y="1827316"/>
                <a:ext cx="1068387" cy="455612"/>
              </a:xfrm>
              <a:custGeom>
                <a:avLst/>
                <a:gdLst>
                  <a:gd name="T0" fmla="*/ 141 w 281"/>
                  <a:gd name="T1" fmla="*/ 119 h 119"/>
                  <a:gd name="T2" fmla="*/ 281 w 281"/>
                  <a:gd name="T3" fmla="*/ 0 h 119"/>
                  <a:gd name="T4" fmla="*/ 0 w 281"/>
                  <a:gd name="T5" fmla="*/ 0 h 119"/>
                  <a:gd name="T6" fmla="*/ 141 w 281"/>
                  <a:gd name="T7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1" h="119">
                    <a:moveTo>
                      <a:pt x="141" y="119"/>
                    </a:moveTo>
                    <a:cubicBezTo>
                      <a:pt x="212" y="119"/>
                      <a:pt x="270" y="67"/>
                      <a:pt x="28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67"/>
                      <a:pt x="70" y="119"/>
                      <a:pt x="141" y="119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01" name="Freeform 78"/>
              <p:cNvSpPr>
                <a:spLocks/>
              </p:cNvSpPr>
              <p:nvPr/>
            </p:nvSpPr>
            <p:spPr bwMode="auto">
              <a:xfrm>
                <a:off x="8010790" y="1820121"/>
                <a:ext cx="606163" cy="397370"/>
              </a:xfrm>
              <a:custGeom>
                <a:avLst/>
                <a:gdLst>
                  <a:gd name="T0" fmla="*/ 54 w 107"/>
                  <a:gd name="T1" fmla="*/ 84 h 84"/>
                  <a:gd name="T2" fmla="*/ 107 w 107"/>
                  <a:gd name="T3" fmla="*/ 30 h 84"/>
                  <a:gd name="T4" fmla="*/ 98 w 107"/>
                  <a:gd name="T5" fmla="*/ 0 h 84"/>
                  <a:gd name="T6" fmla="*/ 9 w 107"/>
                  <a:gd name="T7" fmla="*/ 0 h 84"/>
                  <a:gd name="T8" fmla="*/ 0 w 107"/>
                  <a:gd name="T9" fmla="*/ 30 h 84"/>
                  <a:gd name="T10" fmla="*/ 54 w 107"/>
                  <a:gd name="T1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84">
                    <a:moveTo>
                      <a:pt x="54" y="84"/>
                    </a:moveTo>
                    <a:cubicBezTo>
                      <a:pt x="83" y="84"/>
                      <a:pt x="107" y="60"/>
                      <a:pt x="107" y="30"/>
                    </a:cubicBezTo>
                    <a:cubicBezTo>
                      <a:pt x="107" y="19"/>
                      <a:pt x="104" y="9"/>
                      <a:pt x="9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3" y="9"/>
                      <a:pt x="0" y="19"/>
                      <a:pt x="0" y="30"/>
                    </a:cubicBezTo>
                    <a:cubicBezTo>
                      <a:pt x="0" y="60"/>
                      <a:pt x="24" y="84"/>
                      <a:pt x="54" y="84"/>
                    </a:cubicBezTo>
                    <a:close/>
                  </a:path>
                </a:pathLst>
              </a:custGeom>
              <a:gradFill flip="none" rotWithShape="1">
                <a:gsLst>
                  <a:gs pos="58000">
                    <a:srgbClr val="AC4E1B"/>
                  </a:gs>
                  <a:gs pos="86000">
                    <a:srgbClr val="D9D9D9"/>
                  </a:gs>
                </a:gsLst>
                <a:path path="circle">
                  <a:fillToRect l="50000" t="-80000" r="50000" b="18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  <p:sp>
            <p:nvSpPr>
              <p:cNvPr id="1302" name="Line 61"/>
              <p:cNvSpPr>
                <a:spLocks noChangeShapeType="1"/>
              </p:cNvSpPr>
              <p:nvPr/>
            </p:nvSpPr>
            <p:spPr bwMode="auto">
              <a:xfrm>
                <a:off x="7787026" y="1827316"/>
                <a:ext cx="1071562" cy="0"/>
              </a:xfrm>
              <a:prstGeom prst="line">
                <a:avLst/>
              </a:prstGeom>
              <a:noFill/>
              <a:ln w="2540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03" name="Freeform 65"/>
              <p:cNvSpPr>
                <a:spLocks/>
              </p:cNvSpPr>
              <p:nvPr/>
            </p:nvSpPr>
            <p:spPr bwMode="auto">
              <a:xfrm>
                <a:off x="8244361" y="1828243"/>
                <a:ext cx="137160" cy="192024"/>
              </a:xfrm>
              <a:custGeom>
                <a:avLst/>
                <a:gdLst>
                  <a:gd name="T0" fmla="*/ 3 w 32"/>
                  <a:gd name="T1" fmla="*/ 19 h 43"/>
                  <a:gd name="T2" fmla="*/ 0 w 32"/>
                  <a:gd name="T3" fmla="*/ 29 h 43"/>
                  <a:gd name="T4" fmla="*/ 16 w 32"/>
                  <a:gd name="T5" fmla="*/ 43 h 43"/>
                  <a:gd name="T6" fmla="*/ 32 w 32"/>
                  <a:gd name="T7" fmla="*/ 29 h 43"/>
                  <a:gd name="T8" fmla="*/ 29 w 32"/>
                  <a:gd name="T9" fmla="*/ 20 h 43"/>
                  <a:gd name="T10" fmla="*/ 21 w 32"/>
                  <a:gd name="T11" fmla="*/ 9 h 43"/>
                  <a:gd name="T12" fmla="*/ 22 w 32"/>
                  <a:gd name="T13" fmla="*/ 0 h 43"/>
                  <a:gd name="T14" fmla="*/ 13 w 32"/>
                  <a:gd name="T15" fmla="*/ 0 h 43"/>
                  <a:gd name="T16" fmla="*/ 13 w 32"/>
                  <a:gd name="T17" fmla="*/ 6 h 43"/>
                  <a:gd name="T18" fmla="*/ 3 w 32"/>
                  <a:gd name="T19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3">
                    <a:moveTo>
                      <a:pt x="3" y="19"/>
                    </a:moveTo>
                    <a:cubicBezTo>
                      <a:pt x="1" y="22"/>
                      <a:pt x="0" y="25"/>
                      <a:pt x="0" y="29"/>
                    </a:cubicBezTo>
                    <a:cubicBezTo>
                      <a:pt x="0" y="36"/>
                      <a:pt x="7" y="43"/>
                      <a:pt x="16" y="43"/>
                    </a:cubicBezTo>
                    <a:cubicBezTo>
                      <a:pt x="25" y="43"/>
                      <a:pt x="32" y="36"/>
                      <a:pt x="32" y="29"/>
                    </a:cubicBezTo>
                    <a:cubicBezTo>
                      <a:pt x="32" y="26"/>
                      <a:pt x="32" y="24"/>
                      <a:pt x="29" y="20"/>
                    </a:cubicBezTo>
                    <a:cubicBezTo>
                      <a:pt x="27" y="17"/>
                      <a:pt x="24" y="13"/>
                      <a:pt x="21" y="9"/>
                    </a:cubicBezTo>
                    <a:cubicBezTo>
                      <a:pt x="21" y="6"/>
                      <a:pt x="21" y="3"/>
                      <a:pt x="2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2"/>
                      <a:pt x="13" y="4"/>
                      <a:pt x="13" y="6"/>
                    </a:cubicBezTo>
                    <a:cubicBezTo>
                      <a:pt x="10" y="10"/>
                      <a:pt x="5" y="18"/>
                      <a:pt x="3" y="19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04" name="Freeform 65"/>
              <p:cNvSpPr>
                <a:spLocks/>
              </p:cNvSpPr>
              <p:nvPr/>
            </p:nvSpPr>
            <p:spPr bwMode="auto">
              <a:xfrm>
                <a:off x="8007700" y="1828243"/>
                <a:ext cx="137160" cy="192024"/>
              </a:xfrm>
              <a:custGeom>
                <a:avLst/>
                <a:gdLst>
                  <a:gd name="T0" fmla="*/ 3 w 32"/>
                  <a:gd name="T1" fmla="*/ 19 h 43"/>
                  <a:gd name="T2" fmla="*/ 0 w 32"/>
                  <a:gd name="T3" fmla="*/ 29 h 43"/>
                  <a:gd name="T4" fmla="*/ 16 w 32"/>
                  <a:gd name="T5" fmla="*/ 43 h 43"/>
                  <a:gd name="T6" fmla="*/ 32 w 32"/>
                  <a:gd name="T7" fmla="*/ 29 h 43"/>
                  <a:gd name="T8" fmla="*/ 29 w 32"/>
                  <a:gd name="T9" fmla="*/ 20 h 43"/>
                  <a:gd name="T10" fmla="*/ 21 w 32"/>
                  <a:gd name="T11" fmla="*/ 9 h 43"/>
                  <a:gd name="T12" fmla="*/ 22 w 32"/>
                  <a:gd name="T13" fmla="*/ 0 h 43"/>
                  <a:gd name="T14" fmla="*/ 13 w 32"/>
                  <a:gd name="T15" fmla="*/ 0 h 43"/>
                  <a:gd name="T16" fmla="*/ 13 w 32"/>
                  <a:gd name="T17" fmla="*/ 6 h 43"/>
                  <a:gd name="T18" fmla="*/ 3 w 32"/>
                  <a:gd name="T19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3">
                    <a:moveTo>
                      <a:pt x="3" y="19"/>
                    </a:moveTo>
                    <a:cubicBezTo>
                      <a:pt x="1" y="22"/>
                      <a:pt x="0" y="25"/>
                      <a:pt x="0" y="29"/>
                    </a:cubicBezTo>
                    <a:cubicBezTo>
                      <a:pt x="0" y="36"/>
                      <a:pt x="7" y="43"/>
                      <a:pt x="16" y="43"/>
                    </a:cubicBezTo>
                    <a:cubicBezTo>
                      <a:pt x="25" y="43"/>
                      <a:pt x="32" y="36"/>
                      <a:pt x="32" y="29"/>
                    </a:cubicBezTo>
                    <a:cubicBezTo>
                      <a:pt x="32" y="26"/>
                      <a:pt x="32" y="24"/>
                      <a:pt x="29" y="20"/>
                    </a:cubicBezTo>
                    <a:cubicBezTo>
                      <a:pt x="27" y="17"/>
                      <a:pt x="24" y="13"/>
                      <a:pt x="21" y="9"/>
                    </a:cubicBezTo>
                    <a:cubicBezTo>
                      <a:pt x="21" y="6"/>
                      <a:pt x="21" y="3"/>
                      <a:pt x="2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2"/>
                      <a:pt x="13" y="4"/>
                      <a:pt x="13" y="6"/>
                    </a:cubicBezTo>
                    <a:cubicBezTo>
                      <a:pt x="10" y="10"/>
                      <a:pt x="5" y="18"/>
                      <a:pt x="3" y="19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05" name="Freeform 65"/>
              <p:cNvSpPr>
                <a:spLocks/>
              </p:cNvSpPr>
              <p:nvPr/>
            </p:nvSpPr>
            <p:spPr bwMode="auto">
              <a:xfrm>
                <a:off x="8485661" y="1828243"/>
                <a:ext cx="137160" cy="192024"/>
              </a:xfrm>
              <a:custGeom>
                <a:avLst/>
                <a:gdLst>
                  <a:gd name="T0" fmla="*/ 3 w 32"/>
                  <a:gd name="T1" fmla="*/ 19 h 43"/>
                  <a:gd name="T2" fmla="*/ 0 w 32"/>
                  <a:gd name="T3" fmla="*/ 29 h 43"/>
                  <a:gd name="T4" fmla="*/ 16 w 32"/>
                  <a:gd name="T5" fmla="*/ 43 h 43"/>
                  <a:gd name="T6" fmla="*/ 32 w 32"/>
                  <a:gd name="T7" fmla="*/ 29 h 43"/>
                  <a:gd name="T8" fmla="*/ 29 w 32"/>
                  <a:gd name="T9" fmla="*/ 20 h 43"/>
                  <a:gd name="T10" fmla="*/ 21 w 32"/>
                  <a:gd name="T11" fmla="*/ 9 h 43"/>
                  <a:gd name="T12" fmla="*/ 22 w 32"/>
                  <a:gd name="T13" fmla="*/ 0 h 43"/>
                  <a:gd name="T14" fmla="*/ 13 w 32"/>
                  <a:gd name="T15" fmla="*/ 0 h 43"/>
                  <a:gd name="T16" fmla="*/ 13 w 32"/>
                  <a:gd name="T17" fmla="*/ 6 h 43"/>
                  <a:gd name="T18" fmla="*/ 3 w 32"/>
                  <a:gd name="T19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3">
                    <a:moveTo>
                      <a:pt x="3" y="19"/>
                    </a:moveTo>
                    <a:cubicBezTo>
                      <a:pt x="1" y="22"/>
                      <a:pt x="0" y="25"/>
                      <a:pt x="0" y="29"/>
                    </a:cubicBezTo>
                    <a:cubicBezTo>
                      <a:pt x="0" y="36"/>
                      <a:pt x="7" y="43"/>
                      <a:pt x="16" y="43"/>
                    </a:cubicBezTo>
                    <a:cubicBezTo>
                      <a:pt x="25" y="43"/>
                      <a:pt x="32" y="36"/>
                      <a:pt x="32" y="29"/>
                    </a:cubicBezTo>
                    <a:cubicBezTo>
                      <a:pt x="32" y="26"/>
                      <a:pt x="32" y="24"/>
                      <a:pt x="29" y="20"/>
                    </a:cubicBezTo>
                    <a:cubicBezTo>
                      <a:pt x="27" y="17"/>
                      <a:pt x="24" y="13"/>
                      <a:pt x="21" y="9"/>
                    </a:cubicBezTo>
                    <a:cubicBezTo>
                      <a:pt x="21" y="6"/>
                      <a:pt x="21" y="3"/>
                      <a:pt x="2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2"/>
                      <a:pt x="13" y="4"/>
                      <a:pt x="13" y="6"/>
                    </a:cubicBezTo>
                    <a:cubicBezTo>
                      <a:pt x="10" y="10"/>
                      <a:pt x="5" y="18"/>
                      <a:pt x="3" y="19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06" name="Freeform 82"/>
              <p:cNvSpPr>
                <a:spLocks/>
              </p:cNvSpPr>
              <p:nvPr/>
            </p:nvSpPr>
            <p:spPr bwMode="auto">
              <a:xfrm>
                <a:off x="8184714" y="1695553"/>
                <a:ext cx="309563" cy="131763"/>
              </a:xfrm>
              <a:custGeom>
                <a:avLst/>
                <a:gdLst>
                  <a:gd name="T0" fmla="*/ 72 w 79"/>
                  <a:gd name="T1" fmla="*/ 32 h 32"/>
                  <a:gd name="T2" fmla="*/ 43 w 79"/>
                  <a:gd name="T3" fmla="*/ 3 h 32"/>
                  <a:gd name="T4" fmla="*/ 0 w 79"/>
                  <a:gd name="T5" fmla="*/ 32 h 32"/>
                  <a:gd name="T6" fmla="*/ 72 w 79"/>
                  <a:gd name="T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9" h="32">
                    <a:moveTo>
                      <a:pt x="72" y="32"/>
                    </a:moveTo>
                    <a:cubicBezTo>
                      <a:pt x="72" y="32"/>
                      <a:pt x="79" y="10"/>
                      <a:pt x="43" y="3"/>
                    </a:cubicBezTo>
                    <a:cubicBezTo>
                      <a:pt x="43" y="3"/>
                      <a:pt x="4" y="0"/>
                      <a:pt x="0" y="32"/>
                    </a:cubicBezTo>
                    <a:lnTo>
                      <a:pt x="72" y="32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254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grpSp>
            <p:nvGrpSpPr>
              <p:cNvPr id="1307" name="Group 1306"/>
              <p:cNvGrpSpPr/>
              <p:nvPr/>
            </p:nvGrpSpPr>
            <p:grpSpPr>
              <a:xfrm>
                <a:off x="8011825" y="1330325"/>
                <a:ext cx="744538" cy="681038"/>
                <a:chOff x="9061450" y="2819400"/>
                <a:chExt cx="744538" cy="681038"/>
              </a:xfrm>
            </p:grpSpPr>
            <p:sp>
              <p:nvSpPr>
                <p:cNvPr id="1308" name="Freeform 71"/>
                <p:cNvSpPr>
                  <a:spLocks/>
                </p:cNvSpPr>
                <p:nvPr/>
              </p:nvSpPr>
              <p:spPr bwMode="auto">
                <a:xfrm>
                  <a:off x="9536113" y="2819400"/>
                  <a:ext cx="3175" cy="3175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1" y="0"/>
                        <a:pt x="0" y="1"/>
                        <a:pt x="0" y="1"/>
                      </a:cubicBezTo>
                      <a:close/>
                    </a:path>
                  </a:pathLst>
                </a:custGeom>
                <a:solidFill>
                  <a:srgbClr val="0070C0"/>
                </a:solidFill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1309" name="Freeform 72"/>
                <p:cNvSpPr>
                  <a:spLocks/>
                </p:cNvSpPr>
                <p:nvPr/>
              </p:nvSpPr>
              <p:spPr bwMode="auto">
                <a:xfrm>
                  <a:off x="9061450" y="2822575"/>
                  <a:ext cx="474663" cy="677863"/>
                </a:xfrm>
                <a:custGeom>
                  <a:avLst/>
                  <a:gdLst>
                    <a:gd name="T0" fmla="*/ 124 w 124"/>
                    <a:gd name="T1" fmla="*/ 0 h 177"/>
                    <a:gd name="T2" fmla="*/ 14 w 124"/>
                    <a:gd name="T3" fmla="*/ 140 h 177"/>
                    <a:gd name="T4" fmla="*/ 4 w 124"/>
                    <a:gd name="T5" fmla="*/ 153 h 177"/>
                    <a:gd name="T6" fmla="*/ 0 w 124"/>
                    <a:gd name="T7" fmla="*/ 163 h 177"/>
                    <a:gd name="T8" fmla="*/ 16 w 124"/>
                    <a:gd name="T9" fmla="*/ 177 h 177"/>
                    <a:gd name="T10" fmla="*/ 32 w 124"/>
                    <a:gd name="T11" fmla="*/ 163 h 177"/>
                    <a:gd name="T12" fmla="*/ 29 w 124"/>
                    <a:gd name="T13" fmla="*/ 154 h 177"/>
                    <a:gd name="T14" fmla="*/ 21 w 124"/>
                    <a:gd name="T15" fmla="*/ 143 h 177"/>
                    <a:gd name="T16" fmla="*/ 124 w 124"/>
                    <a:gd name="T17" fmla="*/ 0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4" h="177">
                      <a:moveTo>
                        <a:pt x="124" y="0"/>
                      </a:moveTo>
                      <a:cubicBezTo>
                        <a:pt x="22" y="3"/>
                        <a:pt x="14" y="127"/>
                        <a:pt x="14" y="140"/>
                      </a:cubicBezTo>
                      <a:cubicBezTo>
                        <a:pt x="10" y="144"/>
                        <a:pt x="5" y="152"/>
                        <a:pt x="4" y="153"/>
                      </a:cubicBezTo>
                      <a:cubicBezTo>
                        <a:pt x="2" y="156"/>
                        <a:pt x="0" y="159"/>
                        <a:pt x="0" y="163"/>
                      </a:cubicBezTo>
                      <a:cubicBezTo>
                        <a:pt x="0" y="170"/>
                        <a:pt x="7" y="177"/>
                        <a:pt x="16" y="177"/>
                      </a:cubicBezTo>
                      <a:cubicBezTo>
                        <a:pt x="25" y="177"/>
                        <a:pt x="32" y="170"/>
                        <a:pt x="32" y="163"/>
                      </a:cubicBezTo>
                      <a:cubicBezTo>
                        <a:pt x="32" y="160"/>
                        <a:pt x="32" y="158"/>
                        <a:pt x="29" y="154"/>
                      </a:cubicBezTo>
                      <a:cubicBezTo>
                        <a:pt x="28" y="151"/>
                        <a:pt x="24" y="147"/>
                        <a:pt x="21" y="143"/>
                      </a:cubicBezTo>
                      <a:cubicBezTo>
                        <a:pt x="35" y="11"/>
                        <a:pt x="113" y="0"/>
                        <a:pt x="124" y="0"/>
                      </a:cubicBezTo>
                      <a:close/>
                    </a:path>
                  </a:pathLst>
                </a:custGeom>
                <a:solidFill>
                  <a:srgbClr val="0070C0"/>
                </a:solidFill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1310" name="Freeform 73"/>
                <p:cNvSpPr>
                  <a:spLocks/>
                </p:cNvSpPr>
                <p:nvPr/>
              </p:nvSpPr>
              <p:spPr bwMode="auto">
                <a:xfrm>
                  <a:off x="9302750" y="3006725"/>
                  <a:ext cx="266700" cy="493713"/>
                </a:xfrm>
                <a:custGeom>
                  <a:avLst/>
                  <a:gdLst>
                    <a:gd name="T0" fmla="*/ 70 w 70"/>
                    <a:gd name="T1" fmla="*/ 0 h 129"/>
                    <a:gd name="T2" fmla="*/ 13 w 70"/>
                    <a:gd name="T3" fmla="*/ 91 h 129"/>
                    <a:gd name="T4" fmla="*/ 4 w 70"/>
                    <a:gd name="T5" fmla="*/ 105 h 129"/>
                    <a:gd name="T6" fmla="*/ 0 w 70"/>
                    <a:gd name="T7" fmla="*/ 115 h 129"/>
                    <a:gd name="T8" fmla="*/ 16 w 70"/>
                    <a:gd name="T9" fmla="*/ 129 h 129"/>
                    <a:gd name="T10" fmla="*/ 32 w 70"/>
                    <a:gd name="T11" fmla="*/ 115 h 129"/>
                    <a:gd name="T12" fmla="*/ 29 w 70"/>
                    <a:gd name="T13" fmla="*/ 106 h 129"/>
                    <a:gd name="T14" fmla="*/ 19 w 70"/>
                    <a:gd name="T15" fmla="*/ 92 h 129"/>
                    <a:gd name="T16" fmla="*/ 70 w 70"/>
                    <a:gd name="T1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129">
                      <a:moveTo>
                        <a:pt x="70" y="0"/>
                      </a:moveTo>
                      <a:cubicBezTo>
                        <a:pt x="19" y="14"/>
                        <a:pt x="14" y="79"/>
                        <a:pt x="13" y="91"/>
                      </a:cubicBezTo>
                      <a:cubicBezTo>
                        <a:pt x="10" y="96"/>
                        <a:pt x="5" y="104"/>
                        <a:pt x="4" y="105"/>
                      </a:cubicBezTo>
                      <a:cubicBezTo>
                        <a:pt x="2" y="108"/>
                        <a:pt x="0" y="111"/>
                        <a:pt x="0" y="115"/>
                      </a:cubicBezTo>
                      <a:cubicBezTo>
                        <a:pt x="0" y="122"/>
                        <a:pt x="7" y="129"/>
                        <a:pt x="16" y="129"/>
                      </a:cubicBezTo>
                      <a:cubicBezTo>
                        <a:pt x="25" y="129"/>
                        <a:pt x="32" y="122"/>
                        <a:pt x="32" y="115"/>
                      </a:cubicBezTo>
                      <a:cubicBezTo>
                        <a:pt x="32" y="112"/>
                        <a:pt x="32" y="110"/>
                        <a:pt x="29" y="106"/>
                      </a:cubicBezTo>
                      <a:cubicBezTo>
                        <a:pt x="27" y="103"/>
                        <a:pt x="22" y="96"/>
                        <a:pt x="19" y="92"/>
                      </a:cubicBezTo>
                      <a:cubicBezTo>
                        <a:pt x="29" y="15"/>
                        <a:pt x="70" y="0"/>
                        <a:pt x="70" y="0"/>
                      </a:cubicBezTo>
                      <a:close/>
                    </a:path>
                  </a:pathLst>
                </a:custGeom>
                <a:solidFill>
                  <a:srgbClr val="0070C0"/>
                </a:solidFill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1311" name="Freeform 74"/>
                <p:cNvSpPr>
                  <a:spLocks/>
                </p:cNvSpPr>
                <p:nvPr/>
              </p:nvSpPr>
              <p:spPr bwMode="auto">
                <a:xfrm>
                  <a:off x="9542463" y="3006725"/>
                  <a:ext cx="263525" cy="493713"/>
                </a:xfrm>
                <a:custGeom>
                  <a:avLst/>
                  <a:gdLst>
                    <a:gd name="T0" fmla="*/ 69 w 69"/>
                    <a:gd name="T1" fmla="*/ 0 h 129"/>
                    <a:gd name="T2" fmla="*/ 13 w 69"/>
                    <a:gd name="T3" fmla="*/ 91 h 129"/>
                    <a:gd name="T4" fmla="*/ 3 w 69"/>
                    <a:gd name="T5" fmla="*/ 105 h 129"/>
                    <a:gd name="T6" fmla="*/ 0 w 69"/>
                    <a:gd name="T7" fmla="*/ 115 h 129"/>
                    <a:gd name="T8" fmla="*/ 16 w 69"/>
                    <a:gd name="T9" fmla="*/ 129 h 129"/>
                    <a:gd name="T10" fmla="*/ 32 w 69"/>
                    <a:gd name="T11" fmla="*/ 115 h 129"/>
                    <a:gd name="T12" fmla="*/ 29 w 69"/>
                    <a:gd name="T13" fmla="*/ 106 h 129"/>
                    <a:gd name="T14" fmla="*/ 19 w 69"/>
                    <a:gd name="T15" fmla="*/ 92 h 129"/>
                    <a:gd name="T16" fmla="*/ 69 w 69"/>
                    <a:gd name="T1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129">
                      <a:moveTo>
                        <a:pt x="69" y="0"/>
                      </a:moveTo>
                      <a:cubicBezTo>
                        <a:pt x="19" y="14"/>
                        <a:pt x="14" y="79"/>
                        <a:pt x="13" y="91"/>
                      </a:cubicBezTo>
                      <a:cubicBezTo>
                        <a:pt x="10" y="96"/>
                        <a:pt x="5" y="104"/>
                        <a:pt x="3" y="105"/>
                      </a:cubicBezTo>
                      <a:cubicBezTo>
                        <a:pt x="1" y="108"/>
                        <a:pt x="0" y="111"/>
                        <a:pt x="0" y="115"/>
                      </a:cubicBezTo>
                      <a:cubicBezTo>
                        <a:pt x="0" y="122"/>
                        <a:pt x="7" y="129"/>
                        <a:pt x="16" y="129"/>
                      </a:cubicBezTo>
                      <a:cubicBezTo>
                        <a:pt x="25" y="129"/>
                        <a:pt x="32" y="122"/>
                        <a:pt x="32" y="115"/>
                      </a:cubicBezTo>
                      <a:cubicBezTo>
                        <a:pt x="32" y="112"/>
                        <a:pt x="32" y="110"/>
                        <a:pt x="29" y="106"/>
                      </a:cubicBezTo>
                      <a:cubicBezTo>
                        <a:pt x="27" y="103"/>
                        <a:pt x="22" y="96"/>
                        <a:pt x="19" y="92"/>
                      </a:cubicBezTo>
                      <a:cubicBezTo>
                        <a:pt x="29" y="15"/>
                        <a:pt x="69" y="0"/>
                        <a:pt x="69" y="0"/>
                      </a:cubicBezTo>
                      <a:close/>
                    </a:path>
                  </a:pathLst>
                </a:custGeom>
                <a:solidFill>
                  <a:srgbClr val="0070C0"/>
                </a:solidFill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</p:grpSp>
        </p:grpSp>
      </p:grpSp>
      <p:grpSp>
        <p:nvGrpSpPr>
          <p:cNvPr id="1312" name="Group 1311"/>
          <p:cNvGrpSpPr/>
          <p:nvPr/>
        </p:nvGrpSpPr>
        <p:grpSpPr>
          <a:xfrm flipH="1">
            <a:off x="4677471" y="1941077"/>
            <a:ext cx="609600" cy="609600"/>
            <a:chOff x="5601107" y="1009844"/>
            <a:chExt cx="1483360" cy="1483360"/>
          </a:xfrm>
        </p:grpSpPr>
        <p:sp>
          <p:nvSpPr>
            <p:cNvPr id="1313" name="Oval 1312"/>
            <p:cNvSpPr/>
            <p:nvPr/>
          </p:nvSpPr>
          <p:spPr>
            <a:xfrm>
              <a:off x="5601107" y="1009844"/>
              <a:ext cx="1483360" cy="148336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1314" name="Picture 12" descr="\\znycfp2\ny dept\NY Bioscience\NOVARTIS\AIN457\PROGRAM (CROSS INDICATION)\Master slide deck\GHP visuals portfolio\GHP visuals portfolio\Cells\PNG files\Th2 Cell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0343" y="1293665"/>
              <a:ext cx="774700" cy="619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15" name="Picture 1314" descr="E:\AINstills_PSDs_PNGs\PNG_cropped_highres\BCell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0458" y="1628635"/>
              <a:ext cx="619961" cy="654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16" name="Picture 1315" descr="E:\AINstills_PSDs_PNGs\PNG_cropped_highres\BCell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4395" y="1170165"/>
              <a:ext cx="572933" cy="6046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17" name="Picture 12" descr="\\znycfp2\ny dept\NY Bioscience\NOVARTIS\AIN457\PROGRAM (CROSS INDICATION)\Master slide deck\GHP visuals portfolio\GHP visuals portfolio\Cells\PNG files\Th2 Cell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1063" y="1625368"/>
              <a:ext cx="719292" cy="5748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18" name="Group 1317"/>
          <p:cNvGrpSpPr/>
          <p:nvPr/>
        </p:nvGrpSpPr>
        <p:grpSpPr>
          <a:xfrm>
            <a:off x="2875340" y="1943601"/>
            <a:ext cx="609600" cy="609600"/>
            <a:chOff x="2188427" y="2531724"/>
            <a:chExt cx="1483360" cy="1483360"/>
          </a:xfrm>
        </p:grpSpPr>
        <p:sp>
          <p:nvSpPr>
            <p:cNvPr id="1319" name="Oval 1318"/>
            <p:cNvSpPr/>
            <p:nvPr/>
          </p:nvSpPr>
          <p:spPr>
            <a:xfrm>
              <a:off x="2188427" y="2531724"/>
              <a:ext cx="1483360" cy="148336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1320" name="Group 1319"/>
            <p:cNvGrpSpPr/>
            <p:nvPr/>
          </p:nvGrpSpPr>
          <p:grpSpPr>
            <a:xfrm>
              <a:off x="2287017" y="2778530"/>
              <a:ext cx="1235109" cy="996241"/>
              <a:chOff x="7740650" y="1049314"/>
              <a:chExt cx="1881188" cy="1952649"/>
            </a:xfrm>
          </p:grpSpPr>
          <p:pic>
            <p:nvPicPr>
              <p:cNvPr id="1321" name="Picture 132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26374" y="1202903"/>
                <a:ext cx="461375" cy="591136"/>
              </a:xfrm>
              <a:prstGeom prst="rect">
                <a:avLst/>
              </a:prstGeom>
            </p:spPr>
          </p:pic>
          <p:sp>
            <p:nvSpPr>
              <p:cNvPr id="1322" name="Freeform 43"/>
              <p:cNvSpPr>
                <a:spLocks/>
              </p:cNvSpPr>
              <p:nvPr/>
            </p:nvSpPr>
            <p:spPr bwMode="auto">
              <a:xfrm>
                <a:off x="8112125" y="1320800"/>
                <a:ext cx="66675" cy="163513"/>
              </a:xfrm>
              <a:custGeom>
                <a:avLst/>
                <a:gdLst>
                  <a:gd name="T0" fmla="*/ 0 w 42"/>
                  <a:gd name="T1" fmla="*/ 3 h 103"/>
                  <a:gd name="T2" fmla="*/ 28 w 42"/>
                  <a:gd name="T3" fmla="*/ 103 h 103"/>
                  <a:gd name="T4" fmla="*/ 42 w 42"/>
                  <a:gd name="T5" fmla="*/ 98 h 103"/>
                  <a:gd name="T6" fmla="*/ 4 w 42"/>
                  <a:gd name="T7" fmla="*/ 0 h 103"/>
                  <a:gd name="T8" fmla="*/ 0 w 42"/>
                  <a:gd name="T9" fmla="*/ 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03">
                    <a:moveTo>
                      <a:pt x="0" y="3"/>
                    </a:moveTo>
                    <a:lnTo>
                      <a:pt x="28" y="103"/>
                    </a:lnTo>
                    <a:lnTo>
                      <a:pt x="42" y="98"/>
                    </a:lnTo>
                    <a:lnTo>
                      <a:pt x="4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009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23" name="Freeform 44"/>
              <p:cNvSpPr>
                <a:spLocks/>
              </p:cNvSpPr>
              <p:nvPr/>
            </p:nvSpPr>
            <p:spPr bwMode="auto">
              <a:xfrm>
                <a:off x="8308975" y="1314450"/>
                <a:ext cx="63500" cy="161925"/>
              </a:xfrm>
              <a:custGeom>
                <a:avLst/>
                <a:gdLst>
                  <a:gd name="T0" fmla="*/ 35 w 40"/>
                  <a:gd name="T1" fmla="*/ 0 h 102"/>
                  <a:gd name="T2" fmla="*/ 0 w 40"/>
                  <a:gd name="T3" fmla="*/ 97 h 102"/>
                  <a:gd name="T4" fmla="*/ 14 w 40"/>
                  <a:gd name="T5" fmla="*/ 102 h 102"/>
                  <a:gd name="T6" fmla="*/ 40 w 40"/>
                  <a:gd name="T7" fmla="*/ 2 h 102"/>
                  <a:gd name="T8" fmla="*/ 35 w 40"/>
                  <a:gd name="T9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02">
                    <a:moveTo>
                      <a:pt x="35" y="0"/>
                    </a:moveTo>
                    <a:lnTo>
                      <a:pt x="0" y="97"/>
                    </a:lnTo>
                    <a:lnTo>
                      <a:pt x="14" y="102"/>
                    </a:lnTo>
                    <a:lnTo>
                      <a:pt x="40" y="2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009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24" name="Freeform 45"/>
              <p:cNvSpPr>
                <a:spLocks/>
              </p:cNvSpPr>
              <p:nvPr/>
            </p:nvSpPr>
            <p:spPr bwMode="auto">
              <a:xfrm>
                <a:off x="8429625" y="1511300"/>
                <a:ext cx="158750" cy="79375"/>
              </a:xfrm>
              <a:custGeom>
                <a:avLst/>
                <a:gdLst>
                  <a:gd name="T0" fmla="*/ 98 w 100"/>
                  <a:gd name="T1" fmla="*/ 0 h 50"/>
                  <a:gd name="T2" fmla="*/ 0 w 100"/>
                  <a:gd name="T3" fmla="*/ 35 h 50"/>
                  <a:gd name="T4" fmla="*/ 5 w 100"/>
                  <a:gd name="T5" fmla="*/ 50 h 50"/>
                  <a:gd name="T6" fmla="*/ 100 w 100"/>
                  <a:gd name="T7" fmla="*/ 4 h 50"/>
                  <a:gd name="T8" fmla="*/ 98 w 100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50">
                    <a:moveTo>
                      <a:pt x="98" y="0"/>
                    </a:moveTo>
                    <a:lnTo>
                      <a:pt x="0" y="35"/>
                    </a:lnTo>
                    <a:lnTo>
                      <a:pt x="5" y="50"/>
                    </a:lnTo>
                    <a:lnTo>
                      <a:pt x="100" y="4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009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25" name="Freeform 46"/>
              <p:cNvSpPr>
                <a:spLocks/>
              </p:cNvSpPr>
              <p:nvPr/>
            </p:nvSpPr>
            <p:spPr bwMode="auto">
              <a:xfrm>
                <a:off x="8443913" y="1700213"/>
                <a:ext cx="158750" cy="76200"/>
              </a:xfrm>
              <a:custGeom>
                <a:avLst/>
                <a:gdLst>
                  <a:gd name="T0" fmla="*/ 100 w 100"/>
                  <a:gd name="T1" fmla="*/ 43 h 48"/>
                  <a:gd name="T2" fmla="*/ 7 w 100"/>
                  <a:gd name="T3" fmla="*/ 0 h 48"/>
                  <a:gd name="T4" fmla="*/ 0 w 100"/>
                  <a:gd name="T5" fmla="*/ 14 h 48"/>
                  <a:gd name="T6" fmla="*/ 98 w 100"/>
                  <a:gd name="T7" fmla="*/ 48 h 48"/>
                  <a:gd name="T8" fmla="*/ 100 w 100"/>
                  <a:gd name="T9" fmla="*/ 4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48">
                    <a:moveTo>
                      <a:pt x="100" y="43"/>
                    </a:moveTo>
                    <a:lnTo>
                      <a:pt x="7" y="0"/>
                    </a:lnTo>
                    <a:lnTo>
                      <a:pt x="0" y="14"/>
                    </a:lnTo>
                    <a:lnTo>
                      <a:pt x="98" y="48"/>
                    </a:lnTo>
                    <a:lnTo>
                      <a:pt x="100" y="43"/>
                    </a:lnTo>
                    <a:close/>
                  </a:path>
                </a:pathLst>
              </a:custGeom>
              <a:solidFill>
                <a:srgbClr val="009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26" name="Freeform 47"/>
              <p:cNvSpPr>
                <a:spLocks/>
              </p:cNvSpPr>
              <p:nvPr/>
            </p:nvSpPr>
            <p:spPr bwMode="auto">
              <a:xfrm>
                <a:off x="8331200" y="1820863"/>
                <a:ext cx="63500" cy="163513"/>
              </a:xfrm>
              <a:custGeom>
                <a:avLst/>
                <a:gdLst>
                  <a:gd name="T0" fmla="*/ 40 w 40"/>
                  <a:gd name="T1" fmla="*/ 100 h 103"/>
                  <a:gd name="T2" fmla="*/ 14 w 40"/>
                  <a:gd name="T3" fmla="*/ 0 h 103"/>
                  <a:gd name="T4" fmla="*/ 0 w 40"/>
                  <a:gd name="T5" fmla="*/ 5 h 103"/>
                  <a:gd name="T6" fmla="*/ 36 w 40"/>
                  <a:gd name="T7" fmla="*/ 103 h 103"/>
                  <a:gd name="T8" fmla="*/ 40 w 40"/>
                  <a:gd name="T9" fmla="*/ 10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03">
                    <a:moveTo>
                      <a:pt x="40" y="100"/>
                    </a:moveTo>
                    <a:lnTo>
                      <a:pt x="14" y="0"/>
                    </a:lnTo>
                    <a:lnTo>
                      <a:pt x="0" y="5"/>
                    </a:lnTo>
                    <a:lnTo>
                      <a:pt x="36" y="103"/>
                    </a:lnTo>
                    <a:lnTo>
                      <a:pt x="40" y="100"/>
                    </a:lnTo>
                    <a:close/>
                  </a:path>
                </a:pathLst>
              </a:custGeom>
              <a:solidFill>
                <a:srgbClr val="009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27" name="Freeform 48"/>
              <p:cNvSpPr>
                <a:spLocks/>
              </p:cNvSpPr>
              <p:nvPr/>
            </p:nvSpPr>
            <p:spPr bwMode="auto">
              <a:xfrm>
                <a:off x="8161338" y="1839913"/>
                <a:ext cx="52388" cy="163513"/>
              </a:xfrm>
              <a:custGeom>
                <a:avLst/>
                <a:gdLst>
                  <a:gd name="T0" fmla="*/ 4 w 33"/>
                  <a:gd name="T1" fmla="*/ 103 h 103"/>
                  <a:gd name="T2" fmla="*/ 33 w 33"/>
                  <a:gd name="T3" fmla="*/ 5 h 103"/>
                  <a:gd name="T4" fmla="*/ 19 w 33"/>
                  <a:gd name="T5" fmla="*/ 0 h 103"/>
                  <a:gd name="T6" fmla="*/ 0 w 33"/>
                  <a:gd name="T7" fmla="*/ 103 h 103"/>
                  <a:gd name="T8" fmla="*/ 4 w 33"/>
                  <a:gd name="T9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03">
                    <a:moveTo>
                      <a:pt x="4" y="103"/>
                    </a:moveTo>
                    <a:lnTo>
                      <a:pt x="33" y="5"/>
                    </a:lnTo>
                    <a:lnTo>
                      <a:pt x="19" y="0"/>
                    </a:lnTo>
                    <a:lnTo>
                      <a:pt x="0" y="103"/>
                    </a:lnTo>
                    <a:lnTo>
                      <a:pt x="4" y="103"/>
                    </a:lnTo>
                    <a:close/>
                  </a:path>
                </a:pathLst>
              </a:custGeom>
              <a:solidFill>
                <a:srgbClr val="009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28" name="Freeform 49"/>
              <p:cNvSpPr>
                <a:spLocks/>
              </p:cNvSpPr>
              <p:nvPr/>
            </p:nvSpPr>
            <p:spPr bwMode="auto">
              <a:xfrm>
                <a:off x="7945438" y="1727200"/>
                <a:ext cx="150813" cy="85725"/>
              </a:xfrm>
              <a:custGeom>
                <a:avLst/>
                <a:gdLst>
                  <a:gd name="T0" fmla="*/ 0 w 95"/>
                  <a:gd name="T1" fmla="*/ 54 h 54"/>
                  <a:gd name="T2" fmla="*/ 95 w 95"/>
                  <a:gd name="T3" fmla="*/ 14 h 54"/>
                  <a:gd name="T4" fmla="*/ 90 w 95"/>
                  <a:gd name="T5" fmla="*/ 0 h 54"/>
                  <a:gd name="T6" fmla="*/ 0 w 95"/>
                  <a:gd name="T7" fmla="*/ 50 h 54"/>
                  <a:gd name="T8" fmla="*/ 0 w 95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54">
                    <a:moveTo>
                      <a:pt x="0" y="54"/>
                    </a:moveTo>
                    <a:lnTo>
                      <a:pt x="95" y="14"/>
                    </a:lnTo>
                    <a:lnTo>
                      <a:pt x="90" y="0"/>
                    </a:lnTo>
                    <a:lnTo>
                      <a:pt x="0" y="50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009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29" name="Freeform 50"/>
              <p:cNvSpPr>
                <a:spLocks/>
              </p:cNvSpPr>
              <p:nvPr/>
            </p:nvSpPr>
            <p:spPr bwMode="auto">
              <a:xfrm>
                <a:off x="7910513" y="1544638"/>
                <a:ext cx="158750" cy="60325"/>
              </a:xfrm>
              <a:custGeom>
                <a:avLst/>
                <a:gdLst>
                  <a:gd name="T0" fmla="*/ 0 w 100"/>
                  <a:gd name="T1" fmla="*/ 5 h 38"/>
                  <a:gd name="T2" fmla="*/ 98 w 100"/>
                  <a:gd name="T3" fmla="*/ 38 h 38"/>
                  <a:gd name="T4" fmla="*/ 100 w 100"/>
                  <a:gd name="T5" fmla="*/ 24 h 38"/>
                  <a:gd name="T6" fmla="*/ 0 w 100"/>
                  <a:gd name="T7" fmla="*/ 0 h 38"/>
                  <a:gd name="T8" fmla="*/ 0 w 100"/>
                  <a:gd name="T9" fmla="*/ 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38">
                    <a:moveTo>
                      <a:pt x="0" y="5"/>
                    </a:moveTo>
                    <a:lnTo>
                      <a:pt x="98" y="38"/>
                    </a:lnTo>
                    <a:lnTo>
                      <a:pt x="100" y="24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0" name="Oval 51"/>
              <p:cNvSpPr>
                <a:spLocks noChangeArrowheads="1"/>
              </p:cNvSpPr>
              <p:nvPr/>
            </p:nvSpPr>
            <p:spPr bwMode="auto">
              <a:xfrm>
                <a:off x="8050213" y="1449388"/>
                <a:ext cx="409575" cy="406400"/>
              </a:xfrm>
              <a:prstGeom prst="ellipse">
                <a:avLst/>
              </a:prstGeom>
              <a:solidFill>
                <a:srgbClr val="009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1" name="Oval 52"/>
              <p:cNvSpPr>
                <a:spLocks noChangeArrowheads="1"/>
              </p:cNvSpPr>
              <p:nvPr/>
            </p:nvSpPr>
            <p:spPr bwMode="auto">
              <a:xfrm>
                <a:off x="8131175" y="1528763"/>
                <a:ext cx="25400" cy="26988"/>
              </a:xfrm>
              <a:prstGeom prst="ellipse">
                <a:avLst/>
              </a:pr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2" name="Oval 53"/>
              <p:cNvSpPr>
                <a:spLocks noChangeArrowheads="1"/>
              </p:cNvSpPr>
              <p:nvPr/>
            </p:nvSpPr>
            <p:spPr bwMode="auto">
              <a:xfrm>
                <a:off x="8167688" y="1727200"/>
                <a:ext cx="26988" cy="25400"/>
              </a:xfrm>
              <a:prstGeom prst="ellipse">
                <a:avLst/>
              </a:pr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3" name="Oval 54"/>
              <p:cNvSpPr>
                <a:spLocks noChangeArrowheads="1"/>
              </p:cNvSpPr>
              <p:nvPr/>
            </p:nvSpPr>
            <p:spPr bwMode="auto">
              <a:xfrm>
                <a:off x="8375650" y="1571625"/>
                <a:ext cx="15875" cy="14288"/>
              </a:xfrm>
              <a:prstGeom prst="ellipse">
                <a:avLst/>
              </a:pr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4" name="Oval 55"/>
              <p:cNvSpPr>
                <a:spLocks noChangeArrowheads="1"/>
              </p:cNvSpPr>
              <p:nvPr/>
            </p:nvSpPr>
            <p:spPr bwMode="auto">
              <a:xfrm>
                <a:off x="8405813" y="1624013"/>
                <a:ext cx="31750" cy="30163"/>
              </a:xfrm>
              <a:prstGeom prst="ellipse">
                <a:avLst/>
              </a:pr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5" name="Oval 56"/>
              <p:cNvSpPr>
                <a:spLocks noChangeArrowheads="1"/>
              </p:cNvSpPr>
              <p:nvPr/>
            </p:nvSpPr>
            <p:spPr bwMode="auto">
              <a:xfrm>
                <a:off x="8334375" y="1684338"/>
                <a:ext cx="57150" cy="57150"/>
              </a:xfrm>
              <a:prstGeom prst="ellipse">
                <a:avLst/>
              </a:pr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6" name="Oval 57"/>
              <p:cNvSpPr>
                <a:spLocks noChangeArrowheads="1"/>
              </p:cNvSpPr>
              <p:nvPr/>
            </p:nvSpPr>
            <p:spPr bwMode="auto">
              <a:xfrm>
                <a:off x="8115300" y="1620838"/>
                <a:ext cx="52388" cy="57150"/>
              </a:xfrm>
              <a:prstGeom prst="ellipse">
                <a:avLst/>
              </a:pr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7" name="Oval 58"/>
              <p:cNvSpPr>
                <a:spLocks noChangeArrowheads="1"/>
              </p:cNvSpPr>
              <p:nvPr/>
            </p:nvSpPr>
            <p:spPr bwMode="auto">
              <a:xfrm>
                <a:off x="8202613" y="1503363"/>
                <a:ext cx="57150" cy="60325"/>
              </a:xfrm>
              <a:prstGeom prst="ellipse">
                <a:avLst/>
              </a:pr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8" name="Oval 59"/>
              <p:cNvSpPr>
                <a:spLocks noChangeArrowheads="1"/>
              </p:cNvSpPr>
              <p:nvPr/>
            </p:nvSpPr>
            <p:spPr bwMode="auto">
              <a:xfrm>
                <a:off x="8210550" y="1593850"/>
                <a:ext cx="90488" cy="90488"/>
              </a:xfrm>
              <a:prstGeom prst="ellipse">
                <a:avLst/>
              </a:pr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9" name="Freeform 60"/>
              <p:cNvSpPr>
                <a:spLocks/>
              </p:cNvSpPr>
              <p:nvPr/>
            </p:nvSpPr>
            <p:spPr bwMode="auto">
              <a:xfrm>
                <a:off x="8566150" y="1465263"/>
                <a:ext cx="79375" cy="79375"/>
              </a:xfrm>
              <a:custGeom>
                <a:avLst/>
                <a:gdLst>
                  <a:gd name="T0" fmla="*/ 6 w 21"/>
                  <a:gd name="T1" fmla="*/ 18 h 21"/>
                  <a:gd name="T2" fmla="*/ 3 w 21"/>
                  <a:gd name="T3" fmla="*/ 6 h 21"/>
                  <a:gd name="T4" fmla="*/ 15 w 21"/>
                  <a:gd name="T5" fmla="*/ 3 h 21"/>
                  <a:gd name="T6" fmla="*/ 18 w 21"/>
                  <a:gd name="T7" fmla="*/ 15 h 21"/>
                  <a:gd name="T8" fmla="*/ 6 w 21"/>
                  <a:gd name="T9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1">
                    <a:moveTo>
                      <a:pt x="6" y="18"/>
                    </a:moveTo>
                    <a:cubicBezTo>
                      <a:pt x="2" y="16"/>
                      <a:pt x="0" y="10"/>
                      <a:pt x="3" y="6"/>
                    </a:cubicBezTo>
                    <a:cubicBezTo>
                      <a:pt x="5" y="2"/>
                      <a:pt x="11" y="0"/>
                      <a:pt x="15" y="3"/>
                    </a:cubicBezTo>
                    <a:cubicBezTo>
                      <a:pt x="19" y="5"/>
                      <a:pt x="21" y="11"/>
                      <a:pt x="18" y="15"/>
                    </a:cubicBezTo>
                    <a:cubicBezTo>
                      <a:pt x="16" y="19"/>
                      <a:pt x="10" y="21"/>
                      <a:pt x="6" y="18"/>
                    </a:cubicBezTo>
                    <a:close/>
                  </a:path>
                </a:pathLst>
              </a:cu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0" name="Freeform 61"/>
              <p:cNvSpPr>
                <a:spLocks/>
              </p:cNvSpPr>
              <p:nvPr/>
            </p:nvSpPr>
            <p:spPr bwMode="auto">
              <a:xfrm>
                <a:off x="8591550" y="1741488"/>
                <a:ext cx="76200" cy="76200"/>
              </a:xfrm>
              <a:custGeom>
                <a:avLst/>
                <a:gdLst>
                  <a:gd name="T0" fmla="*/ 2 w 20"/>
                  <a:gd name="T1" fmla="*/ 13 h 20"/>
                  <a:gd name="T2" fmla="*/ 7 w 20"/>
                  <a:gd name="T3" fmla="*/ 2 h 20"/>
                  <a:gd name="T4" fmla="*/ 18 w 20"/>
                  <a:gd name="T5" fmla="*/ 7 h 20"/>
                  <a:gd name="T6" fmla="*/ 13 w 20"/>
                  <a:gd name="T7" fmla="*/ 19 h 20"/>
                  <a:gd name="T8" fmla="*/ 2 w 20"/>
                  <a:gd name="T9" fmla="*/ 1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0">
                    <a:moveTo>
                      <a:pt x="2" y="13"/>
                    </a:moveTo>
                    <a:cubicBezTo>
                      <a:pt x="0" y="8"/>
                      <a:pt x="2" y="3"/>
                      <a:pt x="7" y="2"/>
                    </a:cubicBezTo>
                    <a:cubicBezTo>
                      <a:pt x="12" y="0"/>
                      <a:pt x="17" y="2"/>
                      <a:pt x="18" y="7"/>
                    </a:cubicBezTo>
                    <a:cubicBezTo>
                      <a:pt x="20" y="12"/>
                      <a:pt x="18" y="17"/>
                      <a:pt x="13" y="19"/>
                    </a:cubicBezTo>
                    <a:cubicBezTo>
                      <a:pt x="8" y="20"/>
                      <a:pt x="3" y="18"/>
                      <a:pt x="2" y="13"/>
                    </a:cubicBezTo>
                    <a:close/>
                  </a:path>
                </a:pathLst>
              </a:cu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1" name="Freeform 62"/>
              <p:cNvSpPr>
                <a:spLocks/>
              </p:cNvSpPr>
              <p:nvPr/>
            </p:nvSpPr>
            <p:spPr bwMode="auto">
              <a:xfrm>
                <a:off x="8361363" y="1973263"/>
                <a:ext cx="79375" cy="74613"/>
              </a:xfrm>
              <a:custGeom>
                <a:avLst/>
                <a:gdLst>
                  <a:gd name="T0" fmla="*/ 2 w 21"/>
                  <a:gd name="T1" fmla="*/ 7 h 20"/>
                  <a:gd name="T2" fmla="*/ 14 w 21"/>
                  <a:gd name="T3" fmla="*/ 2 h 20"/>
                  <a:gd name="T4" fmla="*/ 19 w 21"/>
                  <a:gd name="T5" fmla="*/ 13 h 20"/>
                  <a:gd name="T6" fmla="*/ 7 w 21"/>
                  <a:gd name="T7" fmla="*/ 18 h 20"/>
                  <a:gd name="T8" fmla="*/ 2 w 21"/>
                  <a:gd name="T9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0">
                    <a:moveTo>
                      <a:pt x="2" y="7"/>
                    </a:moveTo>
                    <a:cubicBezTo>
                      <a:pt x="4" y="2"/>
                      <a:pt x="9" y="0"/>
                      <a:pt x="14" y="2"/>
                    </a:cubicBezTo>
                    <a:cubicBezTo>
                      <a:pt x="19" y="3"/>
                      <a:pt x="21" y="9"/>
                      <a:pt x="19" y="13"/>
                    </a:cubicBezTo>
                    <a:cubicBezTo>
                      <a:pt x="17" y="18"/>
                      <a:pt x="12" y="20"/>
                      <a:pt x="7" y="18"/>
                    </a:cubicBezTo>
                    <a:cubicBezTo>
                      <a:pt x="3" y="17"/>
                      <a:pt x="0" y="11"/>
                      <a:pt x="2" y="7"/>
                    </a:cubicBezTo>
                    <a:close/>
                  </a:path>
                </a:pathLst>
              </a:cu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2" name="Freeform 63"/>
              <p:cNvSpPr>
                <a:spLocks/>
              </p:cNvSpPr>
              <p:nvPr/>
            </p:nvSpPr>
            <p:spPr bwMode="auto">
              <a:xfrm>
                <a:off x="8115300" y="1987550"/>
                <a:ext cx="76200" cy="79375"/>
              </a:xfrm>
              <a:custGeom>
                <a:avLst/>
                <a:gdLst>
                  <a:gd name="T0" fmla="*/ 6 w 20"/>
                  <a:gd name="T1" fmla="*/ 3 h 21"/>
                  <a:gd name="T2" fmla="*/ 18 w 20"/>
                  <a:gd name="T3" fmla="*/ 6 h 21"/>
                  <a:gd name="T4" fmla="*/ 14 w 20"/>
                  <a:gd name="T5" fmla="*/ 18 h 21"/>
                  <a:gd name="T6" fmla="*/ 2 w 20"/>
                  <a:gd name="T7" fmla="*/ 15 h 21"/>
                  <a:gd name="T8" fmla="*/ 6 w 20"/>
                  <a:gd name="T9" fmla="*/ 3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1">
                    <a:moveTo>
                      <a:pt x="6" y="3"/>
                    </a:moveTo>
                    <a:cubicBezTo>
                      <a:pt x="10" y="0"/>
                      <a:pt x="16" y="2"/>
                      <a:pt x="18" y="6"/>
                    </a:cubicBezTo>
                    <a:cubicBezTo>
                      <a:pt x="20" y="11"/>
                      <a:pt x="19" y="16"/>
                      <a:pt x="14" y="18"/>
                    </a:cubicBezTo>
                    <a:cubicBezTo>
                      <a:pt x="10" y="21"/>
                      <a:pt x="4" y="19"/>
                      <a:pt x="2" y="15"/>
                    </a:cubicBezTo>
                    <a:cubicBezTo>
                      <a:pt x="0" y="10"/>
                      <a:pt x="2" y="5"/>
                      <a:pt x="6" y="3"/>
                    </a:cubicBezTo>
                    <a:close/>
                  </a:path>
                </a:pathLst>
              </a:cu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3" name="Freeform 64"/>
              <p:cNvSpPr>
                <a:spLocks/>
              </p:cNvSpPr>
              <p:nvPr/>
            </p:nvSpPr>
            <p:spPr bwMode="auto">
              <a:xfrm>
                <a:off x="7885113" y="1782763"/>
                <a:ext cx="74613" cy="76200"/>
              </a:xfrm>
              <a:custGeom>
                <a:avLst/>
                <a:gdLst>
                  <a:gd name="T0" fmla="*/ 12 w 20"/>
                  <a:gd name="T1" fmla="*/ 1 h 20"/>
                  <a:gd name="T2" fmla="*/ 19 w 20"/>
                  <a:gd name="T3" fmla="*/ 12 h 20"/>
                  <a:gd name="T4" fmla="*/ 8 w 20"/>
                  <a:gd name="T5" fmla="*/ 18 h 20"/>
                  <a:gd name="T6" fmla="*/ 1 w 20"/>
                  <a:gd name="T7" fmla="*/ 8 h 20"/>
                  <a:gd name="T8" fmla="*/ 12 w 20"/>
                  <a:gd name="T9" fmla="*/ 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0">
                    <a:moveTo>
                      <a:pt x="12" y="1"/>
                    </a:moveTo>
                    <a:cubicBezTo>
                      <a:pt x="17" y="2"/>
                      <a:pt x="20" y="7"/>
                      <a:pt x="19" y="12"/>
                    </a:cubicBezTo>
                    <a:cubicBezTo>
                      <a:pt x="18" y="17"/>
                      <a:pt x="13" y="20"/>
                      <a:pt x="8" y="18"/>
                    </a:cubicBezTo>
                    <a:cubicBezTo>
                      <a:pt x="3" y="17"/>
                      <a:pt x="0" y="12"/>
                      <a:pt x="1" y="8"/>
                    </a:cubicBezTo>
                    <a:cubicBezTo>
                      <a:pt x="3" y="3"/>
                      <a:pt x="7" y="0"/>
                      <a:pt x="12" y="1"/>
                    </a:cubicBezTo>
                    <a:close/>
                  </a:path>
                </a:pathLst>
              </a:cu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4" name="Freeform 65"/>
              <p:cNvSpPr>
                <a:spLocks/>
              </p:cNvSpPr>
              <p:nvPr/>
            </p:nvSpPr>
            <p:spPr bwMode="auto">
              <a:xfrm>
                <a:off x="7847013" y="1503363"/>
                <a:ext cx="74613" cy="74613"/>
              </a:xfrm>
              <a:custGeom>
                <a:avLst/>
                <a:gdLst>
                  <a:gd name="T0" fmla="*/ 18 w 20"/>
                  <a:gd name="T1" fmla="*/ 5 h 20"/>
                  <a:gd name="T2" fmla="*/ 15 w 20"/>
                  <a:gd name="T3" fmla="*/ 17 h 20"/>
                  <a:gd name="T4" fmla="*/ 3 w 20"/>
                  <a:gd name="T5" fmla="*/ 15 h 20"/>
                  <a:gd name="T6" fmla="*/ 5 w 20"/>
                  <a:gd name="T7" fmla="*/ 2 h 20"/>
                  <a:gd name="T8" fmla="*/ 18 w 20"/>
                  <a:gd name="T9" fmla="*/ 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0">
                    <a:moveTo>
                      <a:pt x="18" y="5"/>
                    </a:moveTo>
                    <a:cubicBezTo>
                      <a:pt x="20" y="9"/>
                      <a:pt x="20" y="14"/>
                      <a:pt x="15" y="17"/>
                    </a:cubicBezTo>
                    <a:cubicBezTo>
                      <a:pt x="11" y="20"/>
                      <a:pt x="6" y="19"/>
                      <a:pt x="3" y="15"/>
                    </a:cubicBezTo>
                    <a:cubicBezTo>
                      <a:pt x="0" y="11"/>
                      <a:pt x="1" y="5"/>
                      <a:pt x="5" y="2"/>
                    </a:cubicBezTo>
                    <a:cubicBezTo>
                      <a:pt x="9" y="0"/>
                      <a:pt x="15" y="1"/>
                      <a:pt x="18" y="5"/>
                    </a:cubicBezTo>
                    <a:close/>
                  </a:path>
                </a:pathLst>
              </a:cu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5" name="Freeform 66"/>
              <p:cNvSpPr>
                <a:spLocks/>
              </p:cNvSpPr>
              <p:nvPr/>
            </p:nvSpPr>
            <p:spPr bwMode="auto">
              <a:xfrm>
                <a:off x="8069263" y="1260475"/>
                <a:ext cx="73025" cy="71438"/>
              </a:xfrm>
              <a:custGeom>
                <a:avLst/>
                <a:gdLst>
                  <a:gd name="T0" fmla="*/ 18 w 19"/>
                  <a:gd name="T1" fmla="*/ 10 h 19"/>
                  <a:gd name="T2" fmla="*/ 8 w 19"/>
                  <a:gd name="T3" fmla="*/ 18 h 19"/>
                  <a:gd name="T4" fmla="*/ 0 w 19"/>
                  <a:gd name="T5" fmla="*/ 9 h 19"/>
                  <a:gd name="T6" fmla="*/ 10 w 19"/>
                  <a:gd name="T7" fmla="*/ 1 h 19"/>
                  <a:gd name="T8" fmla="*/ 18 w 19"/>
                  <a:gd name="T9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9">
                    <a:moveTo>
                      <a:pt x="18" y="10"/>
                    </a:moveTo>
                    <a:cubicBezTo>
                      <a:pt x="18" y="15"/>
                      <a:pt x="13" y="19"/>
                      <a:pt x="8" y="18"/>
                    </a:cubicBezTo>
                    <a:cubicBezTo>
                      <a:pt x="4" y="18"/>
                      <a:pt x="0" y="14"/>
                      <a:pt x="0" y="9"/>
                    </a:cubicBezTo>
                    <a:cubicBezTo>
                      <a:pt x="1" y="4"/>
                      <a:pt x="5" y="0"/>
                      <a:pt x="10" y="1"/>
                    </a:cubicBezTo>
                    <a:cubicBezTo>
                      <a:pt x="15" y="1"/>
                      <a:pt x="19" y="5"/>
                      <a:pt x="18" y="10"/>
                    </a:cubicBezTo>
                    <a:close/>
                  </a:path>
                </a:pathLst>
              </a:cu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6" name="Freeform 67"/>
              <p:cNvSpPr>
                <a:spLocks/>
              </p:cNvSpPr>
              <p:nvPr/>
            </p:nvSpPr>
            <p:spPr bwMode="auto">
              <a:xfrm>
                <a:off x="8339138" y="1257300"/>
                <a:ext cx="74613" cy="74613"/>
              </a:xfrm>
              <a:custGeom>
                <a:avLst/>
                <a:gdLst>
                  <a:gd name="T0" fmla="*/ 16 w 20"/>
                  <a:gd name="T1" fmla="*/ 17 h 20"/>
                  <a:gd name="T2" fmla="*/ 4 w 20"/>
                  <a:gd name="T3" fmla="*/ 16 h 20"/>
                  <a:gd name="T4" fmla="*/ 4 w 20"/>
                  <a:gd name="T5" fmla="*/ 4 h 20"/>
                  <a:gd name="T6" fmla="*/ 17 w 20"/>
                  <a:gd name="T7" fmla="*/ 4 h 20"/>
                  <a:gd name="T8" fmla="*/ 16 w 20"/>
                  <a:gd name="T9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0">
                    <a:moveTo>
                      <a:pt x="16" y="17"/>
                    </a:moveTo>
                    <a:cubicBezTo>
                      <a:pt x="13" y="20"/>
                      <a:pt x="7" y="20"/>
                      <a:pt x="4" y="16"/>
                    </a:cubicBezTo>
                    <a:cubicBezTo>
                      <a:pt x="0" y="13"/>
                      <a:pt x="0" y="7"/>
                      <a:pt x="4" y="4"/>
                    </a:cubicBezTo>
                    <a:cubicBezTo>
                      <a:pt x="7" y="0"/>
                      <a:pt x="13" y="0"/>
                      <a:pt x="17" y="4"/>
                    </a:cubicBezTo>
                    <a:cubicBezTo>
                      <a:pt x="20" y="8"/>
                      <a:pt x="20" y="13"/>
                      <a:pt x="16" y="17"/>
                    </a:cubicBezTo>
                    <a:close/>
                  </a:path>
                </a:pathLst>
              </a:custGeom>
              <a:solidFill>
                <a:srgbClr val="0068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7" name="Freeform 68"/>
              <p:cNvSpPr>
                <a:spLocks/>
              </p:cNvSpPr>
              <p:nvPr/>
            </p:nvSpPr>
            <p:spPr bwMode="auto">
              <a:xfrm>
                <a:off x="7740650" y="1870075"/>
                <a:ext cx="309563" cy="784225"/>
              </a:xfrm>
              <a:custGeom>
                <a:avLst/>
                <a:gdLst>
                  <a:gd name="T0" fmla="*/ 10 w 82"/>
                  <a:gd name="T1" fmla="*/ 11 h 207"/>
                  <a:gd name="T2" fmla="*/ 9 w 82"/>
                  <a:gd name="T3" fmla="*/ 32 h 207"/>
                  <a:gd name="T4" fmla="*/ 2 w 82"/>
                  <a:gd name="T5" fmla="*/ 40 h 207"/>
                  <a:gd name="T6" fmla="*/ 7 w 82"/>
                  <a:gd name="T7" fmla="*/ 61 h 207"/>
                  <a:gd name="T8" fmla="*/ 1 w 82"/>
                  <a:gd name="T9" fmla="*/ 73 h 207"/>
                  <a:gd name="T10" fmla="*/ 7 w 82"/>
                  <a:gd name="T11" fmla="*/ 85 h 207"/>
                  <a:gd name="T12" fmla="*/ 11 w 82"/>
                  <a:gd name="T13" fmla="*/ 112 h 207"/>
                  <a:gd name="T14" fmla="*/ 19 w 82"/>
                  <a:gd name="T15" fmla="*/ 141 h 207"/>
                  <a:gd name="T16" fmla="*/ 21 w 82"/>
                  <a:gd name="T17" fmla="*/ 142 h 207"/>
                  <a:gd name="T18" fmla="*/ 20 w 82"/>
                  <a:gd name="T19" fmla="*/ 145 h 207"/>
                  <a:gd name="T20" fmla="*/ 32 w 82"/>
                  <a:gd name="T21" fmla="*/ 166 h 207"/>
                  <a:gd name="T22" fmla="*/ 34 w 82"/>
                  <a:gd name="T23" fmla="*/ 183 h 207"/>
                  <a:gd name="T24" fmla="*/ 50 w 82"/>
                  <a:gd name="T25" fmla="*/ 188 h 207"/>
                  <a:gd name="T26" fmla="*/ 53 w 82"/>
                  <a:gd name="T27" fmla="*/ 200 h 207"/>
                  <a:gd name="T28" fmla="*/ 64 w 82"/>
                  <a:gd name="T29" fmla="*/ 206 h 207"/>
                  <a:gd name="T30" fmla="*/ 75 w 82"/>
                  <a:gd name="T31" fmla="*/ 205 h 207"/>
                  <a:gd name="T32" fmla="*/ 79 w 82"/>
                  <a:gd name="T33" fmla="*/ 200 h 207"/>
                  <a:gd name="T34" fmla="*/ 78 w 82"/>
                  <a:gd name="T35" fmla="*/ 181 h 207"/>
                  <a:gd name="T36" fmla="*/ 61 w 82"/>
                  <a:gd name="T37" fmla="*/ 174 h 207"/>
                  <a:gd name="T38" fmla="*/ 60 w 82"/>
                  <a:gd name="T39" fmla="*/ 163 h 207"/>
                  <a:gd name="T40" fmla="*/ 50 w 82"/>
                  <a:gd name="T41" fmla="*/ 157 h 207"/>
                  <a:gd name="T42" fmla="*/ 42 w 82"/>
                  <a:gd name="T43" fmla="*/ 136 h 207"/>
                  <a:gd name="T44" fmla="*/ 40 w 82"/>
                  <a:gd name="T45" fmla="*/ 134 h 207"/>
                  <a:gd name="T46" fmla="*/ 40 w 82"/>
                  <a:gd name="T47" fmla="*/ 131 h 207"/>
                  <a:gd name="T48" fmla="*/ 35 w 82"/>
                  <a:gd name="T49" fmla="*/ 113 h 207"/>
                  <a:gd name="T50" fmla="*/ 33 w 82"/>
                  <a:gd name="T51" fmla="*/ 111 h 207"/>
                  <a:gd name="T52" fmla="*/ 33 w 82"/>
                  <a:gd name="T53" fmla="*/ 107 h 207"/>
                  <a:gd name="T54" fmla="*/ 32 w 82"/>
                  <a:gd name="T55" fmla="*/ 88 h 207"/>
                  <a:gd name="T56" fmla="*/ 29 w 82"/>
                  <a:gd name="T57" fmla="*/ 84 h 207"/>
                  <a:gd name="T58" fmla="*/ 30 w 82"/>
                  <a:gd name="T59" fmla="*/ 81 h 207"/>
                  <a:gd name="T60" fmla="*/ 28 w 82"/>
                  <a:gd name="T61" fmla="*/ 63 h 207"/>
                  <a:gd name="T62" fmla="*/ 26 w 82"/>
                  <a:gd name="T63" fmla="*/ 61 h 207"/>
                  <a:gd name="T64" fmla="*/ 28 w 82"/>
                  <a:gd name="T65" fmla="*/ 59 h 207"/>
                  <a:gd name="T66" fmla="*/ 28 w 82"/>
                  <a:gd name="T67" fmla="*/ 36 h 207"/>
                  <a:gd name="T68" fmla="*/ 38 w 82"/>
                  <a:gd name="T69" fmla="*/ 16 h 207"/>
                  <a:gd name="T70" fmla="*/ 10 w 82"/>
                  <a:gd name="T71" fmla="*/ 11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2" h="207">
                    <a:moveTo>
                      <a:pt x="10" y="11"/>
                    </a:moveTo>
                    <a:cubicBezTo>
                      <a:pt x="6" y="17"/>
                      <a:pt x="6" y="25"/>
                      <a:pt x="9" y="32"/>
                    </a:cubicBezTo>
                    <a:cubicBezTo>
                      <a:pt x="5" y="32"/>
                      <a:pt x="3" y="36"/>
                      <a:pt x="2" y="40"/>
                    </a:cubicBezTo>
                    <a:cubicBezTo>
                      <a:pt x="0" y="48"/>
                      <a:pt x="2" y="56"/>
                      <a:pt x="7" y="61"/>
                    </a:cubicBezTo>
                    <a:cubicBezTo>
                      <a:pt x="4" y="64"/>
                      <a:pt x="1" y="68"/>
                      <a:pt x="1" y="73"/>
                    </a:cubicBezTo>
                    <a:cubicBezTo>
                      <a:pt x="1" y="78"/>
                      <a:pt x="4" y="82"/>
                      <a:pt x="7" y="85"/>
                    </a:cubicBezTo>
                    <a:cubicBezTo>
                      <a:pt x="0" y="92"/>
                      <a:pt x="2" y="106"/>
                      <a:pt x="11" y="112"/>
                    </a:cubicBezTo>
                    <a:cubicBezTo>
                      <a:pt x="7" y="122"/>
                      <a:pt x="10" y="134"/>
                      <a:pt x="19" y="141"/>
                    </a:cubicBezTo>
                    <a:cubicBezTo>
                      <a:pt x="20" y="141"/>
                      <a:pt x="20" y="142"/>
                      <a:pt x="21" y="142"/>
                    </a:cubicBezTo>
                    <a:cubicBezTo>
                      <a:pt x="21" y="143"/>
                      <a:pt x="21" y="144"/>
                      <a:pt x="20" y="145"/>
                    </a:cubicBezTo>
                    <a:cubicBezTo>
                      <a:pt x="17" y="154"/>
                      <a:pt x="23" y="165"/>
                      <a:pt x="32" y="166"/>
                    </a:cubicBezTo>
                    <a:cubicBezTo>
                      <a:pt x="30" y="171"/>
                      <a:pt x="30" y="178"/>
                      <a:pt x="34" y="183"/>
                    </a:cubicBezTo>
                    <a:cubicBezTo>
                      <a:pt x="38" y="187"/>
                      <a:pt x="45" y="189"/>
                      <a:pt x="50" y="188"/>
                    </a:cubicBezTo>
                    <a:cubicBezTo>
                      <a:pt x="49" y="192"/>
                      <a:pt x="50" y="197"/>
                      <a:pt x="53" y="200"/>
                    </a:cubicBezTo>
                    <a:cubicBezTo>
                      <a:pt x="55" y="203"/>
                      <a:pt x="60" y="205"/>
                      <a:pt x="64" y="206"/>
                    </a:cubicBezTo>
                    <a:cubicBezTo>
                      <a:pt x="67" y="207"/>
                      <a:pt x="71" y="207"/>
                      <a:pt x="75" y="205"/>
                    </a:cubicBezTo>
                    <a:cubicBezTo>
                      <a:pt x="76" y="203"/>
                      <a:pt x="78" y="202"/>
                      <a:pt x="79" y="200"/>
                    </a:cubicBezTo>
                    <a:cubicBezTo>
                      <a:pt x="82" y="194"/>
                      <a:pt x="82" y="187"/>
                      <a:pt x="78" y="181"/>
                    </a:cubicBezTo>
                    <a:cubicBezTo>
                      <a:pt x="74" y="176"/>
                      <a:pt x="67" y="173"/>
                      <a:pt x="61" y="174"/>
                    </a:cubicBezTo>
                    <a:cubicBezTo>
                      <a:pt x="62" y="171"/>
                      <a:pt x="62" y="167"/>
                      <a:pt x="60" y="163"/>
                    </a:cubicBezTo>
                    <a:cubicBezTo>
                      <a:pt x="57" y="159"/>
                      <a:pt x="53" y="157"/>
                      <a:pt x="50" y="157"/>
                    </a:cubicBezTo>
                    <a:cubicBezTo>
                      <a:pt x="54" y="150"/>
                      <a:pt x="50" y="139"/>
                      <a:pt x="42" y="136"/>
                    </a:cubicBezTo>
                    <a:cubicBezTo>
                      <a:pt x="41" y="135"/>
                      <a:pt x="40" y="135"/>
                      <a:pt x="40" y="134"/>
                    </a:cubicBezTo>
                    <a:cubicBezTo>
                      <a:pt x="39" y="133"/>
                      <a:pt x="40" y="132"/>
                      <a:pt x="40" y="131"/>
                    </a:cubicBezTo>
                    <a:cubicBezTo>
                      <a:pt x="41" y="125"/>
                      <a:pt x="40" y="118"/>
                      <a:pt x="35" y="113"/>
                    </a:cubicBezTo>
                    <a:cubicBezTo>
                      <a:pt x="35" y="113"/>
                      <a:pt x="34" y="112"/>
                      <a:pt x="33" y="111"/>
                    </a:cubicBezTo>
                    <a:cubicBezTo>
                      <a:pt x="33" y="109"/>
                      <a:pt x="33" y="108"/>
                      <a:pt x="33" y="107"/>
                    </a:cubicBezTo>
                    <a:cubicBezTo>
                      <a:pt x="35" y="100"/>
                      <a:pt x="36" y="93"/>
                      <a:pt x="32" y="88"/>
                    </a:cubicBezTo>
                    <a:cubicBezTo>
                      <a:pt x="31" y="86"/>
                      <a:pt x="30" y="85"/>
                      <a:pt x="29" y="84"/>
                    </a:cubicBezTo>
                    <a:cubicBezTo>
                      <a:pt x="29" y="83"/>
                      <a:pt x="30" y="82"/>
                      <a:pt x="30" y="81"/>
                    </a:cubicBezTo>
                    <a:cubicBezTo>
                      <a:pt x="32" y="75"/>
                      <a:pt x="32" y="67"/>
                      <a:pt x="28" y="63"/>
                    </a:cubicBezTo>
                    <a:cubicBezTo>
                      <a:pt x="27" y="62"/>
                      <a:pt x="26" y="61"/>
                      <a:pt x="26" y="61"/>
                    </a:cubicBezTo>
                    <a:cubicBezTo>
                      <a:pt x="27" y="60"/>
                      <a:pt x="27" y="59"/>
                      <a:pt x="28" y="59"/>
                    </a:cubicBezTo>
                    <a:cubicBezTo>
                      <a:pt x="34" y="53"/>
                      <a:pt x="34" y="42"/>
                      <a:pt x="28" y="36"/>
                    </a:cubicBezTo>
                    <a:cubicBezTo>
                      <a:pt x="33" y="30"/>
                      <a:pt x="39" y="24"/>
                      <a:pt x="38" y="16"/>
                    </a:cubicBezTo>
                    <a:cubicBezTo>
                      <a:pt x="36" y="2"/>
                      <a:pt x="16" y="0"/>
                      <a:pt x="10" y="11"/>
                    </a:cubicBezTo>
                    <a:close/>
                  </a:path>
                </a:pathLst>
              </a:custGeom>
              <a:solidFill>
                <a:srgbClr val="F69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8" name="Freeform 69"/>
              <p:cNvSpPr>
                <a:spLocks/>
              </p:cNvSpPr>
              <p:nvPr/>
            </p:nvSpPr>
            <p:spPr bwMode="auto">
              <a:xfrm>
                <a:off x="7740650" y="1870075"/>
                <a:ext cx="309563" cy="784225"/>
              </a:xfrm>
              <a:custGeom>
                <a:avLst/>
                <a:gdLst>
                  <a:gd name="T0" fmla="*/ 10 w 82"/>
                  <a:gd name="T1" fmla="*/ 11 h 207"/>
                  <a:gd name="T2" fmla="*/ 9 w 82"/>
                  <a:gd name="T3" fmla="*/ 32 h 207"/>
                  <a:gd name="T4" fmla="*/ 2 w 82"/>
                  <a:gd name="T5" fmla="*/ 40 h 207"/>
                  <a:gd name="T6" fmla="*/ 7 w 82"/>
                  <a:gd name="T7" fmla="*/ 61 h 207"/>
                  <a:gd name="T8" fmla="*/ 1 w 82"/>
                  <a:gd name="T9" fmla="*/ 73 h 207"/>
                  <a:gd name="T10" fmla="*/ 7 w 82"/>
                  <a:gd name="T11" fmla="*/ 85 h 207"/>
                  <a:gd name="T12" fmla="*/ 11 w 82"/>
                  <a:gd name="T13" fmla="*/ 112 h 207"/>
                  <a:gd name="T14" fmla="*/ 19 w 82"/>
                  <a:gd name="T15" fmla="*/ 141 h 207"/>
                  <a:gd name="T16" fmla="*/ 21 w 82"/>
                  <a:gd name="T17" fmla="*/ 142 h 207"/>
                  <a:gd name="T18" fmla="*/ 20 w 82"/>
                  <a:gd name="T19" fmla="*/ 145 h 207"/>
                  <a:gd name="T20" fmla="*/ 32 w 82"/>
                  <a:gd name="T21" fmla="*/ 166 h 207"/>
                  <a:gd name="T22" fmla="*/ 34 w 82"/>
                  <a:gd name="T23" fmla="*/ 183 h 207"/>
                  <a:gd name="T24" fmla="*/ 50 w 82"/>
                  <a:gd name="T25" fmla="*/ 188 h 207"/>
                  <a:gd name="T26" fmla="*/ 53 w 82"/>
                  <a:gd name="T27" fmla="*/ 200 h 207"/>
                  <a:gd name="T28" fmla="*/ 64 w 82"/>
                  <a:gd name="T29" fmla="*/ 206 h 207"/>
                  <a:gd name="T30" fmla="*/ 75 w 82"/>
                  <a:gd name="T31" fmla="*/ 205 h 207"/>
                  <a:gd name="T32" fmla="*/ 79 w 82"/>
                  <a:gd name="T33" fmla="*/ 200 h 207"/>
                  <a:gd name="T34" fmla="*/ 78 w 82"/>
                  <a:gd name="T35" fmla="*/ 181 h 207"/>
                  <a:gd name="T36" fmla="*/ 61 w 82"/>
                  <a:gd name="T37" fmla="*/ 174 h 207"/>
                  <a:gd name="T38" fmla="*/ 60 w 82"/>
                  <a:gd name="T39" fmla="*/ 163 h 207"/>
                  <a:gd name="T40" fmla="*/ 50 w 82"/>
                  <a:gd name="T41" fmla="*/ 157 h 207"/>
                  <a:gd name="T42" fmla="*/ 42 w 82"/>
                  <a:gd name="T43" fmla="*/ 136 h 207"/>
                  <a:gd name="T44" fmla="*/ 40 w 82"/>
                  <a:gd name="T45" fmla="*/ 134 h 207"/>
                  <a:gd name="T46" fmla="*/ 40 w 82"/>
                  <a:gd name="T47" fmla="*/ 131 h 207"/>
                  <a:gd name="T48" fmla="*/ 35 w 82"/>
                  <a:gd name="T49" fmla="*/ 113 h 207"/>
                  <a:gd name="T50" fmla="*/ 33 w 82"/>
                  <a:gd name="T51" fmla="*/ 111 h 207"/>
                  <a:gd name="T52" fmla="*/ 33 w 82"/>
                  <a:gd name="T53" fmla="*/ 107 h 207"/>
                  <a:gd name="T54" fmla="*/ 32 w 82"/>
                  <a:gd name="T55" fmla="*/ 88 h 207"/>
                  <a:gd name="T56" fmla="*/ 29 w 82"/>
                  <a:gd name="T57" fmla="*/ 84 h 207"/>
                  <a:gd name="T58" fmla="*/ 30 w 82"/>
                  <a:gd name="T59" fmla="*/ 81 h 207"/>
                  <a:gd name="T60" fmla="*/ 28 w 82"/>
                  <a:gd name="T61" fmla="*/ 63 h 207"/>
                  <a:gd name="T62" fmla="*/ 26 w 82"/>
                  <a:gd name="T63" fmla="*/ 61 h 207"/>
                  <a:gd name="T64" fmla="*/ 28 w 82"/>
                  <a:gd name="T65" fmla="*/ 59 h 207"/>
                  <a:gd name="T66" fmla="*/ 28 w 82"/>
                  <a:gd name="T67" fmla="*/ 36 h 207"/>
                  <a:gd name="T68" fmla="*/ 38 w 82"/>
                  <a:gd name="T69" fmla="*/ 16 h 207"/>
                  <a:gd name="T70" fmla="*/ 10 w 82"/>
                  <a:gd name="T71" fmla="*/ 11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2" h="207">
                    <a:moveTo>
                      <a:pt x="10" y="11"/>
                    </a:moveTo>
                    <a:cubicBezTo>
                      <a:pt x="6" y="17"/>
                      <a:pt x="6" y="25"/>
                      <a:pt x="9" y="32"/>
                    </a:cubicBezTo>
                    <a:cubicBezTo>
                      <a:pt x="5" y="32"/>
                      <a:pt x="3" y="36"/>
                      <a:pt x="2" y="40"/>
                    </a:cubicBezTo>
                    <a:cubicBezTo>
                      <a:pt x="0" y="48"/>
                      <a:pt x="2" y="56"/>
                      <a:pt x="7" y="61"/>
                    </a:cubicBezTo>
                    <a:cubicBezTo>
                      <a:pt x="4" y="64"/>
                      <a:pt x="1" y="68"/>
                      <a:pt x="1" y="73"/>
                    </a:cubicBezTo>
                    <a:cubicBezTo>
                      <a:pt x="1" y="78"/>
                      <a:pt x="4" y="82"/>
                      <a:pt x="7" y="85"/>
                    </a:cubicBezTo>
                    <a:cubicBezTo>
                      <a:pt x="0" y="92"/>
                      <a:pt x="2" y="106"/>
                      <a:pt x="11" y="112"/>
                    </a:cubicBezTo>
                    <a:cubicBezTo>
                      <a:pt x="7" y="122"/>
                      <a:pt x="10" y="134"/>
                      <a:pt x="19" y="141"/>
                    </a:cubicBezTo>
                    <a:cubicBezTo>
                      <a:pt x="20" y="141"/>
                      <a:pt x="20" y="142"/>
                      <a:pt x="21" y="142"/>
                    </a:cubicBezTo>
                    <a:cubicBezTo>
                      <a:pt x="21" y="143"/>
                      <a:pt x="21" y="144"/>
                      <a:pt x="20" y="145"/>
                    </a:cubicBezTo>
                    <a:cubicBezTo>
                      <a:pt x="17" y="154"/>
                      <a:pt x="23" y="165"/>
                      <a:pt x="32" y="166"/>
                    </a:cubicBezTo>
                    <a:cubicBezTo>
                      <a:pt x="30" y="171"/>
                      <a:pt x="30" y="178"/>
                      <a:pt x="34" y="183"/>
                    </a:cubicBezTo>
                    <a:cubicBezTo>
                      <a:pt x="38" y="187"/>
                      <a:pt x="45" y="189"/>
                      <a:pt x="50" y="188"/>
                    </a:cubicBezTo>
                    <a:cubicBezTo>
                      <a:pt x="49" y="192"/>
                      <a:pt x="50" y="197"/>
                      <a:pt x="53" y="200"/>
                    </a:cubicBezTo>
                    <a:cubicBezTo>
                      <a:pt x="55" y="203"/>
                      <a:pt x="60" y="205"/>
                      <a:pt x="64" y="206"/>
                    </a:cubicBezTo>
                    <a:cubicBezTo>
                      <a:pt x="67" y="207"/>
                      <a:pt x="71" y="207"/>
                      <a:pt x="75" y="205"/>
                    </a:cubicBezTo>
                    <a:cubicBezTo>
                      <a:pt x="76" y="203"/>
                      <a:pt x="78" y="202"/>
                      <a:pt x="79" y="200"/>
                    </a:cubicBezTo>
                    <a:cubicBezTo>
                      <a:pt x="82" y="194"/>
                      <a:pt x="82" y="187"/>
                      <a:pt x="78" y="181"/>
                    </a:cubicBezTo>
                    <a:cubicBezTo>
                      <a:pt x="74" y="176"/>
                      <a:pt x="67" y="173"/>
                      <a:pt x="61" y="174"/>
                    </a:cubicBezTo>
                    <a:cubicBezTo>
                      <a:pt x="62" y="171"/>
                      <a:pt x="62" y="167"/>
                      <a:pt x="60" y="163"/>
                    </a:cubicBezTo>
                    <a:cubicBezTo>
                      <a:pt x="57" y="159"/>
                      <a:pt x="53" y="157"/>
                      <a:pt x="50" y="157"/>
                    </a:cubicBezTo>
                    <a:cubicBezTo>
                      <a:pt x="54" y="150"/>
                      <a:pt x="50" y="139"/>
                      <a:pt x="42" y="136"/>
                    </a:cubicBezTo>
                    <a:cubicBezTo>
                      <a:pt x="41" y="135"/>
                      <a:pt x="40" y="135"/>
                      <a:pt x="40" y="134"/>
                    </a:cubicBezTo>
                    <a:cubicBezTo>
                      <a:pt x="39" y="133"/>
                      <a:pt x="40" y="132"/>
                      <a:pt x="40" y="131"/>
                    </a:cubicBezTo>
                    <a:cubicBezTo>
                      <a:pt x="41" y="125"/>
                      <a:pt x="40" y="118"/>
                      <a:pt x="35" y="113"/>
                    </a:cubicBezTo>
                    <a:cubicBezTo>
                      <a:pt x="35" y="113"/>
                      <a:pt x="34" y="112"/>
                      <a:pt x="33" y="111"/>
                    </a:cubicBezTo>
                    <a:cubicBezTo>
                      <a:pt x="33" y="109"/>
                      <a:pt x="33" y="108"/>
                      <a:pt x="33" y="107"/>
                    </a:cubicBezTo>
                    <a:cubicBezTo>
                      <a:pt x="35" y="100"/>
                      <a:pt x="36" y="93"/>
                      <a:pt x="32" y="88"/>
                    </a:cubicBezTo>
                    <a:cubicBezTo>
                      <a:pt x="31" y="86"/>
                      <a:pt x="30" y="85"/>
                      <a:pt x="29" y="84"/>
                    </a:cubicBezTo>
                    <a:cubicBezTo>
                      <a:pt x="29" y="83"/>
                      <a:pt x="30" y="82"/>
                      <a:pt x="30" y="81"/>
                    </a:cubicBezTo>
                    <a:cubicBezTo>
                      <a:pt x="32" y="75"/>
                      <a:pt x="32" y="67"/>
                      <a:pt x="28" y="63"/>
                    </a:cubicBezTo>
                    <a:cubicBezTo>
                      <a:pt x="27" y="62"/>
                      <a:pt x="26" y="61"/>
                      <a:pt x="26" y="61"/>
                    </a:cubicBezTo>
                    <a:cubicBezTo>
                      <a:pt x="27" y="60"/>
                      <a:pt x="27" y="59"/>
                      <a:pt x="28" y="59"/>
                    </a:cubicBezTo>
                    <a:cubicBezTo>
                      <a:pt x="34" y="53"/>
                      <a:pt x="34" y="42"/>
                      <a:pt x="28" y="36"/>
                    </a:cubicBezTo>
                    <a:cubicBezTo>
                      <a:pt x="33" y="30"/>
                      <a:pt x="39" y="24"/>
                      <a:pt x="38" y="16"/>
                    </a:cubicBezTo>
                    <a:cubicBezTo>
                      <a:pt x="36" y="2"/>
                      <a:pt x="16" y="0"/>
                      <a:pt x="10" y="11"/>
                    </a:cubicBezTo>
                    <a:close/>
                  </a:path>
                </a:pathLst>
              </a:custGeom>
              <a:noFill/>
              <a:ln w="7938" cap="flat">
                <a:solidFill>
                  <a:srgbClr val="9B6F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9" name="Freeform 70"/>
              <p:cNvSpPr>
                <a:spLocks/>
              </p:cNvSpPr>
              <p:nvPr/>
            </p:nvSpPr>
            <p:spPr bwMode="auto">
              <a:xfrm>
                <a:off x="8566150" y="1049314"/>
                <a:ext cx="227012" cy="220663"/>
              </a:xfrm>
              <a:custGeom>
                <a:avLst/>
                <a:gdLst>
                  <a:gd name="T0" fmla="*/ 21 w 60"/>
                  <a:gd name="T1" fmla="*/ 9 h 58"/>
                  <a:gd name="T2" fmla="*/ 9 w 60"/>
                  <a:gd name="T3" fmla="*/ 19 h 58"/>
                  <a:gd name="T4" fmla="*/ 2 w 60"/>
                  <a:gd name="T5" fmla="*/ 37 h 58"/>
                  <a:gd name="T6" fmla="*/ 3 w 60"/>
                  <a:gd name="T7" fmla="*/ 50 h 58"/>
                  <a:gd name="T8" fmla="*/ 14 w 60"/>
                  <a:gd name="T9" fmla="*/ 57 h 58"/>
                  <a:gd name="T10" fmla="*/ 20 w 60"/>
                  <a:gd name="T11" fmla="*/ 57 h 58"/>
                  <a:gd name="T12" fmla="*/ 29 w 60"/>
                  <a:gd name="T13" fmla="*/ 49 h 58"/>
                  <a:gd name="T14" fmla="*/ 35 w 60"/>
                  <a:gd name="T15" fmla="*/ 35 h 58"/>
                  <a:gd name="T16" fmla="*/ 40 w 60"/>
                  <a:gd name="T17" fmla="*/ 24 h 58"/>
                  <a:gd name="T18" fmla="*/ 48 w 60"/>
                  <a:gd name="T19" fmla="*/ 19 h 58"/>
                  <a:gd name="T20" fmla="*/ 50 w 60"/>
                  <a:gd name="T21" fmla="*/ 4 h 58"/>
                  <a:gd name="T22" fmla="*/ 21 w 60"/>
                  <a:gd name="T23" fmla="*/ 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58">
                    <a:moveTo>
                      <a:pt x="21" y="9"/>
                    </a:moveTo>
                    <a:cubicBezTo>
                      <a:pt x="16" y="12"/>
                      <a:pt x="12" y="15"/>
                      <a:pt x="9" y="19"/>
                    </a:cubicBezTo>
                    <a:cubicBezTo>
                      <a:pt x="5" y="24"/>
                      <a:pt x="3" y="30"/>
                      <a:pt x="2" y="37"/>
                    </a:cubicBezTo>
                    <a:cubicBezTo>
                      <a:pt x="1" y="41"/>
                      <a:pt x="0" y="46"/>
                      <a:pt x="3" y="50"/>
                    </a:cubicBezTo>
                    <a:cubicBezTo>
                      <a:pt x="5" y="54"/>
                      <a:pt x="9" y="56"/>
                      <a:pt x="14" y="57"/>
                    </a:cubicBezTo>
                    <a:cubicBezTo>
                      <a:pt x="16" y="57"/>
                      <a:pt x="18" y="58"/>
                      <a:pt x="20" y="57"/>
                    </a:cubicBezTo>
                    <a:cubicBezTo>
                      <a:pt x="24" y="56"/>
                      <a:pt x="27" y="53"/>
                      <a:pt x="29" y="49"/>
                    </a:cubicBezTo>
                    <a:cubicBezTo>
                      <a:pt x="31" y="45"/>
                      <a:pt x="33" y="40"/>
                      <a:pt x="35" y="35"/>
                    </a:cubicBezTo>
                    <a:cubicBezTo>
                      <a:pt x="36" y="31"/>
                      <a:pt x="37" y="27"/>
                      <a:pt x="40" y="24"/>
                    </a:cubicBezTo>
                    <a:cubicBezTo>
                      <a:pt x="42" y="22"/>
                      <a:pt x="45" y="21"/>
                      <a:pt x="48" y="19"/>
                    </a:cubicBezTo>
                    <a:cubicBezTo>
                      <a:pt x="57" y="16"/>
                      <a:pt x="60" y="7"/>
                      <a:pt x="50" y="4"/>
                    </a:cubicBezTo>
                    <a:cubicBezTo>
                      <a:pt x="38" y="0"/>
                      <a:pt x="30" y="2"/>
                      <a:pt x="21" y="9"/>
                    </a:cubicBezTo>
                    <a:close/>
                  </a:path>
                </a:pathLst>
              </a:custGeom>
              <a:solidFill>
                <a:srgbClr val="D9BF0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0" name="Freeform 71"/>
              <p:cNvSpPr>
                <a:spLocks/>
              </p:cNvSpPr>
              <p:nvPr/>
            </p:nvSpPr>
            <p:spPr bwMode="auto">
              <a:xfrm>
                <a:off x="8394700" y="2132013"/>
                <a:ext cx="223838" cy="204788"/>
              </a:xfrm>
              <a:custGeom>
                <a:avLst/>
                <a:gdLst>
                  <a:gd name="T0" fmla="*/ 43 w 59"/>
                  <a:gd name="T1" fmla="*/ 10 h 54"/>
                  <a:gd name="T2" fmla="*/ 35 w 59"/>
                  <a:gd name="T3" fmla="*/ 27 h 54"/>
                  <a:gd name="T4" fmla="*/ 31 w 59"/>
                  <a:gd name="T5" fmla="*/ 33 h 54"/>
                  <a:gd name="T6" fmla="*/ 19 w 59"/>
                  <a:gd name="T7" fmla="*/ 39 h 54"/>
                  <a:gd name="T8" fmla="*/ 7 w 59"/>
                  <a:gd name="T9" fmla="*/ 43 h 54"/>
                  <a:gd name="T10" fmla="*/ 0 w 59"/>
                  <a:gd name="T11" fmla="*/ 54 h 54"/>
                  <a:gd name="T12" fmla="*/ 9 w 59"/>
                  <a:gd name="T13" fmla="*/ 45 h 54"/>
                  <a:gd name="T14" fmla="*/ 21 w 59"/>
                  <a:gd name="T15" fmla="*/ 43 h 54"/>
                  <a:gd name="T16" fmla="*/ 42 w 59"/>
                  <a:gd name="T17" fmla="*/ 26 h 54"/>
                  <a:gd name="T18" fmla="*/ 48 w 59"/>
                  <a:gd name="T19" fmla="*/ 13 h 54"/>
                  <a:gd name="T20" fmla="*/ 52 w 59"/>
                  <a:gd name="T21" fmla="*/ 8 h 54"/>
                  <a:gd name="T22" fmla="*/ 58 w 59"/>
                  <a:gd name="T23" fmla="*/ 4 h 54"/>
                  <a:gd name="T24" fmla="*/ 52 w 59"/>
                  <a:gd name="T25" fmla="*/ 0 h 54"/>
                  <a:gd name="T26" fmla="*/ 43 w 59"/>
                  <a:gd name="T27" fmla="*/ 1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9" h="54">
                    <a:moveTo>
                      <a:pt x="43" y="10"/>
                    </a:moveTo>
                    <a:cubicBezTo>
                      <a:pt x="40" y="16"/>
                      <a:pt x="38" y="22"/>
                      <a:pt x="35" y="27"/>
                    </a:cubicBezTo>
                    <a:cubicBezTo>
                      <a:pt x="34" y="29"/>
                      <a:pt x="33" y="31"/>
                      <a:pt x="31" y="33"/>
                    </a:cubicBezTo>
                    <a:cubicBezTo>
                      <a:pt x="28" y="36"/>
                      <a:pt x="24" y="38"/>
                      <a:pt x="19" y="39"/>
                    </a:cubicBezTo>
                    <a:cubicBezTo>
                      <a:pt x="15" y="40"/>
                      <a:pt x="10" y="41"/>
                      <a:pt x="7" y="43"/>
                    </a:cubicBezTo>
                    <a:cubicBezTo>
                      <a:pt x="3" y="45"/>
                      <a:pt x="0" y="50"/>
                      <a:pt x="0" y="54"/>
                    </a:cubicBezTo>
                    <a:cubicBezTo>
                      <a:pt x="1" y="50"/>
                      <a:pt x="5" y="47"/>
                      <a:pt x="9" y="45"/>
                    </a:cubicBezTo>
                    <a:cubicBezTo>
                      <a:pt x="13" y="44"/>
                      <a:pt x="17" y="44"/>
                      <a:pt x="21" y="43"/>
                    </a:cubicBezTo>
                    <a:cubicBezTo>
                      <a:pt x="30" y="40"/>
                      <a:pt x="37" y="34"/>
                      <a:pt x="42" y="26"/>
                    </a:cubicBezTo>
                    <a:cubicBezTo>
                      <a:pt x="44" y="22"/>
                      <a:pt x="45" y="17"/>
                      <a:pt x="48" y="13"/>
                    </a:cubicBezTo>
                    <a:cubicBezTo>
                      <a:pt x="49" y="11"/>
                      <a:pt x="51" y="10"/>
                      <a:pt x="52" y="8"/>
                    </a:cubicBezTo>
                    <a:cubicBezTo>
                      <a:pt x="54" y="7"/>
                      <a:pt x="58" y="6"/>
                      <a:pt x="58" y="4"/>
                    </a:cubicBezTo>
                    <a:cubicBezTo>
                      <a:pt x="59" y="1"/>
                      <a:pt x="55" y="0"/>
                      <a:pt x="52" y="0"/>
                    </a:cubicBezTo>
                    <a:cubicBezTo>
                      <a:pt x="48" y="0"/>
                      <a:pt x="45" y="7"/>
                      <a:pt x="43" y="10"/>
                    </a:cubicBezTo>
                    <a:close/>
                  </a:path>
                </a:pathLst>
              </a:custGeom>
              <a:solidFill>
                <a:srgbClr val="D054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1" name="Freeform 72"/>
              <p:cNvSpPr>
                <a:spLocks/>
              </p:cNvSpPr>
              <p:nvPr/>
            </p:nvSpPr>
            <p:spPr bwMode="auto">
              <a:xfrm>
                <a:off x="8512175" y="2127250"/>
                <a:ext cx="144463" cy="269875"/>
              </a:xfrm>
              <a:custGeom>
                <a:avLst/>
                <a:gdLst>
                  <a:gd name="T0" fmla="*/ 26 w 38"/>
                  <a:gd name="T1" fmla="*/ 14 h 71"/>
                  <a:gd name="T2" fmla="*/ 25 w 38"/>
                  <a:gd name="T3" fmla="*/ 33 h 71"/>
                  <a:gd name="T4" fmla="*/ 23 w 38"/>
                  <a:gd name="T5" fmla="*/ 39 h 71"/>
                  <a:gd name="T6" fmla="*/ 14 w 38"/>
                  <a:gd name="T7" fmla="*/ 49 h 71"/>
                  <a:gd name="T8" fmla="*/ 4 w 38"/>
                  <a:gd name="T9" fmla="*/ 58 h 71"/>
                  <a:gd name="T10" fmla="*/ 2 w 38"/>
                  <a:gd name="T11" fmla="*/ 71 h 71"/>
                  <a:gd name="T12" fmla="*/ 7 w 38"/>
                  <a:gd name="T13" fmla="*/ 59 h 71"/>
                  <a:gd name="T14" fmla="*/ 18 w 38"/>
                  <a:gd name="T15" fmla="*/ 52 h 71"/>
                  <a:gd name="T16" fmla="*/ 30 w 38"/>
                  <a:gd name="T17" fmla="*/ 29 h 71"/>
                  <a:gd name="T18" fmla="*/ 31 w 38"/>
                  <a:gd name="T19" fmla="*/ 15 h 71"/>
                  <a:gd name="T20" fmla="*/ 34 w 38"/>
                  <a:gd name="T21" fmla="*/ 9 h 71"/>
                  <a:gd name="T22" fmla="*/ 37 w 38"/>
                  <a:gd name="T23" fmla="*/ 3 h 71"/>
                  <a:gd name="T24" fmla="*/ 30 w 38"/>
                  <a:gd name="T25" fmla="*/ 1 h 71"/>
                  <a:gd name="T26" fmla="*/ 26 w 38"/>
                  <a:gd name="T27" fmla="*/ 1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71">
                    <a:moveTo>
                      <a:pt x="26" y="14"/>
                    </a:moveTo>
                    <a:cubicBezTo>
                      <a:pt x="25" y="20"/>
                      <a:pt x="26" y="26"/>
                      <a:pt x="25" y="33"/>
                    </a:cubicBezTo>
                    <a:cubicBezTo>
                      <a:pt x="25" y="35"/>
                      <a:pt x="24" y="37"/>
                      <a:pt x="23" y="39"/>
                    </a:cubicBezTo>
                    <a:cubicBezTo>
                      <a:pt x="22" y="43"/>
                      <a:pt x="18" y="47"/>
                      <a:pt x="14" y="49"/>
                    </a:cubicBezTo>
                    <a:cubicBezTo>
                      <a:pt x="11" y="52"/>
                      <a:pt x="7" y="54"/>
                      <a:pt x="4" y="58"/>
                    </a:cubicBezTo>
                    <a:cubicBezTo>
                      <a:pt x="2" y="62"/>
                      <a:pt x="0" y="67"/>
                      <a:pt x="2" y="71"/>
                    </a:cubicBezTo>
                    <a:cubicBezTo>
                      <a:pt x="1" y="67"/>
                      <a:pt x="4" y="62"/>
                      <a:pt x="7" y="59"/>
                    </a:cubicBezTo>
                    <a:cubicBezTo>
                      <a:pt x="10" y="57"/>
                      <a:pt x="14" y="55"/>
                      <a:pt x="18" y="52"/>
                    </a:cubicBezTo>
                    <a:cubicBezTo>
                      <a:pt x="25" y="47"/>
                      <a:pt x="29" y="38"/>
                      <a:pt x="30" y="29"/>
                    </a:cubicBezTo>
                    <a:cubicBezTo>
                      <a:pt x="31" y="24"/>
                      <a:pt x="30" y="20"/>
                      <a:pt x="31" y="15"/>
                    </a:cubicBezTo>
                    <a:cubicBezTo>
                      <a:pt x="32" y="13"/>
                      <a:pt x="32" y="11"/>
                      <a:pt x="34" y="9"/>
                    </a:cubicBezTo>
                    <a:cubicBezTo>
                      <a:pt x="35" y="7"/>
                      <a:pt x="38" y="5"/>
                      <a:pt x="37" y="3"/>
                    </a:cubicBezTo>
                    <a:cubicBezTo>
                      <a:pt x="37" y="0"/>
                      <a:pt x="32" y="0"/>
                      <a:pt x="30" y="1"/>
                    </a:cubicBezTo>
                    <a:cubicBezTo>
                      <a:pt x="27" y="3"/>
                      <a:pt x="26" y="10"/>
                      <a:pt x="26" y="14"/>
                    </a:cubicBezTo>
                    <a:close/>
                  </a:path>
                </a:pathLst>
              </a:custGeom>
              <a:solidFill>
                <a:srgbClr val="D054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2" name="Freeform 73"/>
              <p:cNvSpPr>
                <a:spLocks/>
              </p:cNvSpPr>
              <p:nvPr/>
            </p:nvSpPr>
            <p:spPr bwMode="auto">
              <a:xfrm>
                <a:off x="8940800" y="2324100"/>
                <a:ext cx="55563" cy="193675"/>
              </a:xfrm>
              <a:custGeom>
                <a:avLst/>
                <a:gdLst>
                  <a:gd name="T0" fmla="*/ 12 w 15"/>
                  <a:gd name="T1" fmla="*/ 38 h 51"/>
                  <a:gd name="T2" fmla="*/ 6 w 15"/>
                  <a:gd name="T3" fmla="*/ 28 h 51"/>
                  <a:gd name="T4" fmla="*/ 5 w 15"/>
                  <a:gd name="T5" fmla="*/ 24 h 51"/>
                  <a:gd name="T6" fmla="*/ 7 w 15"/>
                  <a:gd name="T7" fmla="*/ 16 h 51"/>
                  <a:gd name="T8" fmla="*/ 10 w 15"/>
                  <a:gd name="T9" fmla="*/ 8 h 51"/>
                  <a:gd name="T10" fmla="*/ 7 w 15"/>
                  <a:gd name="T11" fmla="*/ 0 h 51"/>
                  <a:gd name="T12" fmla="*/ 8 w 15"/>
                  <a:gd name="T13" fmla="*/ 8 h 51"/>
                  <a:gd name="T14" fmla="*/ 3 w 15"/>
                  <a:gd name="T15" fmla="*/ 16 h 51"/>
                  <a:gd name="T16" fmla="*/ 2 w 15"/>
                  <a:gd name="T17" fmla="*/ 32 h 51"/>
                  <a:gd name="T18" fmla="*/ 8 w 15"/>
                  <a:gd name="T19" fmla="*/ 40 h 51"/>
                  <a:gd name="T20" fmla="*/ 8 w 15"/>
                  <a:gd name="T21" fmla="*/ 45 h 51"/>
                  <a:gd name="T22" fmla="*/ 6 w 15"/>
                  <a:gd name="T23" fmla="*/ 49 h 51"/>
                  <a:gd name="T24" fmla="*/ 13 w 15"/>
                  <a:gd name="T25" fmla="*/ 48 h 51"/>
                  <a:gd name="T26" fmla="*/ 12 w 15"/>
                  <a:gd name="T27" fmla="*/ 3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51">
                    <a:moveTo>
                      <a:pt x="12" y="38"/>
                    </a:moveTo>
                    <a:cubicBezTo>
                      <a:pt x="11" y="34"/>
                      <a:pt x="8" y="32"/>
                      <a:pt x="6" y="28"/>
                    </a:cubicBezTo>
                    <a:cubicBezTo>
                      <a:pt x="6" y="27"/>
                      <a:pt x="5" y="26"/>
                      <a:pt x="5" y="24"/>
                    </a:cubicBezTo>
                    <a:cubicBezTo>
                      <a:pt x="5" y="21"/>
                      <a:pt x="6" y="18"/>
                      <a:pt x="7" y="16"/>
                    </a:cubicBezTo>
                    <a:cubicBezTo>
                      <a:pt x="8" y="13"/>
                      <a:pt x="9" y="10"/>
                      <a:pt x="10" y="8"/>
                    </a:cubicBezTo>
                    <a:cubicBezTo>
                      <a:pt x="10" y="5"/>
                      <a:pt x="9" y="1"/>
                      <a:pt x="7" y="0"/>
                    </a:cubicBezTo>
                    <a:cubicBezTo>
                      <a:pt x="8" y="2"/>
                      <a:pt x="8" y="5"/>
                      <a:pt x="8" y="8"/>
                    </a:cubicBezTo>
                    <a:cubicBezTo>
                      <a:pt x="7" y="10"/>
                      <a:pt x="4" y="13"/>
                      <a:pt x="3" y="16"/>
                    </a:cubicBezTo>
                    <a:cubicBezTo>
                      <a:pt x="1" y="21"/>
                      <a:pt x="0" y="27"/>
                      <a:pt x="2" y="32"/>
                    </a:cubicBezTo>
                    <a:cubicBezTo>
                      <a:pt x="3" y="35"/>
                      <a:pt x="7" y="37"/>
                      <a:pt x="8" y="40"/>
                    </a:cubicBezTo>
                    <a:cubicBezTo>
                      <a:pt x="8" y="41"/>
                      <a:pt x="8" y="44"/>
                      <a:pt x="8" y="45"/>
                    </a:cubicBezTo>
                    <a:cubicBezTo>
                      <a:pt x="8" y="46"/>
                      <a:pt x="6" y="48"/>
                      <a:pt x="6" y="49"/>
                    </a:cubicBezTo>
                    <a:cubicBezTo>
                      <a:pt x="8" y="51"/>
                      <a:pt x="13" y="49"/>
                      <a:pt x="13" y="48"/>
                    </a:cubicBezTo>
                    <a:cubicBezTo>
                      <a:pt x="15" y="45"/>
                      <a:pt x="13" y="40"/>
                      <a:pt x="12" y="38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3" name="Freeform 74"/>
              <p:cNvSpPr>
                <a:spLocks/>
              </p:cNvSpPr>
              <p:nvPr/>
            </p:nvSpPr>
            <p:spPr bwMode="auto">
              <a:xfrm>
                <a:off x="9020175" y="2317750"/>
                <a:ext cx="55563" cy="192088"/>
              </a:xfrm>
              <a:custGeom>
                <a:avLst/>
                <a:gdLst>
                  <a:gd name="T0" fmla="*/ 12 w 15"/>
                  <a:gd name="T1" fmla="*/ 38 h 51"/>
                  <a:gd name="T2" fmla="*/ 6 w 15"/>
                  <a:gd name="T3" fmla="*/ 28 h 51"/>
                  <a:gd name="T4" fmla="*/ 5 w 15"/>
                  <a:gd name="T5" fmla="*/ 24 h 51"/>
                  <a:gd name="T6" fmla="*/ 7 w 15"/>
                  <a:gd name="T7" fmla="*/ 15 h 51"/>
                  <a:gd name="T8" fmla="*/ 10 w 15"/>
                  <a:gd name="T9" fmla="*/ 7 h 51"/>
                  <a:gd name="T10" fmla="*/ 7 w 15"/>
                  <a:gd name="T11" fmla="*/ 0 h 51"/>
                  <a:gd name="T12" fmla="*/ 8 w 15"/>
                  <a:gd name="T13" fmla="*/ 7 h 51"/>
                  <a:gd name="T14" fmla="*/ 3 w 15"/>
                  <a:gd name="T15" fmla="*/ 15 h 51"/>
                  <a:gd name="T16" fmla="*/ 2 w 15"/>
                  <a:gd name="T17" fmla="*/ 32 h 51"/>
                  <a:gd name="T18" fmla="*/ 8 w 15"/>
                  <a:gd name="T19" fmla="*/ 40 h 51"/>
                  <a:gd name="T20" fmla="*/ 8 w 15"/>
                  <a:gd name="T21" fmla="*/ 45 h 51"/>
                  <a:gd name="T22" fmla="*/ 6 w 15"/>
                  <a:gd name="T23" fmla="*/ 49 h 51"/>
                  <a:gd name="T24" fmla="*/ 14 w 15"/>
                  <a:gd name="T25" fmla="*/ 47 h 51"/>
                  <a:gd name="T26" fmla="*/ 12 w 15"/>
                  <a:gd name="T27" fmla="*/ 3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51">
                    <a:moveTo>
                      <a:pt x="12" y="38"/>
                    </a:moveTo>
                    <a:cubicBezTo>
                      <a:pt x="11" y="34"/>
                      <a:pt x="8" y="32"/>
                      <a:pt x="6" y="28"/>
                    </a:cubicBezTo>
                    <a:cubicBezTo>
                      <a:pt x="6" y="27"/>
                      <a:pt x="5" y="25"/>
                      <a:pt x="5" y="24"/>
                    </a:cubicBezTo>
                    <a:cubicBezTo>
                      <a:pt x="5" y="21"/>
                      <a:pt x="6" y="18"/>
                      <a:pt x="7" y="15"/>
                    </a:cubicBezTo>
                    <a:cubicBezTo>
                      <a:pt x="8" y="13"/>
                      <a:pt x="9" y="10"/>
                      <a:pt x="10" y="7"/>
                    </a:cubicBezTo>
                    <a:cubicBezTo>
                      <a:pt x="10" y="4"/>
                      <a:pt x="9" y="1"/>
                      <a:pt x="7" y="0"/>
                    </a:cubicBezTo>
                    <a:cubicBezTo>
                      <a:pt x="9" y="2"/>
                      <a:pt x="9" y="5"/>
                      <a:pt x="8" y="7"/>
                    </a:cubicBezTo>
                    <a:cubicBezTo>
                      <a:pt x="7" y="10"/>
                      <a:pt x="4" y="13"/>
                      <a:pt x="3" y="15"/>
                    </a:cubicBezTo>
                    <a:cubicBezTo>
                      <a:pt x="1" y="21"/>
                      <a:pt x="0" y="26"/>
                      <a:pt x="2" y="32"/>
                    </a:cubicBezTo>
                    <a:cubicBezTo>
                      <a:pt x="4" y="34"/>
                      <a:pt x="7" y="37"/>
                      <a:pt x="8" y="40"/>
                    </a:cubicBezTo>
                    <a:cubicBezTo>
                      <a:pt x="8" y="41"/>
                      <a:pt x="8" y="43"/>
                      <a:pt x="8" y="45"/>
                    </a:cubicBezTo>
                    <a:cubicBezTo>
                      <a:pt x="8" y="46"/>
                      <a:pt x="6" y="48"/>
                      <a:pt x="6" y="49"/>
                    </a:cubicBezTo>
                    <a:cubicBezTo>
                      <a:pt x="8" y="51"/>
                      <a:pt x="13" y="49"/>
                      <a:pt x="14" y="47"/>
                    </a:cubicBezTo>
                    <a:cubicBezTo>
                      <a:pt x="15" y="45"/>
                      <a:pt x="13" y="40"/>
                      <a:pt x="12" y="38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4" name="Freeform 75"/>
              <p:cNvSpPr>
                <a:spLocks/>
              </p:cNvSpPr>
              <p:nvPr/>
            </p:nvSpPr>
            <p:spPr bwMode="auto">
              <a:xfrm>
                <a:off x="8853488" y="2362200"/>
                <a:ext cx="71438" cy="185738"/>
              </a:xfrm>
              <a:custGeom>
                <a:avLst/>
                <a:gdLst>
                  <a:gd name="T0" fmla="*/ 15 w 19"/>
                  <a:gd name="T1" fmla="*/ 35 h 49"/>
                  <a:gd name="T2" fmla="*/ 7 w 19"/>
                  <a:gd name="T3" fmla="*/ 27 h 49"/>
                  <a:gd name="T4" fmla="*/ 5 w 19"/>
                  <a:gd name="T5" fmla="*/ 23 h 49"/>
                  <a:gd name="T6" fmla="*/ 5 w 19"/>
                  <a:gd name="T7" fmla="*/ 15 h 49"/>
                  <a:gd name="T8" fmla="*/ 6 w 19"/>
                  <a:gd name="T9" fmla="*/ 6 h 49"/>
                  <a:gd name="T10" fmla="*/ 1 w 19"/>
                  <a:gd name="T11" fmla="*/ 0 h 49"/>
                  <a:gd name="T12" fmla="*/ 4 w 19"/>
                  <a:gd name="T13" fmla="*/ 7 h 49"/>
                  <a:gd name="T14" fmla="*/ 1 w 19"/>
                  <a:gd name="T15" fmla="*/ 16 h 49"/>
                  <a:gd name="T16" fmla="*/ 4 w 19"/>
                  <a:gd name="T17" fmla="*/ 32 h 49"/>
                  <a:gd name="T18" fmla="*/ 11 w 19"/>
                  <a:gd name="T19" fmla="*/ 38 h 49"/>
                  <a:gd name="T20" fmla="*/ 13 w 19"/>
                  <a:gd name="T21" fmla="*/ 43 h 49"/>
                  <a:gd name="T22" fmla="*/ 12 w 19"/>
                  <a:gd name="T23" fmla="*/ 48 h 49"/>
                  <a:gd name="T24" fmla="*/ 19 w 19"/>
                  <a:gd name="T25" fmla="*/ 45 h 49"/>
                  <a:gd name="T26" fmla="*/ 15 w 19"/>
                  <a:gd name="T27" fmla="*/ 3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49">
                    <a:moveTo>
                      <a:pt x="15" y="35"/>
                    </a:moveTo>
                    <a:cubicBezTo>
                      <a:pt x="13" y="32"/>
                      <a:pt x="10" y="31"/>
                      <a:pt x="7" y="27"/>
                    </a:cubicBezTo>
                    <a:cubicBezTo>
                      <a:pt x="6" y="26"/>
                      <a:pt x="5" y="25"/>
                      <a:pt x="5" y="23"/>
                    </a:cubicBezTo>
                    <a:cubicBezTo>
                      <a:pt x="4" y="21"/>
                      <a:pt x="4" y="18"/>
                      <a:pt x="5" y="15"/>
                    </a:cubicBezTo>
                    <a:cubicBezTo>
                      <a:pt x="5" y="12"/>
                      <a:pt x="6" y="9"/>
                      <a:pt x="6" y="6"/>
                    </a:cubicBezTo>
                    <a:cubicBezTo>
                      <a:pt x="5" y="3"/>
                      <a:pt x="4" y="1"/>
                      <a:pt x="1" y="0"/>
                    </a:cubicBezTo>
                    <a:cubicBezTo>
                      <a:pt x="3" y="1"/>
                      <a:pt x="4" y="4"/>
                      <a:pt x="4" y="7"/>
                    </a:cubicBezTo>
                    <a:cubicBezTo>
                      <a:pt x="4" y="10"/>
                      <a:pt x="2" y="13"/>
                      <a:pt x="1" y="16"/>
                    </a:cubicBezTo>
                    <a:cubicBezTo>
                      <a:pt x="0" y="22"/>
                      <a:pt x="1" y="27"/>
                      <a:pt x="4" y="32"/>
                    </a:cubicBezTo>
                    <a:cubicBezTo>
                      <a:pt x="6" y="34"/>
                      <a:pt x="10" y="36"/>
                      <a:pt x="11" y="38"/>
                    </a:cubicBezTo>
                    <a:cubicBezTo>
                      <a:pt x="12" y="40"/>
                      <a:pt x="12" y="42"/>
                      <a:pt x="13" y="43"/>
                    </a:cubicBezTo>
                    <a:cubicBezTo>
                      <a:pt x="13" y="44"/>
                      <a:pt x="11" y="47"/>
                      <a:pt x="12" y="48"/>
                    </a:cubicBezTo>
                    <a:cubicBezTo>
                      <a:pt x="14" y="49"/>
                      <a:pt x="18" y="46"/>
                      <a:pt x="19" y="45"/>
                    </a:cubicBezTo>
                    <a:cubicBezTo>
                      <a:pt x="19" y="42"/>
                      <a:pt x="17" y="37"/>
                      <a:pt x="15" y="35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5" name="Freeform 76"/>
              <p:cNvSpPr>
                <a:spLocks/>
              </p:cNvSpPr>
              <p:nvPr/>
            </p:nvSpPr>
            <p:spPr bwMode="auto">
              <a:xfrm>
                <a:off x="9182100" y="2397125"/>
                <a:ext cx="106363" cy="71438"/>
              </a:xfrm>
              <a:custGeom>
                <a:avLst/>
                <a:gdLst>
                  <a:gd name="T0" fmla="*/ 9 w 28"/>
                  <a:gd name="T1" fmla="*/ 16 h 19"/>
                  <a:gd name="T2" fmla="*/ 12 w 28"/>
                  <a:gd name="T3" fmla="*/ 9 h 19"/>
                  <a:gd name="T4" fmla="*/ 14 w 28"/>
                  <a:gd name="T5" fmla="*/ 7 h 19"/>
                  <a:gd name="T6" fmla="*/ 20 w 28"/>
                  <a:gd name="T7" fmla="*/ 5 h 19"/>
                  <a:gd name="T8" fmla="*/ 25 w 28"/>
                  <a:gd name="T9" fmla="*/ 4 h 19"/>
                  <a:gd name="T10" fmla="*/ 28 w 28"/>
                  <a:gd name="T11" fmla="*/ 0 h 19"/>
                  <a:gd name="T12" fmla="*/ 24 w 28"/>
                  <a:gd name="T13" fmla="*/ 3 h 19"/>
                  <a:gd name="T14" fmla="*/ 18 w 28"/>
                  <a:gd name="T15" fmla="*/ 3 h 19"/>
                  <a:gd name="T16" fmla="*/ 9 w 28"/>
                  <a:gd name="T17" fmla="*/ 8 h 19"/>
                  <a:gd name="T18" fmla="*/ 6 w 28"/>
                  <a:gd name="T19" fmla="*/ 13 h 19"/>
                  <a:gd name="T20" fmla="*/ 4 w 28"/>
                  <a:gd name="T21" fmla="*/ 15 h 19"/>
                  <a:gd name="T22" fmla="*/ 1 w 28"/>
                  <a:gd name="T23" fmla="*/ 16 h 19"/>
                  <a:gd name="T24" fmla="*/ 4 w 28"/>
                  <a:gd name="T25" fmla="*/ 19 h 19"/>
                  <a:gd name="T26" fmla="*/ 9 w 28"/>
                  <a:gd name="T27" fmla="*/ 1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19">
                    <a:moveTo>
                      <a:pt x="9" y="16"/>
                    </a:moveTo>
                    <a:cubicBezTo>
                      <a:pt x="10" y="13"/>
                      <a:pt x="11" y="11"/>
                      <a:pt x="12" y="9"/>
                    </a:cubicBezTo>
                    <a:cubicBezTo>
                      <a:pt x="13" y="8"/>
                      <a:pt x="14" y="8"/>
                      <a:pt x="14" y="7"/>
                    </a:cubicBezTo>
                    <a:cubicBezTo>
                      <a:pt x="16" y="6"/>
                      <a:pt x="18" y="6"/>
                      <a:pt x="20" y="5"/>
                    </a:cubicBezTo>
                    <a:cubicBezTo>
                      <a:pt x="21" y="5"/>
                      <a:pt x="23" y="5"/>
                      <a:pt x="25" y="4"/>
                    </a:cubicBezTo>
                    <a:cubicBezTo>
                      <a:pt x="27" y="4"/>
                      <a:pt x="28" y="2"/>
                      <a:pt x="28" y="0"/>
                    </a:cubicBezTo>
                    <a:cubicBezTo>
                      <a:pt x="28" y="2"/>
                      <a:pt x="26" y="3"/>
                      <a:pt x="24" y="3"/>
                    </a:cubicBezTo>
                    <a:cubicBezTo>
                      <a:pt x="23" y="4"/>
                      <a:pt x="20" y="3"/>
                      <a:pt x="18" y="3"/>
                    </a:cubicBezTo>
                    <a:cubicBezTo>
                      <a:pt x="15" y="4"/>
                      <a:pt x="11" y="5"/>
                      <a:pt x="9" y="8"/>
                    </a:cubicBezTo>
                    <a:cubicBezTo>
                      <a:pt x="8" y="10"/>
                      <a:pt x="8" y="12"/>
                      <a:pt x="6" y="13"/>
                    </a:cubicBezTo>
                    <a:cubicBezTo>
                      <a:pt x="6" y="14"/>
                      <a:pt x="4" y="15"/>
                      <a:pt x="4" y="15"/>
                    </a:cubicBezTo>
                    <a:cubicBezTo>
                      <a:pt x="3" y="16"/>
                      <a:pt x="1" y="15"/>
                      <a:pt x="1" y="16"/>
                    </a:cubicBezTo>
                    <a:cubicBezTo>
                      <a:pt x="0" y="17"/>
                      <a:pt x="3" y="19"/>
                      <a:pt x="4" y="19"/>
                    </a:cubicBezTo>
                    <a:cubicBezTo>
                      <a:pt x="6" y="19"/>
                      <a:pt x="8" y="17"/>
                      <a:pt x="9" y="16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6" name="Freeform 77"/>
              <p:cNvSpPr>
                <a:spLocks/>
              </p:cNvSpPr>
              <p:nvPr/>
            </p:nvSpPr>
            <p:spPr bwMode="auto">
              <a:xfrm>
                <a:off x="9212263" y="2471738"/>
                <a:ext cx="120650" cy="38100"/>
              </a:xfrm>
              <a:custGeom>
                <a:avLst/>
                <a:gdLst>
                  <a:gd name="T0" fmla="*/ 8 w 32"/>
                  <a:gd name="T1" fmla="*/ 8 h 10"/>
                  <a:gd name="T2" fmla="*/ 14 w 32"/>
                  <a:gd name="T3" fmla="*/ 4 h 10"/>
                  <a:gd name="T4" fmla="*/ 17 w 32"/>
                  <a:gd name="T5" fmla="*/ 4 h 10"/>
                  <a:gd name="T6" fmla="*/ 22 w 32"/>
                  <a:gd name="T7" fmla="*/ 5 h 10"/>
                  <a:gd name="T8" fmla="*/ 27 w 32"/>
                  <a:gd name="T9" fmla="*/ 6 h 10"/>
                  <a:gd name="T10" fmla="*/ 32 w 32"/>
                  <a:gd name="T11" fmla="*/ 4 h 10"/>
                  <a:gd name="T12" fmla="*/ 27 w 32"/>
                  <a:gd name="T13" fmla="*/ 5 h 10"/>
                  <a:gd name="T14" fmla="*/ 22 w 32"/>
                  <a:gd name="T15" fmla="*/ 2 h 10"/>
                  <a:gd name="T16" fmla="*/ 12 w 32"/>
                  <a:gd name="T17" fmla="*/ 2 h 10"/>
                  <a:gd name="T18" fmla="*/ 7 w 32"/>
                  <a:gd name="T19" fmla="*/ 5 h 10"/>
                  <a:gd name="T20" fmla="*/ 3 w 32"/>
                  <a:gd name="T21" fmla="*/ 6 h 10"/>
                  <a:gd name="T22" fmla="*/ 1 w 32"/>
                  <a:gd name="T23" fmla="*/ 5 h 10"/>
                  <a:gd name="T24" fmla="*/ 2 w 32"/>
                  <a:gd name="T25" fmla="*/ 9 h 10"/>
                  <a:gd name="T26" fmla="*/ 8 w 32"/>
                  <a:gd name="T2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10">
                    <a:moveTo>
                      <a:pt x="8" y="8"/>
                    </a:moveTo>
                    <a:cubicBezTo>
                      <a:pt x="10" y="7"/>
                      <a:pt x="12" y="5"/>
                      <a:pt x="14" y="4"/>
                    </a:cubicBezTo>
                    <a:cubicBezTo>
                      <a:pt x="15" y="4"/>
                      <a:pt x="16" y="4"/>
                      <a:pt x="17" y="4"/>
                    </a:cubicBezTo>
                    <a:cubicBezTo>
                      <a:pt x="19" y="3"/>
                      <a:pt x="20" y="4"/>
                      <a:pt x="22" y="5"/>
                    </a:cubicBezTo>
                    <a:cubicBezTo>
                      <a:pt x="24" y="5"/>
                      <a:pt x="26" y="6"/>
                      <a:pt x="27" y="6"/>
                    </a:cubicBezTo>
                    <a:cubicBezTo>
                      <a:pt x="29" y="7"/>
                      <a:pt x="31" y="6"/>
                      <a:pt x="32" y="4"/>
                    </a:cubicBezTo>
                    <a:cubicBezTo>
                      <a:pt x="31" y="6"/>
                      <a:pt x="29" y="6"/>
                      <a:pt x="27" y="5"/>
                    </a:cubicBezTo>
                    <a:cubicBezTo>
                      <a:pt x="26" y="5"/>
                      <a:pt x="24" y="3"/>
                      <a:pt x="22" y="2"/>
                    </a:cubicBezTo>
                    <a:cubicBezTo>
                      <a:pt x="19" y="1"/>
                      <a:pt x="15" y="0"/>
                      <a:pt x="12" y="2"/>
                    </a:cubicBezTo>
                    <a:cubicBezTo>
                      <a:pt x="10" y="3"/>
                      <a:pt x="8" y="5"/>
                      <a:pt x="7" y="5"/>
                    </a:cubicBezTo>
                    <a:cubicBezTo>
                      <a:pt x="6" y="6"/>
                      <a:pt x="4" y="6"/>
                      <a:pt x="3" y="6"/>
                    </a:cubicBezTo>
                    <a:cubicBezTo>
                      <a:pt x="2" y="6"/>
                      <a:pt x="1" y="4"/>
                      <a:pt x="1" y="5"/>
                    </a:cubicBezTo>
                    <a:cubicBezTo>
                      <a:pt x="0" y="5"/>
                      <a:pt x="1" y="9"/>
                      <a:pt x="2" y="9"/>
                    </a:cubicBezTo>
                    <a:cubicBezTo>
                      <a:pt x="3" y="10"/>
                      <a:pt x="6" y="9"/>
                      <a:pt x="8" y="8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7" name="Freeform 78"/>
              <p:cNvSpPr>
                <a:spLocks/>
              </p:cNvSpPr>
              <p:nvPr/>
            </p:nvSpPr>
            <p:spPr bwMode="auto">
              <a:xfrm>
                <a:off x="9148763" y="2339975"/>
                <a:ext cx="55563" cy="112713"/>
              </a:xfrm>
              <a:custGeom>
                <a:avLst/>
                <a:gdLst>
                  <a:gd name="T0" fmla="*/ 6 w 15"/>
                  <a:gd name="T1" fmla="*/ 24 h 30"/>
                  <a:gd name="T2" fmla="*/ 6 w 15"/>
                  <a:gd name="T3" fmla="*/ 17 h 30"/>
                  <a:gd name="T4" fmla="*/ 6 w 15"/>
                  <a:gd name="T5" fmla="*/ 14 h 30"/>
                  <a:gd name="T6" fmla="*/ 10 w 15"/>
                  <a:gd name="T7" fmla="*/ 10 h 30"/>
                  <a:gd name="T8" fmla="*/ 13 w 15"/>
                  <a:gd name="T9" fmla="*/ 6 h 30"/>
                  <a:gd name="T10" fmla="*/ 14 w 15"/>
                  <a:gd name="T11" fmla="*/ 0 h 30"/>
                  <a:gd name="T12" fmla="*/ 12 w 15"/>
                  <a:gd name="T13" fmla="*/ 5 h 30"/>
                  <a:gd name="T14" fmla="*/ 7 w 15"/>
                  <a:gd name="T15" fmla="*/ 8 h 30"/>
                  <a:gd name="T16" fmla="*/ 2 w 15"/>
                  <a:gd name="T17" fmla="*/ 18 h 30"/>
                  <a:gd name="T18" fmla="*/ 3 w 15"/>
                  <a:gd name="T19" fmla="*/ 24 h 30"/>
                  <a:gd name="T20" fmla="*/ 2 w 15"/>
                  <a:gd name="T21" fmla="*/ 27 h 30"/>
                  <a:gd name="T22" fmla="*/ 0 w 15"/>
                  <a:gd name="T23" fmla="*/ 29 h 30"/>
                  <a:gd name="T24" fmla="*/ 4 w 15"/>
                  <a:gd name="T25" fmla="*/ 30 h 30"/>
                  <a:gd name="T26" fmla="*/ 6 w 15"/>
                  <a:gd name="T27" fmla="*/ 2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30">
                    <a:moveTo>
                      <a:pt x="6" y="24"/>
                    </a:moveTo>
                    <a:cubicBezTo>
                      <a:pt x="6" y="21"/>
                      <a:pt x="6" y="19"/>
                      <a:pt x="6" y="17"/>
                    </a:cubicBezTo>
                    <a:cubicBezTo>
                      <a:pt x="6" y="16"/>
                      <a:pt x="6" y="15"/>
                      <a:pt x="6" y="14"/>
                    </a:cubicBezTo>
                    <a:cubicBezTo>
                      <a:pt x="7" y="12"/>
                      <a:pt x="8" y="11"/>
                      <a:pt x="10" y="10"/>
                    </a:cubicBezTo>
                    <a:cubicBezTo>
                      <a:pt x="11" y="8"/>
                      <a:pt x="12" y="7"/>
                      <a:pt x="13" y="6"/>
                    </a:cubicBezTo>
                    <a:cubicBezTo>
                      <a:pt x="14" y="4"/>
                      <a:pt x="15" y="2"/>
                      <a:pt x="14" y="0"/>
                    </a:cubicBezTo>
                    <a:cubicBezTo>
                      <a:pt x="14" y="2"/>
                      <a:pt x="14" y="4"/>
                      <a:pt x="12" y="5"/>
                    </a:cubicBezTo>
                    <a:cubicBezTo>
                      <a:pt x="11" y="6"/>
                      <a:pt x="9" y="7"/>
                      <a:pt x="7" y="8"/>
                    </a:cubicBezTo>
                    <a:cubicBezTo>
                      <a:pt x="4" y="11"/>
                      <a:pt x="2" y="14"/>
                      <a:pt x="2" y="18"/>
                    </a:cubicBezTo>
                    <a:cubicBezTo>
                      <a:pt x="2" y="19"/>
                      <a:pt x="3" y="22"/>
                      <a:pt x="3" y="24"/>
                    </a:cubicBezTo>
                    <a:cubicBezTo>
                      <a:pt x="3" y="25"/>
                      <a:pt x="2" y="26"/>
                      <a:pt x="2" y="27"/>
                    </a:cubicBezTo>
                    <a:cubicBezTo>
                      <a:pt x="2" y="28"/>
                      <a:pt x="0" y="28"/>
                      <a:pt x="0" y="29"/>
                    </a:cubicBezTo>
                    <a:cubicBezTo>
                      <a:pt x="0" y="30"/>
                      <a:pt x="3" y="30"/>
                      <a:pt x="4" y="30"/>
                    </a:cubicBezTo>
                    <a:cubicBezTo>
                      <a:pt x="6" y="29"/>
                      <a:pt x="6" y="26"/>
                      <a:pt x="6" y="24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8" name="Freeform 79"/>
              <p:cNvSpPr>
                <a:spLocks/>
              </p:cNvSpPr>
              <p:nvPr/>
            </p:nvSpPr>
            <p:spPr bwMode="auto">
              <a:xfrm>
                <a:off x="8724900" y="2706688"/>
                <a:ext cx="117475" cy="53975"/>
              </a:xfrm>
              <a:custGeom>
                <a:avLst/>
                <a:gdLst>
                  <a:gd name="T0" fmla="*/ 22 w 31"/>
                  <a:gd name="T1" fmla="*/ 3 h 14"/>
                  <a:gd name="T2" fmla="*/ 17 w 31"/>
                  <a:gd name="T3" fmla="*/ 9 h 14"/>
                  <a:gd name="T4" fmla="*/ 15 w 31"/>
                  <a:gd name="T5" fmla="*/ 10 h 14"/>
                  <a:gd name="T6" fmla="*/ 9 w 31"/>
                  <a:gd name="T7" fmla="*/ 11 h 14"/>
                  <a:gd name="T8" fmla="*/ 4 w 31"/>
                  <a:gd name="T9" fmla="*/ 11 h 14"/>
                  <a:gd name="T10" fmla="*/ 0 w 31"/>
                  <a:gd name="T11" fmla="*/ 14 h 14"/>
                  <a:gd name="T12" fmla="*/ 4 w 31"/>
                  <a:gd name="T13" fmla="*/ 12 h 14"/>
                  <a:gd name="T14" fmla="*/ 10 w 31"/>
                  <a:gd name="T15" fmla="*/ 13 h 14"/>
                  <a:gd name="T16" fmla="*/ 20 w 31"/>
                  <a:gd name="T17" fmla="*/ 10 h 14"/>
                  <a:gd name="T18" fmla="*/ 24 w 31"/>
                  <a:gd name="T19" fmla="*/ 6 h 14"/>
                  <a:gd name="T20" fmla="*/ 27 w 31"/>
                  <a:gd name="T21" fmla="*/ 4 h 14"/>
                  <a:gd name="T22" fmla="*/ 30 w 31"/>
                  <a:gd name="T23" fmla="*/ 4 h 14"/>
                  <a:gd name="T24" fmla="*/ 27 w 31"/>
                  <a:gd name="T25" fmla="*/ 0 h 14"/>
                  <a:gd name="T26" fmla="*/ 22 w 31"/>
                  <a:gd name="T27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14">
                    <a:moveTo>
                      <a:pt x="22" y="3"/>
                    </a:moveTo>
                    <a:cubicBezTo>
                      <a:pt x="20" y="5"/>
                      <a:pt x="19" y="7"/>
                      <a:pt x="17" y="9"/>
                    </a:cubicBezTo>
                    <a:cubicBezTo>
                      <a:pt x="16" y="9"/>
                      <a:pt x="16" y="10"/>
                      <a:pt x="15" y="10"/>
                    </a:cubicBezTo>
                    <a:cubicBezTo>
                      <a:pt x="13" y="11"/>
                      <a:pt x="11" y="11"/>
                      <a:pt x="9" y="11"/>
                    </a:cubicBezTo>
                    <a:cubicBezTo>
                      <a:pt x="7" y="11"/>
                      <a:pt x="6" y="11"/>
                      <a:pt x="4" y="11"/>
                    </a:cubicBezTo>
                    <a:cubicBezTo>
                      <a:pt x="2" y="11"/>
                      <a:pt x="0" y="13"/>
                      <a:pt x="0" y="14"/>
                    </a:cubicBezTo>
                    <a:cubicBezTo>
                      <a:pt x="1" y="13"/>
                      <a:pt x="3" y="12"/>
                      <a:pt x="4" y="12"/>
                    </a:cubicBezTo>
                    <a:cubicBezTo>
                      <a:pt x="6" y="12"/>
                      <a:pt x="8" y="13"/>
                      <a:pt x="10" y="13"/>
                    </a:cubicBezTo>
                    <a:cubicBezTo>
                      <a:pt x="14" y="14"/>
                      <a:pt x="17" y="13"/>
                      <a:pt x="20" y="10"/>
                    </a:cubicBezTo>
                    <a:cubicBezTo>
                      <a:pt x="21" y="9"/>
                      <a:pt x="22" y="7"/>
                      <a:pt x="24" y="6"/>
                    </a:cubicBezTo>
                    <a:cubicBezTo>
                      <a:pt x="25" y="5"/>
                      <a:pt x="26" y="5"/>
                      <a:pt x="27" y="4"/>
                    </a:cubicBezTo>
                    <a:cubicBezTo>
                      <a:pt x="28" y="4"/>
                      <a:pt x="29" y="5"/>
                      <a:pt x="30" y="4"/>
                    </a:cubicBezTo>
                    <a:cubicBezTo>
                      <a:pt x="31" y="3"/>
                      <a:pt x="28" y="1"/>
                      <a:pt x="27" y="0"/>
                    </a:cubicBezTo>
                    <a:cubicBezTo>
                      <a:pt x="26" y="0"/>
                      <a:pt x="23" y="2"/>
                      <a:pt x="22" y="3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9" name="Freeform 80"/>
              <p:cNvSpPr>
                <a:spLocks/>
              </p:cNvSpPr>
              <p:nvPr/>
            </p:nvSpPr>
            <p:spPr bwMode="auto">
              <a:xfrm>
                <a:off x="8697913" y="2657475"/>
                <a:ext cx="120650" cy="34925"/>
              </a:xfrm>
              <a:custGeom>
                <a:avLst/>
                <a:gdLst>
                  <a:gd name="T0" fmla="*/ 24 w 32"/>
                  <a:gd name="T1" fmla="*/ 2 h 9"/>
                  <a:gd name="T2" fmla="*/ 18 w 32"/>
                  <a:gd name="T3" fmla="*/ 5 h 9"/>
                  <a:gd name="T4" fmla="*/ 15 w 32"/>
                  <a:gd name="T5" fmla="*/ 5 h 9"/>
                  <a:gd name="T6" fmla="*/ 10 w 32"/>
                  <a:gd name="T7" fmla="*/ 3 h 9"/>
                  <a:gd name="T8" fmla="*/ 5 w 32"/>
                  <a:gd name="T9" fmla="*/ 0 h 9"/>
                  <a:gd name="T10" fmla="*/ 0 w 32"/>
                  <a:gd name="T11" fmla="*/ 1 h 9"/>
                  <a:gd name="T12" fmla="*/ 5 w 32"/>
                  <a:gd name="T13" fmla="*/ 2 h 9"/>
                  <a:gd name="T14" fmla="*/ 9 w 32"/>
                  <a:gd name="T15" fmla="*/ 6 h 9"/>
                  <a:gd name="T16" fmla="*/ 19 w 32"/>
                  <a:gd name="T17" fmla="*/ 8 h 9"/>
                  <a:gd name="T18" fmla="*/ 25 w 32"/>
                  <a:gd name="T19" fmla="*/ 5 h 9"/>
                  <a:gd name="T20" fmla="*/ 28 w 32"/>
                  <a:gd name="T21" fmla="*/ 6 h 9"/>
                  <a:gd name="T22" fmla="*/ 31 w 32"/>
                  <a:gd name="T23" fmla="*/ 7 h 9"/>
                  <a:gd name="T24" fmla="*/ 31 w 32"/>
                  <a:gd name="T25" fmla="*/ 3 h 9"/>
                  <a:gd name="T26" fmla="*/ 24 w 32"/>
                  <a:gd name="T2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9">
                    <a:moveTo>
                      <a:pt x="24" y="2"/>
                    </a:moveTo>
                    <a:cubicBezTo>
                      <a:pt x="22" y="3"/>
                      <a:pt x="20" y="4"/>
                      <a:pt x="18" y="5"/>
                    </a:cubicBezTo>
                    <a:cubicBezTo>
                      <a:pt x="17" y="5"/>
                      <a:pt x="16" y="5"/>
                      <a:pt x="15" y="5"/>
                    </a:cubicBezTo>
                    <a:cubicBezTo>
                      <a:pt x="13" y="5"/>
                      <a:pt x="11" y="4"/>
                      <a:pt x="10" y="3"/>
                    </a:cubicBezTo>
                    <a:cubicBezTo>
                      <a:pt x="8" y="2"/>
                      <a:pt x="7" y="1"/>
                      <a:pt x="5" y="0"/>
                    </a:cubicBezTo>
                    <a:cubicBezTo>
                      <a:pt x="3" y="0"/>
                      <a:pt x="1" y="0"/>
                      <a:pt x="0" y="1"/>
                    </a:cubicBezTo>
                    <a:cubicBezTo>
                      <a:pt x="1" y="0"/>
                      <a:pt x="3" y="1"/>
                      <a:pt x="5" y="2"/>
                    </a:cubicBezTo>
                    <a:cubicBezTo>
                      <a:pt x="6" y="3"/>
                      <a:pt x="8" y="5"/>
                      <a:pt x="9" y="6"/>
                    </a:cubicBezTo>
                    <a:cubicBezTo>
                      <a:pt x="12" y="8"/>
                      <a:pt x="16" y="9"/>
                      <a:pt x="19" y="8"/>
                    </a:cubicBezTo>
                    <a:cubicBezTo>
                      <a:pt x="21" y="7"/>
                      <a:pt x="23" y="6"/>
                      <a:pt x="25" y="5"/>
                    </a:cubicBezTo>
                    <a:cubicBezTo>
                      <a:pt x="26" y="5"/>
                      <a:pt x="27" y="6"/>
                      <a:pt x="28" y="6"/>
                    </a:cubicBezTo>
                    <a:cubicBezTo>
                      <a:pt x="29" y="6"/>
                      <a:pt x="30" y="8"/>
                      <a:pt x="31" y="7"/>
                    </a:cubicBezTo>
                    <a:cubicBezTo>
                      <a:pt x="32" y="7"/>
                      <a:pt x="31" y="3"/>
                      <a:pt x="31" y="3"/>
                    </a:cubicBezTo>
                    <a:cubicBezTo>
                      <a:pt x="29" y="1"/>
                      <a:pt x="26" y="2"/>
                      <a:pt x="24" y="2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0" name="Freeform 81"/>
              <p:cNvSpPr>
                <a:spLocks/>
              </p:cNvSpPr>
              <p:nvPr/>
            </p:nvSpPr>
            <p:spPr bwMode="auto">
              <a:xfrm>
                <a:off x="8796338" y="2730500"/>
                <a:ext cx="76200" cy="101600"/>
              </a:xfrm>
              <a:custGeom>
                <a:avLst/>
                <a:gdLst>
                  <a:gd name="T0" fmla="*/ 13 w 20"/>
                  <a:gd name="T1" fmla="*/ 6 h 27"/>
                  <a:gd name="T2" fmla="*/ 12 w 20"/>
                  <a:gd name="T3" fmla="*/ 13 h 27"/>
                  <a:gd name="T4" fmla="*/ 11 w 20"/>
                  <a:gd name="T5" fmla="*/ 16 h 27"/>
                  <a:gd name="T6" fmla="*/ 7 w 20"/>
                  <a:gd name="T7" fmla="*/ 19 h 27"/>
                  <a:gd name="T8" fmla="*/ 2 w 20"/>
                  <a:gd name="T9" fmla="*/ 22 h 27"/>
                  <a:gd name="T10" fmla="*/ 1 w 20"/>
                  <a:gd name="T11" fmla="*/ 27 h 27"/>
                  <a:gd name="T12" fmla="*/ 4 w 20"/>
                  <a:gd name="T13" fmla="*/ 23 h 27"/>
                  <a:gd name="T14" fmla="*/ 9 w 20"/>
                  <a:gd name="T15" fmla="*/ 21 h 27"/>
                  <a:gd name="T16" fmla="*/ 16 w 20"/>
                  <a:gd name="T17" fmla="*/ 13 h 27"/>
                  <a:gd name="T18" fmla="*/ 16 w 20"/>
                  <a:gd name="T19" fmla="*/ 7 h 27"/>
                  <a:gd name="T20" fmla="*/ 18 w 20"/>
                  <a:gd name="T21" fmla="*/ 4 h 27"/>
                  <a:gd name="T22" fmla="*/ 20 w 20"/>
                  <a:gd name="T23" fmla="*/ 2 h 27"/>
                  <a:gd name="T24" fmla="*/ 16 w 20"/>
                  <a:gd name="T25" fmla="*/ 0 h 27"/>
                  <a:gd name="T26" fmla="*/ 13 w 20"/>
                  <a:gd name="T2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27">
                    <a:moveTo>
                      <a:pt x="13" y="6"/>
                    </a:moveTo>
                    <a:cubicBezTo>
                      <a:pt x="12" y="8"/>
                      <a:pt x="13" y="10"/>
                      <a:pt x="12" y="13"/>
                    </a:cubicBezTo>
                    <a:cubicBezTo>
                      <a:pt x="12" y="14"/>
                      <a:pt x="12" y="15"/>
                      <a:pt x="11" y="16"/>
                    </a:cubicBezTo>
                    <a:cubicBezTo>
                      <a:pt x="10" y="17"/>
                      <a:pt x="9" y="18"/>
                      <a:pt x="7" y="19"/>
                    </a:cubicBezTo>
                    <a:cubicBezTo>
                      <a:pt x="5" y="20"/>
                      <a:pt x="4" y="21"/>
                      <a:pt x="2" y="22"/>
                    </a:cubicBezTo>
                    <a:cubicBezTo>
                      <a:pt x="1" y="24"/>
                      <a:pt x="0" y="26"/>
                      <a:pt x="1" y="27"/>
                    </a:cubicBezTo>
                    <a:cubicBezTo>
                      <a:pt x="1" y="26"/>
                      <a:pt x="2" y="24"/>
                      <a:pt x="4" y="23"/>
                    </a:cubicBezTo>
                    <a:cubicBezTo>
                      <a:pt x="5" y="22"/>
                      <a:pt x="7" y="22"/>
                      <a:pt x="9" y="21"/>
                    </a:cubicBezTo>
                    <a:cubicBezTo>
                      <a:pt x="12" y="19"/>
                      <a:pt x="15" y="16"/>
                      <a:pt x="16" y="13"/>
                    </a:cubicBezTo>
                    <a:cubicBezTo>
                      <a:pt x="16" y="11"/>
                      <a:pt x="15" y="8"/>
                      <a:pt x="16" y="7"/>
                    </a:cubicBezTo>
                    <a:cubicBezTo>
                      <a:pt x="16" y="6"/>
                      <a:pt x="17" y="4"/>
                      <a:pt x="18" y="4"/>
                    </a:cubicBezTo>
                    <a:cubicBezTo>
                      <a:pt x="18" y="3"/>
                      <a:pt x="20" y="3"/>
                      <a:pt x="20" y="2"/>
                    </a:cubicBezTo>
                    <a:cubicBezTo>
                      <a:pt x="20" y="1"/>
                      <a:pt x="17" y="0"/>
                      <a:pt x="16" y="0"/>
                    </a:cubicBezTo>
                    <a:cubicBezTo>
                      <a:pt x="14" y="1"/>
                      <a:pt x="13" y="4"/>
                      <a:pt x="13" y="6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1" name="Freeform 82"/>
              <p:cNvSpPr>
                <a:spLocks/>
              </p:cNvSpPr>
              <p:nvPr/>
            </p:nvSpPr>
            <p:spPr bwMode="auto">
              <a:xfrm>
                <a:off x="8739188" y="2427288"/>
                <a:ext cx="128588" cy="155575"/>
              </a:xfrm>
              <a:custGeom>
                <a:avLst/>
                <a:gdLst>
                  <a:gd name="T0" fmla="*/ 27 w 34"/>
                  <a:gd name="T1" fmla="*/ 28 h 41"/>
                  <a:gd name="T2" fmla="*/ 16 w 34"/>
                  <a:gd name="T3" fmla="*/ 23 h 41"/>
                  <a:gd name="T4" fmla="*/ 13 w 34"/>
                  <a:gd name="T5" fmla="*/ 21 h 41"/>
                  <a:gd name="T6" fmla="*/ 9 w 34"/>
                  <a:gd name="T7" fmla="*/ 13 h 41"/>
                  <a:gd name="T8" fmla="*/ 7 w 34"/>
                  <a:gd name="T9" fmla="*/ 5 h 41"/>
                  <a:gd name="T10" fmla="*/ 0 w 34"/>
                  <a:gd name="T11" fmla="*/ 0 h 41"/>
                  <a:gd name="T12" fmla="*/ 5 w 34"/>
                  <a:gd name="T13" fmla="*/ 6 h 41"/>
                  <a:gd name="T14" fmla="*/ 6 w 34"/>
                  <a:gd name="T15" fmla="*/ 15 h 41"/>
                  <a:gd name="T16" fmla="*/ 15 w 34"/>
                  <a:gd name="T17" fmla="*/ 29 h 41"/>
                  <a:gd name="T18" fmla="*/ 24 w 34"/>
                  <a:gd name="T19" fmla="*/ 32 h 41"/>
                  <a:gd name="T20" fmla="*/ 28 w 34"/>
                  <a:gd name="T21" fmla="*/ 36 h 41"/>
                  <a:gd name="T22" fmla="*/ 29 w 34"/>
                  <a:gd name="T23" fmla="*/ 40 h 41"/>
                  <a:gd name="T24" fmla="*/ 34 w 34"/>
                  <a:gd name="T25" fmla="*/ 35 h 41"/>
                  <a:gd name="T26" fmla="*/ 27 w 34"/>
                  <a:gd name="T27" fmla="*/ 2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" h="41">
                    <a:moveTo>
                      <a:pt x="27" y="28"/>
                    </a:moveTo>
                    <a:cubicBezTo>
                      <a:pt x="24" y="26"/>
                      <a:pt x="20" y="26"/>
                      <a:pt x="16" y="23"/>
                    </a:cubicBezTo>
                    <a:cubicBezTo>
                      <a:pt x="15" y="23"/>
                      <a:pt x="14" y="22"/>
                      <a:pt x="13" y="21"/>
                    </a:cubicBezTo>
                    <a:cubicBezTo>
                      <a:pt x="11" y="19"/>
                      <a:pt x="10" y="16"/>
                      <a:pt x="9" y="13"/>
                    </a:cubicBezTo>
                    <a:cubicBezTo>
                      <a:pt x="9" y="10"/>
                      <a:pt x="8" y="7"/>
                      <a:pt x="7" y="5"/>
                    </a:cubicBezTo>
                    <a:cubicBezTo>
                      <a:pt x="5" y="2"/>
                      <a:pt x="3" y="0"/>
                      <a:pt x="0" y="0"/>
                    </a:cubicBezTo>
                    <a:cubicBezTo>
                      <a:pt x="2" y="1"/>
                      <a:pt x="4" y="3"/>
                      <a:pt x="5" y="6"/>
                    </a:cubicBezTo>
                    <a:cubicBezTo>
                      <a:pt x="6" y="9"/>
                      <a:pt x="6" y="13"/>
                      <a:pt x="6" y="15"/>
                    </a:cubicBezTo>
                    <a:cubicBezTo>
                      <a:pt x="8" y="21"/>
                      <a:pt x="10" y="26"/>
                      <a:pt x="15" y="29"/>
                    </a:cubicBezTo>
                    <a:cubicBezTo>
                      <a:pt x="18" y="30"/>
                      <a:pt x="22" y="30"/>
                      <a:pt x="24" y="32"/>
                    </a:cubicBezTo>
                    <a:cubicBezTo>
                      <a:pt x="26" y="33"/>
                      <a:pt x="27" y="35"/>
                      <a:pt x="28" y="36"/>
                    </a:cubicBezTo>
                    <a:cubicBezTo>
                      <a:pt x="28" y="37"/>
                      <a:pt x="28" y="40"/>
                      <a:pt x="29" y="40"/>
                    </a:cubicBezTo>
                    <a:cubicBezTo>
                      <a:pt x="31" y="41"/>
                      <a:pt x="34" y="36"/>
                      <a:pt x="34" y="35"/>
                    </a:cubicBezTo>
                    <a:cubicBezTo>
                      <a:pt x="33" y="32"/>
                      <a:pt x="29" y="29"/>
                      <a:pt x="27" y="28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2" name="Freeform 83"/>
              <p:cNvSpPr>
                <a:spLocks/>
              </p:cNvSpPr>
              <p:nvPr/>
            </p:nvSpPr>
            <p:spPr bwMode="auto">
              <a:xfrm>
                <a:off x="8334375" y="2082800"/>
                <a:ext cx="280988" cy="131763"/>
              </a:xfrm>
              <a:custGeom>
                <a:avLst/>
                <a:gdLst>
                  <a:gd name="T0" fmla="*/ 56 w 74"/>
                  <a:gd name="T1" fmla="*/ 8 h 35"/>
                  <a:gd name="T2" fmla="*/ 43 w 74"/>
                  <a:gd name="T3" fmla="*/ 21 h 35"/>
                  <a:gd name="T4" fmla="*/ 37 w 74"/>
                  <a:gd name="T5" fmla="*/ 25 h 35"/>
                  <a:gd name="T6" fmla="*/ 24 w 74"/>
                  <a:gd name="T7" fmla="*/ 27 h 35"/>
                  <a:gd name="T8" fmla="*/ 10 w 74"/>
                  <a:gd name="T9" fmla="*/ 27 h 35"/>
                  <a:gd name="T10" fmla="*/ 0 w 74"/>
                  <a:gd name="T11" fmla="*/ 35 h 35"/>
                  <a:gd name="T12" fmla="*/ 11 w 74"/>
                  <a:gd name="T13" fmla="*/ 29 h 35"/>
                  <a:gd name="T14" fmla="*/ 24 w 74"/>
                  <a:gd name="T15" fmla="*/ 31 h 35"/>
                  <a:gd name="T16" fmla="*/ 49 w 74"/>
                  <a:gd name="T17" fmla="*/ 22 h 35"/>
                  <a:gd name="T18" fmla="*/ 59 w 74"/>
                  <a:gd name="T19" fmla="*/ 13 h 35"/>
                  <a:gd name="T20" fmla="*/ 65 w 74"/>
                  <a:gd name="T21" fmla="*/ 9 h 35"/>
                  <a:gd name="T22" fmla="*/ 72 w 74"/>
                  <a:gd name="T23" fmla="*/ 8 h 35"/>
                  <a:gd name="T24" fmla="*/ 68 w 74"/>
                  <a:gd name="T25" fmla="*/ 1 h 35"/>
                  <a:gd name="T26" fmla="*/ 56 w 74"/>
                  <a:gd name="T27" fmla="*/ 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4" h="35">
                    <a:moveTo>
                      <a:pt x="56" y="8"/>
                    </a:moveTo>
                    <a:cubicBezTo>
                      <a:pt x="51" y="12"/>
                      <a:pt x="47" y="17"/>
                      <a:pt x="43" y="21"/>
                    </a:cubicBezTo>
                    <a:cubicBezTo>
                      <a:pt x="41" y="23"/>
                      <a:pt x="39" y="24"/>
                      <a:pt x="37" y="25"/>
                    </a:cubicBezTo>
                    <a:cubicBezTo>
                      <a:pt x="33" y="27"/>
                      <a:pt x="28" y="27"/>
                      <a:pt x="24" y="27"/>
                    </a:cubicBezTo>
                    <a:cubicBezTo>
                      <a:pt x="19" y="26"/>
                      <a:pt x="15" y="26"/>
                      <a:pt x="10" y="27"/>
                    </a:cubicBezTo>
                    <a:cubicBezTo>
                      <a:pt x="6" y="28"/>
                      <a:pt x="1" y="30"/>
                      <a:pt x="0" y="35"/>
                    </a:cubicBezTo>
                    <a:cubicBezTo>
                      <a:pt x="2" y="31"/>
                      <a:pt x="7" y="29"/>
                      <a:pt x="11" y="29"/>
                    </a:cubicBezTo>
                    <a:cubicBezTo>
                      <a:pt x="16" y="30"/>
                      <a:pt x="20" y="31"/>
                      <a:pt x="24" y="31"/>
                    </a:cubicBezTo>
                    <a:cubicBezTo>
                      <a:pt x="33" y="32"/>
                      <a:pt x="42" y="28"/>
                      <a:pt x="49" y="22"/>
                    </a:cubicBezTo>
                    <a:cubicBezTo>
                      <a:pt x="52" y="19"/>
                      <a:pt x="55" y="15"/>
                      <a:pt x="59" y="13"/>
                    </a:cubicBezTo>
                    <a:cubicBezTo>
                      <a:pt x="61" y="11"/>
                      <a:pt x="63" y="10"/>
                      <a:pt x="65" y="9"/>
                    </a:cubicBezTo>
                    <a:cubicBezTo>
                      <a:pt x="67" y="9"/>
                      <a:pt x="70" y="9"/>
                      <a:pt x="72" y="8"/>
                    </a:cubicBezTo>
                    <a:cubicBezTo>
                      <a:pt x="74" y="5"/>
                      <a:pt x="70" y="2"/>
                      <a:pt x="68" y="1"/>
                    </a:cubicBezTo>
                    <a:cubicBezTo>
                      <a:pt x="64" y="0"/>
                      <a:pt x="58" y="5"/>
                      <a:pt x="56" y="8"/>
                    </a:cubicBezTo>
                    <a:close/>
                  </a:path>
                </a:pathLst>
              </a:custGeom>
              <a:solidFill>
                <a:srgbClr val="D054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3" name="Freeform 84"/>
              <p:cNvSpPr>
                <a:spLocks/>
              </p:cNvSpPr>
              <p:nvPr/>
            </p:nvSpPr>
            <p:spPr bwMode="auto">
              <a:xfrm>
                <a:off x="9080500" y="2692400"/>
                <a:ext cx="147638" cy="136525"/>
              </a:xfrm>
              <a:custGeom>
                <a:avLst/>
                <a:gdLst>
                  <a:gd name="T0" fmla="*/ 13 w 39"/>
                  <a:gd name="T1" fmla="*/ 7 h 36"/>
                  <a:gd name="T2" fmla="*/ 17 w 39"/>
                  <a:gd name="T3" fmla="*/ 18 h 36"/>
                  <a:gd name="T4" fmla="*/ 19 w 39"/>
                  <a:gd name="T5" fmla="*/ 22 h 36"/>
                  <a:gd name="T6" fmla="*/ 27 w 39"/>
                  <a:gd name="T7" fmla="*/ 26 h 36"/>
                  <a:gd name="T8" fmla="*/ 35 w 39"/>
                  <a:gd name="T9" fmla="*/ 29 h 36"/>
                  <a:gd name="T10" fmla="*/ 39 w 39"/>
                  <a:gd name="T11" fmla="*/ 36 h 36"/>
                  <a:gd name="T12" fmla="*/ 34 w 39"/>
                  <a:gd name="T13" fmla="*/ 30 h 36"/>
                  <a:gd name="T14" fmla="*/ 25 w 39"/>
                  <a:gd name="T15" fmla="*/ 29 h 36"/>
                  <a:gd name="T16" fmla="*/ 12 w 39"/>
                  <a:gd name="T17" fmla="*/ 19 h 36"/>
                  <a:gd name="T18" fmla="*/ 9 w 39"/>
                  <a:gd name="T19" fmla="*/ 10 h 36"/>
                  <a:gd name="T20" fmla="*/ 5 w 39"/>
                  <a:gd name="T21" fmla="*/ 6 h 36"/>
                  <a:gd name="T22" fmla="*/ 1 w 39"/>
                  <a:gd name="T23" fmla="*/ 5 h 36"/>
                  <a:gd name="T24" fmla="*/ 7 w 39"/>
                  <a:gd name="T25" fmla="*/ 0 h 36"/>
                  <a:gd name="T26" fmla="*/ 13 w 39"/>
                  <a:gd name="T27" fmla="*/ 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36">
                    <a:moveTo>
                      <a:pt x="13" y="7"/>
                    </a:moveTo>
                    <a:cubicBezTo>
                      <a:pt x="15" y="11"/>
                      <a:pt x="15" y="15"/>
                      <a:pt x="17" y="18"/>
                    </a:cubicBezTo>
                    <a:cubicBezTo>
                      <a:pt x="18" y="19"/>
                      <a:pt x="18" y="21"/>
                      <a:pt x="19" y="22"/>
                    </a:cubicBezTo>
                    <a:cubicBezTo>
                      <a:pt x="22" y="24"/>
                      <a:pt x="24" y="25"/>
                      <a:pt x="27" y="26"/>
                    </a:cubicBezTo>
                    <a:cubicBezTo>
                      <a:pt x="30" y="27"/>
                      <a:pt x="33" y="27"/>
                      <a:pt x="35" y="29"/>
                    </a:cubicBezTo>
                    <a:cubicBezTo>
                      <a:pt x="38" y="30"/>
                      <a:pt x="39" y="33"/>
                      <a:pt x="39" y="36"/>
                    </a:cubicBezTo>
                    <a:cubicBezTo>
                      <a:pt x="39" y="33"/>
                      <a:pt x="36" y="31"/>
                      <a:pt x="34" y="30"/>
                    </a:cubicBezTo>
                    <a:cubicBezTo>
                      <a:pt x="31" y="29"/>
                      <a:pt x="27" y="30"/>
                      <a:pt x="25" y="29"/>
                    </a:cubicBezTo>
                    <a:cubicBezTo>
                      <a:pt x="19" y="27"/>
                      <a:pt x="14" y="24"/>
                      <a:pt x="12" y="19"/>
                    </a:cubicBezTo>
                    <a:cubicBezTo>
                      <a:pt x="10" y="16"/>
                      <a:pt x="10" y="12"/>
                      <a:pt x="9" y="10"/>
                    </a:cubicBezTo>
                    <a:cubicBezTo>
                      <a:pt x="8" y="9"/>
                      <a:pt x="6" y="7"/>
                      <a:pt x="5" y="6"/>
                    </a:cubicBezTo>
                    <a:cubicBezTo>
                      <a:pt x="4" y="5"/>
                      <a:pt x="1" y="6"/>
                      <a:pt x="1" y="5"/>
                    </a:cubicBezTo>
                    <a:cubicBezTo>
                      <a:pt x="0" y="3"/>
                      <a:pt x="5" y="0"/>
                      <a:pt x="7" y="0"/>
                    </a:cubicBezTo>
                    <a:cubicBezTo>
                      <a:pt x="9" y="1"/>
                      <a:pt x="12" y="5"/>
                      <a:pt x="13" y="7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4" name="Freeform 85"/>
              <p:cNvSpPr>
                <a:spLocks/>
              </p:cNvSpPr>
              <p:nvPr/>
            </p:nvSpPr>
            <p:spPr bwMode="auto">
              <a:xfrm>
                <a:off x="9140825" y="2635250"/>
                <a:ext cx="147638" cy="136525"/>
              </a:xfrm>
              <a:custGeom>
                <a:avLst/>
                <a:gdLst>
                  <a:gd name="T0" fmla="*/ 13 w 39"/>
                  <a:gd name="T1" fmla="*/ 8 h 36"/>
                  <a:gd name="T2" fmla="*/ 16 w 39"/>
                  <a:gd name="T3" fmla="*/ 18 h 36"/>
                  <a:gd name="T4" fmla="*/ 19 w 39"/>
                  <a:gd name="T5" fmla="*/ 22 h 36"/>
                  <a:gd name="T6" fmla="*/ 26 w 39"/>
                  <a:gd name="T7" fmla="*/ 26 h 36"/>
                  <a:gd name="T8" fmla="*/ 34 w 39"/>
                  <a:gd name="T9" fmla="*/ 29 h 36"/>
                  <a:gd name="T10" fmla="*/ 38 w 39"/>
                  <a:gd name="T11" fmla="*/ 36 h 36"/>
                  <a:gd name="T12" fmla="*/ 33 w 39"/>
                  <a:gd name="T13" fmla="*/ 30 h 36"/>
                  <a:gd name="T14" fmla="*/ 24 w 39"/>
                  <a:gd name="T15" fmla="*/ 29 h 36"/>
                  <a:gd name="T16" fmla="*/ 11 w 39"/>
                  <a:gd name="T17" fmla="*/ 19 h 36"/>
                  <a:gd name="T18" fmla="*/ 8 w 39"/>
                  <a:gd name="T19" fmla="*/ 10 h 36"/>
                  <a:gd name="T20" fmla="*/ 4 w 39"/>
                  <a:gd name="T21" fmla="*/ 6 h 36"/>
                  <a:gd name="T22" fmla="*/ 0 w 39"/>
                  <a:gd name="T23" fmla="*/ 5 h 36"/>
                  <a:gd name="T24" fmla="*/ 6 w 39"/>
                  <a:gd name="T25" fmla="*/ 0 h 36"/>
                  <a:gd name="T26" fmla="*/ 13 w 39"/>
                  <a:gd name="T27" fmla="*/ 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36">
                    <a:moveTo>
                      <a:pt x="13" y="8"/>
                    </a:moveTo>
                    <a:cubicBezTo>
                      <a:pt x="14" y="11"/>
                      <a:pt x="14" y="15"/>
                      <a:pt x="16" y="18"/>
                    </a:cubicBezTo>
                    <a:cubicBezTo>
                      <a:pt x="17" y="20"/>
                      <a:pt x="18" y="21"/>
                      <a:pt x="19" y="22"/>
                    </a:cubicBezTo>
                    <a:cubicBezTo>
                      <a:pt x="21" y="24"/>
                      <a:pt x="24" y="25"/>
                      <a:pt x="26" y="26"/>
                    </a:cubicBezTo>
                    <a:cubicBezTo>
                      <a:pt x="29" y="27"/>
                      <a:pt x="32" y="27"/>
                      <a:pt x="34" y="29"/>
                    </a:cubicBezTo>
                    <a:cubicBezTo>
                      <a:pt x="37" y="31"/>
                      <a:pt x="39" y="33"/>
                      <a:pt x="38" y="36"/>
                    </a:cubicBezTo>
                    <a:cubicBezTo>
                      <a:pt x="38" y="34"/>
                      <a:pt x="36" y="31"/>
                      <a:pt x="33" y="30"/>
                    </a:cubicBezTo>
                    <a:cubicBezTo>
                      <a:pt x="30" y="30"/>
                      <a:pt x="26" y="30"/>
                      <a:pt x="24" y="29"/>
                    </a:cubicBezTo>
                    <a:cubicBezTo>
                      <a:pt x="18" y="27"/>
                      <a:pt x="14" y="24"/>
                      <a:pt x="11" y="19"/>
                    </a:cubicBezTo>
                    <a:cubicBezTo>
                      <a:pt x="10" y="17"/>
                      <a:pt x="10" y="13"/>
                      <a:pt x="8" y="10"/>
                    </a:cubicBezTo>
                    <a:cubicBezTo>
                      <a:pt x="7" y="9"/>
                      <a:pt x="6" y="7"/>
                      <a:pt x="4" y="6"/>
                    </a:cubicBezTo>
                    <a:cubicBezTo>
                      <a:pt x="3" y="6"/>
                      <a:pt x="1" y="6"/>
                      <a:pt x="0" y="5"/>
                    </a:cubicBezTo>
                    <a:cubicBezTo>
                      <a:pt x="0" y="3"/>
                      <a:pt x="4" y="0"/>
                      <a:pt x="6" y="0"/>
                    </a:cubicBezTo>
                    <a:cubicBezTo>
                      <a:pt x="9" y="1"/>
                      <a:pt x="12" y="5"/>
                      <a:pt x="13" y="8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5" name="Freeform 86"/>
              <p:cNvSpPr>
                <a:spLocks/>
              </p:cNvSpPr>
              <p:nvPr/>
            </p:nvSpPr>
            <p:spPr bwMode="auto">
              <a:xfrm>
                <a:off x="9015413" y="2725738"/>
                <a:ext cx="117475" cy="163513"/>
              </a:xfrm>
              <a:custGeom>
                <a:avLst/>
                <a:gdLst>
                  <a:gd name="T0" fmla="*/ 12 w 31"/>
                  <a:gd name="T1" fmla="*/ 9 h 43"/>
                  <a:gd name="T2" fmla="*/ 13 w 31"/>
                  <a:gd name="T3" fmla="*/ 20 h 43"/>
                  <a:gd name="T4" fmla="*/ 15 w 31"/>
                  <a:gd name="T5" fmla="*/ 25 h 43"/>
                  <a:gd name="T6" fmla="*/ 21 w 31"/>
                  <a:gd name="T7" fmla="*/ 30 h 43"/>
                  <a:gd name="T8" fmla="*/ 28 w 31"/>
                  <a:gd name="T9" fmla="*/ 35 h 43"/>
                  <a:gd name="T10" fmla="*/ 31 w 31"/>
                  <a:gd name="T11" fmla="*/ 43 h 43"/>
                  <a:gd name="T12" fmla="*/ 27 w 31"/>
                  <a:gd name="T13" fmla="*/ 36 h 43"/>
                  <a:gd name="T14" fmla="*/ 18 w 31"/>
                  <a:gd name="T15" fmla="*/ 32 h 43"/>
                  <a:gd name="T16" fmla="*/ 8 w 31"/>
                  <a:gd name="T17" fmla="*/ 20 h 43"/>
                  <a:gd name="T18" fmla="*/ 7 w 31"/>
                  <a:gd name="T19" fmla="*/ 10 h 43"/>
                  <a:gd name="T20" fmla="*/ 4 w 31"/>
                  <a:gd name="T21" fmla="*/ 6 h 43"/>
                  <a:gd name="T22" fmla="*/ 1 w 31"/>
                  <a:gd name="T23" fmla="*/ 4 h 43"/>
                  <a:gd name="T24" fmla="*/ 7 w 31"/>
                  <a:gd name="T25" fmla="*/ 1 h 43"/>
                  <a:gd name="T26" fmla="*/ 12 w 31"/>
                  <a:gd name="T27" fmla="*/ 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43">
                    <a:moveTo>
                      <a:pt x="12" y="9"/>
                    </a:moveTo>
                    <a:cubicBezTo>
                      <a:pt x="13" y="13"/>
                      <a:pt x="12" y="16"/>
                      <a:pt x="13" y="20"/>
                    </a:cubicBezTo>
                    <a:cubicBezTo>
                      <a:pt x="13" y="22"/>
                      <a:pt x="14" y="23"/>
                      <a:pt x="15" y="25"/>
                    </a:cubicBezTo>
                    <a:cubicBezTo>
                      <a:pt x="16" y="27"/>
                      <a:pt x="19" y="29"/>
                      <a:pt x="21" y="30"/>
                    </a:cubicBezTo>
                    <a:cubicBezTo>
                      <a:pt x="24" y="32"/>
                      <a:pt x="26" y="33"/>
                      <a:pt x="28" y="35"/>
                    </a:cubicBezTo>
                    <a:cubicBezTo>
                      <a:pt x="30" y="37"/>
                      <a:pt x="31" y="40"/>
                      <a:pt x="31" y="43"/>
                    </a:cubicBezTo>
                    <a:cubicBezTo>
                      <a:pt x="31" y="40"/>
                      <a:pt x="29" y="38"/>
                      <a:pt x="27" y="36"/>
                    </a:cubicBezTo>
                    <a:cubicBezTo>
                      <a:pt x="24" y="34"/>
                      <a:pt x="20" y="34"/>
                      <a:pt x="18" y="32"/>
                    </a:cubicBezTo>
                    <a:cubicBezTo>
                      <a:pt x="13" y="30"/>
                      <a:pt x="9" y="26"/>
                      <a:pt x="8" y="20"/>
                    </a:cubicBezTo>
                    <a:cubicBezTo>
                      <a:pt x="7" y="17"/>
                      <a:pt x="8" y="13"/>
                      <a:pt x="7" y="10"/>
                    </a:cubicBezTo>
                    <a:cubicBezTo>
                      <a:pt x="7" y="9"/>
                      <a:pt x="5" y="7"/>
                      <a:pt x="4" y="6"/>
                    </a:cubicBezTo>
                    <a:cubicBezTo>
                      <a:pt x="4" y="5"/>
                      <a:pt x="1" y="5"/>
                      <a:pt x="1" y="4"/>
                    </a:cubicBezTo>
                    <a:cubicBezTo>
                      <a:pt x="0" y="2"/>
                      <a:pt x="6" y="0"/>
                      <a:pt x="7" y="1"/>
                    </a:cubicBezTo>
                    <a:cubicBezTo>
                      <a:pt x="10" y="2"/>
                      <a:pt x="11" y="7"/>
                      <a:pt x="12" y="9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6" name="Freeform 87"/>
              <p:cNvSpPr>
                <a:spLocks/>
              </p:cNvSpPr>
              <p:nvPr/>
            </p:nvSpPr>
            <p:spPr bwMode="auto">
              <a:xfrm>
                <a:off x="8955088" y="2747963"/>
                <a:ext cx="57150" cy="190500"/>
              </a:xfrm>
              <a:custGeom>
                <a:avLst/>
                <a:gdLst>
                  <a:gd name="T0" fmla="*/ 9 w 15"/>
                  <a:gd name="T1" fmla="*/ 11 h 50"/>
                  <a:gd name="T2" fmla="*/ 6 w 15"/>
                  <a:gd name="T3" fmla="*/ 22 h 50"/>
                  <a:gd name="T4" fmla="*/ 5 w 15"/>
                  <a:gd name="T5" fmla="*/ 26 h 50"/>
                  <a:gd name="T6" fmla="*/ 9 w 15"/>
                  <a:gd name="T7" fmla="*/ 34 h 50"/>
                  <a:gd name="T8" fmla="*/ 14 w 15"/>
                  <a:gd name="T9" fmla="*/ 41 h 50"/>
                  <a:gd name="T10" fmla="*/ 13 w 15"/>
                  <a:gd name="T11" fmla="*/ 50 h 50"/>
                  <a:gd name="T12" fmla="*/ 12 w 15"/>
                  <a:gd name="T13" fmla="*/ 42 h 50"/>
                  <a:gd name="T14" fmla="*/ 6 w 15"/>
                  <a:gd name="T15" fmla="*/ 35 h 50"/>
                  <a:gd name="T16" fmla="*/ 1 w 15"/>
                  <a:gd name="T17" fmla="*/ 20 h 50"/>
                  <a:gd name="T18" fmla="*/ 4 w 15"/>
                  <a:gd name="T19" fmla="*/ 11 h 50"/>
                  <a:gd name="T20" fmla="*/ 3 w 15"/>
                  <a:gd name="T21" fmla="*/ 5 h 50"/>
                  <a:gd name="T22" fmla="*/ 1 w 15"/>
                  <a:gd name="T23" fmla="*/ 2 h 50"/>
                  <a:gd name="T24" fmla="*/ 8 w 15"/>
                  <a:gd name="T25" fmla="*/ 1 h 50"/>
                  <a:gd name="T26" fmla="*/ 9 w 15"/>
                  <a:gd name="T27" fmla="*/ 1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50">
                    <a:moveTo>
                      <a:pt x="9" y="11"/>
                    </a:moveTo>
                    <a:cubicBezTo>
                      <a:pt x="8" y="15"/>
                      <a:pt x="6" y="18"/>
                      <a:pt x="6" y="22"/>
                    </a:cubicBezTo>
                    <a:cubicBezTo>
                      <a:pt x="5" y="24"/>
                      <a:pt x="5" y="25"/>
                      <a:pt x="5" y="26"/>
                    </a:cubicBezTo>
                    <a:cubicBezTo>
                      <a:pt x="6" y="29"/>
                      <a:pt x="8" y="32"/>
                      <a:pt x="9" y="34"/>
                    </a:cubicBezTo>
                    <a:cubicBezTo>
                      <a:pt x="11" y="36"/>
                      <a:pt x="13" y="39"/>
                      <a:pt x="14" y="41"/>
                    </a:cubicBezTo>
                    <a:cubicBezTo>
                      <a:pt x="15" y="44"/>
                      <a:pt x="15" y="47"/>
                      <a:pt x="13" y="50"/>
                    </a:cubicBezTo>
                    <a:cubicBezTo>
                      <a:pt x="14" y="47"/>
                      <a:pt x="13" y="44"/>
                      <a:pt x="12" y="42"/>
                    </a:cubicBezTo>
                    <a:cubicBezTo>
                      <a:pt x="10" y="39"/>
                      <a:pt x="7" y="37"/>
                      <a:pt x="6" y="35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2" y="17"/>
                      <a:pt x="4" y="13"/>
                      <a:pt x="4" y="11"/>
                    </a:cubicBezTo>
                    <a:cubicBezTo>
                      <a:pt x="4" y="9"/>
                      <a:pt x="4" y="7"/>
                      <a:pt x="3" y="5"/>
                    </a:cubicBezTo>
                    <a:cubicBezTo>
                      <a:pt x="3" y="4"/>
                      <a:pt x="0" y="3"/>
                      <a:pt x="1" y="2"/>
                    </a:cubicBezTo>
                    <a:cubicBezTo>
                      <a:pt x="2" y="0"/>
                      <a:pt x="7" y="0"/>
                      <a:pt x="8" y="1"/>
                    </a:cubicBezTo>
                    <a:cubicBezTo>
                      <a:pt x="10" y="3"/>
                      <a:pt x="10" y="9"/>
                      <a:pt x="9" y="11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7" name="Freeform 88"/>
              <p:cNvSpPr>
                <a:spLocks/>
              </p:cNvSpPr>
              <p:nvPr/>
            </p:nvSpPr>
            <p:spPr bwMode="auto">
              <a:xfrm>
                <a:off x="7986713" y="2127250"/>
                <a:ext cx="19050" cy="34925"/>
              </a:xfrm>
              <a:custGeom>
                <a:avLst/>
                <a:gdLst>
                  <a:gd name="T0" fmla="*/ 1 w 5"/>
                  <a:gd name="T1" fmla="*/ 0 h 9"/>
                  <a:gd name="T2" fmla="*/ 1 w 5"/>
                  <a:gd name="T3" fmla="*/ 0 h 9"/>
                  <a:gd name="T4" fmla="*/ 1 w 5"/>
                  <a:gd name="T5" fmla="*/ 0 h 9"/>
                  <a:gd name="T6" fmla="*/ 3 w 5"/>
                  <a:gd name="T7" fmla="*/ 0 h 9"/>
                  <a:gd name="T8" fmla="*/ 3 w 5"/>
                  <a:gd name="T9" fmla="*/ 2 h 9"/>
                  <a:gd name="T10" fmla="*/ 4 w 5"/>
                  <a:gd name="T11" fmla="*/ 7 h 9"/>
                  <a:gd name="T12" fmla="*/ 3 w 5"/>
                  <a:gd name="T13" fmla="*/ 8 h 9"/>
                  <a:gd name="T14" fmla="*/ 1 w 5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9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" y="1"/>
                      <a:pt x="3" y="1"/>
                      <a:pt x="3" y="2"/>
                    </a:cubicBezTo>
                    <a:cubicBezTo>
                      <a:pt x="3" y="3"/>
                      <a:pt x="4" y="5"/>
                      <a:pt x="4" y="7"/>
                    </a:cubicBezTo>
                    <a:cubicBezTo>
                      <a:pt x="4" y="8"/>
                      <a:pt x="5" y="9"/>
                      <a:pt x="3" y="8"/>
                    </a:cubicBezTo>
                    <a:cubicBezTo>
                      <a:pt x="0" y="7"/>
                      <a:pt x="0" y="2"/>
                      <a:pt x="1" y="0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8" name="Freeform 89"/>
              <p:cNvSpPr>
                <a:spLocks/>
              </p:cNvSpPr>
              <p:nvPr/>
            </p:nvSpPr>
            <p:spPr bwMode="auto">
              <a:xfrm>
                <a:off x="8020050" y="2116138"/>
                <a:ext cx="23813" cy="38100"/>
              </a:xfrm>
              <a:custGeom>
                <a:avLst/>
                <a:gdLst>
                  <a:gd name="T0" fmla="*/ 4 w 6"/>
                  <a:gd name="T1" fmla="*/ 0 h 10"/>
                  <a:gd name="T2" fmla="*/ 4 w 6"/>
                  <a:gd name="T3" fmla="*/ 0 h 10"/>
                  <a:gd name="T4" fmla="*/ 5 w 6"/>
                  <a:gd name="T5" fmla="*/ 0 h 10"/>
                  <a:gd name="T6" fmla="*/ 6 w 6"/>
                  <a:gd name="T7" fmla="*/ 1 h 10"/>
                  <a:gd name="T8" fmla="*/ 5 w 6"/>
                  <a:gd name="T9" fmla="*/ 3 h 10"/>
                  <a:gd name="T10" fmla="*/ 5 w 6"/>
                  <a:gd name="T11" fmla="*/ 8 h 10"/>
                  <a:gd name="T12" fmla="*/ 3 w 6"/>
                  <a:gd name="T13" fmla="*/ 9 h 10"/>
                  <a:gd name="T14" fmla="*/ 4 w 6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0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5" y="0"/>
                      <a:pt x="6" y="1"/>
                      <a:pt x="6" y="1"/>
                    </a:cubicBezTo>
                    <a:cubicBezTo>
                      <a:pt x="6" y="2"/>
                      <a:pt x="6" y="2"/>
                      <a:pt x="5" y="3"/>
                    </a:cubicBezTo>
                    <a:cubicBezTo>
                      <a:pt x="5" y="4"/>
                      <a:pt x="5" y="6"/>
                      <a:pt x="5" y="8"/>
                    </a:cubicBezTo>
                    <a:cubicBezTo>
                      <a:pt x="4" y="9"/>
                      <a:pt x="4" y="10"/>
                      <a:pt x="3" y="9"/>
                    </a:cubicBezTo>
                    <a:cubicBezTo>
                      <a:pt x="0" y="6"/>
                      <a:pt x="3" y="2"/>
                      <a:pt x="4" y="0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9" name="Freeform 90"/>
              <p:cNvSpPr>
                <a:spLocks/>
              </p:cNvSpPr>
              <p:nvPr/>
            </p:nvSpPr>
            <p:spPr bwMode="auto">
              <a:xfrm>
                <a:off x="8058150" y="2124075"/>
                <a:ext cx="26988" cy="33338"/>
              </a:xfrm>
              <a:custGeom>
                <a:avLst/>
                <a:gdLst>
                  <a:gd name="T0" fmla="*/ 5 w 7"/>
                  <a:gd name="T1" fmla="*/ 0 h 9"/>
                  <a:gd name="T2" fmla="*/ 6 w 7"/>
                  <a:gd name="T3" fmla="*/ 0 h 9"/>
                  <a:gd name="T4" fmla="*/ 6 w 7"/>
                  <a:gd name="T5" fmla="*/ 0 h 9"/>
                  <a:gd name="T6" fmla="*/ 7 w 7"/>
                  <a:gd name="T7" fmla="*/ 1 h 9"/>
                  <a:gd name="T8" fmla="*/ 6 w 7"/>
                  <a:gd name="T9" fmla="*/ 3 h 9"/>
                  <a:gd name="T10" fmla="*/ 4 w 7"/>
                  <a:gd name="T11" fmla="*/ 7 h 9"/>
                  <a:gd name="T12" fmla="*/ 2 w 7"/>
                  <a:gd name="T13" fmla="*/ 8 h 9"/>
                  <a:gd name="T14" fmla="*/ 5 w 7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9">
                    <a:moveTo>
                      <a:pt x="5" y="0"/>
                    </a:moveTo>
                    <a:cubicBezTo>
                      <a:pt x="5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7" y="1"/>
                      <a:pt x="7" y="1"/>
                    </a:cubicBezTo>
                    <a:cubicBezTo>
                      <a:pt x="7" y="2"/>
                      <a:pt x="7" y="2"/>
                      <a:pt x="6" y="3"/>
                    </a:cubicBezTo>
                    <a:cubicBezTo>
                      <a:pt x="5" y="4"/>
                      <a:pt x="5" y="6"/>
                      <a:pt x="4" y="7"/>
                    </a:cubicBezTo>
                    <a:cubicBezTo>
                      <a:pt x="4" y="8"/>
                      <a:pt x="3" y="9"/>
                      <a:pt x="2" y="8"/>
                    </a:cubicBezTo>
                    <a:cubicBezTo>
                      <a:pt x="0" y="5"/>
                      <a:pt x="4" y="2"/>
                      <a:pt x="5" y="0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0" name="Freeform 91"/>
              <p:cNvSpPr>
                <a:spLocks/>
              </p:cNvSpPr>
              <p:nvPr/>
            </p:nvSpPr>
            <p:spPr bwMode="auto">
              <a:xfrm>
                <a:off x="8081963" y="2151063"/>
                <a:ext cx="36513" cy="19050"/>
              </a:xfrm>
              <a:custGeom>
                <a:avLst/>
                <a:gdLst>
                  <a:gd name="T0" fmla="*/ 9 w 10"/>
                  <a:gd name="T1" fmla="*/ 3 h 5"/>
                  <a:gd name="T2" fmla="*/ 10 w 10"/>
                  <a:gd name="T3" fmla="*/ 3 h 5"/>
                  <a:gd name="T4" fmla="*/ 10 w 10"/>
                  <a:gd name="T5" fmla="*/ 4 h 5"/>
                  <a:gd name="T6" fmla="*/ 8 w 10"/>
                  <a:gd name="T7" fmla="*/ 5 h 5"/>
                  <a:gd name="T8" fmla="*/ 7 w 10"/>
                  <a:gd name="T9" fmla="*/ 5 h 5"/>
                  <a:gd name="T10" fmla="*/ 2 w 10"/>
                  <a:gd name="T11" fmla="*/ 4 h 5"/>
                  <a:gd name="T12" fmla="*/ 1 w 10"/>
                  <a:gd name="T13" fmla="*/ 3 h 5"/>
                  <a:gd name="T14" fmla="*/ 9 w 10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5">
                    <a:moveTo>
                      <a:pt x="9" y="3"/>
                    </a:moveTo>
                    <a:cubicBezTo>
                      <a:pt x="9" y="3"/>
                      <a:pt x="10" y="3"/>
                      <a:pt x="10" y="3"/>
                    </a:cubicBezTo>
                    <a:cubicBezTo>
                      <a:pt x="10" y="3"/>
                      <a:pt x="10" y="4"/>
                      <a:pt x="10" y="4"/>
                    </a:cubicBezTo>
                    <a:cubicBezTo>
                      <a:pt x="9" y="4"/>
                      <a:pt x="9" y="5"/>
                      <a:pt x="8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5" y="4"/>
                      <a:pt x="4" y="4"/>
                      <a:pt x="2" y="4"/>
                    </a:cubicBezTo>
                    <a:cubicBezTo>
                      <a:pt x="1" y="4"/>
                      <a:pt x="0" y="4"/>
                      <a:pt x="1" y="3"/>
                    </a:cubicBezTo>
                    <a:cubicBezTo>
                      <a:pt x="3" y="0"/>
                      <a:pt x="7" y="2"/>
                      <a:pt x="9" y="3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1" name="Freeform 92"/>
              <p:cNvSpPr>
                <a:spLocks/>
              </p:cNvSpPr>
              <p:nvPr/>
            </p:nvSpPr>
            <p:spPr bwMode="auto">
              <a:xfrm>
                <a:off x="8088313" y="2189163"/>
                <a:ext cx="38100" cy="17463"/>
              </a:xfrm>
              <a:custGeom>
                <a:avLst/>
                <a:gdLst>
                  <a:gd name="T0" fmla="*/ 9 w 10"/>
                  <a:gd name="T1" fmla="*/ 2 h 5"/>
                  <a:gd name="T2" fmla="*/ 10 w 10"/>
                  <a:gd name="T3" fmla="*/ 3 h 5"/>
                  <a:gd name="T4" fmla="*/ 10 w 10"/>
                  <a:gd name="T5" fmla="*/ 3 h 5"/>
                  <a:gd name="T6" fmla="*/ 8 w 10"/>
                  <a:gd name="T7" fmla="*/ 4 h 5"/>
                  <a:gd name="T8" fmla="*/ 7 w 10"/>
                  <a:gd name="T9" fmla="*/ 4 h 5"/>
                  <a:gd name="T10" fmla="*/ 2 w 10"/>
                  <a:gd name="T11" fmla="*/ 4 h 5"/>
                  <a:gd name="T12" fmla="*/ 1 w 10"/>
                  <a:gd name="T13" fmla="*/ 2 h 5"/>
                  <a:gd name="T14" fmla="*/ 9 w 10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5">
                    <a:moveTo>
                      <a:pt x="9" y="2"/>
                    </a:moveTo>
                    <a:cubicBezTo>
                      <a:pt x="9" y="2"/>
                      <a:pt x="10" y="3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8" y="4"/>
                    </a:cubicBezTo>
                    <a:cubicBezTo>
                      <a:pt x="8" y="5"/>
                      <a:pt x="7" y="4"/>
                      <a:pt x="7" y="4"/>
                    </a:cubicBezTo>
                    <a:cubicBezTo>
                      <a:pt x="5" y="4"/>
                      <a:pt x="4" y="4"/>
                      <a:pt x="2" y="4"/>
                    </a:cubicBezTo>
                    <a:cubicBezTo>
                      <a:pt x="1" y="4"/>
                      <a:pt x="0" y="4"/>
                      <a:pt x="1" y="2"/>
                    </a:cubicBezTo>
                    <a:cubicBezTo>
                      <a:pt x="3" y="0"/>
                      <a:pt x="7" y="2"/>
                      <a:pt x="9" y="2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2" name="Freeform 93"/>
              <p:cNvSpPr>
                <a:spLocks/>
              </p:cNvSpPr>
              <p:nvPr/>
            </p:nvSpPr>
            <p:spPr bwMode="auto">
              <a:xfrm>
                <a:off x="8107363" y="2230438"/>
                <a:ext cx="30163" cy="22225"/>
              </a:xfrm>
              <a:custGeom>
                <a:avLst/>
                <a:gdLst>
                  <a:gd name="T0" fmla="*/ 7 w 8"/>
                  <a:gd name="T1" fmla="*/ 0 h 6"/>
                  <a:gd name="T2" fmla="*/ 8 w 8"/>
                  <a:gd name="T3" fmla="*/ 0 h 6"/>
                  <a:gd name="T4" fmla="*/ 8 w 8"/>
                  <a:gd name="T5" fmla="*/ 0 h 6"/>
                  <a:gd name="T6" fmla="*/ 7 w 8"/>
                  <a:gd name="T7" fmla="*/ 2 h 6"/>
                  <a:gd name="T8" fmla="*/ 6 w 8"/>
                  <a:gd name="T9" fmla="*/ 3 h 6"/>
                  <a:gd name="T10" fmla="*/ 2 w 8"/>
                  <a:gd name="T11" fmla="*/ 5 h 6"/>
                  <a:gd name="T12" fmla="*/ 0 w 8"/>
                  <a:gd name="T13" fmla="*/ 4 h 6"/>
                  <a:gd name="T14" fmla="*/ 7 w 8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6">
                    <a:moveTo>
                      <a:pt x="7" y="0"/>
                    </a:moveTo>
                    <a:cubicBezTo>
                      <a:pt x="7" y="0"/>
                      <a:pt x="7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7" y="2"/>
                    </a:cubicBezTo>
                    <a:cubicBezTo>
                      <a:pt x="7" y="2"/>
                      <a:pt x="7" y="2"/>
                      <a:pt x="6" y="3"/>
                    </a:cubicBezTo>
                    <a:cubicBezTo>
                      <a:pt x="4" y="3"/>
                      <a:pt x="3" y="4"/>
                      <a:pt x="2" y="5"/>
                    </a:cubicBezTo>
                    <a:cubicBezTo>
                      <a:pt x="1" y="5"/>
                      <a:pt x="0" y="6"/>
                      <a:pt x="0" y="4"/>
                    </a:cubicBezTo>
                    <a:cubicBezTo>
                      <a:pt x="0" y="1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3" name="Freeform 94"/>
              <p:cNvSpPr>
                <a:spLocks/>
              </p:cNvSpPr>
              <p:nvPr/>
            </p:nvSpPr>
            <p:spPr bwMode="auto">
              <a:xfrm>
                <a:off x="8134350" y="2252663"/>
                <a:ext cx="22225" cy="34925"/>
              </a:xfrm>
              <a:custGeom>
                <a:avLst/>
                <a:gdLst>
                  <a:gd name="T0" fmla="*/ 5 w 6"/>
                  <a:gd name="T1" fmla="*/ 0 h 9"/>
                  <a:gd name="T2" fmla="*/ 6 w 6"/>
                  <a:gd name="T3" fmla="*/ 0 h 9"/>
                  <a:gd name="T4" fmla="*/ 6 w 6"/>
                  <a:gd name="T5" fmla="*/ 0 h 9"/>
                  <a:gd name="T6" fmla="*/ 6 w 6"/>
                  <a:gd name="T7" fmla="*/ 2 h 9"/>
                  <a:gd name="T8" fmla="*/ 6 w 6"/>
                  <a:gd name="T9" fmla="*/ 3 h 9"/>
                  <a:gd name="T10" fmla="*/ 3 w 6"/>
                  <a:gd name="T11" fmla="*/ 7 h 9"/>
                  <a:gd name="T12" fmla="*/ 1 w 6"/>
                  <a:gd name="T13" fmla="*/ 8 h 9"/>
                  <a:gd name="T14" fmla="*/ 5 w 6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9">
                    <a:moveTo>
                      <a:pt x="5" y="0"/>
                    </a:moveTo>
                    <a:cubicBezTo>
                      <a:pt x="5" y="0"/>
                      <a:pt x="5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4" y="4"/>
                      <a:pt x="4" y="6"/>
                      <a:pt x="3" y="7"/>
                    </a:cubicBezTo>
                    <a:cubicBezTo>
                      <a:pt x="2" y="8"/>
                      <a:pt x="2" y="9"/>
                      <a:pt x="1" y="8"/>
                    </a:cubicBezTo>
                    <a:cubicBezTo>
                      <a:pt x="0" y="5"/>
                      <a:pt x="3" y="2"/>
                      <a:pt x="5" y="0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4" name="Freeform 95"/>
              <p:cNvSpPr>
                <a:spLocks/>
              </p:cNvSpPr>
              <p:nvPr/>
            </p:nvSpPr>
            <p:spPr bwMode="auto">
              <a:xfrm>
                <a:off x="8148638" y="2282825"/>
                <a:ext cx="34925" cy="19050"/>
              </a:xfrm>
              <a:custGeom>
                <a:avLst/>
                <a:gdLst>
                  <a:gd name="T0" fmla="*/ 9 w 9"/>
                  <a:gd name="T1" fmla="*/ 1 h 5"/>
                  <a:gd name="T2" fmla="*/ 9 w 9"/>
                  <a:gd name="T3" fmla="*/ 2 h 5"/>
                  <a:gd name="T4" fmla="*/ 9 w 9"/>
                  <a:gd name="T5" fmla="*/ 2 h 5"/>
                  <a:gd name="T6" fmla="*/ 8 w 9"/>
                  <a:gd name="T7" fmla="*/ 3 h 5"/>
                  <a:gd name="T8" fmla="*/ 7 w 9"/>
                  <a:gd name="T9" fmla="*/ 4 h 5"/>
                  <a:gd name="T10" fmla="*/ 2 w 9"/>
                  <a:gd name="T11" fmla="*/ 5 h 5"/>
                  <a:gd name="T12" fmla="*/ 1 w 9"/>
                  <a:gd name="T13" fmla="*/ 3 h 5"/>
                  <a:gd name="T14" fmla="*/ 9 w 9"/>
                  <a:gd name="T1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5">
                    <a:moveTo>
                      <a:pt x="9" y="1"/>
                    </a:moveTo>
                    <a:cubicBezTo>
                      <a:pt x="9" y="1"/>
                      <a:pt x="9" y="1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3"/>
                      <a:pt x="8" y="3"/>
                    </a:cubicBezTo>
                    <a:cubicBezTo>
                      <a:pt x="8" y="3"/>
                      <a:pt x="7" y="4"/>
                      <a:pt x="7" y="4"/>
                    </a:cubicBezTo>
                    <a:cubicBezTo>
                      <a:pt x="5" y="4"/>
                      <a:pt x="4" y="4"/>
                      <a:pt x="2" y="5"/>
                    </a:cubicBezTo>
                    <a:cubicBezTo>
                      <a:pt x="1" y="5"/>
                      <a:pt x="0" y="5"/>
                      <a:pt x="1" y="3"/>
                    </a:cubicBezTo>
                    <a:cubicBezTo>
                      <a:pt x="2" y="0"/>
                      <a:pt x="6" y="1"/>
                      <a:pt x="9" y="1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5" name="Freeform 96"/>
              <p:cNvSpPr>
                <a:spLocks/>
              </p:cNvSpPr>
              <p:nvPr/>
            </p:nvSpPr>
            <p:spPr bwMode="auto">
              <a:xfrm>
                <a:off x="8167688" y="2320925"/>
                <a:ext cx="34925" cy="19050"/>
              </a:xfrm>
              <a:custGeom>
                <a:avLst/>
                <a:gdLst>
                  <a:gd name="T0" fmla="*/ 8 w 9"/>
                  <a:gd name="T1" fmla="*/ 1 h 5"/>
                  <a:gd name="T2" fmla="*/ 9 w 9"/>
                  <a:gd name="T3" fmla="*/ 2 h 5"/>
                  <a:gd name="T4" fmla="*/ 9 w 9"/>
                  <a:gd name="T5" fmla="*/ 2 h 5"/>
                  <a:gd name="T6" fmla="*/ 8 w 9"/>
                  <a:gd name="T7" fmla="*/ 3 h 5"/>
                  <a:gd name="T8" fmla="*/ 7 w 9"/>
                  <a:gd name="T9" fmla="*/ 4 h 5"/>
                  <a:gd name="T10" fmla="*/ 2 w 9"/>
                  <a:gd name="T11" fmla="*/ 5 h 5"/>
                  <a:gd name="T12" fmla="*/ 0 w 9"/>
                  <a:gd name="T13" fmla="*/ 4 h 5"/>
                  <a:gd name="T14" fmla="*/ 8 w 9"/>
                  <a:gd name="T1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5">
                    <a:moveTo>
                      <a:pt x="8" y="1"/>
                    </a:moveTo>
                    <a:cubicBezTo>
                      <a:pt x="9" y="1"/>
                      <a:pt x="9" y="1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3"/>
                      <a:pt x="9" y="3"/>
                      <a:pt x="8" y="3"/>
                    </a:cubicBezTo>
                    <a:cubicBezTo>
                      <a:pt x="8" y="4"/>
                      <a:pt x="7" y="4"/>
                      <a:pt x="7" y="4"/>
                    </a:cubicBezTo>
                    <a:cubicBezTo>
                      <a:pt x="5" y="4"/>
                      <a:pt x="4" y="4"/>
                      <a:pt x="2" y="5"/>
                    </a:cubicBezTo>
                    <a:cubicBezTo>
                      <a:pt x="1" y="5"/>
                      <a:pt x="0" y="5"/>
                      <a:pt x="0" y="4"/>
                    </a:cubicBezTo>
                    <a:cubicBezTo>
                      <a:pt x="2" y="0"/>
                      <a:pt x="6" y="1"/>
                      <a:pt x="8" y="1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6" name="Freeform 97"/>
              <p:cNvSpPr>
                <a:spLocks/>
              </p:cNvSpPr>
              <p:nvPr/>
            </p:nvSpPr>
            <p:spPr bwMode="auto">
              <a:xfrm>
                <a:off x="8164513" y="2362200"/>
                <a:ext cx="33338" cy="26988"/>
              </a:xfrm>
              <a:custGeom>
                <a:avLst/>
                <a:gdLst>
                  <a:gd name="T0" fmla="*/ 9 w 9"/>
                  <a:gd name="T1" fmla="*/ 6 h 7"/>
                  <a:gd name="T2" fmla="*/ 9 w 9"/>
                  <a:gd name="T3" fmla="*/ 7 h 7"/>
                  <a:gd name="T4" fmla="*/ 8 w 9"/>
                  <a:gd name="T5" fmla="*/ 7 h 7"/>
                  <a:gd name="T6" fmla="*/ 7 w 9"/>
                  <a:gd name="T7" fmla="*/ 7 h 7"/>
                  <a:gd name="T8" fmla="*/ 6 w 9"/>
                  <a:gd name="T9" fmla="*/ 6 h 7"/>
                  <a:gd name="T10" fmla="*/ 2 w 9"/>
                  <a:gd name="T11" fmla="*/ 4 h 7"/>
                  <a:gd name="T12" fmla="*/ 1 w 9"/>
                  <a:gd name="T13" fmla="*/ 2 h 7"/>
                  <a:gd name="T14" fmla="*/ 9 w 9"/>
                  <a:gd name="T1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7">
                    <a:moveTo>
                      <a:pt x="9" y="6"/>
                    </a:moveTo>
                    <a:cubicBezTo>
                      <a:pt x="9" y="6"/>
                      <a:pt x="9" y="6"/>
                      <a:pt x="9" y="7"/>
                    </a:cubicBezTo>
                    <a:cubicBezTo>
                      <a:pt x="9" y="7"/>
                      <a:pt x="9" y="7"/>
                      <a:pt x="8" y="7"/>
                    </a:cubicBezTo>
                    <a:cubicBezTo>
                      <a:pt x="8" y="7"/>
                      <a:pt x="7" y="7"/>
                      <a:pt x="7" y="7"/>
                    </a:cubicBezTo>
                    <a:cubicBezTo>
                      <a:pt x="6" y="7"/>
                      <a:pt x="6" y="7"/>
                      <a:pt x="6" y="6"/>
                    </a:cubicBezTo>
                    <a:cubicBezTo>
                      <a:pt x="4" y="5"/>
                      <a:pt x="3" y="4"/>
                      <a:pt x="2" y="4"/>
                    </a:cubicBezTo>
                    <a:cubicBezTo>
                      <a:pt x="1" y="3"/>
                      <a:pt x="0" y="3"/>
                      <a:pt x="1" y="2"/>
                    </a:cubicBezTo>
                    <a:cubicBezTo>
                      <a:pt x="4" y="0"/>
                      <a:pt x="7" y="4"/>
                      <a:pt x="9" y="6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7" name="Freeform 98"/>
              <p:cNvSpPr>
                <a:spLocks/>
              </p:cNvSpPr>
              <p:nvPr/>
            </p:nvSpPr>
            <p:spPr bwMode="auto">
              <a:xfrm>
                <a:off x="8131175" y="2400300"/>
                <a:ext cx="22225" cy="30163"/>
              </a:xfrm>
              <a:custGeom>
                <a:avLst/>
                <a:gdLst>
                  <a:gd name="T0" fmla="*/ 6 w 6"/>
                  <a:gd name="T1" fmla="*/ 7 h 8"/>
                  <a:gd name="T2" fmla="*/ 6 w 6"/>
                  <a:gd name="T3" fmla="*/ 8 h 8"/>
                  <a:gd name="T4" fmla="*/ 6 w 6"/>
                  <a:gd name="T5" fmla="*/ 8 h 8"/>
                  <a:gd name="T6" fmla="*/ 4 w 6"/>
                  <a:gd name="T7" fmla="*/ 7 h 8"/>
                  <a:gd name="T8" fmla="*/ 3 w 6"/>
                  <a:gd name="T9" fmla="*/ 6 h 8"/>
                  <a:gd name="T10" fmla="*/ 1 w 6"/>
                  <a:gd name="T11" fmla="*/ 2 h 8"/>
                  <a:gd name="T12" fmla="*/ 2 w 6"/>
                  <a:gd name="T13" fmla="*/ 0 h 8"/>
                  <a:gd name="T14" fmla="*/ 6 w 6"/>
                  <a:gd name="T15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8">
                    <a:moveTo>
                      <a:pt x="6" y="7"/>
                    </a:moveTo>
                    <a:cubicBezTo>
                      <a:pt x="6" y="7"/>
                      <a:pt x="6" y="7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5" y="8"/>
                      <a:pt x="5" y="8"/>
                      <a:pt x="4" y="7"/>
                    </a:cubicBezTo>
                    <a:cubicBezTo>
                      <a:pt x="4" y="7"/>
                      <a:pt x="4" y="6"/>
                      <a:pt x="3" y="6"/>
                    </a:cubicBezTo>
                    <a:cubicBezTo>
                      <a:pt x="3" y="4"/>
                      <a:pt x="2" y="3"/>
                      <a:pt x="1" y="2"/>
                    </a:cubicBezTo>
                    <a:cubicBezTo>
                      <a:pt x="1" y="1"/>
                      <a:pt x="0" y="0"/>
                      <a:pt x="2" y="0"/>
                    </a:cubicBezTo>
                    <a:cubicBezTo>
                      <a:pt x="5" y="0"/>
                      <a:pt x="6" y="5"/>
                      <a:pt x="6" y="7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8" name="Freeform 99"/>
              <p:cNvSpPr>
                <a:spLocks/>
              </p:cNvSpPr>
              <p:nvPr/>
            </p:nvSpPr>
            <p:spPr bwMode="auto">
              <a:xfrm>
                <a:off x="8093075" y="2397125"/>
                <a:ext cx="19050" cy="38100"/>
              </a:xfrm>
              <a:custGeom>
                <a:avLst/>
                <a:gdLst>
                  <a:gd name="T0" fmla="*/ 3 w 5"/>
                  <a:gd name="T1" fmla="*/ 10 h 10"/>
                  <a:gd name="T2" fmla="*/ 2 w 5"/>
                  <a:gd name="T3" fmla="*/ 10 h 10"/>
                  <a:gd name="T4" fmla="*/ 2 w 5"/>
                  <a:gd name="T5" fmla="*/ 10 h 10"/>
                  <a:gd name="T6" fmla="*/ 1 w 5"/>
                  <a:gd name="T7" fmla="*/ 9 h 10"/>
                  <a:gd name="T8" fmla="*/ 1 w 5"/>
                  <a:gd name="T9" fmla="*/ 7 h 10"/>
                  <a:gd name="T10" fmla="*/ 1 w 5"/>
                  <a:gd name="T11" fmla="*/ 2 h 10"/>
                  <a:gd name="T12" fmla="*/ 2 w 5"/>
                  <a:gd name="T13" fmla="*/ 1 h 10"/>
                  <a:gd name="T14" fmla="*/ 3 w 5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10">
                    <a:moveTo>
                      <a:pt x="3" y="10"/>
                    </a:moveTo>
                    <a:cubicBezTo>
                      <a:pt x="3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9"/>
                      <a:pt x="1" y="9"/>
                    </a:cubicBezTo>
                    <a:cubicBezTo>
                      <a:pt x="0" y="8"/>
                      <a:pt x="0" y="8"/>
                      <a:pt x="1" y="7"/>
                    </a:cubicBezTo>
                    <a:cubicBezTo>
                      <a:pt x="1" y="6"/>
                      <a:pt x="1" y="4"/>
                      <a:pt x="1" y="2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5" y="3"/>
                      <a:pt x="3" y="8"/>
                      <a:pt x="3" y="10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79" name="Freeform 100"/>
              <p:cNvSpPr>
                <a:spLocks/>
              </p:cNvSpPr>
              <p:nvPr/>
            </p:nvSpPr>
            <p:spPr bwMode="auto">
              <a:xfrm>
                <a:off x="8047038" y="2378075"/>
                <a:ext cx="22225" cy="38100"/>
              </a:xfrm>
              <a:custGeom>
                <a:avLst/>
                <a:gdLst>
                  <a:gd name="T0" fmla="*/ 2 w 6"/>
                  <a:gd name="T1" fmla="*/ 10 h 10"/>
                  <a:gd name="T2" fmla="*/ 1 w 6"/>
                  <a:gd name="T3" fmla="*/ 10 h 10"/>
                  <a:gd name="T4" fmla="*/ 1 w 6"/>
                  <a:gd name="T5" fmla="*/ 10 h 10"/>
                  <a:gd name="T6" fmla="*/ 0 w 6"/>
                  <a:gd name="T7" fmla="*/ 8 h 10"/>
                  <a:gd name="T8" fmla="*/ 1 w 6"/>
                  <a:gd name="T9" fmla="*/ 7 h 10"/>
                  <a:gd name="T10" fmla="*/ 2 w 6"/>
                  <a:gd name="T11" fmla="*/ 2 h 10"/>
                  <a:gd name="T12" fmla="*/ 4 w 6"/>
                  <a:gd name="T13" fmla="*/ 2 h 10"/>
                  <a:gd name="T14" fmla="*/ 2 w 6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0">
                    <a:moveTo>
                      <a:pt x="2" y="10"/>
                    </a:moveTo>
                    <a:cubicBezTo>
                      <a:pt x="2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8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" y="6"/>
                      <a:pt x="2" y="4"/>
                      <a:pt x="2" y="2"/>
                    </a:cubicBezTo>
                    <a:cubicBezTo>
                      <a:pt x="3" y="1"/>
                      <a:pt x="3" y="0"/>
                      <a:pt x="4" y="2"/>
                    </a:cubicBezTo>
                    <a:cubicBezTo>
                      <a:pt x="6" y="4"/>
                      <a:pt x="3" y="8"/>
                      <a:pt x="2" y="10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0" name="Freeform 101"/>
              <p:cNvSpPr>
                <a:spLocks/>
              </p:cNvSpPr>
              <p:nvPr/>
            </p:nvSpPr>
            <p:spPr bwMode="auto">
              <a:xfrm>
                <a:off x="8020050" y="2354263"/>
                <a:ext cx="30163" cy="31750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8 h 8"/>
                  <a:gd name="T4" fmla="*/ 1 w 8"/>
                  <a:gd name="T5" fmla="*/ 7 h 8"/>
                  <a:gd name="T6" fmla="*/ 1 w 8"/>
                  <a:gd name="T7" fmla="*/ 6 h 8"/>
                  <a:gd name="T8" fmla="*/ 2 w 8"/>
                  <a:gd name="T9" fmla="*/ 5 h 8"/>
                  <a:gd name="T10" fmla="*/ 5 w 8"/>
                  <a:gd name="T11" fmla="*/ 1 h 8"/>
                  <a:gd name="T12" fmla="*/ 7 w 8"/>
                  <a:gd name="T13" fmla="*/ 2 h 8"/>
                  <a:gd name="T14" fmla="*/ 2 w 8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" y="5"/>
                      <a:pt x="1" y="5"/>
                      <a:pt x="2" y="5"/>
                    </a:cubicBezTo>
                    <a:cubicBezTo>
                      <a:pt x="3" y="4"/>
                      <a:pt x="4" y="3"/>
                      <a:pt x="5" y="1"/>
                    </a:cubicBezTo>
                    <a:cubicBezTo>
                      <a:pt x="6" y="1"/>
                      <a:pt x="7" y="0"/>
                      <a:pt x="7" y="2"/>
                    </a:cubicBezTo>
                    <a:cubicBezTo>
                      <a:pt x="8" y="5"/>
                      <a:pt x="3" y="7"/>
                      <a:pt x="2" y="8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1" name="Freeform 102"/>
              <p:cNvSpPr>
                <a:spLocks/>
              </p:cNvSpPr>
              <p:nvPr/>
            </p:nvSpPr>
            <p:spPr bwMode="auto">
              <a:xfrm>
                <a:off x="8008938" y="2324100"/>
                <a:ext cx="38100" cy="15875"/>
              </a:xfrm>
              <a:custGeom>
                <a:avLst/>
                <a:gdLst>
                  <a:gd name="T0" fmla="*/ 1 w 10"/>
                  <a:gd name="T1" fmla="*/ 2 h 4"/>
                  <a:gd name="T2" fmla="*/ 0 w 10"/>
                  <a:gd name="T3" fmla="*/ 1 h 4"/>
                  <a:gd name="T4" fmla="*/ 0 w 10"/>
                  <a:gd name="T5" fmla="*/ 1 h 4"/>
                  <a:gd name="T6" fmla="*/ 2 w 10"/>
                  <a:gd name="T7" fmla="*/ 0 h 4"/>
                  <a:gd name="T8" fmla="*/ 3 w 10"/>
                  <a:gd name="T9" fmla="*/ 0 h 4"/>
                  <a:gd name="T10" fmla="*/ 8 w 10"/>
                  <a:gd name="T11" fmla="*/ 0 h 4"/>
                  <a:gd name="T12" fmla="*/ 9 w 10"/>
                  <a:gd name="T13" fmla="*/ 1 h 4"/>
                  <a:gd name="T14" fmla="*/ 1 w 10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4">
                    <a:moveTo>
                      <a:pt x="1" y="2"/>
                    </a:moveTo>
                    <a:cubicBezTo>
                      <a:pt x="1" y="2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5" y="0"/>
                      <a:pt x="6" y="0"/>
                      <a:pt x="8" y="0"/>
                    </a:cubicBezTo>
                    <a:cubicBezTo>
                      <a:pt x="9" y="0"/>
                      <a:pt x="10" y="0"/>
                      <a:pt x="9" y="1"/>
                    </a:cubicBezTo>
                    <a:cubicBezTo>
                      <a:pt x="8" y="4"/>
                      <a:pt x="3" y="2"/>
                      <a:pt x="1" y="2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2" name="Freeform 103"/>
              <p:cNvSpPr>
                <a:spLocks/>
              </p:cNvSpPr>
              <p:nvPr/>
            </p:nvSpPr>
            <p:spPr bwMode="auto">
              <a:xfrm>
                <a:off x="8005763" y="2282825"/>
                <a:ext cx="26988" cy="26988"/>
              </a:xfrm>
              <a:custGeom>
                <a:avLst/>
                <a:gdLst>
                  <a:gd name="T0" fmla="*/ 1 w 7"/>
                  <a:gd name="T1" fmla="*/ 7 h 7"/>
                  <a:gd name="T2" fmla="*/ 0 w 7"/>
                  <a:gd name="T3" fmla="*/ 7 h 7"/>
                  <a:gd name="T4" fmla="*/ 0 w 7"/>
                  <a:gd name="T5" fmla="*/ 7 h 7"/>
                  <a:gd name="T6" fmla="*/ 0 w 7"/>
                  <a:gd name="T7" fmla="*/ 5 h 7"/>
                  <a:gd name="T8" fmla="*/ 1 w 7"/>
                  <a:gd name="T9" fmla="*/ 4 h 7"/>
                  <a:gd name="T10" fmla="*/ 5 w 7"/>
                  <a:gd name="T11" fmla="*/ 1 h 7"/>
                  <a:gd name="T12" fmla="*/ 7 w 7"/>
                  <a:gd name="T13" fmla="*/ 1 h 7"/>
                  <a:gd name="T14" fmla="*/ 1 w 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1" y="7"/>
                    </a:moveTo>
                    <a:cubicBezTo>
                      <a:pt x="1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5"/>
                      <a:pt x="1" y="5"/>
                      <a:pt x="1" y="4"/>
                    </a:cubicBezTo>
                    <a:cubicBezTo>
                      <a:pt x="3" y="3"/>
                      <a:pt x="4" y="2"/>
                      <a:pt x="5" y="1"/>
                    </a:cubicBezTo>
                    <a:cubicBezTo>
                      <a:pt x="6" y="0"/>
                      <a:pt x="7" y="0"/>
                      <a:pt x="7" y="1"/>
                    </a:cubicBezTo>
                    <a:cubicBezTo>
                      <a:pt x="7" y="5"/>
                      <a:pt x="3" y="6"/>
                      <a:pt x="1" y="7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3" name="Freeform 104"/>
              <p:cNvSpPr>
                <a:spLocks/>
              </p:cNvSpPr>
              <p:nvPr/>
            </p:nvSpPr>
            <p:spPr bwMode="auto">
              <a:xfrm>
                <a:off x="7978775" y="2260600"/>
                <a:ext cx="26988" cy="26988"/>
              </a:xfrm>
              <a:custGeom>
                <a:avLst/>
                <a:gdLst>
                  <a:gd name="T0" fmla="*/ 1 w 7"/>
                  <a:gd name="T1" fmla="*/ 7 h 7"/>
                  <a:gd name="T2" fmla="*/ 0 w 7"/>
                  <a:gd name="T3" fmla="*/ 7 h 7"/>
                  <a:gd name="T4" fmla="*/ 0 w 7"/>
                  <a:gd name="T5" fmla="*/ 7 h 7"/>
                  <a:gd name="T6" fmla="*/ 0 w 7"/>
                  <a:gd name="T7" fmla="*/ 5 h 7"/>
                  <a:gd name="T8" fmla="*/ 1 w 7"/>
                  <a:gd name="T9" fmla="*/ 4 h 7"/>
                  <a:gd name="T10" fmla="*/ 5 w 7"/>
                  <a:gd name="T11" fmla="*/ 1 h 7"/>
                  <a:gd name="T12" fmla="*/ 7 w 7"/>
                  <a:gd name="T13" fmla="*/ 1 h 7"/>
                  <a:gd name="T14" fmla="*/ 1 w 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1" y="7"/>
                    </a:moveTo>
                    <a:cubicBezTo>
                      <a:pt x="1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5"/>
                      <a:pt x="1" y="4"/>
                      <a:pt x="1" y="4"/>
                    </a:cubicBezTo>
                    <a:cubicBezTo>
                      <a:pt x="3" y="3"/>
                      <a:pt x="4" y="2"/>
                      <a:pt x="5" y="1"/>
                    </a:cubicBezTo>
                    <a:cubicBezTo>
                      <a:pt x="6" y="0"/>
                      <a:pt x="7" y="0"/>
                      <a:pt x="7" y="1"/>
                    </a:cubicBezTo>
                    <a:cubicBezTo>
                      <a:pt x="7" y="5"/>
                      <a:pt x="3" y="6"/>
                      <a:pt x="1" y="7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4" name="Freeform 105"/>
              <p:cNvSpPr>
                <a:spLocks/>
              </p:cNvSpPr>
              <p:nvPr/>
            </p:nvSpPr>
            <p:spPr bwMode="auto">
              <a:xfrm>
                <a:off x="7951788" y="2233613"/>
                <a:ext cx="26988" cy="26988"/>
              </a:xfrm>
              <a:custGeom>
                <a:avLst/>
                <a:gdLst>
                  <a:gd name="T0" fmla="*/ 1 w 7"/>
                  <a:gd name="T1" fmla="*/ 7 h 7"/>
                  <a:gd name="T2" fmla="*/ 0 w 7"/>
                  <a:gd name="T3" fmla="*/ 7 h 7"/>
                  <a:gd name="T4" fmla="*/ 0 w 7"/>
                  <a:gd name="T5" fmla="*/ 7 h 7"/>
                  <a:gd name="T6" fmla="*/ 0 w 7"/>
                  <a:gd name="T7" fmla="*/ 5 h 7"/>
                  <a:gd name="T8" fmla="*/ 1 w 7"/>
                  <a:gd name="T9" fmla="*/ 4 h 7"/>
                  <a:gd name="T10" fmla="*/ 5 w 7"/>
                  <a:gd name="T11" fmla="*/ 1 h 7"/>
                  <a:gd name="T12" fmla="*/ 7 w 7"/>
                  <a:gd name="T13" fmla="*/ 2 h 7"/>
                  <a:gd name="T14" fmla="*/ 1 w 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1" y="7"/>
                    </a:moveTo>
                    <a:cubicBezTo>
                      <a:pt x="1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5"/>
                      <a:pt x="1" y="5"/>
                      <a:pt x="1" y="4"/>
                    </a:cubicBezTo>
                    <a:cubicBezTo>
                      <a:pt x="3" y="4"/>
                      <a:pt x="4" y="3"/>
                      <a:pt x="5" y="1"/>
                    </a:cubicBezTo>
                    <a:cubicBezTo>
                      <a:pt x="6" y="1"/>
                      <a:pt x="7" y="0"/>
                      <a:pt x="7" y="2"/>
                    </a:cubicBezTo>
                    <a:cubicBezTo>
                      <a:pt x="7" y="5"/>
                      <a:pt x="3" y="7"/>
                      <a:pt x="1" y="7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5" name="Freeform 106"/>
              <p:cNvSpPr>
                <a:spLocks/>
              </p:cNvSpPr>
              <p:nvPr/>
            </p:nvSpPr>
            <p:spPr bwMode="auto">
              <a:xfrm>
                <a:off x="7937500" y="2203450"/>
                <a:ext cx="38100" cy="19050"/>
              </a:xfrm>
              <a:custGeom>
                <a:avLst/>
                <a:gdLst>
                  <a:gd name="T0" fmla="*/ 0 w 10"/>
                  <a:gd name="T1" fmla="*/ 2 h 5"/>
                  <a:gd name="T2" fmla="*/ 0 w 10"/>
                  <a:gd name="T3" fmla="*/ 2 h 5"/>
                  <a:gd name="T4" fmla="*/ 0 w 10"/>
                  <a:gd name="T5" fmla="*/ 1 h 5"/>
                  <a:gd name="T6" fmla="*/ 1 w 10"/>
                  <a:gd name="T7" fmla="*/ 0 h 5"/>
                  <a:gd name="T8" fmla="*/ 3 w 10"/>
                  <a:gd name="T9" fmla="*/ 0 h 5"/>
                  <a:gd name="T10" fmla="*/ 8 w 10"/>
                  <a:gd name="T11" fmla="*/ 1 h 5"/>
                  <a:gd name="T12" fmla="*/ 9 w 10"/>
                  <a:gd name="T13" fmla="*/ 3 h 5"/>
                  <a:gd name="T14" fmla="*/ 0 w 10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5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4" y="1"/>
                      <a:pt x="6" y="1"/>
                      <a:pt x="8" y="1"/>
                    </a:cubicBezTo>
                    <a:cubicBezTo>
                      <a:pt x="9" y="1"/>
                      <a:pt x="10" y="1"/>
                      <a:pt x="9" y="3"/>
                    </a:cubicBezTo>
                    <a:cubicBezTo>
                      <a:pt x="7" y="5"/>
                      <a:pt x="2" y="3"/>
                      <a:pt x="0" y="2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6" name="Freeform 107"/>
              <p:cNvSpPr>
                <a:spLocks/>
              </p:cNvSpPr>
              <p:nvPr/>
            </p:nvSpPr>
            <p:spPr bwMode="auto">
              <a:xfrm>
                <a:off x="7951788" y="2162175"/>
                <a:ext cx="31750" cy="30163"/>
              </a:xfrm>
              <a:custGeom>
                <a:avLst/>
                <a:gdLst>
                  <a:gd name="T0" fmla="*/ 0 w 8"/>
                  <a:gd name="T1" fmla="*/ 1 h 8"/>
                  <a:gd name="T2" fmla="*/ 0 w 8"/>
                  <a:gd name="T3" fmla="*/ 1 h 8"/>
                  <a:gd name="T4" fmla="*/ 0 w 8"/>
                  <a:gd name="T5" fmla="*/ 0 h 8"/>
                  <a:gd name="T6" fmla="*/ 2 w 8"/>
                  <a:gd name="T7" fmla="*/ 0 h 8"/>
                  <a:gd name="T8" fmla="*/ 3 w 8"/>
                  <a:gd name="T9" fmla="*/ 2 h 8"/>
                  <a:gd name="T10" fmla="*/ 6 w 8"/>
                  <a:gd name="T11" fmla="*/ 5 h 8"/>
                  <a:gd name="T12" fmla="*/ 6 w 8"/>
                  <a:gd name="T13" fmla="*/ 7 h 8"/>
                  <a:gd name="T14" fmla="*/ 0 w 8"/>
                  <a:gd name="T15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1"/>
                      <a:pt x="2" y="1"/>
                      <a:pt x="3" y="2"/>
                    </a:cubicBezTo>
                    <a:cubicBezTo>
                      <a:pt x="4" y="3"/>
                      <a:pt x="5" y="4"/>
                      <a:pt x="6" y="5"/>
                    </a:cubicBezTo>
                    <a:cubicBezTo>
                      <a:pt x="7" y="6"/>
                      <a:pt x="8" y="7"/>
                      <a:pt x="6" y="7"/>
                    </a:cubicBezTo>
                    <a:cubicBezTo>
                      <a:pt x="3" y="8"/>
                      <a:pt x="1" y="3"/>
                      <a:pt x="0" y="1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7" name="Freeform 108"/>
              <p:cNvSpPr>
                <a:spLocks/>
              </p:cNvSpPr>
              <p:nvPr/>
            </p:nvSpPr>
            <p:spPr bwMode="auto">
              <a:xfrm>
                <a:off x="7959725" y="2138363"/>
                <a:ext cx="223838" cy="269875"/>
              </a:xfrm>
              <a:custGeom>
                <a:avLst/>
                <a:gdLst>
                  <a:gd name="T0" fmla="*/ 1 w 59"/>
                  <a:gd name="T1" fmla="*/ 23 h 71"/>
                  <a:gd name="T2" fmla="*/ 10 w 59"/>
                  <a:gd name="T3" fmla="*/ 34 h 71"/>
                  <a:gd name="T4" fmla="*/ 20 w 59"/>
                  <a:gd name="T5" fmla="*/ 45 h 71"/>
                  <a:gd name="T6" fmla="*/ 21 w 59"/>
                  <a:gd name="T7" fmla="*/ 51 h 71"/>
                  <a:gd name="T8" fmla="*/ 26 w 59"/>
                  <a:gd name="T9" fmla="*/ 65 h 71"/>
                  <a:gd name="T10" fmla="*/ 34 w 59"/>
                  <a:gd name="T11" fmla="*/ 70 h 71"/>
                  <a:gd name="T12" fmla="*/ 48 w 59"/>
                  <a:gd name="T13" fmla="*/ 70 h 71"/>
                  <a:gd name="T14" fmla="*/ 58 w 59"/>
                  <a:gd name="T15" fmla="*/ 62 h 71"/>
                  <a:gd name="T16" fmla="*/ 59 w 59"/>
                  <a:gd name="T17" fmla="*/ 55 h 71"/>
                  <a:gd name="T18" fmla="*/ 57 w 59"/>
                  <a:gd name="T19" fmla="*/ 46 h 71"/>
                  <a:gd name="T20" fmla="*/ 52 w 59"/>
                  <a:gd name="T21" fmla="*/ 42 h 71"/>
                  <a:gd name="T22" fmla="*/ 41 w 59"/>
                  <a:gd name="T23" fmla="*/ 29 h 71"/>
                  <a:gd name="T24" fmla="*/ 38 w 59"/>
                  <a:gd name="T25" fmla="*/ 24 h 71"/>
                  <a:gd name="T26" fmla="*/ 38 w 59"/>
                  <a:gd name="T27" fmla="*/ 15 h 71"/>
                  <a:gd name="T28" fmla="*/ 27 w 59"/>
                  <a:gd name="T29" fmla="*/ 1 h 71"/>
                  <a:gd name="T30" fmla="*/ 8 w 59"/>
                  <a:gd name="T31" fmla="*/ 3 h 71"/>
                  <a:gd name="T32" fmla="*/ 1 w 59"/>
                  <a:gd name="T33" fmla="*/ 2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71">
                    <a:moveTo>
                      <a:pt x="1" y="23"/>
                    </a:moveTo>
                    <a:cubicBezTo>
                      <a:pt x="2" y="28"/>
                      <a:pt x="6" y="31"/>
                      <a:pt x="10" y="34"/>
                    </a:cubicBezTo>
                    <a:cubicBezTo>
                      <a:pt x="14" y="37"/>
                      <a:pt x="18" y="40"/>
                      <a:pt x="20" y="45"/>
                    </a:cubicBezTo>
                    <a:cubicBezTo>
                      <a:pt x="21" y="47"/>
                      <a:pt x="21" y="49"/>
                      <a:pt x="21" y="51"/>
                    </a:cubicBezTo>
                    <a:cubicBezTo>
                      <a:pt x="21" y="56"/>
                      <a:pt x="22" y="62"/>
                      <a:pt x="26" y="65"/>
                    </a:cubicBezTo>
                    <a:cubicBezTo>
                      <a:pt x="28" y="68"/>
                      <a:pt x="31" y="69"/>
                      <a:pt x="34" y="70"/>
                    </a:cubicBezTo>
                    <a:cubicBezTo>
                      <a:pt x="39" y="71"/>
                      <a:pt x="43" y="71"/>
                      <a:pt x="48" y="70"/>
                    </a:cubicBezTo>
                    <a:cubicBezTo>
                      <a:pt x="52" y="69"/>
                      <a:pt x="56" y="66"/>
                      <a:pt x="58" y="62"/>
                    </a:cubicBezTo>
                    <a:cubicBezTo>
                      <a:pt x="58" y="60"/>
                      <a:pt x="59" y="57"/>
                      <a:pt x="59" y="55"/>
                    </a:cubicBezTo>
                    <a:cubicBezTo>
                      <a:pt x="59" y="52"/>
                      <a:pt x="58" y="49"/>
                      <a:pt x="57" y="46"/>
                    </a:cubicBezTo>
                    <a:cubicBezTo>
                      <a:pt x="56" y="44"/>
                      <a:pt x="54" y="43"/>
                      <a:pt x="52" y="42"/>
                    </a:cubicBezTo>
                    <a:cubicBezTo>
                      <a:pt x="48" y="38"/>
                      <a:pt x="44" y="34"/>
                      <a:pt x="41" y="29"/>
                    </a:cubicBezTo>
                    <a:cubicBezTo>
                      <a:pt x="40" y="28"/>
                      <a:pt x="39" y="26"/>
                      <a:pt x="38" y="24"/>
                    </a:cubicBezTo>
                    <a:cubicBezTo>
                      <a:pt x="37" y="21"/>
                      <a:pt x="38" y="18"/>
                      <a:pt x="38" y="15"/>
                    </a:cubicBezTo>
                    <a:cubicBezTo>
                      <a:pt x="37" y="9"/>
                      <a:pt x="32" y="3"/>
                      <a:pt x="27" y="1"/>
                    </a:cubicBezTo>
                    <a:cubicBezTo>
                      <a:pt x="22" y="0"/>
                      <a:pt x="14" y="0"/>
                      <a:pt x="8" y="3"/>
                    </a:cubicBezTo>
                    <a:cubicBezTo>
                      <a:pt x="2" y="7"/>
                      <a:pt x="0" y="17"/>
                      <a:pt x="1" y="23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8" name="Freeform 109"/>
              <p:cNvSpPr>
                <a:spLocks/>
              </p:cNvSpPr>
              <p:nvPr/>
            </p:nvSpPr>
            <p:spPr bwMode="auto">
              <a:xfrm>
                <a:off x="8126413" y="2408238"/>
                <a:ext cx="511175" cy="519113"/>
              </a:xfrm>
              <a:custGeom>
                <a:avLst/>
                <a:gdLst>
                  <a:gd name="T0" fmla="*/ 113 w 135"/>
                  <a:gd name="T1" fmla="*/ 88 h 137"/>
                  <a:gd name="T2" fmla="*/ 117 w 135"/>
                  <a:gd name="T3" fmla="*/ 69 h 137"/>
                  <a:gd name="T4" fmla="*/ 117 w 135"/>
                  <a:gd name="T5" fmla="*/ 68 h 137"/>
                  <a:gd name="T6" fmla="*/ 127 w 135"/>
                  <a:gd name="T7" fmla="*/ 77 h 137"/>
                  <a:gd name="T8" fmla="*/ 125 w 135"/>
                  <a:gd name="T9" fmla="*/ 51 h 137"/>
                  <a:gd name="T10" fmla="*/ 116 w 135"/>
                  <a:gd name="T11" fmla="*/ 62 h 137"/>
                  <a:gd name="T12" fmla="*/ 110 w 135"/>
                  <a:gd name="T13" fmla="*/ 44 h 137"/>
                  <a:gd name="T14" fmla="*/ 124 w 135"/>
                  <a:gd name="T15" fmla="*/ 47 h 137"/>
                  <a:gd name="T16" fmla="*/ 110 w 135"/>
                  <a:gd name="T17" fmla="*/ 25 h 137"/>
                  <a:gd name="T18" fmla="*/ 107 w 135"/>
                  <a:gd name="T19" fmla="*/ 39 h 137"/>
                  <a:gd name="T20" fmla="*/ 92 w 135"/>
                  <a:gd name="T21" fmla="*/ 26 h 137"/>
                  <a:gd name="T22" fmla="*/ 106 w 135"/>
                  <a:gd name="T23" fmla="*/ 22 h 137"/>
                  <a:gd name="T24" fmla="*/ 83 w 135"/>
                  <a:gd name="T25" fmla="*/ 9 h 137"/>
                  <a:gd name="T26" fmla="*/ 87 w 135"/>
                  <a:gd name="T27" fmla="*/ 23 h 137"/>
                  <a:gd name="T28" fmla="*/ 69 w 135"/>
                  <a:gd name="T29" fmla="*/ 19 h 137"/>
                  <a:gd name="T30" fmla="*/ 78 w 135"/>
                  <a:gd name="T31" fmla="*/ 9 h 137"/>
                  <a:gd name="T32" fmla="*/ 53 w 135"/>
                  <a:gd name="T33" fmla="*/ 9 h 137"/>
                  <a:gd name="T34" fmla="*/ 63 w 135"/>
                  <a:gd name="T35" fmla="*/ 20 h 137"/>
                  <a:gd name="T36" fmla="*/ 44 w 135"/>
                  <a:gd name="T37" fmla="*/ 25 h 137"/>
                  <a:gd name="T38" fmla="*/ 48 w 135"/>
                  <a:gd name="T39" fmla="*/ 12 h 137"/>
                  <a:gd name="T40" fmla="*/ 25 w 135"/>
                  <a:gd name="T41" fmla="*/ 25 h 137"/>
                  <a:gd name="T42" fmla="*/ 39 w 135"/>
                  <a:gd name="T43" fmla="*/ 29 h 137"/>
                  <a:gd name="T44" fmla="*/ 26 w 135"/>
                  <a:gd name="T45" fmla="*/ 43 h 137"/>
                  <a:gd name="T46" fmla="*/ 22 w 135"/>
                  <a:gd name="T47" fmla="*/ 30 h 137"/>
                  <a:gd name="T48" fmla="*/ 10 w 135"/>
                  <a:gd name="T49" fmla="*/ 53 h 137"/>
                  <a:gd name="T50" fmla="*/ 23 w 135"/>
                  <a:gd name="T51" fmla="*/ 48 h 137"/>
                  <a:gd name="T52" fmla="*/ 18 w 135"/>
                  <a:gd name="T53" fmla="*/ 69 h 137"/>
                  <a:gd name="T54" fmla="*/ 18 w 135"/>
                  <a:gd name="T55" fmla="*/ 69 h 137"/>
                  <a:gd name="T56" fmla="*/ 8 w 135"/>
                  <a:gd name="T57" fmla="*/ 61 h 137"/>
                  <a:gd name="T58" fmla="*/ 10 w 135"/>
                  <a:gd name="T59" fmla="*/ 86 h 137"/>
                  <a:gd name="T60" fmla="*/ 19 w 135"/>
                  <a:gd name="T61" fmla="*/ 75 h 137"/>
                  <a:gd name="T62" fmla="*/ 26 w 135"/>
                  <a:gd name="T63" fmla="*/ 95 h 137"/>
                  <a:gd name="T64" fmla="*/ 12 w 135"/>
                  <a:gd name="T65" fmla="*/ 94 h 137"/>
                  <a:gd name="T66" fmla="*/ 28 w 135"/>
                  <a:gd name="T67" fmla="*/ 114 h 137"/>
                  <a:gd name="T68" fmla="*/ 30 w 135"/>
                  <a:gd name="T69" fmla="*/ 100 h 137"/>
                  <a:gd name="T70" fmla="*/ 45 w 135"/>
                  <a:gd name="T71" fmla="*/ 112 h 137"/>
                  <a:gd name="T72" fmla="*/ 33 w 135"/>
                  <a:gd name="T73" fmla="*/ 118 h 137"/>
                  <a:gd name="T74" fmla="*/ 56 w 135"/>
                  <a:gd name="T75" fmla="*/ 128 h 137"/>
                  <a:gd name="T76" fmla="*/ 51 w 135"/>
                  <a:gd name="T77" fmla="*/ 115 h 137"/>
                  <a:gd name="T78" fmla="*/ 68 w 135"/>
                  <a:gd name="T79" fmla="*/ 118 h 137"/>
                  <a:gd name="T80" fmla="*/ 70 w 135"/>
                  <a:gd name="T81" fmla="*/ 118 h 137"/>
                  <a:gd name="T82" fmla="*/ 62 w 135"/>
                  <a:gd name="T83" fmla="*/ 129 h 137"/>
                  <a:gd name="T84" fmla="*/ 88 w 135"/>
                  <a:gd name="T85" fmla="*/ 127 h 137"/>
                  <a:gd name="T86" fmla="*/ 77 w 135"/>
                  <a:gd name="T87" fmla="*/ 117 h 137"/>
                  <a:gd name="T88" fmla="*/ 93 w 135"/>
                  <a:gd name="T89" fmla="*/ 111 h 137"/>
                  <a:gd name="T90" fmla="*/ 91 w 135"/>
                  <a:gd name="T91" fmla="*/ 125 h 137"/>
                  <a:gd name="T92" fmla="*/ 112 w 135"/>
                  <a:gd name="T93" fmla="*/ 110 h 137"/>
                  <a:gd name="T94" fmla="*/ 98 w 135"/>
                  <a:gd name="T95" fmla="*/ 107 h 137"/>
                  <a:gd name="T96" fmla="*/ 110 w 135"/>
                  <a:gd name="T97" fmla="*/ 94 h 137"/>
                  <a:gd name="T98" fmla="*/ 115 w 135"/>
                  <a:gd name="T99" fmla="*/ 107 h 137"/>
                  <a:gd name="T100" fmla="*/ 127 w 135"/>
                  <a:gd name="T101" fmla="*/ 84 h 137"/>
                  <a:gd name="T102" fmla="*/ 113 w 135"/>
                  <a:gd name="T103" fmla="*/ 88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5" h="137">
                    <a:moveTo>
                      <a:pt x="113" y="88"/>
                    </a:moveTo>
                    <a:cubicBezTo>
                      <a:pt x="115" y="82"/>
                      <a:pt x="117" y="76"/>
                      <a:pt x="117" y="69"/>
                    </a:cubicBezTo>
                    <a:cubicBezTo>
                      <a:pt x="117" y="68"/>
                      <a:pt x="117" y="68"/>
                      <a:pt x="117" y="68"/>
                    </a:cubicBezTo>
                    <a:cubicBezTo>
                      <a:pt x="124" y="66"/>
                      <a:pt x="127" y="77"/>
                      <a:pt x="127" y="77"/>
                    </a:cubicBezTo>
                    <a:cubicBezTo>
                      <a:pt x="135" y="63"/>
                      <a:pt x="125" y="51"/>
                      <a:pt x="125" y="51"/>
                    </a:cubicBezTo>
                    <a:cubicBezTo>
                      <a:pt x="124" y="61"/>
                      <a:pt x="119" y="62"/>
                      <a:pt x="116" y="62"/>
                    </a:cubicBezTo>
                    <a:cubicBezTo>
                      <a:pt x="115" y="55"/>
                      <a:pt x="113" y="49"/>
                      <a:pt x="110" y="44"/>
                    </a:cubicBezTo>
                    <a:cubicBezTo>
                      <a:pt x="115" y="38"/>
                      <a:pt x="124" y="47"/>
                      <a:pt x="124" y="47"/>
                    </a:cubicBezTo>
                    <a:cubicBezTo>
                      <a:pt x="124" y="31"/>
                      <a:pt x="110" y="25"/>
                      <a:pt x="110" y="25"/>
                    </a:cubicBezTo>
                    <a:cubicBezTo>
                      <a:pt x="114" y="35"/>
                      <a:pt x="109" y="38"/>
                      <a:pt x="107" y="39"/>
                    </a:cubicBezTo>
                    <a:cubicBezTo>
                      <a:pt x="103" y="34"/>
                      <a:pt x="98" y="29"/>
                      <a:pt x="92" y="26"/>
                    </a:cubicBezTo>
                    <a:cubicBezTo>
                      <a:pt x="94" y="18"/>
                      <a:pt x="106" y="22"/>
                      <a:pt x="106" y="22"/>
                    </a:cubicBezTo>
                    <a:cubicBezTo>
                      <a:pt x="98" y="7"/>
                      <a:pt x="83" y="9"/>
                      <a:pt x="83" y="9"/>
                    </a:cubicBezTo>
                    <a:cubicBezTo>
                      <a:pt x="92" y="16"/>
                      <a:pt x="89" y="22"/>
                      <a:pt x="87" y="23"/>
                    </a:cubicBezTo>
                    <a:cubicBezTo>
                      <a:pt x="81" y="21"/>
                      <a:pt x="75" y="20"/>
                      <a:pt x="69" y="19"/>
                    </a:cubicBezTo>
                    <a:cubicBezTo>
                      <a:pt x="66" y="12"/>
                      <a:pt x="78" y="9"/>
                      <a:pt x="78" y="9"/>
                    </a:cubicBezTo>
                    <a:cubicBezTo>
                      <a:pt x="65" y="0"/>
                      <a:pt x="53" y="9"/>
                      <a:pt x="53" y="9"/>
                    </a:cubicBezTo>
                    <a:cubicBezTo>
                      <a:pt x="63" y="11"/>
                      <a:pt x="63" y="17"/>
                      <a:pt x="63" y="20"/>
                    </a:cubicBezTo>
                    <a:cubicBezTo>
                      <a:pt x="56" y="20"/>
                      <a:pt x="50" y="22"/>
                      <a:pt x="44" y="25"/>
                    </a:cubicBezTo>
                    <a:cubicBezTo>
                      <a:pt x="39" y="20"/>
                      <a:pt x="48" y="12"/>
                      <a:pt x="48" y="12"/>
                    </a:cubicBezTo>
                    <a:cubicBezTo>
                      <a:pt x="32" y="11"/>
                      <a:pt x="25" y="25"/>
                      <a:pt x="25" y="25"/>
                    </a:cubicBezTo>
                    <a:cubicBezTo>
                      <a:pt x="35" y="21"/>
                      <a:pt x="38" y="26"/>
                      <a:pt x="39" y="29"/>
                    </a:cubicBezTo>
                    <a:cubicBezTo>
                      <a:pt x="34" y="32"/>
                      <a:pt x="29" y="37"/>
                      <a:pt x="26" y="43"/>
                    </a:cubicBezTo>
                    <a:cubicBezTo>
                      <a:pt x="19" y="41"/>
                      <a:pt x="22" y="30"/>
                      <a:pt x="22" y="30"/>
                    </a:cubicBezTo>
                    <a:cubicBezTo>
                      <a:pt x="8" y="38"/>
                      <a:pt x="10" y="53"/>
                      <a:pt x="10" y="53"/>
                    </a:cubicBezTo>
                    <a:cubicBezTo>
                      <a:pt x="16" y="45"/>
                      <a:pt x="21" y="46"/>
                      <a:pt x="23" y="48"/>
                    </a:cubicBezTo>
                    <a:cubicBezTo>
                      <a:pt x="20" y="54"/>
                      <a:pt x="18" y="61"/>
                      <a:pt x="18" y="69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1" y="73"/>
                      <a:pt x="8" y="61"/>
                      <a:pt x="8" y="61"/>
                    </a:cubicBezTo>
                    <a:cubicBezTo>
                      <a:pt x="0" y="75"/>
                      <a:pt x="10" y="86"/>
                      <a:pt x="10" y="86"/>
                    </a:cubicBezTo>
                    <a:cubicBezTo>
                      <a:pt x="11" y="76"/>
                      <a:pt x="16" y="75"/>
                      <a:pt x="19" y="75"/>
                    </a:cubicBezTo>
                    <a:cubicBezTo>
                      <a:pt x="20" y="82"/>
                      <a:pt x="22" y="89"/>
                      <a:pt x="26" y="95"/>
                    </a:cubicBezTo>
                    <a:cubicBezTo>
                      <a:pt x="22" y="102"/>
                      <a:pt x="12" y="94"/>
                      <a:pt x="12" y="94"/>
                    </a:cubicBezTo>
                    <a:cubicBezTo>
                      <a:pt x="13" y="110"/>
                      <a:pt x="28" y="114"/>
                      <a:pt x="28" y="114"/>
                    </a:cubicBezTo>
                    <a:cubicBezTo>
                      <a:pt x="23" y="105"/>
                      <a:pt x="27" y="101"/>
                      <a:pt x="30" y="100"/>
                    </a:cubicBezTo>
                    <a:cubicBezTo>
                      <a:pt x="34" y="105"/>
                      <a:pt x="39" y="109"/>
                      <a:pt x="45" y="112"/>
                    </a:cubicBezTo>
                    <a:cubicBezTo>
                      <a:pt x="45" y="121"/>
                      <a:pt x="33" y="118"/>
                      <a:pt x="33" y="118"/>
                    </a:cubicBezTo>
                    <a:cubicBezTo>
                      <a:pt x="41" y="132"/>
                      <a:pt x="56" y="128"/>
                      <a:pt x="56" y="128"/>
                    </a:cubicBezTo>
                    <a:cubicBezTo>
                      <a:pt x="47" y="122"/>
                      <a:pt x="49" y="117"/>
                      <a:pt x="51" y="115"/>
                    </a:cubicBezTo>
                    <a:cubicBezTo>
                      <a:pt x="56" y="117"/>
                      <a:pt x="62" y="118"/>
                      <a:pt x="68" y="118"/>
                    </a:cubicBezTo>
                    <a:cubicBezTo>
                      <a:pt x="69" y="118"/>
                      <a:pt x="69" y="118"/>
                      <a:pt x="70" y="118"/>
                    </a:cubicBezTo>
                    <a:cubicBezTo>
                      <a:pt x="75" y="125"/>
                      <a:pt x="62" y="129"/>
                      <a:pt x="62" y="129"/>
                    </a:cubicBezTo>
                    <a:cubicBezTo>
                      <a:pt x="76" y="137"/>
                      <a:pt x="88" y="127"/>
                      <a:pt x="88" y="127"/>
                    </a:cubicBezTo>
                    <a:cubicBezTo>
                      <a:pt x="75" y="126"/>
                      <a:pt x="76" y="119"/>
                      <a:pt x="77" y="117"/>
                    </a:cubicBezTo>
                    <a:cubicBezTo>
                      <a:pt x="83" y="116"/>
                      <a:pt x="88" y="114"/>
                      <a:pt x="93" y="111"/>
                    </a:cubicBezTo>
                    <a:cubicBezTo>
                      <a:pt x="100" y="115"/>
                      <a:pt x="91" y="125"/>
                      <a:pt x="91" y="125"/>
                    </a:cubicBezTo>
                    <a:cubicBezTo>
                      <a:pt x="107" y="124"/>
                      <a:pt x="112" y="110"/>
                      <a:pt x="112" y="110"/>
                    </a:cubicBezTo>
                    <a:cubicBezTo>
                      <a:pt x="102" y="115"/>
                      <a:pt x="99" y="110"/>
                      <a:pt x="98" y="107"/>
                    </a:cubicBezTo>
                    <a:cubicBezTo>
                      <a:pt x="103" y="104"/>
                      <a:pt x="107" y="99"/>
                      <a:pt x="110" y="94"/>
                    </a:cubicBezTo>
                    <a:cubicBezTo>
                      <a:pt x="118" y="94"/>
                      <a:pt x="115" y="107"/>
                      <a:pt x="115" y="107"/>
                    </a:cubicBezTo>
                    <a:cubicBezTo>
                      <a:pt x="129" y="99"/>
                      <a:pt x="127" y="84"/>
                      <a:pt x="127" y="84"/>
                    </a:cubicBezTo>
                    <a:cubicBezTo>
                      <a:pt x="120" y="93"/>
                      <a:pt x="114" y="90"/>
                      <a:pt x="113" y="88"/>
                    </a:cubicBezTo>
                    <a:close/>
                  </a:path>
                </a:pathLst>
              </a:custGeom>
              <a:solidFill>
                <a:srgbClr val="45AE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9" name="Freeform 110"/>
              <p:cNvSpPr>
                <a:spLocks/>
              </p:cNvSpPr>
              <p:nvPr/>
            </p:nvSpPr>
            <p:spPr bwMode="auto">
              <a:xfrm>
                <a:off x="8804275" y="2427288"/>
                <a:ext cx="427038" cy="344488"/>
              </a:xfrm>
              <a:custGeom>
                <a:avLst/>
                <a:gdLst>
                  <a:gd name="T0" fmla="*/ 55 w 113"/>
                  <a:gd name="T1" fmla="*/ 18 h 91"/>
                  <a:gd name="T2" fmla="*/ 27 w 113"/>
                  <a:gd name="T3" fmla="*/ 23 h 91"/>
                  <a:gd name="T4" fmla="*/ 4 w 113"/>
                  <a:gd name="T5" fmla="*/ 39 h 91"/>
                  <a:gd name="T6" fmla="*/ 1 w 113"/>
                  <a:gd name="T7" fmla="*/ 51 h 91"/>
                  <a:gd name="T8" fmla="*/ 0 w 113"/>
                  <a:gd name="T9" fmla="*/ 62 h 91"/>
                  <a:gd name="T10" fmla="*/ 18 w 113"/>
                  <a:gd name="T11" fmla="*/ 85 h 91"/>
                  <a:gd name="T12" fmla="*/ 48 w 113"/>
                  <a:gd name="T13" fmla="*/ 91 h 91"/>
                  <a:gd name="T14" fmla="*/ 65 w 113"/>
                  <a:gd name="T15" fmla="*/ 90 h 91"/>
                  <a:gd name="T16" fmla="*/ 78 w 113"/>
                  <a:gd name="T17" fmla="*/ 82 h 91"/>
                  <a:gd name="T18" fmla="*/ 104 w 113"/>
                  <a:gd name="T19" fmla="*/ 59 h 91"/>
                  <a:gd name="T20" fmla="*/ 113 w 113"/>
                  <a:gd name="T21" fmla="*/ 27 h 91"/>
                  <a:gd name="T22" fmla="*/ 106 w 113"/>
                  <a:gd name="T23" fmla="*/ 8 h 91"/>
                  <a:gd name="T24" fmla="*/ 83 w 113"/>
                  <a:gd name="T25" fmla="*/ 5 h 91"/>
                  <a:gd name="T26" fmla="*/ 55 w 113"/>
                  <a:gd name="T27" fmla="*/ 1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3" h="91">
                    <a:moveTo>
                      <a:pt x="55" y="18"/>
                    </a:moveTo>
                    <a:cubicBezTo>
                      <a:pt x="46" y="21"/>
                      <a:pt x="36" y="21"/>
                      <a:pt x="27" y="23"/>
                    </a:cubicBezTo>
                    <a:cubicBezTo>
                      <a:pt x="18" y="26"/>
                      <a:pt x="8" y="30"/>
                      <a:pt x="4" y="39"/>
                    </a:cubicBezTo>
                    <a:cubicBezTo>
                      <a:pt x="2" y="43"/>
                      <a:pt x="1" y="47"/>
                      <a:pt x="1" y="51"/>
                    </a:cubicBezTo>
                    <a:cubicBezTo>
                      <a:pt x="0" y="55"/>
                      <a:pt x="0" y="59"/>
                      <a:pt x="0" y="62"/>
                    </a:cubicBezTo>
                    <a:cubicBezTo>
                      <a:pt x="1" y="72"/>
                      <a:pt x="9" y="80"/>
                      <a:pt x="18" y="85"/>
                    </a:cubicBezTo>
                    <a:cubicBezTo>
                      <a:pt x="28" y="89"/>
                      <a:pt x="38" y="90"/>
                      <a:pt x="48" y="91"/>
                    </a:cubicBezTo>
                    <a:cubicBezTo>
                      <a:pt x="54" y="91"/>
                      <a:pt x="59" y="91"/>
                      <a:pt x="65" y="90"/>
                    </a:cubicBezTo>
                    <a:cubicBezTo>
                      <a:pt x="70" y="88"/>
                      <a:pt x="74" y="85"/>
                      <a:pt x="78" y="82"/>
                    </a:cubicBezTo>
                    <a:cubicBezTo>
                      <a:pt x="88" y="76"/>
                      <a:pt x="97" y="69"/>
                      <a:pt x="104" y="59"/>
                    </a:cubicBezTo>
                    <a:cubicBezTo>
                      <a:pt x="110" y="50"/>
                      <a:pt x="113" y="38"/>
                      <a:pt x="113" y="27"/>
                    </a:cubicBezTo>
                    <a:cubicBezTo>
                      <a:pt x="112" y="20"/>
                      <a:pt x="110" y="13"/>
                      <a:pt x="106" y="8"/>
                    </a:cubicBezTo>
                    <a:cubicBezTo>
                      <a:pt x="100" y="1"/>
                      <a:pt x="90" y="0"/>
                      <a:pt x="83" y="5"/>
                    </a:cubicBezTo>
                    <a:cubicBezTo>
                      <a:pt x="74" y="10"/>
                      <a:pt x="66" y="16"/>
                      <a:pt x="55" y="18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0" name="Freeform 111"/>
              <p:cNvSpPr>
                <a:spLocks/>
              </p:cNvSpPr>
              <p:nvPr/>
            </p:nvSpPr>
            <p:spPr bwMode="auto">
              <a:xfrm>
                <a:off x="8572500" y="1847850"/>
                <a:ext cx="398463" cy="333375"/>
              </a:xfrm>
              <a:custGeom>
                <a:avLst/>
                <a:gdLst>
                  <a:gd name="T0" fmla="*/ 10 w 105"/>
                  <a:gd name="T1" fmla="*/ 82 h 88"/>
                  <a:gd name="T2" fmla="*/ 33 w 105"/>
                  <a:gd name="T3" fmla="*/ 82 h 88"/>
                  <a:gd name="T4" fmla="*/ 40 w 105"/>
                  <a:gd name="T5" fmla="*/ 73 h 88"/>
                  <a:gd name="T6" fmla="*/ 56 w 105"/>
                  <a:gd name="T7" fmla="*/ 55 h 88"/>
                  <a:gd name="T8" fmla="*/ 76 w 105"/>
                  <a:gd name="T9" fmla="*/ 46 h 88"/>
                  <a:gd name="T10" fmla="*/ 96 w 105"/>
                  <a:gd name="T11" fmla="*/ 36 h 88"/>
                  <a:gd name="T12" fmla="*/ 102 w 105"/>
                  <a:gd name="T13" fmla="*/ 16 h 88"/>
                  <a:gd name="T14" fmla="*/ 82 w 105"/>
                  <a:gd name="T15" fmla="*/ 3 h 88"/>
                  <a:gd name="T16" fmla="*/ 33 w 105"/>
                  <a:gd name="T17" fmla="*/ 15 h 88"/>
                  <a:gd name="T18" fmla="*/ 9 w 105"/>
                  <a:gd name="T19" fmla="*/ 47 h 88"/>
                  <a:gd name="T20" fmla="*/ 10 w 105"/>
                  <a:gd name="T21" fmla="*/ 8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5" h="88">
                    <a:moveTo>
                      <a:pt x="10" y="82"/>
                    </a:moveTo>
                    <a:cubicBezTo>
                      <a:pt x="16" y="88"/>
                      <a:pt x="27" y="88"/>
                      <a:pt x="33" y="82"/>
                    </a:cubicBezTo>
                    <a:cubicBezTo>
                      <a:pt x="36" y="79"/>
                      <a:pt x="38" y="76"/>
                      <a:pt x="40" y="73"/>
                    </a:cubicBezTo>
                    <a:cubicBezTo>
                      <a:pt x="44" y="66"/>
                      <a:pt x="49" y="59"/>
                      <a:pt x="56" y="55"/>
                    </a:cubicBezTo>
                    <a:cubicBezTo>
                      <a:pt x="62" y="51"/>
                      <a:pt x="69" y="49"/>
                      <a:pt x="76" y="46"/>
                    </a:cubicBezTo>
                    <a:cubicBezTo>
                      <a:pt x="83" y="44"/>
                      <a:pt x="91" y="41"/>
                      <a:pt x="96" y="36"/>
                    </a:cubicBezTo>
                    <a:cubicBezTo>
                      <a:pt x="101" y="31"/>
                      <a:pt x="105" y="23"/>
                      <a:pt x="102" y="16"/>
                    </a:cubicBezTo>
                    <a:cubicBezTo>
                      <a:pt x="99" y="8"/>
                      <a:pt x="90" y="4"/>
                      <a:pt x="82" y="3"/>
                    </a:cubicBezTo>
                    <a:cubicBezTo>
                      <a:pt x="65" y="0"/>
                      <a:pt x="47" y="5"/>
                      <a:pt x="33" y="15"/>
                    </a:cubicBezTo>
                    <a:cubicBezTo>
                      <a:pt x="22" y="23"/>
                      <a:pt x="13" y="34"/>
                      <a:pt x="9" y="47"/>
                    </a:cubicBezTo>
                    <a:cubicBezTo>
                      <a:pt x="5" y="57"/>
                      <a:pt x="0" y="74"/>
                      <a:pt x="10" y="82"/>
                    </a:cubicBezTo>
                    <a:close/>
                  </a:path>
                </a:pathLst>
              </a:custGeom>
              <a:solidFill>
                <a:srgbClr val="D054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1" name="Freeform 112"/>
              <p:cNvSpPr>
                <a:spLocks/>
              </p:cNvSpPr>
              <p:nvPr/>
            </p:nvSpPr>
            <p:spPr bwMode="auto">
              <a:xfrm>
                <a:off x="9170988" y="1763713"/>
                <a:ext cx="374650" cy="374650"/>
              </a:xfrm>
              <a:custGeom>
                <a:avLst/>
                <a:gdLst>
                  <a:gd name="T0" fmla="*/ 96 w 99"/>
                  <a:gd name="T1" fmla="*/ 55 h 99"/>
                  <a:gd name="T2" fmla="*/ 44 w 99"/>
                  <a:gd name="T3" fmla="*/ 96 h 99"/>
                  <a:gd name="T4" fmla="*/ 3 w 99"/>
                  <a:gd name="T5" fmla="*/ 44 h 99"/>
                  <a:gd name="T6" fmla="*/ 55 w 99"/>
                  <a:gd name="T7" fmla="*/ 3 h 99"/>
                  <a:gd name="T8" fmla="*/ 96 w 99"/>
                  <a:gd name="T9" fmla="*/ 55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99">
                    <a:moveTo>
                      <a:pt x="96" y="55"/>
                    </a:moveTo>
                    <a:cubicBezTo>
                      <a:pt x="93" y="80"/>
                      <a:pt x="70" y="99"/>
                      <a:pt x="44" y="96"/>
                    </a:cubicBezTo>
                    <a:cubicBezTo>
                      <a:pt x="18" y="93"/>
                      <a:pt x="0" y="70"/>
                      <a:pt x="3" y="44"/>
                    </a:cubicBezTo>
                    <a:cubicBezTo>
                      <a:pt x="6" y="18"/>
                      <a:pt x="29" y="0"/>
                      <a:pt x="55" y="3"/>
                    </a:cubicBezTo>
                    <a:cubicBezTo>
                      <a:pt x="81" y="6"/>
                      <a:pt x="99" y="29"/>
                      <a:pt x="96" y="55"/>
                    </a:cubicBez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2" name="Freeform 113"/>
              <p:cNvSpPr>
                <a:spLocks/>
              </p:cNvSpPr>
              <p:nvPr/>
            </p:nvSpPr>
            <p:spPr bwMode="auto">
              <a:xfrm>
                <a:off x="9359900" y="1689100"/>
                <a:ext cx="52388" cy="104775"/>
              </a:xfrm>
              <a:custGeom>
                <a:avLst/>
                <a:gdLst>
                  <a:gd name="T0" fmla="*/ 31 w 33"/>
                  <a:gd name="T1" fmla="*/ 0 h 66"/>
                  <a:gd name="T2" fmla="*/ 0 w 33"/>
                  <a:gd name="T3" fmla="*/ 62 h 66"/>
                  <a:gd name="T4" fmla="*/ 33 w 33"/>
                  <a:gd name="T5" fmla="*/ 66 h 66"/>
                  <a:gd name="T6" fmla="*/ 31 w 3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" h="66">
                    <a:moveTo>
                      <a:pt x="31" y="0"/>
                    </a:moveTo>
                    <a:lnTo>
                      <a:pt x="0" y="62"/>
                    </a:lnTo>
                    <a:lnTo>
                      <a:pt x="33" y="66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3" name="Freeform 114"/>
              <p:cNvSpPr>
                <a:spLocks/>
              </p:cNvSpPr>
              <p:nvPr/>
            </p:nvSpPr>
            <p:spPr bwMode="auto">
              <a:xfrm>
                <a:off x="9444038" y="1749425"/>
                <a:ext cx="85725" cy="93663"/>
              </a:xfrm>
              <a:custGeom>
                <a:avLst/>
                <a:gdLst>
                  <a:gd name="T0" fmla="*/ 54 w 54"/>
                  <a:gd name="T1" fmla="*/ 0 h 59"/>
                  <a:gd name="T2" fmla="*/ 0 w 54"/>
                  <a:gd name="T3" fmla="*/ 38 h 59"/>
                  <a:gd name="T4" fmla="*/ 26 w 54"/>
                  <a:gd name="T5" fmla="*/ 59 h 59"/>
                  <a:gd name="T6" fmla="*/ 54 w 54"/>
                  <a:gd name="T7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59">
                    <a:moveTo>
                      <a:pt x="54" y="0"/>
                    </a:moveTo>
                    <a:lnTo>
                      <a:pt x="0" y="38"/>
                    </a:lnTo>
                    <a:lnTo>
                      <a:pt x="26" y="59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4" name="Freeform 115"/>
              <p:cNvSpPr>
                <a:spLocks/>
              </p:cNvSpPr>
              <p:nvPr/>
            </p:nvSpPr>
            <p:spPr bwMode="auto">
              <a:xfrm>
                <a:off x="9496425" y="1858963"/>
                <a:ext cx="109538" cy="60325"/>
              </a:xfrm>
              <a:custGeom>
                <a:avLst/>
                <a:gdLst>
                  <a:gd name="T0" fmla="*/ 69 w 69"/>
                  <a:gd name="T1" fmla="*/ 0 h 38"/>
                  <a:gd name="T2" fmla="*/ 0 w 69"/>
                  <a:gd name="T3" fmla="*/ 5 h 38"/>
                  <a:gd name="T4" fmla="*/ 12 w 69"/>
                  <a:gd name="T5" fmla="*/ 38 h 38"/>
                  <a:gd name="T6" fmla="*/ 69 w 69"/>
                  <a:gd name="T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38">
                    <a:moveTo>
                      <a:pt x="69" y="0"/>
                    </a:moveTo>
                    <a:lnTo>
                      <a:pt x="0" y="5"/>
                    </a:lnTo>
                    <a:lnTo>
                      <a:pt x="12" y="38"/>
                    </a:lnTo>
                    <a:lnTo>
                      <a:pt x="69" y="0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5" name="Freeform 116"/>
              <p:cNvSpPr>
                <a:spLocks/>
              </p:cNvSpPr>
              <p:nvPr/>
            </p:nvSpPr>
            <p:spPr bwMode="auto">
              <a:xfrm>
                <a:off x="9510713" y="1941513"/>
                <a:ext cx="106363" cy="57150"/>
              </a:xfrm>
              <a:custGeom>
                <a:avLst/>
                <a:gdLst>
                  <a:gd name="T0" fmla="*/ 67 w 67"/>
                  <a:gd name="T1" fmla="*/ 29 h 36"/>
                  <a:gd name="T2" fmla="*/ 5 w 67"/>
                  <a:gd name="T3" fmla="*/ 0 h 36"/>
                  <a:gd name="T4" fmla="*/ 0 w 67"/>
                  <a:gd name="T5" fmla="*/ 36 h 36"/>
                  <a:gd name="T6" fmla="*/ 67 w 67"/>
                  <a:gd name="T7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36">
                    <a:moveTo>
                      <a:pt x="67" y="29"/>
                    </a:moveTo>
                    <a:lnTo>
                      <a:pt x="5" y="0"/>
                    </a:lnTo>
                    <a:lnTo>
                      <a:pt x="0" y="36"/>
                    </a:lnTo>
                    <a:lnTo>
                      <a:pt x="67" y="29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6" name="Freeform 117"/>
              <p:cNvSpPr>
                <a:spLocks/>
              </p:cNvSpPr>
              <p:nvPr/>
            </p:nvSpPr>
            <p:spPr bwMode="auto">
              <a:xfrm>
                <a:off x="9466263" y="2022475"/>
                <a:ext cx="98425" cy="82550"/>
              </a:xfrm>
              <a:custGeom>
                <a:avLst/>
                <a:gdLst>
                  <a:gd name="T0" fmla="*/ 62 w 62"/>
                  <a:gd name="T1" fmla="*/ 52 h 52"/>
                  <a:gd name="T2" fmla="*/ 21 w 62"/>
                  <a:gd name="T3" fmla="*/ 0 h 52"/>
                  <a:gd name="T4" fmla="*/ 0 w 62"/>
                  <a:gd name="T5" fmla="*/ 26 h 52"/>
                  <a:gd name="T6" fmla="*/ 62 w 62"/>
                  <a:gd name="T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2" h="52">
                    <a:moveTo>
                      <a:pt x="62" y="52"/>
                    </a:moveTo>
                    <a:lnTo>
                      <a:pt x="21" y="0"/>
                    </a:lnTo>
                    <a:lnTo>
                      <a:pt x="0" y="26"/>
                    </a:lnTo>
                    <a:lnTo>
                      <a:pt x="62" y="52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7" name="Freeform 118"/>
              <p:cNvSpPr>
                <a:spLocks/>
              </p:cNvSpPr>
              <p:nvPr/>
            </p:nvSpPr>
            <p:spPr bwMode="auto">
              <a:xfrm>
                <a:off x="9394825" y="2078038"/>
                <a:ext cx="63500" cy="106363"/>
              </a:xfrm>
              <a:custGeom>
                <a:avLst/>
                <a:gdLst>
                  <a:gd name="T0" fmla="*/ 40 w 40"/>
                  <a:gd name="T1" fmla="*/ 67 h 67"/>
                  <a:gd name="T2" fmla="*/ 31 w 40"/>
                  <a:gd name="T3" fmla="*/ 0 h 67"/>
                  <a:gd name="T4" fmla="*/ 0 w 40"/>
                  <a:gd name="T5" fmla="*/ 15 h 67"/>
                  <a:gd name="T6" fmla="*/ 40 w 40"/>
                  <a:gd name="T7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67">
                    <a:moveTo>
                      <a:pt x="40" y="67"/>
                    </a:moveTo>
                    <a:lnTo>
                      <a:pt x="31" y="0"/>
                    </a:lnTo>
                    <a:lnTo>
                      <a:pt x="0" y="15"/>
                    </a:lnTo>
                    <a:lnTo>
                      <a:pt x="40" y="67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8" name="Freeform 119"/>
              <p:cNvSpPr>
                <a:spLocks/>
              </p:cNvSpPr>
              <p:nvPr/>
            </p:nvSpPr>
            <p:spPr bwMode="auto">
              <a:xfrm>
                <a:off x="9313863" y="2097088"/>
                <a:ext cx="53975" cy="106363"/>
              </a:xfrm>
              <a:custGeom>
                <a:avLst/>
                <a:gdLst>
                  <a:gd name="T0" fmla="*/ 10 w 34"/>
                  <a:gd name="T1" fmla="*/ 67 h 67"/>
                  <a:gd name="T2" fmla="*/ 34 w 34"/>
                  <a:gd name="T3" fmla="*/ 3 h 67"/>
                  <a:gd name="T4" fmla="*/ 0 w 34"/>
                  <a:gd name="T5" fmla="*/ 0 h 67"/>
                  <a:gd name="T6" fmla="*/ 10 w 34"/>
                  <a:gd name="T7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" h="67">
                    <a:moveTo>
                      <a:pt x="10" y="67"/>
                    </a:moveTo>
                    <a:lnTo>
                      <a:pt x="34" y="3"/>
                    </a:lnTo>
                    <a:lnTo>
                      <a:pt x="0" y="0"/>
                    </a:lnTo>
                    <a:lnTo>
                      <a:pt x="10" y="67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9" name="Freeform 120"/>
              <p:cNvSpPr>
                <a:spLocks/>
              </p:cNvSpPr>
              <p:nvPr/>
            </p:nvSpPr>
            <p:spPr bwMode="auto">
              <a:xfrm>
                <a:off x="9209088" y="2055813"/>
                <a:ext cx="82550" cy="101600"/>
              </a:xfrm>
              <a:custGeom>
                <a:avLst/>
                <a:gdLst>
                  <a:gd name="T0" fmla="*/ 0 w 52"/>
                  <a:gd name="T1" fmla="*/ 64 h 64"/>
                  <a:gd name="T2" fmla="*/ 52 w 52"/>
                  <a:gd name="T3" fmla="*/ 19 h 64"/>
                  <a:gd name="T4" fmla="*/ 24 w 52"/>
                  <a:gd name="T5" fmla="*/ 0 h 64"/>
                  <a:gd name="T6" fmla="*/ 0 w 52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64">
                    <a:moveTo>
                      <a:pt x="0" y="64"/>
                    </a:moveTo>
                    <a:lnTo>
                      <a:pt x="52" y="19"/>
                    </a:lnTo>
                    <a:lnTo>
                      <a:pt x="24" y="0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0" name="Freeform 121"/>
              <p:cNvSpPr>
                <a:spLocks/>
              </p:cNvSpPr>
              <p:nvPr/>
            </p:nvSpPr>
            <p:spPr bwMode="auto">
              <a:xfrm>
                <a:off x="9124950" y="1987550"/>
                <a:ext cx="106363" cy="71438"/>
              </a:xfrm>
              <a:custGeom>
                <a:avLst/>
                <a:gdLst>
                  <a:gd name="T0" fmla="*/ 0 w 67"/>
                  <a:gd name="T1" fmla="*/ 45 h 45"/>
                  <a:gd name="T2" fmla="*/ 67 w 67"/>
                  <a:gd name="T3" fmla="*/ 31 h 45"/>
                  <a:gd name="T4" fmla="*/ 50 w 67"/>
                  <a:gd name="T5" fmla="*/ 0 h 45"/>
                  <a:gd name="T6" fmla="*/ 0 w 67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45">
                    <a:moveTo>
                      <a:pt x="0" y="45"/>
                    </a:moveTo>
                    <a:lnTo>
                      <a:pt x="67" y="31"/>
                    </a:lnTo>
                    <a:lnTo>
                      <a:pt x="50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1" name="Freeform 122"/>
              <p:cNvSpPr>
                <a:spLocks/>
              </p:cNvSpPr>
              <p:nvPr/>
            </p:nvSpPr>
            <p:spPr bwMode="auto">
              <a:xfrm>
                <a:off x="9099550" y="1908175"/>
                <a:ext cx="104775" cy="52388"/>
              </a:xfrm>
              <a:custGeom>
                <a:avLst/>
                <a:gdLst>
                  <a:gd name="T0" fmla="*/ 0 w 66"/>
                  <a:gd name="T1" fmla="*/ 14 h 33"/>
                  <a:gd name="T2" fmla="*/ 64 w 66"/>
                  <a:gd name="T3" fmla="*/ 33 h 33"/>
                  <a:gd name="T4" fmla="*/ 66 w 66"/>
                  <a:gd name="T5" fmla="*/ 0 h 33"/>
                  <a:gd name="T6" fmla="*/ 0 w 66"/>
                  <a:gd name="T7" fmla="*/ 1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" h="33">
                    <a:moveTo>
                      <a:pt x="0" y="14"/>
                    </a:moveTo>
                    <a:lnTo>
                      <a:pt x="64" y="33"/>
                    </a:lnTo>
                    <a:lnTo>
                      <a:pt x="66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2" name="Freeform 123"/>
              <p:cNvSpPr>
                <a:spLocks/>
              </p:cNvSpPr>
              <p:nvPr/>
            </p:nvSpPr>
            <p:spPr bwMode="auto">
              <a:xfrm>
                <a:off x="9140825" y="1806575"/>
                <a:ext cx="101600" cy="79375"/>
              </a:xfrm>
              <a:custGeom>
                <a:avLst/>
                <a:gdLst>
                  <a:gd name="T0" fmla="*/ 0 w 64"/>
                  <a:gd name="T1" fmla="*/ 0 h 50"/>
                  <a:gd name="T2" fmla="*/ 45 w 64"/>
                  <a:gd name="T3" fmla="*/ 50 h 50"/>
                  <a:gd name="T4" fmla="*/ 64 w 64"/>
                  <a:gd name="T5" fmla="*/ 19 h 50"/>
                  <a:gd name="T6" fmla="*/ 0 w 64"/>
                  <a:gd name="T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50">
                    <a:moveTo>
                      <a:pt x="0" y="0"/>
                    </a:moveTo>
                    <a:lnTo>
                      <a:pt x="45" y="50"/>
                    </a:lnTo>
                    <a:lnTo>
                      <a:pt x="64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3" name="Freeform 124"/>
              <p:cNvSpPr>
                <a:spLocks/>
              </p:cNvSpPr>
              <p:nvPr/>
            </p:nvSpPr>
            <p:spPr bwMode="auto">
              <a:xfrm>
                <a:off x="9242425" y="1711325"/>
                <a:ext cx="71438" cy="106363"/>
              </a:xfrm>
              <a:custGeom>
                <a:avLst/>
                <a:gdLst>
                  <a:gd name="T0" fmla="*/ 0 w 45"/>
                  <a:gd name="T1" fmla="*/ 0 h 67"/>
                  <a:gd name="T2" fmla="*/ 17 w 45"/>
                  <a:gd name="T3" fmla="*/ 67 h 67"/>
                  <a:gd name="T4" fmla="*/ 45 w 45"/>
                  <a:gd name="T5" fmla="*/ 50 h 67"/>
                  <a:gd name="T6" fmla="*/ 0 w 45"/>
                  <a:gd name="T7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" h="67">
                    <a:moveTo>
                      <a:pt x="0" y="0"/>
                    </a:moveTo>
                    <a:lnTo>
                      <a:pt x="17" y="67"/>
                    </a:lnTo>
                    <a:lnTo>
                      <a:pt x="45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3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4" name="Oval 125"/>
              <p:cNvSpPr>
                <a:spLocks noChangeArrowheads="1"/>
              </p:cNvSpPr>
              <p:nvPr/>
            </p:nvSpPr>
            <p:spPr bwMode="auto">
              <a:xfrm>
                <a:off x="8909050" y="2093913"/>
                <a:ext cx="155575" cy="144463"/>
              </a:xfrm>
              <a:prstGeom prst="ellipse">
                <a:avLst/>
              </a:prstGeom>
              <a:solidFill>
                <a:srgbClr val="EC41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5" name="Oval 126"/>
              <p:cNvSpPr>
                <a:spLocks noChangeArrowheads="1"/>
              </p:cNvSpPr>
              <p:nvPr/>
            </p:nvSpPr>
            <p:spPr bwMode="auto">
              <a:xfrm>
                <a:off x="8940800" y="2078038"/>
                <a:ext cx="44450" cy="49213"/>
              </a:xfrm>
              <a:prstGeom prst="ellipse">
                <a:avLst/>
              </a:prstGeom>
              <a:solidFill>
                <a:srgbClr val="F588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6" name="Oval 127"/>
              <p:cNvSpPr>
                <a:spLocks noChangeArrowheads="1"/>
              </p:cNvSpPr>
              <p:nvPr/>
            </p:nvSpPr>
            <p:spPr bwMode="auto">
              <a:xfrm>
                <a:off x="8993188" y="2082800"/>
                <a:ext cx="49213" cy="49213"/>
              </a:xfrm>
              <a:prstGeom prst="ellipse">
                <a:avLst/>
              </a:prstGeom>
              <a:solidFill>
                <a:srgbClr val="F588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7" name="Oval 128"/>
              <p:cNvSpPr>
                <a:spLocks noChangeArrowheads="1"/>
              </p:cNvSpPr>
              <p:nvPr/>
            </p:nvSpPr>
            <p:spPr bwMode="auto">
              <a:xfrm>
                <a:off x="9037638" y="2127250"/>
                <a:ext cx="49213" cy="49213"/>
              </a:xfrm>
              <a:prstGeom prst="ellipse">
                <a:avLst/>
              </a:prstGeom>
              <a:solidFill>
                <a:srgbClr val="F588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8" name="Oval 129"/>
              <p:cNvSpPr>
                <a:spLocks noChangeArrowheads="1"/>
              </p:cNvSpPr>
              <p:nvPr/>
            </p:nvSpPr>
            <p:spPr bwMode="auto">
              <a:xfrm>
                <a:off x="8897938" y="2116138"/>
                <a:ext cx="49213" cy="49213"/>
              </a:xfrm>
              <a:prstGeom prst="ellipse">
                <a:avLst/>
              </a:prstGeom>
              <a:solidFill>
                <a:srgbClr val="F588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9" name="Oval 130"/>
              <p:cNvSpPr>
                <a:spLocks noChangeArrowheads="1"/>
              </p:cNvSpPr>
              <p:nvPr/>
            </p:nvSpPr>
            <p:spPr bwMode="auto">
              <a:xfrm>
                <a:off x="8897938" y="2176463"/>
                <a:ext cx="49213" cy="46038"/>
              </a:xfrm>
              <a:prstGeom prst="ellipse">
                <a:avLst/>
              </a:prstGeom>
              <a:solidFill>
                <a:srgbClr val="F588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0" name="Oval 131"/>
              <p:cNvSpPr>
                <a:spLocks noChangeArrowheads="1"/>
              </p:cNvSpPr>
              <p:nvPr/>
            </p:nvSpPr>
            <p:spPr bwMode="auto">
              <a:xfrm>
                <a:off x="8947150" y="2206625"/>
                <a:ext cx="49213" cy="49213"/>
              </a:xfrm>
              <a:prstGeom prst="ellipse">
                <a:avLst/>
              </a:prstGeom>
              <a:solidFill>
                <a:srgbClr val="F588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1" name="Oval 132"/>
              <p:cNvSpPr>
                <a:spLocks noChangeArrowheads="1"/>
              </p:cNvSpPr>
              <p:nvPr/>
            </p:nvSpPr>
            <p:spPr bwMode="auto">
              <a:xfrm>
                <a:off x="9004300" y="2203450"/>
                <a:ext cx="49213" cy="46038"/>
              </a:xfrm>
              <a:prstGeom prst="ellipse">
                <a:avLst/>
              </a:prstGeom>
              <a:solidFill>
                <a:srgbClr val="F588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2" name="Oval 133"/>
              <p:cNvSpPr>
                <a:spLocks noChangeArrowheads="1"/>
              </p:cNvSpPr>
              <p:nvPr/>
            </p:nvSpPr>
            <p:spPr bwMode="auto">
              <a:xfrm>
                <a:off x="8651875" y="2881313"/>
                <a:ext cx="122238" cy="120650"/>
              </a:xfrm>
              <a:prstGeom prst="ellipse">
                <a:avLst/>
              </a:prstGeom>
              <a:solidFill>
                <a:srgbClr val="68D1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3" name="Oval 134"/>
              <p:cNvSpPr>
                <a:spLocks noChangeArrowheads="1"/>
              </p:cNvSpPr>
              <p:nvPr/>
            </p:nvSpPr>
            <p:spPr bwMode="auto">
              <a:xfrm>
                <a:off x="9332913" y="2290763"/>
                <a:ext cx="117475" cy="120650"/>
              </a:xfrm>
              <a:prstGeom prst="ellipse">
                <a:avLst/>
              </a:prstGeom>
              <a:solidFill>
                <a:srgbClr val="68D1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4" name="Oval 135"/>
              <p:cNvSpPr>
                <a:spLocks noChangeArrowheads="1"/>
              </p:cNvSpPr>
              <p:nvPr/>
            </p:nvSpPr>
            <p:spPr bwMode="auto">
              <a:xfrm>
                <a:off x="9288463" y="1389063"/>
                <a:ext cx="120650" cy="117475"/>
              </a:xfrm>
              <a:prstGeom prst="ellipse">
                <a:avLst/>
              </a:prstGeom>
              <a:solidFill>
                <a:srgbClr val="32BD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5" name="Oval 136"/>
              <p:cNvSpPr>
                <a:spLocks noChangeArrowheads="1"/>
              </p:cNvSpPr>
              <p:nvPr/>
            </p:nvSpPr>
            <p:spPr bwMode="auto">
              <a:xfrm>
                <a:off x="8016875" y="2684463"/>
                <a:ext cx="82550" cy="82550"/>
              </a:xfrm>
              <a:prstGeom prst="ellipse">
                <a:avLst/>
              </a:prstGeom>
              <a:solidFill>
                <a:srgbClr val="289C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6" name="Oval 137"/>
              <p:cNvSpPr>
                <a:spLocks noChangeArrowheads="1"/>
              </p:cNvSpPr>
              <p:nvPr/>
            </p:nvSpPr>
            <p:spPr bwMode="auto">
              <a:xfrm>
                <a:off x="8599488" y="2400300"/>
                <a:ext cx="76200" cy="76200"/>
              </a:xfrm>
              <a:prstGeom prst="ellipse">
                <a:avLst/>
              </a:prstGeom>
              <a:solidFill>
                <a:srgbClr val="289C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7" name="Oval 138"/>
              <p:cNvSpPr>
                <a:spLocks noChangeArrowheads="1"/>
              </p:cNvSpPr>
              <p:nvPr/>
            </p:nvSpPr>
            <p:spPr bwMode="auto">
              <a:xfrm>
                <a:off x="9140825" y="2241550"/>
                <a:ext cx="57150" cy="52388"/>
              </a:xfrm>
              <a:prstGeom prst="ellipse">
                <a:avLst/>
              </a:prstGeom>
              <a:solidFill>
                <a:srgbClr val="289C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8" name="Oval 139"/>
              <p:cNvSpPr>
                <a:spLocks noChangeArrowheads="1"/>
              </p:cNvSpPr>
              <p:nvPr/>
            </p:nvSpPr>
            <p:spPr bwMode="auto">
              <a:xfrm>
                <a:off x="9299575" y="2566988"/>
                <a:ext cx="52388" cy="52388"/>
              </a:xfrm>
              <a:prstGeom prst="ellipse">
                <a:avLst/>
              </a:prstGeom>
              <a:solidFill>
                <a:srgbClr val="289C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9" name="Oval 140"/>
              <p:cNvSpPr>
                <a:spLocks noChangeArrowheads="1"/>
              </p:cNvSpPr>
              <p:nvPr/>
            </p:nvSpPr>
            <p:spPr bwMode="auto">
              <a:xfrm>
                <a:off x="9001125" y="1801813"/>
                <a:ext cx="55563" cy="53975"/>
              </a:xfrm>
              <a:prstGeom prst="ellipse">
                <a:avLst/>
              </a:prstGeom>
              <a:solidFill>
                <a:srgbClr val="289C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0" name="Oval 141"/>
              <p:cNvSpPr>
                <a:spLocks noChangeArrowheads="1"/>
              </p:cNvSpPr>
              <p:nvPr/>
            </p:nvSpPr>
            <p:spPr bwMode="auto">
              <a:xfrm>
                <a:off x="9345613" y="1919288"/>
                <a:ext cx="55563" cy="57150"/>
              </a:xfrm>
              <a:prstGeom prst="ellipse">
                <a:avLst/>
              </a:prstGeom>
              <a:solidFill>
                <a:srgbClr val="CE28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1" name="Oval 142"/>
              <p:cNvSpPr>
                <a:spLocks noChangeArrowheads="1"/>
              </p:cNvSpPr>
              <p:nvPr/>
            </p:nvSpPr>
            <p:spPr bwMode="auto">
              <a:xfrm>
                <a:off x="9277350" y="1858963"/>
                <a:ext cx="44450" cy="41275"/>
              </a:xfrm>
              <a:prstGeom prst="ellipse">
                <a:avLst/>
              </a:prstGeom>
              <a:solidFill>
                <a:srgbClr val="CE28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2" name="Oval 143"/>
              <p:cNvSpPr>
                <a:spLocks noChangeArrowheads="1"/>
              </p:cNvSpPr>
              <p:nvPr/>
            </p:nvSpPr>
            <p:spPr bwMode="auto">
              <a:xfrm>
                <a:off x="9264650" y="1979613"/>
                <a:ext cx="61913" cy="60325"/>
              </a:xfrm>
              <a:prstGeom prst="ellipse">
                <a:avLst/>
              </a:prstGeom>
              <a:solidFill>
                <a:srgbClr val="CE28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3" name="Oval 144"/>
              <p:cNvSpPr>
                <a:spLocks noChangeArrowheads="1"/>
              </p:cNvSpPr>
              <p:nvPr/>
            </p:nvSpPr>
            <p:spPr bwMode="auto">
              <a:xfrm>
                <a:off x="9431338" y="1885950"/>
                <a:ext cx="46038" cy="44450"/>
              </a:xfrm>
              <a:prstGeom prst="ellipse">
                <a:avLst/>
              </a:prstGeom>
              <a:solidFill>
                <a:srgbClr val="CE28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4" name="Oval 145"/>
              <p:cNvSpPr>
                <a:spLocks noChangeArrowheads="1"/>
              </p:cNvSpPr>
              <p:nvPr/>
            </p:nvSpPr>
            <p:spPr bwMode="auto">
              <a:xfrm>
                <a:off x="8486775" y="1990725"/>
                <a:ext cx="52388" cy="53975"/>
              </a:xfrm>
              <a:prstGeom prst="ellipse">
                <a:avLst/>
              </a:prstGeom>
              <a:solidFill>
                <a:srgbClr val="AB39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5" name="Oval 146"/>
              <p:cNvSpPr>
                <a:spLocks noChangeArrowheads="1"/>
              </p:cNvSpPr>
              <p:nvPr/>
            </p:nvSpPr>
            <p:spPr bwMode="auto">
              <a:xfrm>
                <a:off x="8848725" y="2870200"/>
                <a:ext cx="57150" cy="52388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6" name="Oval 147"/>
              <p:cNvSpPr>
                <a:spLocks noChangeArrowheads="1"/>
              </p:cNvSpPr>
              <p:nvPr/>
            </p:nvSpPr>
            <p:spPr bwMode="auto">
              <a:xfrm>
                <a:off x="8535988" y="2919413"/>
                <a:ext cx="52388" cy="57150"/>
              </a:xfrm>
              <a:prstGeom prst="ellipse">
                <a:avLst/>
              </a:prstGeom>
              <a:solidFill>
                <a:srgbClr val="F69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7" name="Oval 148"/>
              <p:cNvSpPr>
                <a:spLocks noChangeArrowheads="1"/>
              </p:cNvSpPr>
              <p:nvPr/>
            </p:nvSpPr>
            <p:spPr bwMode="auto">
              <a:xfrm>
                <a:off x="8224838" y="2089150"/>
                <a:ext cx="71438" cy="73025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8" name="Oval 149"/>
              <p:cNvSpPr>
                <a:spLocks noChangeArrowheads="1"/>
              </p:cNvSpPr>
              <p:nvPr/>
            </p:nvSpPr>
            <p:spPr bwMode="auto">
              <a:xfrm>
                <a:off x="7904163" y="2078038"/>
                <a:ext cx="36513" cy="38100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9" name="Oval 150"/>
              <p:cNvSpPr>
                <a:spLocks noChangeArrowheads="1"/>
              </p:cNvSpPr>
              <p:nvPr/>
            </p:nvSpPr>
            <p:spPr bwMode="auto">
              <a:xfrm>
                <a:off x="8853488" y="1779588"/>
                <a:ext cx="38100" cy="33338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0" name="Oval 151"/>
              <p:cNvSpPr>
                <a:spLocks noChangeArrowheads="1"/>
              </p:cNvSpPr>
              <p:nvPr/>
            </p:nvSpPr>
            <p:spPr bwMode="auto">
              <a:xfrm>
                <a:off x="9291638" y="1620838"/>
                <a:ext cx="34925" cy="33338"/>
              </a:xfrm>
              <a:prstGeom prst="ellipse">
                <a:avLst/>
              </a:pr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1" name="Oval 152"/>
              <p:cNvSpPr>
                <a:spLocks noChangeArrowheads="1"/>
              </p:cNvSpPr>
              <p:nvPr/>
            </p:nvSpPr>
            <p:spPr bwMode="auto">
              <a:xfrm>
                <a:off x="9140825" y="1203325"/>
                <a:ext cx="33338" cy="38100"/>
              </a:xfrm>
              <a:prstGeom prst="ellipse">
                <a:avLst/>
              </a:pr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2" name="Oval 153"/>
              <p:cNvSpPr>
                <a:spLocks noChangeArrowheads="1"/>
              </p:cNvSpPr>
              <p:nvPr/>
            </p:nvSpPr>
            <p:spPr bwMode="auto">
              <a:xfrm>
                <a:off x="8596313" y="1377950"/>
                <a:ext cx="36513" cy="34925"/>
              </a:xfrm>
              <a:prstGeom prst="ellipse">
                <a:avLst/>
              </a:pr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3" name="Oval 154"/>
              <p:cNvSpPr>
                <a:spLocks noChangeArrowheads="1"/>
              </p:cNvSpPr>
              <p:nvPr/>
            </p:nvSpPr>
            <p:spPr bwMode="auto">
              <a:xfrm>
                <a:off x="7793038" y="1635125"/>
                <a:ext cx="38100" cy="34925"/>
              </a:xfrm>
              <a:prstGeom prst="ellipse">
                <a:avLst/>
              </a:prstGeom>
              <a:solidFill>
                <a:srgbClr val="32BD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4" name="Oval 155"/>
              <p:cNvSpPr>
                <a:spLocks noChangeArrowheads="1"/>
              </p:cNvSpPr>
              <p:nvPr/>
            </p:nvSpPr>
            <p:spPr bwMode="auto">
              <a:xfrm>
                <a:off x="8682038" y="1552575"/>
                <a:ext cx="38100" cy="38100"/>
              </a:xfrm>
              <a:prstGeom prst="ellipse">
                <a:avLst/>
              </a:pr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5" name="Oval 156"/>
              <p:cNvSpPr>
                <a:spLocks noChangeArrowheads="1"/>
              </p:cNvSpPr>
              <p:nvPr/>
            </p:nvSpPr>
            <p:spPr bwMode="auto">
              <a:xfrm>
                <a:off x="8878888" y="1117600"/>
                <a:ext cx="38100" cy="36513"/>
              </a:xfrm>
              <a:prstGeom prst="ellipse">
                <a:avLst/>
              </a:pr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6" name="Oval 157"/>
              <p:cNvSpPr>
                <a:spLocks noChangeArrowheads="1"/>
              </p:cNvSpPr>
              <p:nvPr/>
            </p:nvSpPr>
            <p:spPr bwMode="auto">
              <a:xfrm>
                <a:off x="8777288" y="2132013"/>
                <a:ext cx="38100" cy="38100"/>
              </a:xfrm>
              <a:prstGeom prst="ellipse">
                <a:avLst/>
              </a:pr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7" name="Oval 158"/>
              <p:cNvSpPr>
                <a:spLocks noChangeArrowheads="1"/>
              </p:cNvSpPr>
              <p:nvPr/>
            </p:nvSpPr>
            <p:spPr bwMode="auto">
              <a:xfrm>
                <a:off x="8875713" y="2279650"/>
                <a:ext cx="38100" cy="38100"/>
              </a:xfrm>
              <a:prstGeom prst="ellipse">
                <a:avLst/>
              </a:pr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8" name="Oval 159"/>
              <p:cNvSpPr>
                <a:spLocks noChangeArrowheads="1"/>
              </p:cNvSpPr>
              <p:nvPr/>
            </p:nvSpPr>
            <p:spPr bwMode="auto">
              <a:xfrm>
                <a:off x="9578975" y="2157413"/>
                <a:ext cx="38100" cy="38100"/>
              </a:xfrm>
              <a:prstGeom prst="ellipse">
                <a:avLst/>
              </a:pr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9" name="Oval 160"/>
              <p:cNvSpPr>
                <a:spLocks noChangeArrowheads="1"/>
              </p:cNvSpPr>
              <p:nvPr/>
            </p:nvSpPr>
            <p:spPr bwMode="auto">
              <a:xfrm>
                <a:off x="8232775" y="1350963"/>
                <a:ext cx="38100" cy="38100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0" name="Oval 161"/>
              <p:cNvSpPr>
                <a:spLocks noChangeArrowheads="1"/>
              </p:cNvSpPr>
              <p:nvPr/>
            </p:nvSpPr>
            <p:spPr bwMode="auto">
              <a:xfrm>
                <a:off x="8736013" y="1806575"/>
                <a:ext cx="38100" cy="33338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1" name="Oval 162"/>
              <p:cNvSpPr>
                <a:spLocks noChangeArrowheads="1"/>
              </p:cNvSpPr>
              <p:nvPr/>
            </p:nvSpPr>
            <p:spPr bwMode="auto">
              <a:xfrm>
                <a:off x="8394700" y="2101850"/>
                <a:ext cx="38100" cy="33338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2" name="Oval 163"/>
              <p:cNvSpPr>
                <a:spLocks noChangeArrowheads="1"/>
              </p:cNvSpPr>
              <p:nvPr/>
            </p:nvSpPr>
            <p:spPr bwMode="auto">
              <a:xfrm>
                <a:off x="9548813" y="1757363"/>
                <a:ext cx="38100" cy="33338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3" name="Oval 164"/>
              <p:cNvSpPr>
                <a:spLocks noChangeArrowheads="1"/>
              </p:cNvSpPr>
              <p:nvPr/>
            </p:nvSpPr>
            <p:spPr bwMode="auto">
              <a:xfrm>
                <a:off x="7934325" y="2354263"/>
                <a:ext cx="36513" cy="38100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4" name="Oval 165"/>
              <p:cNvSpPr>
                <a:spLocks noChangeArrowheads="1"/>
              </p:cNvSpPr>
              <p:nvPr/>
            </p:nvSpPr>
            <p:spPr bwMode="auto">
              <a:xfrm>
                <a:off x="8689975" y="2547938"/>
                <a:ext cx="38100" cy="34925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5" name="Oval 166"/>
              <p:cNvSpPr>
                <a:spLocks noChangeArrowheads="1"/>
              </p:cNvSpPr>
              <p:nvPr/>
            </p:nvSpPr>
            <p:spPr bwMode="auto">
              <a:xfrm>
                <a:off x="9015413" y="2643188"/>
                <a:ext cx="38100" cy="33338"/>
              </a:xfrm>
              <a:prstGeom prst="ellipse">
                <a:avLst/>
              </a:prstGeom>
              <a:solidFill>
                <a:srgbClr val="7FB2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6" name="Oval 167"/>
              <p:cNvSpPr>
                <a:spLocks noChangeArrowheads="1"/>
              </p:cNvSpPr>
              <p:nvPr/>
            </p:nvSpPr>
            <p:spPr bwMode="auto">
              <a:xfrm>
                <a:off x="8982075" y="2566988"/>
                <a:ext cx="33338" cy="30163"/>
              </a:xfrm>
              <a:prstGeom prst="ellipse">
                <a:avLst/>
              </a:prstGeom>
              <a:solidFill>
                <a:srgbClr val="7FB2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7" name="Oval 168"/>
              <p:cNvSpPr>
                <a:spLocks noChangeArrowheads="1"/>
              </p:cNvSpPr>
              <p:nvPr/>
            </p:nvSpPr>
            <p:spPr bwMode="auto">
              <a:xfrm>
                <a:off x="9540875" y="2351088"/>
                <a:ext cx="34925" cy="38100"/>
              </a:xfrm>
              <a:prstGeom prst="ellipse">
                <a:avLst/>
              </a:pr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8" name="Oval 169"/>
              <p:cNvSpPr>
                <a:spLocks noChangeArrowheads="1"/>
              </p:cNvSpPr>
              <p:nvPr/>
            </p:nvSpPr>
            <p:spPr bwMode="auto">
              <a:xfrm>
                <a:off x="7743825" y="1741488"/>
                <a:ext cx="76200" cy="71438"/>
              </a:xfrm>
              <a:prstGeom prst="ellipse">
                <a:avLst/>
              </a:prstGeom>
              <a:solidFill>
                <a:srgbClr val="AB39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9" name="Oval 170"/>
              <p:cNvSpPr>
                <a:spLocks noChangeArrowheads="1"/>
              </p:cNvSpPr>
              <p:nvPr/>
            </p:nvSpPr>
            <p:spPr bwMode="auto">
              <a:xfrm>
                <a:off x="9439275" y="2460625"/>
                <a:ext cx="76200" cy="76200"/>
              </a:xfrm>
              <a:prstGeom prst="ellipse">
                <a:avLst/>
              </a:prstGeom>
              <a:solidFill>
                <a:srgbClr val="AB39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0" name="Oval 171"/>
              <p:cNvSpPr>
                <a:spLocks noChangeArrowheads="1"/>
              </p:cNvSpPr>
              <p:nvPr/>
            </p:nvSpPr>
            <p:spPr bwMode="auto">
              <a:xfrm>
                <a:off x="8470900" y="1393825"/>
                <a:ext cx="57150" cy="52388"/>
              </a:xfrm>
              <a:prstGeom prst="ellipse">
                <a:avLst/>
              </a:prstGeom>
              <a:solidFill>
                <a:srgbClr val="AB39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1" name="Oval 172"/>
              <p:cNvSpPr>
                <a:spLocks noChangeArrowheads="1"/>
              </p:cNvSpPr>
              <p:nvPr/>
            </p:nvSpPr>
            <p:spPr bwMode="auto">
              <a:xfrm>
                <a:off x="8755063" y="1098550"/>
                <a:ext cx="52388" cy="55563"/>
              </a:xfrm>
              <a:prstGeom prst="ellipse">
                <a:avLst/>
              </a:prstGeom>
              <a:solidFill>
                <a:srgbClr val="AB39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2" name="Oval 173"/>
              <p:cNvSpPr>
                <a:spLocks noChangeArrowheads="1"/>
              </p:cNvSpPr>
              <p:nvPr/>
            </p:nvSpPr>
            <p:spPr bwMode="auto">
              <a:xfrm>
                <a:off x="8054975" y="2495550"/>
                <a:ext cx="52388" cy="52388"/>
              </a:xfrm>
              <a:prstGeom prst="ellipse">
                <a:avLst/>
              </a:prstGeom>
              <a:solidFill>
                <a:srgbClr val="AB39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3" name="Oval 174"/>
              <p:cNvSpPr>
                <a:spLocks noChangeArrowheads="1"/>
              </p:cNvSpPr>
              <p:nvPr/>
            </p:nvSpPr>
            <p:spPr bwMode="auto">
              <a:xfrm>
                <a:off x="8266113" y="2332038"/>
                <a:ext cx="53975" cy="53975"/>
              </a:xfrm>
              <a:prstGeom prst="ellipse">
                <a:avLst/>
              </a:prstGeom>
              <a:solidFill>
                <a:srgbClr val="68D1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4" name="Oval 175"/>
              <p:cNvSpPr>
                <a:spLocks noChangeArrowheads="1"/>
              </p:cNvSpPr>
              <p:nvPr/>
            </p:nvSpPr>
            <p:spPr bwMode="auto">
              <a:xfrm>
                <a:off x="8358188" y="2643188"/>
                <a:ext cx="44450" cy="49213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5" name="Oval 176"/>
              <p:cNvSpPr>
                <a:spLocks noChangeArrowheads="1"/>
              </p:cNvSpPr>
              <p:nvPr/>
            </p:nvSpPr>
            <p:spPr bwMode="auto">
              <a:xfrm>
                <a:off x="8221663" y="2616200"/>
                <a:ext cx="49213" cy="46038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6" name="Oval 177"/>
              <p:cNvSpPr>
                <a:spLocks noChangeArrowheads="1"/>
              </p:cNvSpPr>
              <p:nvPr/>
            </p:nvSpPr>
            <p:spPr bwMode="auto">
              <a:xfrm>
                <a:off x="8418513" y="2520950"/>
                <a:ext cx="44450" cy="49213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7" name="Oval 178"/>
              <p:cNvSpPr>
                <a:spLocks noChangeArrowheads="1"/>
              </p:cNvSpPr>
              <p:nvPr/>
            </p:nvSpPr>
            <p:spPr bwMode="auto">
              <a:xfrm>
                <a:off x="8413750" y="2760663"/>
                <a:ext cx="41275" cy="38100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8" name="Oval 179"/>
              <p:cNvSpPr>
                <a:spLocks noChangeArrowheads="1"/>
              </p:cNvSpPr>
              <p:nvPr/>
            </p:nvSpPr>
            <p:spPr bwMode="auto">
              <a:xfrm>
                <a:off x="8262938" y="2722563"/>
                <a:ext cx="30163" cy="30163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9" name="Oval 180"/>
              <p:cNvSpPr>
                <a:spLocks noChangeArrowheads="1"/>
              </p:cNvSpPr>
              <p:nvPr/>
            </p:nvSpPr>
            <p:spPr bwMode="auto">
              <a:xfrm>
                <a:off x="8350250" y="2801938"/>
                <a:ext cx="30163" cy="30163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0" name="Oval 181"/>
              <p:cNvSpPr>
                <a:spLocks noChangeArrowheads="1"/>
              </p:cNvSpPr>
              <p:nvPr/>
            </p:nvSpPr>
            <p:spPr bwMode="auto">
              <a:xfrm>
                <a:off x="8312150" y="2578100"/>
                <a:ext cx="30163" cy="34925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1" name="Oval 182"/>
              <p:cNvSpPr>
                <a:spLocks noChangeArrowheads="1"/>
              </p:cNvSpPr>
              <p:nvPr/>
            </p:nvSpPr>
            <p:spPr bwMode="auto">
              <a:xfrm>
                <a:off x="8509000" y="2624138"/>
                <a:ext cx="30163" cy="30163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2" name="Oval 183"/>
              <p:cNvSpPr>
                <a:spLocks noChangeArrowheads="1"/>
              </p:cNvSpPr>
              <p:nvPr/>
            </p:nvSpPr>
            <p:spPr bwMode="auto">
              <a:xfrm>
                <a:off x="8459788" y="2692400"/>
                <a:ext cx="30163" cy="30163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3" name="Oval 184"/>
              <p:cNvSpPr>
                <a:spLocks noChangeArrowheads="1"/>
              </p:cNvSpPr>
              <p:nvPr/>
            </p:nvSpPr>
            <p:spPr bwMode="auto">
              <a:xfrm>
                <a:off x="8353425" y="2736850"/>
                <a:ext cx="26988" cy="26988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4" name="Oval 185"/>
              <p:cNvSpPr>
                <a:spLocks noChangeArrowheads="1"/>
              </p:cNvSpPr>
              <p:nvPr/>
            </p:nvSpPr>
            <p:spPr bwMode="auto">
              <a:xfrm>
                <a:off x="8509000" y="2574925"/>
                <a:ext cx="22225" cy="22225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5" name="Oval 186"/>
              <p:cNvSpPr>
                <a:spLocks noChangeArrowheads="1"/>
              </p:cNvSpPr>
              <p:nvPr/>
            </p:nvSpPr>
            <p:spPr bwMode="auto">
              <a:xfrm>
                <a:off x="8270875" y="2563813"/>
                <a:ext cx="22225" cy="25400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6" name="Oval 187"/>
              <p:cNvSpPr>
                <a:spLocks noChangeArrowheads="1"/>
              </p:cNvSpPr>
              <p:nvPr/>
            </p:nvSpPr>
            <p:spPr bwMode="auto">
              <a:xfrm>
                <a:off x="8304213" y="2654300"/>
                <a:ext cx="22225" cy="26988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7" name="Oval 188"/>
              <p:cNvSpPr>
                <a:spLocks noChangeArrowheads="1"/>
              </p:cNvSpPr>
              <p:nvPr/>
            </p:nvSpPr>
            <p:spPr bwMode="auto">
              <a:xfrm>
                <a:off x="8413750" y="2597150"/>
                <a:ext cx="26988" cy="26988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8" name="Oval 189"/>
              <p:cNvSpPr>
                <a:spLocks noChangeArrowheads="1"/>
              </p:cNvSpPr>
              <p:nvPr/>
            </p:nvSpPr>
            <p:spPr bwMode="auto">
              <a:xfrm>
                <a:off x="8326438" y="2520950"/>
                <a:ext cx="23813" cy="23813"/>
              </a:xfrm>
              <a:prstGeom prst="ellipse">
                <a:avLst/>
              </a:prstGeom>
              <a:solidFill>
                <a:srgbClr val="2A90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9" name="Oval 190"/>
              <p:cNvSpPr>
                <a:spLocks noChangeArrowheads="1"/>
              </p:cNvSpPr>
              <p:nvPr/>
            </p:nvSpPr>
            <p:spPr bwMode="auto">
              <a:xfrm>
                <a:off x="8766175" y="2244725"/>
                <a:ext cx="52388" cy="53975"/>
              </a:xfrm>
              <a:prstGeom prst="ellipse">
                <a:avLst/>
              </a:prstGeom>
              <a:solidFill>
                <a:srgbClr val="F69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0" name="Oval 191"/>
              <p:cNvSpPr>
                <a:spLocks noChangeArrowheads="1"/>
              </p:cNvSpPr>
              <p:nvPr/>
            </p:nvSpPr>
            <p:spPr bwMode="auto">
              <a:xfrm>
                <a:off x="8372475" y="1131888"/>
                <a:ext cx="52388" cy="52388"/>
              </a:xfrm>
              <a:prstGeom prst="ellipse">
                <a:avLst/>
              </a:prstGeom>
              <a:solidFill>
                <a:srgbClr val="F69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1" name="Oval 192"/>
              <p:cNvSpPr>
                <a:spLocks noChangeArrowheads="1"/>
              </p:cNvSpPr>
              <p:nvPr/>
            </p:nvSpPr>
            <p:spPr bwMode="auto">
              <a:xfrm>
                <a:off x="9548813" y="2230438"/>
                <a:ext cx="73025" cy="74613"/>
              </a:xfrm>
              <a:prstGeom prst="ellipse">
                <a:avLst/>
              </a:pr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2" name="Oval 193"/>
              <p:cNvSpPr>
                <a:spLocks noChangeArrowheads="1"/>
              </p:cNvSpPr>
              <p:nvPr/>
            </p:nvSpPr>
            <p:spPr bwMode="auto">
              <a:xfrm>
                <a:off x="7959725" y="1968500"/>
                <a:ext cx="53975" cy="57150"/>
              </a:xfrm>
              <a:prstGeom prst="ellipse">
                <a:avLst/>
              </a:prstGeom>
              <a:solidFill>
                <a:srgbClr val="D054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3" name="Oval 194"/>
              <p:cNvSpPr>
                <a:spLocks noChangeArrowheads="1"/>
              </p:cNvSpPr>
              <p:nvPr/>
            </p:nvSpPr>
            <p:spPr bwMode="auto">
              <a:xfrm>
                <a:off x="9204325" y="1290638"/>
                <a:ext cx="57150" cy="57150"/>
              </a:xfrm>
              <a:prstGeom prst="ellipse">
                <a:avLst/>
              </a:prstGeom>
              <a:solidFill>
                <a:srgbClr val="289C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4" name="Oval 195"/>
              <p:cNvSpPr>
                <a:spLocks noChangeArrowheads="1"/>
              </p:cNvSpPr>
              <p:nvPr/>
            </p:nvSpPr>
            <p:spPr bwMode="auto">
              <a:xfrm>
                <a:off x="9375775" y="1571625"/>
                <a:ext cx="74613" cy="74613"/>
              </a:xfrm>
              <a:prstGeom prst="ellipse">
                <a:avLst/>
              </a:pr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5" name="Oval 196"/>
              <p:cNvSpPr>
                <a:spLocks noChangeArrowheads="1"/>
              </p:cNvSpPr>
              <p:nvPr/>
            </p:nvSpPr>
            <p:spPr bwMode="auto">
              <a:xfrm>
                <a:off x="8694738" y="1681163"/>
                <a:ext cx="74613" cy="76200"/>
              </a:xfrm>
              <a:prstGeom prst="ellipse">
                <a:avLst/>
              </a:prstGeom>
              <a:solidFill>
                <a:srgbClr val="13B5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6" name="Oval 197"/>
              <p:cNvSpPr>
                <a:spLocks noChangeArrowheads="1"/>
              </p:cNvSpPr>
              <p:nvPr/>
            </p:nvSpPr>
            <p:spPr bwMode="auto">
              <a:xfrm>
                <a:off x="8205788" y="1181100"/>
                <a:ext cx="103188" cy="98425"/>
              </a:xfrm>
              <a:prstGeom prst="ellipse">
                <a:avLst/>
              </a:prstGeom>
              <a:solidFill>
                <a:srgbClr val="32BD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7" name="Oval 198"/>
              <p:cNvSpPr>
                <a:spLocks noChangeArrowheads="1"/>
              </p:cNvSpPr>
              <p:nvPr/>
            </p:nvSpPr>
            <p:spPr bwMode="auto">
              <a:xfrm>
                <a:off x="8645525" y="1290638"/>
                <a:ext cx="52388" cy="53975"/>
              </a:xfrm>
              <a:prstGeom prst="ellipse">
                <a:avLst/>
              </a:prstGeom>
              <a:solidFill>
                <a:srgbClr val="32BD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8" name="Oval 199"/>
              <p:cNvSpPr>
                <a:spLocks noChangeArrowheads="1"/>
              </p:cNvSpPr>
              <p:nvPr/>
            </p:nvSpPr>
            <p:spPr bwMode="auto">
              <a:xfrm>
                <a:off x="9239250" y="1528763"/>
                <a:ext cx="52388" cy="53975"/>
              </a:xfrm>
              <a:prstGeom prst="ellipse">
                <a:avLst/>
              </a:prstGeom>
              <a:solidFill>
                <a:srgbClr val="D9BF0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9" name="Freeform 200"/>
              <p:cNvSpPr>
                <a:spLocks/>
              </p:cNvSpPr>
              <p:nvPr/>
            </p:nvSpPr>
            <p:spPr bwMode="auto">
              <a:xfrm>
                <a:off x="8474075" y="1806575"/>
                <a:ext cx="42863" cy="90488"/>
              </a:xfrm>
              <a:custGeom>
                <a:avLst/>
                <a:gdLst>
                  <a:gd name="T0" fmla="*/ 1 w 11"/>
                  <a:gd name="T1" fmla="*/ 7 h 24"/>
                  <a:gd name="T2" fmla="*/ 0 w 11"/>
                  <a:gd name="T3" fmla="*/ 13 h 24"/>
                  <a:gd name="T4" fmla="*/ 4 w 11"/>
                  <a:gd name="T5" fmla="*/ 22 h 24"/>
                  <a:gd name="T6" fmla="*/ 7 w 11"/>
                  <a:gd name="T7" fmla="*/ 24 h 24"/>
                  <a:gd name="T8" fmla="*/ 10 w 11"/>
                  <a:gd name="T9" fmla="*/ 23 h 24"/>
                  <a:gd name="T10" fmla="*/ 9 w 11"/>
                  <a:gd name="T11" fmla="*/ 17 h 24"/>
                  <a:gd name="T12" fmla="*/ 9 w 11"/>
                  <a:gd name="T13" fmla="*/ 14 h 24"/>
                  <a:gd name="T14" fmla="*/ 1 w 11"/>
                  <a:gd name="T15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1" y="7"/>
                    </a:moveTo>
                    <a:cubicBezTo>
                      <a:pt x="0" y="9"/>
                      <a:pt x="0" y="11"/>
                      <a:pt x="0" y="13"/>
                    </a:cubicBezTo>
                    <a:cubicBezTo>
                      <a:pt x="1" y="16"/>
                      <a:pt x="2" y="20"/>
                      <a:pt x="4" y="22"/>
                    </a:cubicBezTo>
                    <a:cubicBezTo>
                      <a:pt x="5" y="23"/>
                      <a:pt x="6" y="24"/>
                      <a:pt x="7" y="24"/>
                    </a:cubicBezTo>
                    <a:cubicBezTo>
                      <a:pt x="9" y="24"/>
                      <a:pt x="10" y="24"/>
                      <a:pt x="10" y="23"/>
                    </a:cubicBezTo>
                    <a:cubicBezTo>
                      <a:pt x="11" y="21"/>
                      <a:pt x="9" y="19"/>
                      <a:pt x="9" y="17"/>
                    </a:cubicBezTo>
                    <a:cubicBezTo>
                      <a:pt x="8" y="16"/>
                      <a:pt x="9" y="15"/>
                      <a:pt x="9" y="14"/>
                    </a:cubicBezTo>
                    <a:cubicBezTo>
                      <a:pt x="9" y="11"/>
                      <a:pt x="6" y="0"/>
                      <a:pt x="1" y="7"/>
                    </a:cubicBezTo>
                    <a:close/>
                  </a:path>
                </a:pathLst>
              </a:custGeom>
              <a:solidFill>
                <a:srgbClr val="68D1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0" name="Freeform 201"/>
              <p:cNvSpPr>
                <a:spLocks/>
              </p:cNvSpPr>
              <p:nvPr/>
            </p:nvSpPr>
            <p:spPr bwMode="auto">
              <a:xfrm>
                <a:off x="9031288" y="1946275"/>
                <a:ext cx="44450" cy="87313"/>
              </a:xfrm>
              <a:custGeom>
                <a:avLst/>
                <a:gdLst>
                  <a:gd name="T0" fmla="*/ 5 w 12"/>
                  <a:gd name="T1" fmla="*/ 4 h 23"/>
                  <a:gd name="T2" fmla="*/ 2 w 12"/>
                  <a:gd name="T3" fmla="*/ 9 h 23"/>
                  <a:gd name="T4" fmla="*/ 1 w 12"/>
                  <a:gd name="T5" fmla="*/ 19 h 23"/>
                  <a:gd name="T6" fmla="*/ 3 w 12"/>
                  <a:gd name="T7" fmla="*/ 22 h 23"/>
                  <a:gd name="T8" fmla="*/ 7 w 12"/>
                  <a:gd name="T9" fmla="*/ 22 h 23"/>
                  <a:gd name="T10" fmla="*/ 7 w 12"/>
                  <a:gd name="T11" fmla="*/ 16 h 23"/>
                  <a:gd name="T12" fmla="*/ 8 w 12"/>
                  <a:gd name="T13" fmla="*/ 14 h 23"/>
                  <a:gd name="T14" fmla="*/ 5 w 12"/>
                  <a:gd name="T15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3">
                    <a:moveTo>
                      <a:pt x="5" y="4"/>
                    </a:moveTo>
                    <a:cubicBezTo>
                      <a:pt x="3" y="5"/>
                      <a:pt x="2" y="7"/>
                      <a:pt x="2" y="9"/>
                    </a:cubicBezTo>
                    <a:cubicBezTo>
                      <a:pt x="1" y="12"/>
                      <a:pt x="0" y="16"/>
                      <a:pt x="1" y="19"/>
                    </a:cubicBezTo>
                    <a:cubicBezTo>
                      <a:pt x="2" y="21"/>
                      <a:pt x="2" y="22"/>
                      <a:pt x="3" y="22"/>
                    </a:cubicBezTo>
                    <a:cubicBezTo>
                      <a:pt x="4" y="23"/>
                      <a:pt x="6" y="23"/>
                      <a:pt x="7" y="22"/>
                    </a:cubicBezTo>
                    <a:cubicBezTo>
                      <a:pt x="8" y="21"/>
                      <a:pt x="7" y="18"/>
                      <a:pt x="7" y="16"/>
                    </a:cubicBezTo>
                    <a:cubicBezTo>
                      <a:pt x="8" y="15"/>
                      <a:pt x="8" y="14"/>
                      <a:pt x="8" y="14"/>
                    </a:cubicBezTo>
                    <a:cubicBezTo>
                      <a:pt x="10" y="11"/>
                      <a:pt x="12" y="0"/>
                      <a:pt x="5" y="4"/>
                    </a:cubicBezTo>
                    <a:close/>
                  </a:path>
                </a:pathLst>
              </a:custGeom>
              <a:solidFill>
                <a:srgbClr val="68D1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1" name="Freeform 202"/>
              <p:cNvSpPr>
                <a:spLocks/>
              </p:cNvSpPr>
              <p:nvPr/>
            </p:nvSpPr>
            <p:spPr bwMode="auto">
              <a:xfrm>
                <a:off x="8591550" y="1862138"/>
                <a:ext cx="90488" cy="42863"/>
              </a:xfrm>
              <a:custGeom>
                <a:avLst/>
                <a:gdLst>
                  <a:gd name="T0" fmla="*/ 18 w 24"/>
                  <a:gd name="T1" fmla="*/ 1 h 11"/>
                  <a:gd name="T2" fmla="*/ 12 w 24"/>
                  <a:gd name="T3" fmla="*/ 0 h 11"/>
                  <a:gd name="T4" fmla="*/ 2 w 24"/>
                  <a:gd name="T5" fmla="*/ 4 h 11"/>
                  <a:gd name="T6" fmla="*/ 1 w 24"/>
                  <a:gd name="T7" fmla="*/ 7 h 11"/>
                  <a:gd name="T8" fmla="*/ 2 w 24"/>
                  <a:gd name="T9" fmla="*/ 10 h 11"/>
                  <a:gd name="T10" fmla="*/ 8 w 24"/>
                  <a:gd name="T11" fmla="*/ 8 h 11"/>
                  <a:gd name="T12" fmla="*/ 11 w 24"/>
                  <a:gd name="T13" fmla="*/ 8 h 11"/>
                  <a:gd name="T14" fmla="*/ 18 w 24"/>
                  <a:gd name="T15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18" y="1"/>
                    </a:moveTo>
                    <a:cubicBezTo>
                      <a:pt x="16" y="0"/>
                      <a:pt x="14" y="0"/>
                      <a:pt x="12" y="0"/>
                    </a:cubicBezTo>
                    <a:cubicBezTo>
                      <a:pt x="8" y="0"/>
                      <a:pt x="5" y="2"/>
                      <a:pt x="2" y="4"/>
                    </a:cubicBezTo>
                    <a:cubicBezTo>
                      <a:pt x="1" y="5"/>
                      <a:pt x="1" y="6"/>
                      <a:pt x="1" y="7"/>
                    </a:cubicBezTo>
                    <a:cubicBezTo>
                      <a:pt x="0" y="8"/>
                      <a:pt x="1" y="10"/>
                      <a:pt x="2" y="10"/>
                    </a:cubicBezTo>
                    <a:cubicBezTo>
                      <a:pt x="4" y="11"/>
                      <a:pt x="6" y="9"/>
                      <a:pt x="8" y="8"/>
                    </a:cubicBezTo>
                    <a:cubicBezTo>
                      <a:pt x="9" y="8"/>
                      <a:pt x="10" y="8"/>
                      <a:pt x="11" y="8"/>
                    </a:cubicBezTo>
                    <a:cubicBezTo>
                      <a:pt x="14" y="8"/>
                      <a:pt x="24" y="5"/>
                      <a:pt x="18" y="1"/>
                    </a:cubicBezTo>
                    <a:close/>
                  </a:path>
                </a:pathLst>
              </a:cu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2" name="Freeform 203"/>
              <p:cNvSpPr>
                <a:spLocks/>
              </p:cNvSpPr>
              <p:nvPr/>
            </p:nvSpPr>
            <p:spPr bwMode="auto">
              <a:xfrm>
                <a:off x="8240713" y="2211388"/>
                <a:ext cx="74613" cy="60325"/>
              </a:xfrm>
              <a:custGeom>
                <a:avLst/>
                <a:gdLst>
                  <a:gd name="T0" fmla="*/ 12 w 20"/>
                  <a:gd name="T1" fmla="*/ 0 h 16"/>
                  <a:gd name="T2" fmla="*/ 6 w 20"/>
                  <a:gd name="T3" fmla="*/ 2 h 16"/>
                  <a:gd name="T4" fmla="*/ 1 w 20"/>
                  <a:gd name="T5" fmla="*/ 10 h 16"/>
                  <a:gd name="T6" fmla="*/ 1 w 20"/>
                  <a:gd name="T7" fmla="*/ 14 h 16"/>
                  <a:gd name="T8" fmla="*/ 3 w 20"/>
                  <a:gd name="T9" fmla="*/ 16 h 16"/>
                  <a:gd name="T10" fmla="*/ 7 w 20"/>
                  <a:gd name="T11" fmla="*/ 11 h 16"/>
                  <a:gd name="T12" fmla="*/ 10 w 20"/>
                  <a:gd name="T13" fmla="*/ 9 h 16"/>
                  <a:gd name="T14" fmla="*/ 12 w 20"/>
                  <a:gd name="T1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6">
                    <a:moveTo>
                      <a:pt x="12" y="0"/>
                    </a:moveTo>
                    <a:cubicBezTo>
                      <a:pt x="10" y="0"/>
                      <a:pt x="8" y="1"/>
                      <a:pt x="6" y="2"/>
                    </a:cubicBezTo>
                    <a:cubicBezTo>
                      <a:pt x="4" y="4"/>
                      <a:pt x="1" y="7"/>
                      <a:pt x="1" y="10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1" y="15"/>
                      <a:pt x="2" y="16"/>
                      <a:pt x="3" y="16"/>
                    </a:cubicBezTo>
                    <a:cubicBezTo>
                      <a:pt x="6" y="15"/>
                      <a:pt x="6" y="13"/>
                      <a:pt x="7" y="11"/>
                    </a:cubicBezTo>
                    <a:cubicBezTo>
                      <a:pt x="8" y="10"/>
                      <a:pt x="9" y="10"/>
                      <a:pt x="10" y="9"/>
                    </a:cubicBezTo>
                    <a:cubicBezTo>
                      <a:pt x="12" y="8"/>
                      <a:pt x="20" y="0"/>
                      <a:pt x="12" y="0"/>
                    </a:cubicBezTo>
                    <a:close/>
                  </a:path>
                </a:pathLst>
              </a:cu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3" name="Freeform 204"/>
              <p:cNvSpPr>
                <a:spLocks/>
              </p:cNvSpPr>
              <p:nvPr/>
            </p:nvSpPr>
            <p:spPr bwMode="auto">
              <a:xfrm>
                <a:off x="8667750" y="2271713"/>
                <a:ext cx="33338" cy="90488"/>
              </a:xfrm>
              <a:custGeom>
                <a:avLst/>
                <a:gdLst>
                  <a:gd name="T0" fmla="*/ 2 w 9"/>
                  <a:gd name="T1" fmla="*/ 5 h 24"/>
                  <a:gd name="T2" fmla="*/ 0 w 9"/>
                  <a:gd name="T3" fmla="*/ 11 h 24"/>
                  <a:gd name="T4" fmla="*/ 2 w 9"/>
                  <a:gd name="T5" fmla="*/ 21 h 24"/>
                  <a:gd name="T6" fmla="*/ 5 w 9"/>
                  <a:gd name="T7" fmla="*/ 23 h 24"/>
                  <a:gd name="T8" fmla="*/ 8 w 9"/>
                  <a:gd name="T9" fmla="*/ 23 h 24"/>
                  <a:gd name="T10" fmla="*/ 7 w 9"/>
                  <a:gd name="T11" fmla="*/ 17 h 24"/>
                  <a:gd name="T12" fmla="*/ 8 w 9"/>
                  <a:gd name="T13" fmla="*/ 14 h 24"/>
                  <a:gd name="T14" fmla="*/ 2 w 9"/>
                  <a:gd name="T15" fmla="*/ 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4">
                    <a:moveTo>
                      <a:pt x="2" y="5"/>
                    </a:moveTo>
                    <a:cubicBezTo>
                      <a:pt x="1" y="7"/>
                      <a:pt x="0" y="9"/>
                      <a:pt x="0" y="11"/>
                    </a:cubicBezTo>
                    <a:cubicBezTo>
                      <a:pt x="0" y="14"/>
                      <a:pt x="0" y="18"/>
                      <a:pt x="2" y="21"/>
                    </a:cubicBezTo>
                    <a:cubicBezTo>
                      <a:pt x="3" y="22"/>
                      <a:pt x="4" y="23"/>
                      <a:pt x="5" y="23"/>
                    </a:cubicBezTo>
                    <a:cubicBezTo>
                      <a:pt x="6" y="24"/>
                      <a:pt x="7" y="24"/>
                      <a:pt x="8" y="23"/>
                    </a:cubicBezTo>
                    <a:cubicBezTo>
                      <a:pt x="9" y="21"/>
                      <a:pt x="7" y="19"/>
                      <a:pt x="7" y="17"/>
                    </a:cubicBezTo>
                    <a:cubicBezTo>
                      <a:pt x="7" y="16"/>
                      <a:pt x="8" y="15"/>
                      <a:pt x="8" y="14"/>
                    </a:cubicBezTo>
                    <a:cubicBezTo>
                      <a:pt x="9" y="11"/>
                      <a:pt x="8" y="0"/>
                      <a:pt x="2" y="5"/>
                    </a:cubicBezTo>
                    <a:close/>
                  </a:path>
                </a:pathLst>
              </a:cu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4" name="Freeform 205"/>
              <p:cNvSpPr>
                <a:spLocks/>
              </p:cNvSpPr>
              <p:nvPr/>
            </p:nvSpPr>
            <p:spPr bwMode="auto">
              <a:xfrm>
                <a:off x="9345613" y="2627313"/>
                <a:ext cx="74613" cy="60325"/>
              </a:xfrm>
              <a:custGeom>
                <a:avLst/>
                <a:gdLst>
                  <a:gd name="T0" fmla="*/ 8 w 20"/>
                  <a:gd name="T1" fmla="*/ 16 h 16"/>
                  <a:gd name="T2" fmla="*/ 13 w 20"/>
                  <a:gd name="T3" fmla="*/ 14 h 16"/>
                  <a:gd name="T4" fmla="*/ 20 w 20"/>
                  <a:gd name="T5" fmla="*/ 6 h 16"/>
                  <a:gd name="T6" fmla="*/ 20 w 20"/>
                  <a:gd name="T7" fmla="*/ 2 h 16"/>
                  <a:gd name="T8" fmla="*/ 17 w 20"/>
                  <a:gd name="T9" fmla="*/ 0 h 16"/>
                  <a:gd name="T10" fmla="*/ 13 w 20"/>
                  <a:gd name="T11" fmla="*/ 5 h 16"/>
                  <a:gd name="T12" fmla="*/ 11 w 20"/>
                  <a:gd name="T13" fmla="*/ 6 h 16"/>
                  <a:gd name="T14" fmla="*/ 8 w 20"/>
                  <a:gd name="T1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6">
                    <a:moveTo>
                      <a:pt x="8" y="16"/>
                    </a:moveTo>
                    <a:cubicBezTo>
                      <a:pt x="10" y="16"/>
                      <a:pt x="12" y="15"/>
                      <a:pt x="13" y="14"/>
                    </a:cubicBezTo>
                    <a:cubicBezTo>
                      <a:pt x="16" y="12"/>
                      <a:pt x="19" y="9"/>
                      <a:pt x="20" y="6"/>
                    </a:cubicBezTo>
                    <a:cubicBezTo>
                      <a:pt x="20" y="5"/>
                      <a:pt x="20" y="3"/>
                      <a:pt x="20" y="2"/>
                    </a:cubicBezTo>
                    <a:cubicBezTo>
                      <a:pt x="20" y="1"/>
                      <a:pt x="18" y="0"/>
                      <a:pt x="17" y="0"/>
                    </a:cubicBezTo>
                    <a:cubicBezTo>
                      <a:pt x="15" y="1"/>
                      <a:pt x="15" y="3"/>
                      <a:pt x="13" y="5"/>
                    </a:cubicBezTo>
                    <a:cubicBezTo>
                      <a:pt x="12" y="5"/>
                      <a:pt x="11" y="6"/>
                      <a:pt x="11" y="6"/>
                    </a:cubicBezTo>
                    <a:cubicBezTo>
                      <a:pt x="8" y="8"/>
                      <a:pt x="0" y="15"/>
                      <a:pt x="8" y="16"/>
                    </a:cubicBezTo>
                    <a:close/>
                  </a:path>
                </a:pathLst>
              </a:custGeom>
              <a:solidFill>
                <a:srgbClr val="6089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5" name="Freeform 206"/>
              <p:cNvSpPr>
                <a:spLocks/>
              </p:cNvSpPr>
              <p:nvPr/>
            </p:nvSpPr>
            <p:spPr bwMode="auto">
              <a:xfrm>
                <a:off x="9401175" y="2219325"/>
                <a:ext cx="65088" cy="68263"/>
              </a:xfrm>
              <a:custGeom>
                <a:avLst/>
                <a:gdLst>
                  <a:gd name="T0" fmla="*/ 16 w 17"/>
                  <a:gd name="T1" fmla="*/ 11 h 18"/>
                  <a:gd name="T2" fmla="*/ 14 w 17"/>
                  <a:gd name="T3" fmla="*/ 5 h 18"/>
                  <a:gd name="T4" fmla="*/ 5 w 17"/>
                  <a:gd name="T5" fmla="*/ 0 h 18"/>
                  <a:gd name="T6" fmla="*/ 2 w 17"/>
                  <a:gd name="T7" fmla="*/ 0 h 18"/>
                  <a:gd name="T8" fmla="*/ 0 w 17"/>
                  <a:gd name="T9" fmla="*/ 3 h 18"/>
                  <a:gd name="T10" fmla="*/ 5 w 17"/>
                  <a:gd name="T11" fmla="*/ 7 h 18"/>
                  <a:gd name="T12" fmla="*/ 6 w 17"/>
                  <a:gd name="T13" fmla="*/ 9 h 18"/>
                  <a:gd name="T14" fmla="*/ 16 w 17"/>
                  <a:gd name="T15" fmla="*/ 1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8">
                    <a:moveTo>
                      <a:pt x="16" y="11"/>
                    </a:moveTo>
                    <a:cubicBezTo>
                      <a:pt x="16" y="9"/>
                      <a:pt x="15" y="7"/>
                      <a:pt x="14" y="5"/>
                    </a:cubicBezTo>
                    <a:cubicBezTo>
                      <a:pt x="12" y="3"/>
                      <a:pt x="9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5"/>
                      <a:pt x="3" y="5"/>
                      <a:pt x="5" y="7"/>
                    </a:cubicBezTo>
                    <a:cubicBezTo>
                      <a:pt x="5" y="7"/>
                      <a:pt x="6" y="8"/>
                      <a:pt x="6" y="9"/>
                    </a:cubicBezTo>
                    <a:cubicBezTo>
                      <a:pt x="8" y="12"/>
                      <a:pt x="17" y="18"/>
                      <a:pt x="16" y="11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6" name="Freeform 207"/>
              <p:cNvSpPr>
                <a:spLocks/>
              </p:cNvSpPr>
              <p:nvPr/>
            </p:nvSpPr>
            <p:spPr bwMode="auto">
              <a:xfrm>
                <a:off x="8640763" y="2771775"/>
                <a:ext cx="46038" cy="90488"/>
              </a:xfrm>
              <a:custGeom>
                <a:avLst/>
                <a:gdLst>
                  <a:gd name="T0" fmla="*/ 1 w 12"/>
                  <a:gd name="T1" fmla="*/ 7 h 24"/>
                  <a:gd name="T2" fmla="*/ 1 w 12"/>
                  <a:gd name="T3" fmla="*/ 13 h 24"/>
                  <a:gd name="T4" fmla="*/ 5 w 12"/>
                  <a:gd name="T5" fmla="*/ 22 h 24"/>
                  <a:gd name="T6" fmla="*/ 8 w 12"/>
                  <a:gd name="T7" fmla="*/ 24 h 24"/>
                  <a:gd name="T8" fmla="*/ 11 w 12"/>
                  <a:gd name="T9" fmla="*/ 22 h 24"/>
                  <a:gd name="T10" fmla="*/ 9 w 12"/>
                  <a:gd name="T11" fmla="*/ 17 h 24"/>
                  <a:gd name="T12" fmla="*/ 9 w 12"/>
                  <a:gd name="T13" fmla="*/ 14 h 24"/>
                  <a:gd name="T14" fmla="*/ 1 w 12"/>
                  <a:gd name="T15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4">
                    <a:moveTo>
                      <a:pt x="1" y="7"/>
                    </a:moveTo>
                    <a:cubicBezTo>
                      <a:pt x="0" y="9"/>
                      <a:pt x="0" y="11"/>
                      <a:pt x="1" y="13"/>
                    </a:cubicBezTo>
                    <a:cubicBezTo>
                      <a:pt x="1" y="16"/>
                      <a:pt x="3" y="20"/>
                      <a:pt x="5" y="22"/>
                    </a:cubicBezTo>
                    <a:cubicBezTo>
                      <a:pt x="6" y="23"/>
                      <a:pt x="7" y="24"/>
                      <a:pt x="8" y="24"/>
                    </a:cubicBezTo>
                    <a:cubicBezTo>
                      <a:pt x="9" y="24"/>
                      <a:pt x="11" y="23"/>
                      <a:pt x="11" y="22"/>
                    </a:cubicBezTo>
                    <a:cubicBezTo>
                      <a:pt x="12" y="20"/>
                      <a:pt x="10" y="19"/>
                      <a:pt x="9" y="17"/>
                    </a:cubicBezTo>
                    <a:cubicBezTo>
                      <a:pt x="9" y="16"/>
                      <a:pt x="9" y="15"/>
                      <a:pt x="9" y="14"/>
                    </a:cubicBezTo>
                    <a:cubicBezTo>
                      <a:pt x="9" y="11"/>
                      <a:pt x="5" y="0"/>
                      <a:pt x="1" y="7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7" name="Freeform 208"/>
              <p:cNvSpPr>
                <a:spLocks/>
              </p:cNvSpPr>
              <p:nvPr/>
            </p:nvSpPr>
            <p:spPr bwMode="auto">
              <a:xfrm>
                <a:off x="8058150" y="1828800"/>
                <a:ext cx="38100" cy="90488"/>
              </a:xfrm>
              <a:custGeom>
                <a:avLst/>
                <a:gdLst>
                  <a:gd name="T0" fmla="*/ 4 w 10"/>
                  <a:gd name="T1" fmla="*/ 5 h 24"/>
                  <a:gd name="T2" fmla="*/ 1 w 10"/>
                  <a:gd name="T3" fmla="*/ 10 h 24"/>
                  <a:gd name="T4" fmla="*/ 2 w 10"/>
                  <a:gd name="T5" fmla="*/ 20 h 24"/>
                  <a:gd name="T6" fmla="*/ 4 w 10"/>
                  <a:gd name="T7" fmla="*/ 23 h 24"/>
                  <a:gd name="T8" fmla="*/ 7 w 10"/>
                  <a:gd name="T9" fmla="*/ 23 h 24"/>
                  <a:gd name="T10" fmla="*/ 7 w 10"/>
                  <a:gd name="T11" fmla="*/ 17 h 24"/>
                  <a:gd name="T12" fmla="*/ 8 w 10"/>
                  <a:gd name="T13" fmla="*/ 14 h 24"/>
                  <a:gd name="T14" fmla="*/ 4 w 10"/>
                  <a:gd name="T15" fmla="*/ 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4" y="5"/>
                    </a:moveTo>
                    <a:cubicBezTo>
                      <a:pt x="2" y="6"/>
                      <a:pt x="2" y="8"/>
                      <a:pt x="1" y="10"/>
                    </a:cubicBezTo>
                    <a:cubicBezTo>
                      <a:pt x="0" y="13"/>
                      <a:pt x="0" y="17"/>
                      <a:pt x="2" y="20"/>
                    </a:cubicBezTo>
                    <a:cubicBezTo>
                      <a:pt x="2" y="21"/>
                      <a:pt x="3" y="22"/>
                      <a:pt x="4" y="23"/>
                    </a:cubicBezTo>
                    <a:cubicBezTo>
                      <a:pt x="5" y="24"/>
                      <a:pt x="6" y="24"/>
                      <a:pt x="7" y="23"/>
                    </a:cubicBezTo>
                    <a:cubicBezTo>
                      <a:pt x="9" y="21"/>
                      <a:pt x="7" y="19"/>
                      <a:pt x="7" y="17"/>
                    </a:cubicBezTo>
                    <a:cubicBezTo>
                      <a:pt x="7" y="16"/>
                      <a:pt x="8" y="15"/>
                      <a:pt x="8" y="14"/>
                    </a:cubicBezTo>
                    <a:cubicBezTo>
                      <a:pt x="9" y="11"/>
                      <a:pt x="10" y="0"/>
                      <a:pt x="4" y="5"/>
                    </a:cubicBezTo>
                    <a:close/>
                  </a:path>
                </a:pathLst>
              </a:custGeom>
              <a:solidFill>
                <a:srgbClr val="F69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8" name="Freeform 209"/>
              <p:cNvSpPr>
                <a:spLocks/>
              </p:cNvSpPr>
              <p:nvPr/>
            </p:nvSpPr>
            <p:spPr bwMode="auto">
              <a:xfrm>
                <a:off x="7880350" y="1635125"/>
                <a:ext cx="87313" cy="42863"/>
              </a:xfrm>
              <a:custGeom>
                <a:avLst/>
                <a:gdLst>
                  <a:gd name="T0" fmla="*/ 19 w 23"/>
                  <a:gd name="T1" fmla="*/ 5 h 11"/>
                  <a:gd name="T2" fmla="*/ 14 w 23"/>
                  <a:gd name="T3" fmla="*/ 2 h 11"/>
                  <a:gd name="T4" fmla="*/ 3 w 23"/>
                  <a:gd name="T5" fmla="*/ 1 h 11"/>
                  <a:gd name="T6" fmla="*/ 1 w 23"/>
                  <a:gd name="T7" fmla="*/ 3 h 11"/>
                  <a:gd name="T8" fmla="*/ 1 w 23"/>
                  <a:gd name="T9" fmla="*/ 6 h 11"/>
                  <a:gd name="T10" fmla="*/ 7 w 23"/>
                  <a:gd name="T11" fmla="*/ 7 h 11"/>
                  <a:gd name="T12" fmla="*/ 9 w 23"/>
                  <a:gd name="T13" fmla="*/ 8 h 11"/>
                  <a:gd name="T14" fmla="*/ 19 w 23"/>
                  <a:gd name="T15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1">
                    <a:moveTo>
                      <a:pt x="19" y="5"/>
                    </a:moveTo>
                    <a:cubicBezTo>
                      <a:pt x="18" y="3"/>
                      <a:pt x="16" y="2"/>
                      <a:pt x="14" y="2"/>
                    </a:cubicBezTo>
                    <a:cubicBezTo>
                      <a:pt x="11" y="0"/>
                      <a:pt x="7" y="0"/>
                      <a:pt x="3" y="1"/>
                    </a:cubicBezTo>
                    <a:cubicBezTo>
                      <a:pt x="2" y="2"/>
                      <a:pt x="1" y="2"/>
                      <a:pt x="1" y="3"/>
                    </a:cubicBezTo>
                    <a:cubicBezTo>
                      <a:pt x="0" y="4"/>
                      <a:pt x="0" y="6"/>
                      <a:pt x="1" y="6"/>
                    </a:cubicBezTo>
                    <a:cubicBezTo>
                      <a:pt x="2" y="8"/>
                      <a:pt x="5" y="7"/>
                      <a:pt x="7" y="7"/>
                    </a:cubicBezTo>
                    <a:cubicBezTo>
                      <a:pt x="8" y="7"/>
                      <a:pt x="8" y="8"/>
                      <a:pt x="9" y="8"/>
                    </a:cubicBezTo>
                    <a:cubicBezTo>
                      <a:pt x="12" y="10"/>
                      <a:pt x="23" y="11"/>
                      <a:pt x="19" y="5"/>
                    </a:cubicBezTo>
                    <a:close/>
                  </a:path>
                </a:pathLst>
              </a:custGeom>
              <a:solidFill>
                <a:srgbClr val="32BD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9" name="Freeform 210"/>
              <p:cNvSpPr>
                <a:spLocks/>
              </p:cNvSpPr>
              <p:nvPr/>
            </p:nvSpPr>
            <p:spPr bwMode="auto">
              <a:xfrm>
                <a:off x="8572500" y="1609725"/>
                <a:ext cx="76200" cy="60325"/>
              </a:xfrm>
              <a:custGeom>
                <a:avLst/>
                <a:gdLst>
                  <a:gd name="T0" fmla="*/ 7 w 20"/>
                  <a:gd name="T1" fmla="*/ 15 h 16"/>
                  <a:gd name="T2" fmla="*/ 13 w 20"/>
                  <a:gd name="T3" fmla="*/ 14 h 16"/>
                  <a:gd name="T4" fmla="*/ 19 w 20"/>
                  <a:gd name="T5" fmla="*/ 6 h 16"/>
                  <a:gd name="T6" fmla="*/ 20 w 20"/>
                  <a:gd name="T7" fmla="*/ 2 h 16"/>
                  <a:gd name="T8" fmla="*/ 17 w 20"/>
                  <a:gd name="T9" fmla="*/ 0 h 16"/>
                  <a:gd name="T10" fmla="*/ 13 w 20"/>
                  <a:gd name="T11" fmla="*/ 4 h 16"/>
                  <a:gd name="T12" fmla="*/ 10 w 20"/>
                  <a:gd name="T13" fmla="*/ 6 h 16"/>
                  <a:gd name="T14" fmla="*/ 7 w 20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6">
                    <a:moveTo>
                      <a:pt x="7" y="15"/>
                    </a:moveTo>
                    <a:cubicBezTo>
                      <a:pt x="9" y="16"/>
                      <a:pt x="11" y="15"/>
                      <a:pt x="13" y="14"/>
                    </a:cubicBezTo>
                    <a:cubicBezTo>
                      <a:pt x="16" y="12"/>
                      <a:pt x="18" y="9"/>
                      <a:pt x="19" y="6"/>
                    </a:cubicBezTo>
                    <a:cubicBezTo>
                      <a:pt x="20" y="4"/>
                      <a:pt x="20" y="3"/>
                      <a:pt x="20" y="2"/>
                    </a:cubicBezTo>
                    <a:cubicBezTo>
                      <a:pt x="19" y="1"/>
                      <a:pt x="18" y="0"/>
                      <a:pt x="17" y="0"/>
                    </a:cubicBezTo>
                    <a:cubicBezTo>
                      <a:pt x="15" y="0"/>
                      <a:pt x="14" y="3"/>
                      <a:pt x="13" y="4"/>
                    </a:cubicBezTo>
                    <a:cubicBezTo>
                      <a:pt x="12" y="5"/>
                      <a:pt x="11" y="5"/>
                      <a:pt x="10" y="6"/>
                    </a:cubicBezTo>
                    <a:cubicBezTo>
                      <a:pt x="7" y="7"/>
                      <a:pt x="0" y="14"/>
                      <a:pt x="7" y="15"/>
                    </a:cubicBezTo>
                    <a:close/>
                  </a:path>
                </a:pathLst>
              </a:cu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0" name="Freeform 211"/>
              <p:cNvSpPr>
                <a:spLocks/>
              </p:cNvSpPr>
              <p:nvPr/>
            </p:nvSpPr>
            <p:spPr bwMode="auto">
              <a:xfrm>
                <a:off x="9444038" y="1495425"/>
                <a:ext cx="41275" cy="87313"/>
              </a:xfrm>
              <a:custGeom>
                <a:avLst/>
                <a:gdLst>
                  <a:gd name="T0" fmla="*/ 10 w 11"/>
                  <a:gd name="T1" fmla="*/ 17 h 23"/>
                  <a:gd name="T2" fmla="*/ 11 w 11"/>
                  <a:gd name="T3" fmla="*/ 11 h 23"/>
                  <a:gd name="T4" fmla="*/ 7 w 11"/>
                  <a:gd name="T5" fmla="*/ 1 h 23"/>
                  <a:gd name="T6" fmla="*/ 4 w 11"/>
                  <a:gd name="T7" fmla="*/ 0 h 23"/>
                  <a:gd name="T8" fmla="*/ 1 w 11"/>
                  <a:gd name="T9" fmla="*/ 1 h 23"/>
                  <a:gd name="T10" fmla="*/ 3 w 11"/>
                  <a:gd name="T11" fmla="*/ 7 h 23"/>
                  <a:gd name="T12" fmla="*/ 3 w 11"/>
                  <a:gd name="T13" fmla="*/ 10 h 23"/>
                  <a:gd name="T14" fmla="*/ 10 w 11"/>
                  <a:gd name="T15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3">
                    <a:moveTo>
                      <a:pt x="10" y="17"/>
                    </a:moveTo>
                    <a:cubicBezTo>
                      <a:pt x="11" y="15"/>
                      <a:pt x="11" y="13"/>
                      <a:pt x="11" y="11"/>
                    </a:cubicBezTo>
                    <a:cubicBezTo>
                      <a:pt x="10" y="7"/>
                      <a:pt x="9" y="4"/>
                      <a:pt x="7" y="1"/>
                    </a:cubicBezTo>
                    <a:cubicBezTo>
                      <a:pt x="6" y="1"/>
                      <a:pt x="5" y="0"/>
                      <a:pt x="4" y="0"/>
                    </a:cubicBezTo>
                    <a:cubicBezTo>
                      <a:pt x="2" y="0"/>
                      <a:pt x="1" y="0"/>
                      <a:pt x="1" y="1"/>
                    </a:cubicBezTo>
                    <a:cubicBezTo>
                      <a:pt x="0" y="3"/>
                      <a:pt x="2" y="5"/>
                      <a:pt x="3" y="7"/>
                    </a:cubicBezTo>
                    <a:cubicBezTo>
                      <a:pt x="3" y="8"/>
                      <a:pt x="3" y="9"/>
                      <a:pt x="3" y="10"/>
                    </a:cubicBezTo>
                    <a:cubicBezTo>
                      <a:pt x="3" y="13"/>
                      <a:pt x="6" y="23"/>
                      <a:pt x="10" y="17"/>
                    </a:cubicBezTo>
                    <a:close/>
                  </a:path>
                </a:pathLst>
              </a:custGeom>
              <a:solidFill>
                <a:srgbClr val="4E74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1" name="Freeform 212"/>
              <p:cNvSpPr>
                <a:spLocks/>
              </p:cNvSpPr>
              <p:nvPr/>
            </p:nvSpPr>
            <p:spPr bwMode="auto">
              <a:xfrm>
                <a:off x="9474200" y="1628775"/>
                <a:ext cx="82550" cy="49213"/>
              </a:xfrm>
              <a:custGeom>
                <a:avLst/>
                <a:gdLst>
                  <a:gd name="T0" fmla="*/ 18 w 22"/>
                  <a:gd name="T1" fmla="*/ 6 h 13"/>
                  <a:gd name="T2" fmla="*/ 14 w 22"/>
                  <a:gd name="T3" fmla="*/ 2 h 13"/>
                  <a:gd name="T4" fmla="*/ 4 w 22"/>
                  <a:gd name="T5" fmla="*/ 1 h 13"/>
                  <a:gd name="T6" fmla="*/ 1 w 22"/>
                  <a:gd name="T7" fmla="*/ 2 h 13"/>
                  <a:gd name="T8" fmla="*/ 0 w 22"/>
                  <a:gd name="T9" fmla="*/ 6 h 13"/>
                  <a:gd name="T10" fmla="*/ 6 w 22"/>
                  <a:gd name="T11" fmla="*/ 7 h 13"/>
                  <a:gd name="T12" fmla="*/ 9 w 22"/>
                  <a:gd name="T13" fmla="*/ 8 h 13"/>
                  <a:gd name="T14" fmla="*/ 18 w 22"/>
                  <a:gd name="T15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3">
                    <a:moveTo>
                      <a:pt x="18" y="6"/>
                    </a:moveTo>
                    <a:cubicBezTo>
                      <a:pt x="17" y="4"/>
                      <a:pt x="16" y="3"/>
                      <a:pt x="14" y="2"/>
                    </a:cubicBezTo>
                    <a:cubicBezTo>
                      <a:pt x="11" y="1"/>
                      <a:pt x="7" y="0"/>
                      <a:pt x="4" y="1"/>
                    </a:cubicBezTo>
                    <a:cubicBezTo>
                      <a:pt x="2" y="1"/>
                      <a:pt x="1" y="2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2" y="7"/>
                      <a:pt x="4" y="6"/>
                      <a:pt x="6" y="7"/>
                    </a:cubicBezTo>
                    <a:cubicBezTo>
                      <a:pt x="7" y="7"/>
                      <a:pt x="8" y="8"/>
                      <a:pt x="9" y="8"/>
                    </a:cubicBezTo>
                    <a:cubicBezTo>
                      <a:pt x="11" y="10"/>
                      <a:pt x="22" y="13"/>
                      <a:pt x="18" y="6"/>
                    </a:cubicBezTo>
                    <a:close/>
                  </a:path>
                </a:pathLst>
              </a:custGeom>
              <a:solidFill>
                <a:srgbClr val="842D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2" name="Freeform 213"/>
              <p:cNvSpPr>
                <a:spLocks/>
              </p:cNvSpPr>
              <p:nvPr/>
            </p:nvSpPr>
            <p:spPr bwMode="auto">
              <a:xfrm>
                <a:off x="7994650" y="1416050"/>
                <a:ext cx="41275" cy="87313"/>
              </a:xfrm>
              <a:custGeom>
                <a:avLst/>
                <a:gdLst>
                  <a:gd name="T0" fmla="*/ 7 w 11"/>
                  <a:gd name="T1" fmla="*/ 19 h 23"/>
                  <a:gd name="T2" fmla="*/ 10 w 11"/>
                  <a:gd name="T3" fmla="*/ 14 h 23"/>
                  <a:gd name="T4" fmla="*/ 10 w 11"/>
                  <a:gd name="T5" fmla="*/ 4 h 23"/>
                  <a:gd name="T6" fmla="*/ 7 w 11"/>
                  <a:gd name="T7" fmla="*/ 1 h 23"/>
                  <a:gd name="T8" fmla="*/ 4 w 11"/>
                  <a:gd name="T9" fmla="*/ 1 h 23"/>
                  <a:gd name="T10" fmla="*/ 4 w 11"/>
                  <a:gd name="T11" fmla="*/ 7 h 23"/>
                  <a:gd name="T12" fmla="*/ 3 w 11"/>
                  <a:gd name="T13" fmla="*/ 10 h 23"/>
                  <a:gd name="T14" fmla="*/ 7 w 11"/>
                  <a:gd name="T15" fmla="*/ 1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3">
                    <a:moveTo>
                      <a:pt x="7" y="19"/>
                    </a:moveTo>
                    <a:cubicBezTo>
                      <a:pt x="8" y="18"/>
                      <a:pt x="9" y="16"/>
                      <a:pt x="10" y="14"/>
                    </a:cubicBezTo>
                    <a:cubicBezTo>
                      <a:pt x="11" y="11"/>
                      <a:pt x="11" y="7"/>
                      <a:pt x="10" y="4"/>
                    </a:cubicBezTo>
                    <a:cubicBezTo>
                      <a:pt x="9" y="2"/>
                      <a:pt x="8" y="1"/>
                      <a:pt x="7" y="1"/>
                    </a:cubicBezTo>
                    <a:cubicBezTo>
                      <a:pt x="6" y="0"/>
                      <a:pt x="5" y="0"/>
                      <a:pt x="4" y="1"/>
                    </a:cubicBezTo>
                    <a:cubicBezTo>
                      <a:pt x="3" y="2"/>
                      <a:pt x="4" y="5"/>
                      <a:pt x="4" y="7"/>
                    </a:cubicBezTo>
                    <a:cubicBezTo>
                      <a:pt x="4" y="8"/>
                      <a:pt x="3" y="9"/>
                      <a:pt x="3" y="10"/>
                    </a:cubicBezTo>
                    <a:cubicBezTo>
                      <a:pt x="1" y="13"/>
                      <a:pt x="0" y="23"/>
                      <a:pt x="7" y="19"/>
                    </a:cubicBezTo>
                    <a:close/>
                  </a:path>
                </a:pathLst>
              </a:custGeom>
              <a:solidFill>
                <a:srgbClr val="A79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3" name="Freeform 214"/>
              <p:cNvSpPr>
                <a:spLocks/>
              </p:cNvSpPr>
              <p:nvPr/>
            </p:nvSpPr>
            <p:spPr bwMode="auto">
              <a:xfrm>
                <a:off x="8027988" y="2203450"/>
                <a:ext cx="79375" cy="120650"/>
              </a:xfrm>
              <a:custGeom>
                <a:avLst/>
                <a:gdLst>
                  <a:gd name="T0" fmla="*/ 1 w 21"/>
                  <a:gd name="T1" fmla="*/ 9 h 32"/>
                  <a:gd name="T2" fmla="*/ 1 w 21"/>
                  <a:gd name="T3" fmla="*/ 11 h 32"/>
                  <a:gd name="T4" fmla="*/ 2 w 21"/>
                  <a:gd name="T5" fmla="*/ 12 h 32"/>
                  <a:gd name="T6" fmla="*/ 6 w 21"/>
                  <a:gd name="T7" fmla="*/ 16 h 32"/>
                  <a:gd name="T8" fmla="*/ 8 w 21"/>
                  <a:gd name="T9" fmla="*/ 24 h 32"/>
                  <a:gd name="T10" fmla="*/ 12 w 21"/>
                  <a:gd name="T11" fmla="*/ 31 h 32"/>
                  <a:gd name="T12" fmla="*/ 19 w 21"/>
                  <a:gd name="T13" fmla="*/ 28 h 32"/>
                  <a:gd name="T14" fmla="*/ 18 w 21"/>
                  <a:gd name="T15" fmla="*/ 20 h 32"/>
                  <a:gd name="T16" fmla="*/ 16 w 21"/>
                  <a:gd name="T17" fmla="*/ 18 h 32"/>
                  <a:gd name="T18" fmla="*/ 11 w 21"/>
                  <a:gd name="T19" fmla="*/ 3 h 32"/>
                  <a:gd name="T20" fmla="*/ 1 w 21"/>
                  <a:gd name="T21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32">
                    <a:moveTo>
                      <a:pt x="1" y="9"/>
                    </a:moveTo>
                    <a:cubicBezTo>
                      <a:pt x="1" y="10"/>
                      <a:pt x="0" y="11"/>
                      <a:pt x="1" y="11"/>
                    </a:cubicBezTo>
                    <a:cubicBezTo>
                      <a:pt x="1" y="12"/>
                      <a:pt x="2" y="12"/>
                      <a:pt x="2" y="12"/>
                    </a:cubicBezTo>
                    <a:cubicBezTo>
                      <a:pt x="4" y="13"/>
                      <a:pt x="5" y="14"/>
                      <a:pt x="6" y="16"/>
                    </a:cubicBezTo>
                    <a:cubicBezTo>
                      <a:pt x="7" y="19"/>
                      <a:pt x="7" y="22"/>
                      <a:pt x="8" y="24"/>
                    </a:cubicBezTo>
                    <a:cubicBezTo>
                      <a:pt x="8" y="27"/>
                      <a:pt x="9" y="30"/>
                      <a:pt x="12" y="31"/>
                    </a:cubicBezTo>
                    <a:cubicBezTo>
                      <a:pt x="14" y="32"/>
                      <a:pt x="18" y="31"/>
                      <a:pt x="19" y="28"/>
                    </a:cubicBezTo>
                    <a:cubicBezTo>
                      <a:pt x="21" y="25"/>
                      <a:pt x="20" y="22"/>
                      <a:pt x="18" y="20"/>
                    </a:cubicBezTo>
                    <a:cubicBezTo>
                      <a:pt x="17" y="19"/>
                      <a:pt x="17" y="18"/>
                      <a:pt x="16" y="18"/>
                    </a:cubicBezTo>
                    <a:cubicBezTo>
                      <a:pt x="12" y="14"/>
                      <a:pt x="15" y="6"/>
                      <a:pt x="11" y="3"/>
                    </a:cubicBezTo>
                    <a:cubicBezTo>
                      <a:pt x="6" y="0"/>
                      <a:pt x="2" y="6"/>
                      <a:pt x="1" y="9"/>
                    </a:cubicBezTo>
                    <a:close/>
                  </a:path>
                </a:pathLst>
              </a:custGeom>
              <a:solidFill>
                <a:srgbClr val="CCB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4" name="Freeform 215"/>
              <p:cNvSpPr>
                <a:spLocks/>
              </p:cNvSpPr>
              <p:nvPr/>
            </p:nvSpPr>
            <p:spPr bwMode="auto">
              <a:xfrm>
                <a:off x="8837613" y="2574925"/>
                <a:ext cx="158750" cy="166688"/>
              </a:xfrm>
              <a:custGeom>
                <a:avLst/>
                <a:gdLst>
                  <a:gd name="T0" fmla="*/ 28 w 42"/>
                  <a:gd name="T1" fmla="*/ 3 h 44"/>
                  <a:gd name="T2" fmla="*/ 16 w 42"/>
                  <a:gd name="T3" fmla="*/ 2 h 44"/>
                  <a:gd name="T4" fmla="*/ 11 w 42"/>
                  <a:gd name="T5" fmla="*/ 4 h 44"/>
                  <a:gd name="T6" fmla="*/ 10 w 42"/>
                  <a:gd name="T7" fmla="*/ 3 h 44"/>
                  <a:gd name="T8" fmla="*/ 2 w 42"/>
                  <a:gd name="T9" fmla="*/ 3 h 44"/>
                  <a:gd name="T10" fmla="*/ 2 w 42"/>
                  <a:gd name="T11" fmla="*/ 11 h 44"/>
                  <a:gd name="T12" fmla="*/ 5 w 42"/>
                  <a:gd name="T13" fmla="*/ 13 h 44"/>
                  <a:gd name="T14" fmla="*/ 6 w 42"/>
                  <a:gd name="T15" fmla="*/ 16 h 44"/>
                  <a:gd name="T16" fmla="*/ 3 w 42"/>
                  <a:gd name="T17" fmla="*/ 25 h 44"/>
                  <a:gd name="T18" fmla="*/ 0 w 42"/>
                  <a:gd name="T19" fmla="*/ 30 h 44"/>
                  <a:gd name="T20" fmla="*/ 3 w 42"/>
                  <a:gd name="T21" fmla="*/ 33 h 44"/>
                  <a:gd name="T22" fmla="*/ 7 w 42"/>
                  <a:gd name="T23" fmla="*/ 32 h 44"/>
                  <a:gd name="T24" fmla="*/ 9 w 42"/>
                  <a:gd name="T25" fmla="*/ 31 h 44"/>
                  <a:gd name="T26" fmla="*/ 10 w 42"/>
                  <a:gd name="T27" fmla="*/ 32 h 44"/>
                  <a:gd name="T28" fmla="*/ 13 w 42"/>
                  <a:gd name="T29" fmla="*/ 39 h 44"/>
                  <a:gd name="T30" fmla="*/ 13 w 42"/>
                  <a:gd name="T31" fmla="*/ 42 h 44"/>
                  <a:gd name="T32" fmla="*/ 16 w 42"/>
                  <a:gd name="T33" fmla="*/ 43 h 44"/>
                  <a:gd name="T34" fmla="*/ 19 w 42"/>
                  <a:gd name="T35" fmla="*/ 43 h 44"/>
                  <a:gd name="T36" fmla="*/ 21 w 42"/>
                  <a:gd name="T37" fmla="*/ 43 h 44"/>
                  <a:gd name="T38" fmla="*/ 22 w 42"/>
                  <a:gd name="T39" fmla="*/ 39 h 44"/>
                  <a:gd name="T40" fmla="*/ 29 w 42"/>
                  <a:gd name="T41" fmla="*/ 38 h 44"/>
                  <a:gd name="T42" fmla="*/ 31 w 42"/>
                  <a:gd name="T43" fmla="*/ 36 h 44"/>
                  <a:gd name="T44" fmla="*/ 36 w 42"/>
                  <a:gd name="T45" fmla="*/ 37 h 44"/>
                  <a:gd name="T46" fmla="*/ 41 w 42"/>
                  <a:gd name="T47" fmla="*/ 36 h 44"/>
                  <a:gd name="T48" fmla="*/ 42 w 42"/>
                  <a:gd name="T49" fmla="*/ 31 h 44"/>
                  <a:gd name="T50" fmla="*/ 40 w 42"/>
                  <a:gd name="T51" fmla="*/ 29 h 44"/>
                  <a:gd name="T52" fmla="*/ 40 w 42"/>
                  <a:gd name="T53" fmla="*/ 26 h 44"/>
                  <a:gd name="T54" fmla="*/ 40 w 42"/>
                  <a:gd name="T55" fmla="*/ 16 h 44"/>
                  <a:gd name="T56" fmla="*/ 28 w 42"/>
                  <a:gd name="T57" fmla="*/ 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2" h="44">
                    <a:moveTo>
                      <a:pt x="28" y="3"/>
                    </a:moveTo>
                    <a:cubicBezTo>
                      <a:pt x="24" y="1"/>
                      <a:pt x="19" y="0"/>
                      <a:pt x="16" y="2"/>
                    </a:cubicBezTo>
                    <a:cubicBezTo>
                      <a:pt x="14" y="3"/>
                      <a:pt x="13" y="4"/>
                      <a:pt x="11" y="4"/>
                    </a:cubicBezTo>
                    <a:cubicBezTo>
                      <a:pt x="11" y="4"/>
                      <a:pt x="10" y="3"/>
                      <a:pt x="10" y="3"/>
                    </a:cubicBezTo>
                    <a:cubicBezTo>
                      <a:pt x="8" y="1"/>
                      <a:pt x="4" y="1"/>
                      <a:pt x="2" y="3"/>
                    </a:cubicBezTo>
                    <a:cubicBezTo>
                      <a:pt x="0" y="5"/>
                      <a:pt x="0" y="9"/>
                      <a:pt x="2" y="11"/>
                    </a:cubicBezTo>
                    <a:cubicBezTo>
                      <a:pt x="3" y="12"/>
                      <a:pt x="4" y="12"/>
                      <a:pt x="5" y="13"/>
                    </a:cubicBezTo>
                    <a:cubicBezTo>
                      <a:pt x="6" y="14"/>
                      <a:pt x="6" y="15"/>
                      <a:pt x="6" y="16"/>
                    </a:cubicBezTo>
                    <a:cubicBezTo>
                      <a:pt x="6" y="20"/>
                      <a:pt x="5" y="23"/>
                      <a:pt x="3" y="25"/>
                    </a:cubicBezTo>
                    <a:cubicBezTo>
                      <a:pt x="1" y="27"/>
                      <a:pt x="0" y="28"/>
                      <a:pt x="0" y="30"/>
                    </a:cubicBezTo>
                    <a:cubicBezTo>
                      <a:pt x="0" y="31"/>
                      <a:pt x="1" y="32"/>
                      <a:pt x="3" y="33"/>
                    </a:cubicBezTo>
                    <a:cubicBezTo>
                      <a:pt x="4" y="33"/>
                      <a:pt x="6" y="33"/>
                      <a:pt x="7" y="32"/>
                    </a:cubicBezTo>
                    <a:cubicBezTo>
                      <a:pt x="7" y="32"/>
                      <a:pt x="8" y="31"/>
                      <a:pt x="9" y="31"/>
                    </a:cubicBezTo>
                    <a:cubicBezTo>
                      <a:pt x="9" y="31"/>
                      <a:pt x="9" y="32"/>
                      <a:pt x="10" y="32"/>
                    </a:cubicBezTo>
                    <a:cubicBezTo>
                      <a:pt x="12" y="33"/>
                      <a:pt x="13" y="36"/>
                      <a:pt x="13" y="39"/>
                    </a:cubicBezTo>
                    <a:cubicBezTo>
                      <a:pt x="13" y="40"/>
                      <a:pt x="13" y="41"/>
                      <a:pt x="13" y="42"/>
                    </a:cubicBezTo>
                    <a:cubicBezTo>
                      <a:pt x="14" y="43"/>
                      <a:pt x="15" y="43"/>
                      <a:pt x="16" y="43"/>
                    </a:cubicBezTo>
                    <a:cubicBezTo>
                      <a:pt x="17" y="43"/>
                      <a:pt x="18" y="43"/>
                      <a:pt x="19" y="43"/>
                    </a:cubicBezTo>
                    <a:cubicBezTo>
                      <a:pt x="20" y="44"/>
                      <a:pt x="20" y="44"/>
                      <a:pt x="21" y="43"/>
                    </a:cubicBezTo>
                    <a:cubicBezTo>
                      <a:pt x="22" y="43"/>
                      <a:pt x="22" y="41"/>
                      <a:pt x="22" y="39"/>
                    </a:cubicBezTo>
                    <a:cubicBezTo>
                      <a:pt x="24" y="38"/>
                      <a:pt x="27" y="40"/>
                      <a:pt x="29" y="38"/>
                    </a:cubicBezTo>
                    <a:cubicBezTo>
                      <a:pt x="30" y="38"/>
                      <a:pt x="30" y="37"/>
                      <a:pt x="31" y="36"/>
                    </a:cubicBezTo>
                    <a:cubicBezTo>
                      <a:pt x="32" y="35"/>
                      <a:pt x="34" y="37"/>
                      <a:pt x="36" y="37"/>
                    </a:cubicBezTo>
                    <a:cubicBezTo>
                      <a:pt x="38" y="38"/>
                      <a:pt x="40" y="37"/>
                      <a:pt x="41" y="36"/>
                    </a:cubicBezTo>
                    <a:cubicBezTo>
                      <a:pt x="42" y="35"/>
                      <a:pt x="42" y="33"/>
                      <a:pt x="42" y="31"/>
                    </a:cubicBezTo>
                    <a:cubicBezTo>
                      <a:pt x="41" y="30"/>
                      <a:pt x="41" y="30"/>
                      <a:pt x="40" y="29"/>
                    </a:cubicBezTo>
                    <a:cubicBezTo>
                      <a:pt x="40" y="28"/>
                      <a:pt x="40" y="27"/>
                      <a:pt x="40" y="26"/>
                    </a:cubicBezTo>
                    <a:cubicBezTo>
                      <a:pt x="40" y="23"/>
                      <a:pt x="41" y="19"/>
                      <a:pt x="40" y="16"/>
                    </a:cubicBezTo>
                    <a:cubicBezTo>
                      <a:pt x="40" y="9"/>
                      <a:pt x="34" y="5"/>
                      <a:pt x="28" y="3"/>
                    </a:cubicBezTo>
                    <a:close/>
                  </a:path>
                </a:pathLst>
              </a:custGeom>
              <a:solidFill>
                <a:srgbClr val="7FB2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5" name="Freeform 216"/>
              <p:cNvSpPr>
                <a:spLocks/>
              </p:cNvSpPr>
              <p:nvPr/>
            </p:nvSpPr>
            <p:spPr bwMode="auto">
              <a:xfrm>
                <a:off x="9034463" y="2501900"/>
                <a:ext cx="133350" cy="163513"/>
              </a:xfrm>
              <a:custGeom>
                <a:avLst/>
                <a:gdLst>
                  <a:gd name="T0" fmla="*/ 0 w 35"/>
                  <a:gd name="T1" fmla="*/ 18 h 43"/>
                  <a:gd name="T2" fmla="*/ 3 w 35"/>
                  <a:gd name="T3" fmla="*/ 31 h 43"/>
                  <a:gd name="T4" fmla="*/ 9 w 35"/>
                  <a:gd name="T5" fmla="*/ 35 h 43"/>
                  <a:gd name="T6" fmla="*/ 13 w 35"/>
                  <a:gd name="T7" fmla="*/ 41 h 43"/>
                  <a:gd name="T8" fmla="*/ 20 w 35"/>
                  <a:gd name="T9" fmla="*/ 41 h 43"/>
                  <a:gd name="T10" fmla="*/ 22 w 35"/>
                  <a:gd name="T11" fmla="*/ 37 h 43"/>
                  <a:gd name="T12" fmla="*/ 27 w 35"/>
                  <a:gd name="T13" fmla="*/ 34 h 43"/>
                  <a:gd name="T14" fmla="*/ 34 w 35"/>
                  <a:gd name="T15" fmla="*/ 21 h 43"/>
                  <a:gd name="T16" fmla="*/ 33 w 35"/>
                  <a:gd name="T17" fmla="*/ 17 h 43"/>
                  <a:gd name="T18" fmla="*/ 35 w 35"/>
                  <a:gd name="T19" fmla="*/ 14 h 43"/>
                  <a:gd name="T20" fmla="*/ 34 w 35"/>
                  <a:gd name="T21" fmla="*/ 11 h 43"/>
                  <a:gd name="T22" fmla="*/ 30 w 35"/>
                  <a:gd name="T23" fmla="*/ 10 h 43"/>
                  <a:gd name="T24" fmla="*/ 30 w 35"/>
                  <a:gd name="T25" fmla="*/ 7 h 43"/>
                  <a:gd name="T26" fmla="*/ 30 w 35"/>
                  <a:gd name="T27" fmla="*/ 3 h 43"/>
                  <a:gd name="T28" fmla="*/ 26 w 35"/>
                  <a:gd name="T29" fmla="*/ 1 h 43"/>
                  <a:gd name="T30" fmla="*/ 17 w 35"/>
                  <a:gd name="T31" fmla="*/ 4 h 43"/>
                  <a:gd name="T32" fmla="*/ 10 w 35"/>
                  <a:gd name="T33" fmla="*/ 7 h 43"/>
                  <a:gd name="T34" fmla="*/ 5 w 35"/>
                  <a:gd name="T35" fmla="*/ 11 h 43"/>
                  <a:gd name="T36" fmla="*/ 0 w 35"/>
                  <a:gd name="T37" fmla="*/ 1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" h="43">
                    <a:moveTo>
                      <a:pt x="0" y="18"/>
                    </a:moveTo>
                    <a:cubicBezTo>
                      <a:pt x="0" y="23"/>
                      <a:pt x="0" y="28"/>
                      <a:pt x="3" y="31"/>
                    </a:cubicBezTo>
                    <a:cubicBezTo>
                      <a:pt x="5" y="32"/>
                      <a:pt x="7" y="33"/>
                      <a:pt x="9" y="35"/>
                    </a:cubicBezTo>
                    <a:cubicBezTo>
                      <a:pt x="10" y="37"/>
                      <a:pt x="12" y="39"/>
                      <a:pt x="13" y="41"/>
                    </a:cubicBezTo>
                    <a:cubicBezTo>
                      <a:pt x="15" y="42"/>
                      <a:pt x="19" y="43"/>
                      <a:pt x="20" y="41"/>
                    </a:cubicBezTo>
                    <a:cubicBezTo>
                      <a:pt x="21" y="40"/>
                      <a:pt x="21" y="38"/>
                      <a:pt x="22" y="37"/>
                    </a:cubicBezTo>
                    <a:cubicBezTo>
                      <a:pt x="23" y="36"/>
                      <a:pt x="25" y="35"/>
                      <a:pt x="27" y="34"/>
                    </a:cubicBezTo>
                    <a:cubicBezTo>
                      <a:pt x="32" y="32"/>
                      <a:pt x="34" y="27"/>
                      <a:pt x="34" y="21"/>
                    </a:cubicBezTo>
                    <a:cubicBezTo>
                      <a:pt x="33" y="20"/>
                      <a:pt x="33" y="19"/>
                      <a:pt x="33" y="17"/>
                    </a:cubicBezTo>
                    <a:cubicBezTo>
                      <a:pt x="34" y="16"/>
                      <a:pt x="34" y="15"/>
                      <a:pt x="35" y="14"/>
                    </a:cubicBezTo>
                    <a:cubicBezTo>
                      <a:pt x="35" y="13"/>
                      <a:pt x="35" y="12"/>
                      <a:pt x="34" y="11"/>
                    </a:cubicBezTo>
                    <a:cubicBezTo>
                      <a:pt x="33" y="10"/>
                      <a:pt x="31" y="11"/>
                      <a:pt x="30" y="10"/>
                    </a:cubicBezTo>
                    <a:cubicBezTo>
                      <a:pt x="29" y="10"/>
                      <a:pt x="29" y="8"/>
                      <a:pt x="30" y="7"/>
                    </a:cubicBezTo>
                    <a:cubicBezTo>
                      <a:pt x="30" y="6"/>
                      <a:pt x="30" y="5"/>
                      <a:pt x="30" y="3"/>
                    </a:cubicBezTo>
                    <a:cubicBezTo>
                      <a:pt x="29" y="2"/>
                      <a:pt x="28" y="1"/>
                      <a:pt x="26" y="1"/>
                    </a:cubicBezTo>
                    <a:cubicBezTo>
                      <a:pt x="22" y="0"/>
                      <a:pt x="21" y="3"/>
                      <a:pt x="17" y="4"/>
                    </a:cubicBezTo>
                    <a:cubicBezTo>
                      <a:pt x="15" y="6"/>
                      <a:pt x="12" y="6"/>
                      <a:pt x="10" y="7"/>
                    </a:cubicBezTo>
                    <a:cubicBezTo>
                      <a:pt x="7" y="8"/>
                      <a:pt x="7" y="10"/>
                      <a:pt x="5" y="11"/>
                    </a:cubicBezTo>
                    <a:cubicBezTo>
                      <a:pt x="2" y="14"/>
                      <a:pt x="0" y="14"/>
                      <a:pt x="0" y="18"/>
                    </a:cubicBezTo>
                    <a:close/>
                  </a:path>
                </a:pathLst>
              </a:custGeom>
              <a:solidFill>
                <a:srgbClr val="7FB2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6" name="Freeform 217"/>
              <p:cNvSpPr>
                <a:spLocks/>
              </p:cNvSpPr>
              <p:nvPr/>
            </p:nvSpPr>
            <p:spPr bwMode="auto">
              <a:xfrm>
                <a:off x="8651875" y="1900238"/>
                <a:ext cx="231775" cy="207963"/>
              </a:xfrm>
              <a:custGeom>
                <a:avLst/>
                <a:gdLst>
                  <a:gd name="T0" fmla="*/ 0 w 61"/>
                  <a:gd name="T1" fmla="*/ 40 h 55"/>
                  <a:gd name="T2" fmla="*/ 2 w 61"/>
                  <a:gd name="T3" fmla="*/ 50 h 55"/>
                  <a:gd name="T4" fmla="*/ 12 w 61"/>
                  <a:gd name="T5" fmla="*/ 53 h 55"/>
                  <a:gd name="T6" fmla="*/ 18 w 61"/>
                  <a:gd name="T7" fmla="*/ 47 h 55"/>
                  <a:gd name="T8" fmla="*/ 32 w 61"/>
                  <a:gd name="T9" fmla="*/ 37 h 55"/>
                  <a:gd name="T10" fmla="*/ 51 w 61"/>
                  <a:gd name="T11" fmla="*/ 28 h 55"/>
                  <a:gd name="T12" fmla="*/ 59 w 61"/>
                  <a:gd name="T13" fmla="*/ 22 h 55"/>
                  <a:gd name="T14" fmla="*/ 60 w 61"/>
                  <a:gd name="T15" fmla="*/ 12 h 55"/>
                  <a:gd name="T16" fmla="*/ 60 w 61"/>
                  <a:gd name="T17" fmla="*/ 9 h 55"/>
                  <a:gd name="T18" fmla="*/ 58 w 61"/>
                  <a:gd name="T19" fmla="*/ 7 h 55"/>
                  <a:gd name="T20" fmla="*/ 23 w 61"/>
                  <a:gd name="T21" fmla="*/ 12 h 55"/>
                  <a:gd name="T22" fmla="*/ 0 w 61"/>
                  <a:gd name="T23" fmla="*/ 4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55">
                    <a:moveTo>
                      <a:pt x="0" y="40"/>
                    </a:moveTo>
                    <a:cubicBezTo>
                      <a:pt x="0" y="43"/>
                      <a:pt x="0" y="47"/>
                      <a:pt x="2" y="50"/>
                    </a:cubicBezTo>
                    <a:cubicBezTo>
                      <a:pt x="5" y="53"/>
                      <a:pt x="9" y="55"/>
                      <a:pt x="12" y="53"/>
                    </a:cubicBezTo>
                    <a:cubicBezTo>
                      <a:pt x="15" y="52"/>
                      <a:pt x="16" y="49"/>
                      <a:pt x="18" y="47"/>
                    </a:cubicBezTo>
                    <a:cubicBezTo>
                      <a:pt x="21" y="42"/>
                      <a:pt x="27" y="39"/>
                      <a:pt x="32" y="37"/>
                    </a:cubicBezTo>
                    <a:cubicBezTo>
                      <a:pt x="38" y="34"/>
                      <a:pt x="45" y="31"/>
                      <a:pt x="51" y="28"/>
                    </a:cubicBezTo>
                    <a:cubicBezTo>
                      <a:pt x="54" y="26"/>
                      <a:pt x="57" y="25"/>
                      <a:pt x="59" y="22"/>
                    </a:cubicBezTo>
                    <a:cubicBezTo>
                      <a:pt x="61" y="19"/>
                      <a:pt x="60" y="15"/>
                      <a:pt x="60" y="12"/>
                    </a:cubicBezTo>
                    <a:cubicBezTo>
                      <a:pt x="60" y="11"/>
                      <a:pt x="60" y="10"/>
                      <a:pt x="60" y="9"/>
                    </a:cubicBezTo>
                    <a:cubicBezTo>
                      <a:pt x="59" y="8"/>
                      <a:pt x="59" y="8"/>
                      <a:pt x="58" y="7"/>
                    </a:cubicBezTo>
                    <a:cubicBezTo>
                      <a:pt x="45" y="0"/>
                      <a:pt x="34" y="7"/>
                      <a:pt x="23" y="12"/>
                    </a:cubicBezTo>
                    <a:cubicBezTo>
                      <a:pt x="12" y="17"/>
                      <a:pt x="2" y="27"/>
                      <a:pt x="0" y="40"/>
                    </a:cubicBezTo>
                    <a:close/>
                  </a:path>
                </a:pathLst>
              </a:custGeom>
              <a:solidFill>
                <a:srgbClr val="EA71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7" name="Oval 218"/>
              <p:cNvSpPr>
                <a:spLocks noChangeArrowheads="1"/>
              </p:cNvSpPr>
              <p:nvPr/>
            </p:nvSpPr>
            <p:spPr bwMode="auto">
              <a:xfrm>
                <a:off x="8731250" y="1960563"/>
                <a:ext cx="38100" cy="38100"/>
              </a:xfrm>
              <a:prstGeom prst="ellipse">
                <a:avLst/>
              </a:prstGeom>
              <a:solidFill>
                <a:srgbClr val="D054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8" name="Oval 219"/>
              <p:cNvSpPr>
                <a:spLocks noChangeArrowheads="1"/>
              </p:cNvSpPr>
              <p:nvPr/>
            </p:nvSpPr>
            <p:spPr bwMode="auto">
              <a:xfrm>
                <a:off x="8689975" y="2022475"/>
                <a:ext cx="38100" cy="36513"/>
              </a:xfrm>
              <a:prstGeom prst="ellipse">
                <a:avLst/>
              </a:prstGeom>
              <a:solidFill>
                <a:srgbClr val="D054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9" name="Oval 220"/>
              <p:cNvSpPr>
                <a:spLocks noChangeArrowheads="1"/>
              </p:cNvSpPr>
              <p:nvPr/>
            </p:nvSpPr>
            <p:spPr bwMode="auto">
              <a:xfrm>
                <a:off x="8810625" y="1930400"/>
                <a:ext cx="38100" cy="38100"/>
              </a:xfrm>
              <a:prstGeom prst="ellipse">
                <a:avLst/>
              </a:prstGeom>
              <a:solidFill>
                <a:srgbClr val="D054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00" name="Oval 221"/>
              <p:cNvSpPr>
                <a:spLocks noChangeArrowheads="1"/>
              </p:cNvSpPr>
              <p:nvPr/>
            </p:nvSpPr>
            <p:spPr bwMode="auto">
              <a:xfrm>
                <a:off x="8916988" y="1560513"/>
                <a:ext cx="65088" cy="63500"/>
              </a:xfrm>
              <a:prstGeom prst="ellipse">
                <a:avLst/>
              </a:prstGeom>
              <a:solidFill>
                <a:srgbClr val="95E8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01" name="Oval 222"/>
              <p:cNvSpPr>
                <a:spLocks noChangeArrowheads="1"/>
              </p:cNvSpPr>
              <p:nvPr/>
            </p:nvSpPr>
            <p:spPr bwMode="auto">
              <a:xfrm>
                <a:off x="9020175" y="1408113"/>
                <a:ext cx="55563" cy="53975"/>
              </a:xfrm>
              <a:prstGeom prst="ellipse">
                <a:avLst/>
              </a:prstGeom>
              <a:solidFill>
                <a:srgbClr val="95E8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02" name="Oval 223"/>
              <p:cNvSpPr>
                <a:spLocks noChangeArrowheads="1"/>
              </p:cNvSpPr>
              <p:nvPr/>
            </p:nvSpPr>
            <p:spPr bwMode="auto">
              <a:xfrm>
                <a:off x="9034463" y="1495425"/>
                <a:ext cx="49213" cy="46038"/>
              </a:xfrm>
              <a:prstGeom prst="ellipse">
                <a:avLst/>
              </a:prstGeom>
              <a:solidFill>
                <a:srgbClr val="95E8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03" name="Oval 224"/>
              <p:cNvSpPr>
                <a:spLocks noChangeArrowheads="1"/>
              </p:cNvSpPr>
              <p:nvPr/>
            </p:nvSpPr>
            <p:spPr bwMode="auto">
              <a:xfrm>
                <a:off x="8848725" y="1404938"/>
                <a:ext cx="49213" cy="49213"/>
              </a:xfrm>
              <a:prstGeom prst="ellipse">
                <a:avLst/>
              </a:prstGeom>
              <a:solidFill>
                <a:srgbClr val="95E8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04" name="Oval 225"/>
              <p:cNvSpPr>
                <a:spLocks noChangeArrowheads="1"/>
              </p:cNvSpPr>
              <p:nvPr/>
            </p:nvSpPr>
            <p:spPr bwMode="auto">
              <a:xfrm>
                <a:off x="8864600" y="1514475"/>
                <a:ext cx="38100" cy="38100"/>
              </a:xfrm>
              <a:prstGeom prst="ellipse">
                <a:avLst/>
              </a:prstGeom>
              <a:solidFill>
                <a:srgbClr val="95E8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05" name="Oval 226"/>
              <p:cNvSpPr>
                <a:spLocks noChangeArrowheads="1"/>
              </p:cNvSpPr>
              <p:nvPr/>
            </p:nvSpPr>
            <p:spPr bwMode="auto">
              <a:xfrm>
                <a:off x="8990013" y="1328738"/>
                <a:ext cx="36513" cy="38100"/>
              </a:xfrm>
              <a:prstGeom prst="ellipse">
                <a:avLst/>
              </a:prstGeom>
              <a:solidFill>
                <a:srgbClr val="95E8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sp>
        <p:nvSpPr>
          <p:cNvPr id="1694" name="Title 1"/>
          <p:cNvSpPr>
            <a:spLocks noGrp="1"/>
          </p:cNvSpPr>
          <p:nvPr>
            <p:ph type="title"/>
          </p:nvPr>
        </p:nvSpPr>
        <p:spPr>
          <a:xfrm>
            <a:off x="905435" y="100107"/>
            <a:ext cx="10515600" cy="1038411"/>
          </a:xfrm>
        </p:spPr>
        <p:txBody>
          <a:bodyPr>
            <a:noAutofit/>
          </a:bodyPr>
          <a:lstStyle/>
          <a:p>
            <a:r>
              <a:rPr lang="en-US" sz="3600" b="1" dirty="0"/>
              <a:t>HS je poměrně časté, ale nedostatečně </a:t>
            </a:r>
            <a:r>
              <a:rPr lang="en-US" sz="3600" b="1" dirty="0" err="1"/>
              <a:t>diagnostikované</a:t>
            </a:r>
            <a:r>
              <a:rPr lang="en-US" sz="3600" b="1" dirty="0"/>
              <a:t> </a:t>
            </a:r>
            <a:r>
              <a:rPr lang="cs-CZ" sz="3600" b="1" dirty="0"/>
              <a:t>o</a:t>
            </a:r>
            <a:r>
              <a:rPr lang="en-US" sz="3600" b="1" dirty="0" err="1"/>
              <a:t>nemocnění</a:t>
            </a:r>
            <a:endParaRPr lang="en-US" sz="3600" b="1" dirty="0"/>
          </a:p>
        </p:txBody>
      </p:sp>
      <p:grpSp>
        <p:nvGrpSpPr>
          <p:cNvPr id="2274" name="Group 4">
            <a:extLst>
              <a:ext uri="{FF2B5EF4-FFF2-40B4-BE49-F238E27FC236}">
                <a16:creationId xmlns:a16="http://schemas.microsoft.com/office/drawing/2014/main" id="{00112D57-6EAF-B04C-AF88-DE9AF6B75C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74192" y="2474259"/>
            <a:ext cx="3991661" cy="1970741"/>
            <a:chOff x="0" y="739"/>
            <a:chExt cx="5763" cy="2844"/>
          </a:xfrm>
          <a:solidFill>
            <a:srgbClr val="2669BC">
              <a:alpha val="39608"/>
            </a:srgbClr>
          </a:solidFill>
        </p:grpSpPr>
        <p:grpSp>
          <p:nvGrpSpPr>
            <p:cNvPr id="2275" name="Group 205">
              <a:extLst>
                <a:ext uri="{FF2B5EF4-FFF2-40B4-BE49-F238E27FC236}">
                  <a16:creationId xmlns:a16="http://schemas.microsoft.com/office/drawing/2014/main" id="{397E2DC0-24C0-6F4E-8899-BD23EFA0A7E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22" y="739"/>
              <a:ext cx="4356" cy="2667"/>
              <a:chOff x="1222" y="739"/>
              <a:chExt cx="4356" cy="2667"/>
            </a:xfrm>
            <a:grpFill/>
          </p:grpSpPr>
          <p:sp>
            <p:nvSpPr>
              <p:cNvPr id="2652" name="Freeform 5">
                <a:extLst>
                  <a:ext uri="{FF2B5EF4-FFF2-40B4-BE49-F238E27FC236}">
                    <a16:creationId xmlns:a16="http://schemas.microsoft.com/office/drawing/2014/main" id="{3ABA3F17-DB0C-5C4F-B87A-D10100C58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1" y="2819"/>
                <a:ext cx="14" cy="17"/>
              </a:xfrm>
              <a:custGeom>
                <a:avLst/>
                <a:gdLst>
                  <a:gd name="T0" fmla="*/ 51 w 55"/>
                  <a:gd name="T1" fmla="*/ 43 h 69"/>
                  <a:gd name="T2" fmla="*/ 44 w 55"/>
                  <a:gd name="T3" fmla="*/ 31 h 69"/>
                  <a:gd name="T4" fmla="*/ 35 w 55"/>
                  <a:gd name="T5" fmla="*/ 20 h 69"/>
                  <a:gd name="T6" fmla="*/ 21 w 55"/>
                  <a:gd name="T7" fmla="*/ 11 h 69"/>
                  <a:gd name="T8" fmla="*/ 9 w 55"/>
                  <a:gd name="T9" fmla="*/ 0 h 69"/>
                  <a:gd name="T10" fmla="*/ 6 w 55"/>
                  <a:gd name="T11" fmla="*/ 21 h 69"/>
                  <a:gd name="T12" fmla="*/ 10 w 55"/>
                  <a:gd name="T13" fmla="*/ 39 h 69"/>
                  <a:gd name="T14" fmla="*/ 16 w 55"/>
                  <a:gd name="T15" fmla="*/ 56 h 69"/>
                  <a:gd name="T16" fmla="*/ 27 w 55"/>
                  <a:gd name="T17" fmla="*/ 66 h 69"/>
                  <a:gd name="T18" fmla="*/ 48 w 55"/>
                  <a:gd name="T19" fmla="*/ 62 h 69"/>
                  <a:gd name="T20" fmla="*/ 51 w 55"/>
                  <a:gd name="T21" fmla="*/ 4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5" h="69">
                    <a:moveTo>
                      <a:pt x="51" y="43"/>
                    </a:moveTo>
                    <a:cubicBezTo>
                      <a:pt x="51" y="43"/>
                      <a:pt x="47" y="39"/>
                      <a:pt x="44" y="31"/>
                    </a:cubicBezTo>
                    <a:cubicBezTo>
                      <a:pt x="41" y="22"/>
                      <a:pt x="42" y="22"/>
                      <a:pt x="35" y="20"/>
                    </a:cubicBezTo>
                    <a:cubicBezTo>
                      <a:pt x="27" y="18"/>
                      <a:pt x="25" y="16"/>
                      <a:pt x="21" y="11"/>
                    </a:cubicBezTo>
                    <a:cubicBezTo>
                      <a:pt x="17" y="7"/>
                      <a:pt x="13" y="0"/>
                      <a:pt x="9" y="0"/>
                    </a:cubicBezTo>
                    <a:cubicBezTo>
                      <a:pt x="5" y="0"/>
                      <a:pt x="0" y="16"/>
                      <a:pt x="6" y="21"/>
                    </a:cubicBezTo>
                    <a:cubicBezTo>
                      <a:pt x="12" y="27"/>
                      <a:pt x="10" y="32"/>
                      <a:pt x="10" y="39"/>
                    </a:cubicBezTo>
                    <a:cubicBezTo>
                      <a:pt x="10" y="45"/>
                      <a:pt x="10" y="54"/>
                      <a:pt x="16" y="56"/>
                    </a:cubicBezTo>
                    <a:cubicBezTo>
                      <a:pt x="22" y="58"/>
                      <a:pt x="21" y="66"/>
                      <a:pt x="27" y="66"/>
                    </a:cubicBezTo>
                    <a:cubicBezTo>
                      <a:pt x="34" y="66"/>
                      <a:pt x="47" y="69"/>
                      <a:pt x="48" y="62"/>
                    </a:cubicBezTo>
                    <a:cubicBezTo>
                      <a:pt x="49" y="56"/>
                      <a:pt x="55" y="49"/>
                      <a:pt x="51" y="4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53" name="Freeform 6">
                <a:extLst>
                  <a:ext uri="{FF2B5EF4-FFF2-40B4-BE49-F238E27FC236}">
                    <a16:creationId xmlns:a16="http://schemas.microsoft.com/office/drawing/2014/main" id="{D134140A-6A97-6049-835B-F8DA60FAC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1" y="2839"/>
                <a:ext cx="12" cy="12"/>
              </a:xfrm>
              <a:custGeom>
                <a:avLst/>
                <a:gdLst>
                  <a:gd name="T0" fmla="*/ 19 w 46"/>
                  <a:gd name="T1" fmla="*/ 6 h 49"/>
                  <a:gd name="T2" fmla="*/ 2 w 46"/>
                  <a:gd name="T3" fmla="*/ 8 h 49"/>
                  <a:gd name="T4" fmla="*/ 10 w 46"/>
                  <a:gd name="T5" fmla="*/ 21 h 49"/>
                  <a:gd name="T6" fmla="*/ 19 w 46"/>
                  <a:gd name="T7" fmla="*/ 35 h 49"/>
                  <a:gd name="T8" fmla="*/ 27 w 46"/>
                  <a:gd name="T9" fmla="*/ 48 h 49"/>
                  <a:gd name="T10" fmla="*/ 42 w 46"/>
                  <a:gd name="T11" fmla="*/ 39 h 49"/>
                  <a:gd name="T12" fmla="*/ 37 w 46"/>
                  <a:gd name="T13" fmla="*/ 20 h 49"/>
                  <a:gd name="T14" fmla="*/ 19 w 46"/>
                  <a:gd name="T15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49">
                    <a:moveTo>
                      <a:pt x="19" y="6"/>
                    </a:moveTo>
                    <a:cubicBezTo>
                      <a:pt x="19" y="6"/>
                      <a:pt x="4" y="0"/>
                      <a:pt x="2" y="8"/>
                    </a:cubicBezTo>
                    <a:cubicBezTo>
                      <a:pt x="0" y="15"/>
                      <a:pt x="4" y="17"/>
                      <a:pt x="10" y="21"/>
                    </a:cubicBezTo>
                    <a:cubicBezTo>
                      <a:pt x="17" y="25"/>
                      <a:pt x="19" y="27"/>
                      <a:pt x="19" y="35"/>
                    </a:cubicBezTo>
                    <a:cubicBezTo>
                      <a:pt x="19" y="43"/>
                      <a:pt x="21" y="48"/>
                      <a:pt x="27" y="48"/>
                    </a:cubicBezTo>
                    <a:cubicBezTo>
                      <a:pt x="33" y="49"/>
                      <a:pt x="42" y="47"/>
                      <a:pt x="42" y="39"/>
                    </a:cubicBezTo>
                    <a:cubicBezTo>
                      <a:pt x="42" y="31"/>
                      <a:pt x="46" y="23"/>
                      <a:pt x="37" y="20"/>
                    </a:cubicBezTo>
                    <a:cubicBezTo>
                      <a:pt x="27" y="17"/>
                      <a:pt x="27" y="8"/>
                      <a:pt x="19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54" name="Freeform 7">
                <a:extLst>
                  <a:ext uri="{FF2B5EF4-FFF2-40B4-BE49-F238E27FC236}">
                    <a16:creationId xmlns:a16="http://schemas.microsoft.com/office/drawing/2014/main" id="{EA61A63A-F32E-074B-A32D-48B66B473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6" y="2822"/>
                <a:ext cx="5" cy="12"/>
              </a:xfrm>
              <a:custGeom>
                <a:avLst/>
                <a:gdLst>
                  <a:gd name="T0" fmla="*/ 7 w 23"/>
                  <a:gd name="T1" fmla="*/ 5 h 47"/>
                  <a:gd name="T2" fmla="*/ 5 w 23"/>
                  <a:gd name="T3" fmla="*/ 18 h 47"/>
                  <a:gd name="T4" fmla="*/ 3 w 23"/>
                  <a:gd name="T5" fmla="*/ 35 h 47"/>
                  <a:gd name="T6" fmla="*/ 10 w 23"/>
                  <a:gd name="T7" fmla="*/ 44 h 47"/>
                  <a:gd name="T8" fmla="*/ 17 w 23"/>
                  <a:gd name="T9" fmla="*/ 31 h 47"/>
                  <a:gd name="T10" fmla="*/ 21 w 23"/>
                  <a:gd name="T11" fmla="*/ 17 h 47"/>
                  <a:gd name="T12" fmla="*/ 7 w 23"/>
                  <a:gd name="T13" fmla="*/ 5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47">
                    <a:moveTo>
                      <a:pt x="7" y="5"/>
                    </a:moveTo>
                    <a:cubicBezTo>
                      <a:pt x="7" y="5"/>
                      <a:pt x="3" y="11"/>
                      <a:pt x="5" y="18"/>
                    </a:cubicBezTo>
                    <a:cubicBezTo>
                      <a:pt x="7" y="24"/>
                      <a:pt x="5" y="32"/>
                      <a:pt x="3" y="35"/>
                    </a:cubicBezTo>
                    <a:cubicBezTo>
                      <a:pt x="0" y="38"/>
                      <a:pt x="5" y="47"/>
                      <a:pt x="10" y="44"/>
                    </a:cubicBezTo>
                    <a:cubicBezTo>
                      <a:pt x="15" y="41"/>
                      <a:pt x="13" y="35"/>
                      <a:pt x="17" y="31"/>
                    </a:cubicBezTo>
                    <a:cubicBezTo>
                      <a:pt x="21" y="27"/>
                      <a:pt x="23" y="24"/>
                      <a:pt x="21" y="17"/>
                    </a:cubicBezTo>
                    <a:cubicBezTo>
                      <a:pt x="20" y="11"/>
                      <a:pt x="12" y="0"/>
                      <a:pt x="7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55" name="Freeform 8">
                <a:extLst>
                  <a:ext uri="{FF2B5EF4-FFF2-40B4-BE49-F238E27FC236}">
                    <a16:creationId xmlns:a16="http://schemas.microsoft.com/office/drawing/2014/main" id="{170AB0D8-E5F6-644C-9BD1-A978D7C4F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828"/>
                <a:ext cx="3" cy="6"/>
              </a:xfrm>
              <a:custGeom>
                <a:avLst/>
                <a:gdLst>
                  <a:gd name="T0" fmla="*/ 3 w 11"/>
                  <a:gd name="T1" fmla="*/ 7 h 24"/>
                  <a:gd name="T2" fmla="*/ 2 w 11"/>
                  <a:gd name="T3" fmla="*/ 16 h 24"/>
                  <a:gd name="T4" fmla="*/ 11 w 11"/>
                  <a:gd name="T5" fmla="*/ 17 h 24"/>
                  <a:gd name="T6" fmla="*/ 3 w 11"/>
                  <a:gd name="T7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24">
                    <a:moveTo>
                      <a:pt x="3" y="7"/>
                    </a:moveTo>
                    <a:cubicBezTo>
                      <a:pt x="3" y="7"/>
                      <a:pt x="0" y="9"/>
                      <a:pt x="2" y="16"/>
                    </a:cubicBezTo>
                    <a:cubicBezTo>
                      <a:pt x="3" y="24"/>
                      <a:pt x="10" y="22"/>
                      <a:pt x="11" y="17"/>
                    </a:cubicBezTo>
                    <a:cubicBezTo>
                      <a:pt x="11" y="12"/>
                      <a:pt x="5" y="0"/>
                      <a:pt x="3" y="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56" name="Freeform 9">
                <a:extLst>
                  <a:ext uri="{FF2B5EF4-FFF2-40B4-BE49-F238E27FC236}">
                    <a16:creationId xmlns:a16="http://schemas.microsoft.com/office/drawing/2014/main" id="{FA28D678-7827-084A-B99F-D0614D807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9" y="2833"/>
                <a:ext cx="2" cy="8"/>
              </a:xfrm>
              <a:custGeom>
                <a:avLst/>
                <a:gdLst>
                  <a:gd name="T0" fmla="*/ 1 w 9"/>
                  <a:gd name="T1" fmla="*/ 9 h 32"/>
                  <a:gd name="T2" fmla="*/ 0 w 9"/>
                  <a:gd name="T3" fmla="*/ 21 h 32"/>
                  <a:gd name="T4" fmla="*/ 9 w 9"/>
                  <a:gd name="T5" fmla="*/ 26 h 32"/>
                  <a:gd name="T6" fmla="*/ 1 w 9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32">
                    <a:moveTo>
                      <a:pt x="1" y="9"/>
                    </a:moveTo>
                    <a:cubicBezTo>
                      <a:pt x="1" y="9"/>
                      <a:pt x="0" y="16"/>
                      <a:pt x="0" y="21"/>
                    </a:cubicBezTo>
                    <a:cubicBezTo>
                      <a:pt x="0" y="26"/>
                      <a:pt x="9" y="32"/>
                      <a:pt x="9" y="26"/>
                    </a:cubicBezTo>
                    <a:cubicBezTo>
                      <a:pt x="9" y="20"/>
                      <a:pt x="7" y="0"/>
                      <a:pt x="1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57" name="Freeform 10">
                <a:extLst>
                  <a:ext uri="{FF2B5EF4-FFF2-40B4-BE49-F238E27FC236}">
                    <a16:creationId xmlns:a16="http://schemas.microsoft.com/office/drawing/2014/main" id="{FD8F0EDA-43D4-794A-A2FF-F656F9691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6" y="2844"/>
                <a:ext cx="5" cy="2"/>
              </a:xfrm>
              <a:custGeom>
                <a:avLst/>
                <a:gdLst>
                  <a:gd name="T0" fmla="*/ 8 w 20"/>
                  <a:gd name="T1" fmla="*/ 1 h 9"/>
                  <a:gd name="T2" fmla="*/ 0 w 20"/>
                  <a:gd name="T3" fmla="*/ 4 h 9"/>
                  <a:gd name="T4" fmla="*/ 12 w 20"/>
                  <a:gd name="T5" fmla="*/ 9 h 9"/>
                  <a:gd name="T6" fmla="*/ 18 w 20"/>
                  <a:gd name="T7" fmla="*/ 5 h 9"/>
                  <a:gd name="T8" fmla="*/ 8 w 20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9">
                    <a:moveTo>
                      <a:pt x="8" y="1"/>
                    </a:moveTo>
                    <a:cubicBezTo>
                      <a:pt x="8" y="1"/>
                      <a:pt x="1" y="0"/>
                      <a:pt x="0" y="4"/>
                    </a:cubicBezTo>
                    <a:cubicBezTo>
                      <a:pt x="0" y="9"/>
                      <a:pt x="8" y="9"/>
                      <a:pt x="12" y="9"/>
                    </a:cubicBezTo>
                    <a:cubicBezTo>
                      <a:pt x="15" y="9"/>
                      <a:pt x="20" y="9"/>
                      <a:pt x="18" y="5"/>
                    </a:cubicBezTo>
                    <a:cubicBezTo>
                      <a:pt x="17" y="1"/>
                      <a:pt x="15" y="0"/>
                      <a:pt x="8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58" name="Freeform 11">
                <a:extLst>
                  <a:ext uri="{FF2B5EF4-FFF2-40B4-BE49-F238E27FC236}">
                    <a16:creationId xmlns:a16="http://schemas.microsoft.com/office/drawing/2014/main" id="{9BE6A5E0-652E-6249-A286-AB20A910DC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8" y="2850"/>
                <a:ext cx="7" cy="6"/>
              </a:xfrm>
              <a:custGeom>
                <a:avLst/>
                <a:gdLst>
                  <a:gd name="T0" fmla="*/ 13 w 28"/>
                  <a:gd name="T1" fmla="*/ 5 h 22"/>
                  <a:gd name="T2" fmla="*/ 13 w 28"/>
                  <a:gd name="T3" fmla="*/ 5 h 22"/>
                  <a:gd name="T4" fmla="*/ 5 w 28"/>
                  <a:gd name="T5" fmla="*/ 0 h 22"/>
                  <a:gd name="T6" fmla="*/ 8 w 28"/>
                  <a:gd name="T7" fmla="*/ 11 h 22"/>
                  <a:gd name="T8" fmla="*/ 17 w 28"/>
                  <a:gd name="T9" fmla="*/ 20 h 22"/>
                  <a:gd name="T10" fmla="*/ 26 w 28"/>
                  <a:gd name="T11" fmla="*/ 17 h 22"/>
                  <a:gd name="T12" fmla="*/ 21 w 28"/>
                  <a:gd name="T13" fmla="*/ 10 h 22"/>
                  <a:gd name="T14" fmla="*/ 13 w 28"/>
                  <a:gd name="T15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2">
                    <a:moveTo>
                      <a:pt x="13" y="5"/>
                    </a:moveTo>
                    <a:cubicBezTo>
                      <a:pt x="13" y="5"/>
                      <a:pt x="13" y="5"/>
                      <a:pt x="13" y="5"/>
                    </a:cubicBezTo>
                    <a:cubicBezTo>
                      <a:pt x="10" y="3"/>
                      <a:pt x="9" y="0"/>
                      <a:pt x="5" y="0"/>
                    </a:cubicBezTo>
                    <a:cubicBezTo>
                      <a:pt x="0" y="0"/>
                      <a:pt x="4" y="5"/>
                      <a:pt x="8" y="11"/>
                    </a:cubicBezTo>
                    <a:cubicBezTo>
                      <a:pt x="12" y="17"/>
                      <a:pt x="11" y="18"/>
                      <a:pt x="17" y="20"/>
                    </a:cubicBezTo>
                    <a:cubicBezTo>
                      <a:pt x="22" y="22"/>
                      <a:pt x="28" y="21"/>
                      <a:pt x="26" y="17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18" y="8"/>
                      <a:pt x="15" y="7"/>
                      <a:pt x="13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59" name="Freeform 12">
                <a:extLst>
                  <a:ext uri="{FF2B5EF4-FFF2-40B4-BE49-F238E27FC236}">
                    <a16:creationId xmlns:a16="http://schemas.microsoft.com/office/drawing/2014/main" id="{2516B485-3F4F-A649-AA87-7133A3BFD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0" y="2866"/>
                <a:ext cx="6" cy="5"/>
              </a:xfrm>
              <a:custGeom>
                <a:avLst/>
                <a:gdLst>
                  <a:gd name="T0" fmla="*/ 10 w 25"/>
                  <a:gd name="T1" fmla="*/ 3 h 20"/>
                  <a:gd name="T2" fmla="*/ 0 w 25"/>
                  <a:gd name="T3" fmla="*/ 8 h 20"/>
                  <a:gd name="T4" fmla="*/ 8 w 25"/>
                  <a:gd name="T5" fmla="*/ 20 h 20"/>
                  <a:gd name="T6" fmla="*/ 25 w 25"/>
                  <a:gd name="T7" fmla="*/ 11 h 20"/>
                  <a:gd name="T8" fmla="*/ 10 w 25"/>
                  <a:gd name="T9" fmla="*/ 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0">
                    <a:moveTo>
                      <a:pt x="10" y="3"/>
                    </a:moveTo>
                    <a:cubicBezTo>
                      <a:pt x="10" y="3"/>
                      <a:pt x="0" y="2"/>
                      <a:pt x="0" y="8"/>
                    </a:cubicBezTo>
                    <a:cubicBezTo>
                      <a:pt x="0" y="13"/>
                      <a:pt x="1" y="20"/>
                      <a:pt x="8" y="20"/>
                    </a:cubicBezTo>
                    <a:cubicBezTo>
                      <a:pt x="15" y="20"/>
                      <a:pt x="25" y="19"/>
                      <a:pt x="25" y="11"/>
                    </a:cubicBezTo>
                    <a:cubicBezTo>
                      <a:pt x="25" y="4"/>
                      <a:pt x="15" y="0"/>
                      <a:pt x="10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0" name="Freeform 13">
                <a:extLst>
                  <a:ext uri="{FF2B5EF4-FFF2-40B4-BE49-F238E27FC236}">
                    <a16:creationId xmlns:a16="http://schemas.microsoft.com/office/drawing/2014/main" id="{B5F24038-EE78-6D4F-86A1-8E6A19554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1" y="2884"/>
                <a:ext cx="8" cy="6"/>
              </a:xfrm>
              <a:custGeom>
                <a:avLst/>
                <a:gdLst>
                  <a:gd name="T0" fmla="*/ 12 w 31"/>
                  <a:gd name="T1" fmla="*/ 1 h 22"/>
                  <a:gd name="T2" fmla="*/ 4 w 31"/>
                  <a:gd name="T3" fmla="*/ 5 h 22"/>
                  <a:gd name="T4" fmla="*/ 6 w 31"/>
                  <a:gd name="T5" fmla="*/ 19 h 22"/>
                  <a:gd name="T6" fmla="*/ 20 w 31"/>
                  <a:gd name="T7" fmla="*/ 21 h 22"/>
                  <a:gd name="T8" fmla="*/ 29 w 31"/>
                  <a:gd name="T9" fmla="*/ 11 h 22"/>
                  <a:gd name="T10" fmla="*/ 12 w 31"/>
                  <a:gd name="T11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2">
                    <a:moveTo>
                      <a:pt x="12" y="1"/>
                    </a:moveTo>
                    <a:cubicBezTo>
                      <a:pt x="12" y="1"/>
                      <a:pt x="5" y="0"/>
                      <a:pt x="4" y="5"/>
                    </a:cubicBezTo>
                    <a:cubicBezTo>
                      <a:pt x="3" y="11"/>
                      <a:pt x="0" y="17"/>
                      <a:pt x="6" y="19"/>
                    </a:cubicBezTo>
                    <a:cubicBezTo>
                      <a:pt x="12" y="21"/>
                      <a:pt x="15" y="22"/>
                      <a:pt x="20" y="21"/>
                    </a:cubicBezTo>
                    <a:cubicBezTo>
                      <a:pt x="25" y="21"/>
                      <a:pt x="31" y="17"/>
                      <a:pt x="29" y="11"/>
                    </a:cubicBezTo>
                    <a:cubicBezTo>
                      <a:pt x="26" y="6"/>
                      <a:pt x="23" y="0"/>
                      <a:pt x="12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1" name="Freeform 14">
                <a:extLst>
                  <a:ext uri="{FF2B5EF4-FFF2-40B4-BE49-F238E27FC236}">
                    <a16:creationId xmlns:a16="http://schemas.microsoft.com/office/drawing/2014/main" id="{D7E15028-2B8D-E146-BC0D-2EDA0059B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899"/>
                <a:ext cx="4" cy="4"/>
              </a:xfrm>
              <a:custGeom>
                <a:avLst/>
                <a:gdLst>
                  <a:gd name="T0" fmla="*/ 6 w 17"/>
                  <a:gd name="T1" fmla="*/ 0 h 18"/>
                  <a:gd name="T2" fmla="*/ 2 w 17"/>
                  <a:gd name="T3" fmla="*/ 11 h 18"/>
                  <a:gd name="T4" fmla="*/ 6 w 17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8">
                    <a:moveTo>
                      <a:pt x="6" y="0"/>
                    </a:moveTo>
                    <a:cubicBezTo>
                      <a:pt x="6" y="0"/>
                      <a:pt x="0" y="4"/>
                      <a:pt x="2" y="11"/>
                    </a:cubicBezTo>
                    <a:cubicBezTo>
                      <a:pt x="4" y="18"/>
                      <a:pt x="17" y="14"/>
                      <a:pt x="6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2" name="Freeform 15">
                <a:extLst>
                  <a:ext uri="{FF2B5EF4-FFF2-40B4-BE49-F238E27FC236}">
                    <a16:creationId xmlns:a16="http://schemas.microsoft.com/office/drawing/2014/main" id="{CE8E3238-54B5-2649-9048-695B62D1F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6" y="2803"/>
                <a:ext cx="3" cy="6"/>
              </a:xfrm>
              <a:custGeom>
                <a:avLst/>
                <a:gdLst>
                  <a:gd name="T0" fmla="*/ 6 w 14"/>
                  <a:gd name="T1" fmla="*/ 2 h 21"/>
                  <a:gd name="T2" fmla="*/ 2 w 14"/>
                  <a:gd name="T3" fmla="*/ 10 h 21"/>
                  <a:gd name="T4" fmla="*/ 8 w 14"/>
                  <a:gd name="T5" fmla="*/ 19 h 21"/>
                  <a:gd name="T6" fmla="*/ 13 w 14"/>
                  <a:gd name="T7" fmla="*/ 8 h 21"/>
                  <a:gd name="T8" fmla="*/ 6 w 14"/>
                  <a:gd name="T9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1">
                    <a:moveTo>
                      <a:pt x="6" y="2"/>
                    </a:moveTo>
                    <a:cubicBezTo>
                      <a:pt x="6" y="2"/>
                      <a:pt x="0" y="5"/>
                      <a:pt x="2" y="10"/>
                    </a:cubicBezTo>
                    <a:cubicBezTo>
                      <a:pt x="4" y="16"/>
                      <a:pt x="4" y="21"/>
                      <a:pt x="8" y="19"/>
                    </a:cubicBezTo>
                    <a:cubicBezTo>
                      <a:pt x="13" y="17"/>
                      <a:pt x="14" y="12"/>
                      <a:pt x="13" y="8"/>
                    </a:cubicBezTo>
                    <a:cubicBezTo>
                      <a:pt x="12" y="5"/>
                      <a:pt x="10" y="0"/>
                      <a:pt x="6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3" name="Freeform 16">
                <a:extLst>
                  <a:ext uri="{FF2B5EF4-FFF2-40B4-BE49-F238E27FC236}">
                    <a16:creationId xmlns:a16="http://schemas.microsoft.com/office/drawing/2014/main" id="{E23584BA-9BDA-5A4F-8246-36E0F20BE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" y="2751"/>
                <a:ext cx="6" cy="7"/>
              </a:xfrm>
              <a:custGeom>
                <a:avLst/>
                <a:gdLst>
                  <a:gd name="T0" fmla="*/ 13 w 22"/>
                  <a:gd name="T1" fmla="*/ 3 h 27"/>
                  <a:gd name="T2" fmla="*/ 3 w 22"/>
                  <a:gd name="T3" fmla="*/ 11 h 27"/>
                  <a:gd name="T4" fmla="*/ 4 w 22"/>
                  <a:gd name="T5" fmla="*/ 26 h 27"/>
                  <a:gd name="T6" fmla="*/ 10 w 22"/>
                  <a:gd name="T7" fmla="*/ 22 h 27"/>
                  <a:gd name="T8" fmla="*/ 20 w 22"/>
                  <a:gd name="T9" fmla="*/ 12 h 27"/>
                  <a:gd name="T10" fmla="*/ 13 w 22"/>
                  <a:gd name="T11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27">
                    <a:moveTo>
                      <a:pt x="13" y="3"/>
                    </a:moveTo>
                    <a:cubicBezTo>
                      <a:pt x="13" y="3"/>
                      <a:pt x="4" y="0"/>
                      <a:pt x="3" y="11"/>
                    </a:cubicBezTo>
                    <a:cubicBezTo>
                      <a:pt x="3" y="23"/>
                      <a:pt x="0" y="25"/>
                      <a:pt x="4" y="26"/>
                    </a:cubicBezTo>
                    <a:cubicBezTo>
                      <a:pt x="8" y="27"/>
                      <a:pt x="9" y="26"/>
                      <a:pt x="10" y="22"/>
                    </a:cubicBezTo>
                    <a:cubicBezTo>
                      <a:pt x="12" y="17"/>
                      <a:pt x="18" y="15"/>
                      <a:pt x="20" y="12"/>
                    </a:cubicBezTo>
                    <a:cubicBezTo>
                      <a:pt x="22" y="9"/>
                      <a:pt x="19" y="3"/>
                      <a:pt x="13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4" name="Freeform 17">
                <a:extLst>
                  <a:ext uri="{FF2B5EF4-FFF2-40B4-BE49-F238E27FC236}">
                    <a16:creationId xmlns:a16="http://schemas.microsoft.com/office/drawing/2014/main" id="{0DDE632D-C80E-6F4B-B195-0EAA6BE99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7" y="2752"/>
                <a:ext cx="659" cy="498"/>
              </a:xfrm>
              <a:custGeom>
                <a:avLst/>
                <a:gdLst>
                  <a:gd name="T0" fmla="*/ 275 w 2607"/>
                  <a:gd name="T1" fmla="*/ 669 h 1969"/>
                  <a:gd name="T2" fmla="*/ 83 w 2607"/>
                  <a:gd name="T3" fmla="*/ 735 h 1969"/>
                  <a:gd name="T4" fmla="*/ 34 w 2607"/>
                  <a:gd name="T5" fmla="*/ 907 h 1969"/>
                  <a:gd name="T6" fmla="*/ 69 w 2607"/>
                  <a:gd name="T7" fmla="*/ 1023 h 1969"/>
                  <a:gd name="T8" fmla="*/ 11 w 2607"/>
                  <a:gd name="T9" fmla="*/ 995 h 1969"/>
                  <a:gd name="T10" fmla="*/ 100 w 2607"/>
                  <a:gd name="T11" fmla="*/ 1188 h 1969"/>
                  <a:gd name="T12" fmla="*/ 185 w 2607"/>
                  <a:gd name="T13" fmla="*/ 1436 h 1969"/>
                  <a:gd name="T14" fmla="*/ 147 w 2607"/>
                  <a:gd name="T15" fmla="*/ 1558 h 1969"/>
                  <a:gd name="T16" fmla="*/ 293 w 2607"/>
                  <a:gd name="T17" fmla="*/ 1661 h 1969"/>
                  <a:gd name="T18" fmla="*/ 526 w 2607"/>
                  <a:gd name="T19" fmla="*/ 1575 h 1969"/>
                  <a:gd name="T20" fmla="*/ 633 w 2607"/>
                  <a:gd name="T21" fmla="*/ 1576 h 1969"/>
                  <a:gd name="T22" fmla="*/ 746 w 2607"/>
                  <a:gd name="T23" fmla="*/ 1508 h 1969"/>
                  <a:gd name="T24" fmla="*/ 1069 w 2607"/>
                  <a:gd name="T25" fmla="*/ 1421 h 1969"/>
                  <a:gd name="T26" fmla="*/ 1275 w 2607"/>
                  <a:gd name="T27" fmla="*/ 1441 h 1969"/>
                  <a:gd name="T28" fmla="*/ 1368 w 2607"/>
                  <a:gd name="T29" fmla="*/ 1522 h 1969"/>
                  <a:gd name="T30" fmla="*/ 1482 w 2607"/>
                  <a:gd name="T31" fmla="*/ 1652 h 1969"/>
                  <a:gd name="T32" fmla="*/ 1595 w 2607"/>
                  <a:gd name="T33" fmla="*/ 1527 h 1969"/>
                  <a:gd name="T34" fmla="*/ 1537 w 2607"/>
                  <a:gd name="T35" fmla="*/ 1653 h 1969"/>
                  <a:gd name="T36" fmla="*/ 1603 w 2607"/>
                  <a:gd name="T37" fmla="*/ 1642 h 1969"/>
                  <a:gd name="T38" fmla="*/ 1621 w 2607"/>
                  <a:gd name="T39" fmla="*/ 1694 h 1969"/>
                  <a:gd name="T40" fmla="*/ 1723 w 2607"/>
                  <a:gd name="T41" fmla="*/ 1775 h 1969"/>
                  <a:gd name="T42" fmla="*/ 1824 w 2607"/>
                  <a:gd name="T43" fmla="*/ 1899 h 1969"/>
                  <a:gd name="T44" fmla="*/ 1975 w 2607"/>
                  <a:gd name="T45" fmla="*/ 1933 h 1969"/>
                  <a:gd name="T46" fmla="*/ 2046 w 2607"/>
                  <a:gd name="T47" fmla="*/ 1903 h 1969"/>
                  <a:gd name="T48" fmla="*/ 2118 w 2607"/>
                  <a:gd name="T49" fmla="*/ 1938 h 1969"/>
                  <a:gd name="T50" fmla="*/ 2220 w 2607"/>
                  <a:gd name="T51" fmla="*/ 1881 h 1969"/>
                  <a:gd name="T52" fmla="*/ 2391 w 2607"/>
                  <a:gd name="T53" fmla="*/ 1727 h 1969"/>
                  <a:gd name="T54" fmla="*/ 2498 w 2607"/>
                  <a:gd name="T55" fmla="*/ 1494 h 1969"/>
                  <a:gd name="T56" fmla="*/ 2573 w 2607"/>
                  <a:gd name="T57" fmla="*/ 1315 h 1969"/>
                  <a:gd name="T58" fmla="*/ 2583 w 2607"/>
                  <a:gd name="T59" fmla="*/ 1127 h 1969"/>
                  <a:gd name="T60" fmla="*/ 2589 w 2607"/>
                  <a:gd name="T61" fmla="*/ 950 h 1969"/>
                  <a:gd name="T62" fmla="*/ 2504 w 2607"/>
                  <a:gd name="T63" fmla="*/ 912 h 1969"/>
                  <a:gd name="T64" fmla="*/ 2429 w 2607"/>
                  <a:gd name="T65" fmla="*/ 793 h 1969"/>
                  <a:gd name="T66" fmla="*/ 2338 w 2607"/>
                  <a:gd name="T67" fmla="*/ 734 h 1969"/>
                  <a:gd name="T68" fmla="*/ 2271 w 2607"/>
                  <a:gd name="T69" fmla="*/ 625 h 1969"/>
                  <a:gd name="T70" fmla="*/ 2132 w 2607"/>
                  <a:gd name="T71" fmla="*/ 505 h 1969"/>
                  <a:gd name="T72" fmla="*/ 2080 w 2607"/>
                  <a:gd name="T73" fmla="*/ 374 h 1969"/>
                  <a:gd name="T74" fmla="*/ 1994 w 2607"/>
                  <a:gd name="T75" fmla="*/ 248 h 1969"/>
                  <a:gd name="T76" fmla="*/ 1934 w 2607"/>
                  <a:gd name="T77" fmla="*/ 106 h 1969"/>
                  <a:gd name="T78" fmla="*/ 1868 w 2607"/>
                  <a:gd name="T79" fmla="*/ 37 h 1969"/>
                  <a:gd name="T80" fmla="*/ 1842 w 2607"/>
                  <a:gd name="T81" fmla="*/ 152 h 1969"/>
                  <a:gd name="T82" fmla="*/ 1830 w 2607"/>
                  <a:gd name="T83" fmla="*/ 273 h 1969"/>
                  <a:gd name="T84" fmla="*/ 1792 w 2607"/>
                  <a:gd name="T85" fmla="*/ 420 h 1969"/>
                  <a:gd name="T86" fmla="*/ 1609 w 2607"/>
                  <a:gd name="T87" fmla="*/ 384 h 1969"/>
                  <a:gd name="T88" fmla="*/ 1483 w 2607"/>
                  <a:gd name="T89" fmla="*/ 300 h 1969"/>
                  <a:gd name="T90" fmla="*/ 1475 w 2607"/>
                  <a:gd name="T91" fmla="*/ 190 h 1969"/>
                  <a:gd name="T92" fmla="*/ 1536 w 2607"/>
                  <a:gd name="T93" fmla="*/ 105 h 1969"/>
                  <a:gd name="T94" fmla="*/ 1472 w 2607"/>
                  <a:gd name="T95" fmla="*/ 102 h 1969"/>
                  <a:gd name="T96" fmla="*/ 1340 w 2607"/>
                  <a:gd name="T97" fmla="*/ 74 h 1969"/>
                  <a:gd name="T98" fmla="*/ 1194 w 2607"/>
                  <a:gd name="T99" fmla="*/ 106 h 1969"/>
                  <a:gd name="T100" fmla="*/ 1097 w 2607"/>
                  <a:gd name="T101" fmla="*/ 190 h 1969"/>
                  <a:gd name="T102" fmla="*/ 1057 w 2607"/>
                  <a:gd name="T103" fmla="*/ 288 h 1969"/>
                  <a:gd name="T104" fmla="*/ 977 w 2607"/>
                  <a:gd name="T105" fmla="*/ 260 h 1969"/>
                  <a:gd name="T106" fmla="*/ 882 w 2607"/>
                  <a:gd name="T107" fmla="*/ 227 h 1969"/>
                  <a:gd name="T108" fmla="*/ 817 w 2607"/>
                  <a:gd name="T109" fmla="*/ 249 h 1969"/>
                  <a:gd name="T110" fmla="*/ 764 w 2607"/>
                  <a:gd name="T111" fmla="*/ 300 h 1969"/>
                  <a:gd name="T112" fmla="*/ 736 w 2607"/>
                  <a:gd name="T113" fmla="*/ 374 h 1969"/>
                  <a:gd name="T114" fmla="*/ 688 w 2607"/>
                  <a:gd name="T115" fmla="*/ 383 h 1969"/>
                  <a:gd name="T116" fmla="*/ 663 w 2607"/>
                  <a:gd name="T117" fmla="*/ 414 h 1969"/>
                  <a:gd name="T118" fmla="*/ 607 w 2607"/>
                  <a:gd name="T119" fmla="*/ 422 h 1969"/>
                  <a:gd name="T120" fmla="*/ 554 w 2607"/>
                  <a:gd name="T121" fmla="*/ 548 h 19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607" h="1969">
                    <a:moveTo>
                      <a:pt x="463" y="615"/>
                    </a:moveTo>
                    <a:cubicBezTo>
                      <a:pt x="463" y="615"/>
                      <a:pt x="439" y="621"/>
                      <a:pt x="415" y="621"/>
                    </a:cubicBezTo>
                    <a:cubicBezTo>
                      <a:pt x="391" y="621"/>
                      <a:pt x="385" y="625"/>
                      <a:pt x="369" y="635"/>
                    </a:cubicBezTo>
                    <a:cubicBezTo>
                      <a:pt x="353" y="645"/>
                      <a:pt x="333" y="633"/>
                      <a:pt x="323" y="649"/>
                    </a:cubicBezTo>
                    <a:cubicBezTo>
                      <a:pt x="313" y="665"/>
                      <a:pt x="301" y="673"/>
                      <a:pt x="275" y="669"/>
                    </a:cubicBezTo>
                    <a:cubicBezTo>
                      <a:pt x="249" y="665"/>
                      <a:pt x="221" y="667"/>
                      <a:pt x="209" y="681"/>
                    </a:cubicBezTo>
                    <a:cubicBezTo>
                      <a:pt x="197" y="695"/>
                      <a:pt x="193" y="699"/>
                      <a:pt x="169" y="713"/>
                    </a:cubicBezTo>
                    <a:cubicBezTo>
                      <a:pt x="145" y="727"/>
                      <a:pt x="117" y="743"/>
                      <a:pt x="109" y="761"/>
                    </a:cubicBezTo>
                    <a:cubicBezTo>
                      <a:pt x="101" y="779"/>
                      <a:pt x="87" y="787"/>
                      <a:pt x="85" y="773"/>
                    </a:cubicBezTo>
                    <a:cubicBezTo>
                      <a:pt x="83" y="759"/>
                      <a:pt x="99" y="731"/>
                      <a:pt x="83" y="735"/>
                    </a:cubicBezTo>
                    <a:cubicBezTo>
                      <a:pt x="67" y="739"/>
                      <a:pt x="63" y="743"/>
                      <a:pt x="63" y="763"/>
                    </a:cubicBezTo>
                    <a:cubicBezTo>
                      <a:pt x="63" y="783"/>
                      <a:pt x="41" y="783"/>
                      <a:pt x="51" y="801"/>
                    </a:cubicBezTo>
                    <a:cubicBezTo>
                      <a:pt x="61" y="819"/>
                      <a:pt x="59" y="798"/>
                      <a:pt x="61" y="819"/>
                    </a:cubicBezTo>
                    <a:cubicBezTo>
                      <a:pt x="63" y="840"/>
                      <a:pt x="54" y="857"/>
                      <a:pt x="46" y="870"/>
                    </a:cubicBezTo>
                    <a:cubicBezTo>
                      <a:pt x="38" y="883"/>
                      <a:pt x="34" y="894"/>
                      <a:pt x="34" y="907"/>
                    </a:cubicBezTo>
                    <a:cubicBezTo>
                      <a:pt x="34" y="920"/>
                      <a:pt x="49" y="934"/>
                      <a:pt x="54" y="950"/>
                    </a:cubicBezTo>
                    <a:cubicBezTo>
                      <a:pt x="59" y="966"/>
                      <a:pt x="70" y="980"/>
                      <a:pt x="73" y="989"/>
                    </a:cubicBezTo>
                    <a:cubicBezTo>
                      <a:pt x="76" y="998"/>
                      <a:pt x="86" y="994"/>
                      <a:pt x="87" y="1015"/>
                    </a:cubicBezTo>
                    <a:cubicBezTo>
                      <a:pt x="88" y="1036"/>
                      <a:pt x="88" y="1055"/>
                      <a:pt x="79" y="1049"/>
                    </a:cubicBezTo>
                    <a:cubicBezTo>
                      <a:pt x="70" y="1043"/>
                      <a:pt x="77" y="1034"/>
                      <a:pt x="69" y="1023"/>
                    </a:cubicBezTo>
                    <a:cubicBezTo>
                      <a:pt x="61" y="1012"/>
                      <a:pt x="57" y="1003"/>
                      <a:pt x="49" y="1002"/>
                    </a:cubicBezTo>
                    <a:cubicBezTo>
                      <a:pt x="41" y="1001"/>
                      <a:pt x="38" y="1012"/>
                      <a:pt x="47" y="1020"/>
                    </a:cubicBezTo>
                    <a:cubicBezTo>
                      <a:pt x="56" y="1028"/>
                      <a:pt x="60" y="1041"/>
                      <a:pt x="60" y="1048"/>
                    </a:cubicBezTo>
                    <a:cubicBezTo>
                      <a:pt x="60" y="1055"/>
                      <a:pt x="62" y="1077"/>
                      <a:pt x="43" y="1043"/>
                    </a:cubicBezTo>
                    <a:cubicBezTo>
                      <a:pt x="24" y="1009"/>
                      <a:pt x="15" y="1002"/>
                      <a:pt x="11" y="995"/>
                    </a:cubicBezTo>
                    <a:cubicBezTo>
                      <a:pt x="7" y="988"/>
                      <a:pt x="0" y="979"/>
                      <a:pt x="12" y="1009"/>
                    </a:cubicBezTo>
                    <a:cubicBezTo>
                      <a:pt x="24" y="1039"/>
                      <a:pt x="30" y="1056"/>
                      <a:pt x="45" y="1070"/>
                    </a:cubicBezTo>
                    <a:cubicBezTo>
                      <a:pt x="60" y="1084"/>
                      <a:pt x="70" y="1094"/>
                      <a:pt x="74" y="1118"/>
                    </a:cubicBezTo>
                    <a:cubicBezTo>
                      <a:pt x="78" y="1142"/>
                      <a:pt x="81" y="1136"/>
                      <a:pt x="82" y="1150"/>
                    </a:cubicBezTo>
                    <a:cubicBezTo>
                      <a:pt x="83" y="1164"/>
                      <a:pt x="94" y="1174"/>
                      <a:pt x="100" y="1188"/>
                    </a:cubicBezTo>
                    <a:cubicBezTo>
                      <a:pt x="106" y="1202"/>
                      <a:pt x="118" y="1227"/>
                      <a:pt x="125" y="1236"/>
                    </a:cubicBezTo>
                    <a:cubicBezTo>
                      <a:pt x="132" y="1245"/>
                      <a:pt x="139" y="1258"/>
                      <a:pt x="140" y="1281"/>
                    </a:cubicBezTo>
                    <a:cubicBezTo>
                      <a:pt x="141" y="1304"/>
                      <a:pt x="142" y="1344"/>
                      <a:pt x="152" y="1355"/>
                    </a:cubicBezTo>
                    <a:cubicBezTo>
                      <a:pt x="162" y="1366"/>
                      <a:pt x="170" y="1387"/>
                      <a:pt x="175" y="1398"/>
                    </a:cubicBezTo>
                    <a:cubicBezTo>
                      <a:pt x="180" y="1409"/>
                      <a:pt x="183" y="1427"/>
                      <a:pt x="185" y="1436"/>
                    </a:cubicBezTo>
                    <a:cubicBezTo>
                      <a:pt x="187" y="1445"/>
                      <a:pt x="184" y="1462"/>
                      <a:pt x="180" y="1471"/>
                    </a:cubicBezTo>
                    <a:cubicBezTo>
                      <a:pt x="176" y="1480"/>
                      <a:pt x="169" y="1491"/>
                      <a:pt x="181" y="1506"/>
                    </a:cubicBezTo>
                    <a:cubicBezTo>
                      <a:pt x="193" y="1521"/>
                      <a:pt x="194" y="1521"/>
                      <a:pt x="184" y="1530"/>
                    </a:cubicBezTo>
                    <a:cubicBezTo>
                      <a:pt x="174" y="1539"/>
                      <a:pt x="169" y="1544"/>
                      <a:pt x="167" y="1551"/>
                    </a:cubicBezTo>
                    <a:cubicBezTo>
                      <a:pt x="165" y="1558"/>
                      <a:pt x="158" y="1558"/>
                      <a:pt x="147" y="1558"/>
                    </a:cubicBezTo>
                    <a:cubicBezTo>
                      <a:pt x="136" y="1558"/>
                      <a:pt x="133" y="1560"/>
                      <a:pt x="137" y="1578"/>
                    </a:cubicBezTo>
                    <a:cubicBezTo>
                      <a:pt x="141" y="1596"/>
                      <a:pt x="136" y="1599"/>
                      <a:pt x="154" y="1607"/>
                    </a:cubicBezTo>
                    <a:cubicBezTo>
                      <a:pt x="172" y="1615"/>
                      <a:pt x="184" y="1613"/>
                      <a:pt x="195" y="1630"/>
                    </a:cubicBezTo>
                    <a:cubicBezTo>
                      <a:pt x="206" y="1647"/>
                      <a:pt x="215" y="1654"/>
                      <a:pt x="236" y="1658"/>
                    </a:cubicBezTo>
                    <a:cubicBezTo>
                      <a:pt x="257" y="1662"/>
                      <a:pt x="277" y="1661"/>
                      <a:pt x="293" y="1661"/>
                    </a:cubicBezTo>
                    <a:cubicBezTo>
                      <a:pt x="309" y="1661"/>
                      <a:pt x="336" y="1664"/>
                      <a:pt x="353" y="1651"/>
                    </a:cubicBezTo>
                    <a:cubicBezTo>
                      <a:pt x="370" y="1638"/>
                      <a:pt x="371" y="1618"/>
                      <a:pt x="387" y="1618"/>
                    </a:cubicBezTo>
                    <a:cubicBezTo>
                      <a:pt x="403" y="1618"/>
                      <a:pt x="424" y="1627"/>
                      <a:pt x="432" y="1605"/>
                    </a:cubicBezTo>
                    <a:cubicBezTo>
                      <a:pt x="440" y="1583"/>
                      <a:pt x="451" y="1578"/>
                      <a:pt x="477" y="1578"/>
                    </a:cubicBezTo>
                    <a:cubicBezTo>
                      <a:pt x="503" y="1578"/>
                      <a:pt x="515" y="1582"/>
                      <a:pt x="526" y="1575"/>
                    </a:cubicBezTo>
                    <a:cubicBezTo>
                      <a:pt x="537" y="1568"/>
                      <a:pt x="539" y="1567"/>
                      <a:pt x="547" y="1573"/>
                    </a:cubicBezTo>
                    <a:cubicBezTo>
                      <a:pt x="555" y="1579"/>
                      <a:pt x="557" y="1579"/>
                      <a:pt x="568" y="1578"/>
                    </a:cubicBezTo>
                    <a:cubicBezTo>
                      <a:pt x="579" y="1577"/>
                      <a:pt x="587" y="1579"/>
                      <a:pt x="592" y="1584"/>
                    </a:cubicBezTo>
                    <a:cubicBezTo>
                      <a:pt x="597" y="1589"/>
                      <a:pt x="611" y="1590"/>
                      <a:pt x="621" y="1587"/>
                    </a:cubicBezTo>
                    <a:cubicBezTo>
                      <a:pt x="631" y="1584"/>
                      <a:pt x="624" y="1576"/>
                      <a:pt x="633" y="1576"/>
                    </a:cubicBezTo>
                    <a:cubicBezTo>
                      <a:pt x="642" y="1576"/>
                      <a:pt x="643" y="1575"/>
                      <a:pt x="647" y="1581"/>
                    </a:cubicBezTo>
                    <a:cubicBezTo>
                      <a:pt x="651" y="1587"/>
                      <a:pt x="663" y="1587"/>
                      <a:pt x="670" y="1585"/>
                    </a:cubicBezTo>
                    <a:cubicBezTo>
                      <a:pt x="677" y="1583"/>
                      <a:pt x="678" y="1574"/>
                      <a:pt x="688" y="1575"/>
                    </a:cubicBezTo>
                    <a:cubicBezTo>
                      <a:pt x="698" y="1576"/>
                      <a:pt x="714" y="1562"/>
                      <a:pt x="717" y="1545"/>
                    </a:cubicBezTo>
                    <a:cubicBezTo>
                      <a:pt x="720" y="1528"/>
                      <a:pt x="732" y="1512"/>
                      <a:pt x="746" y="1508"/>
                    </a:cubicBezTo>
                    <a:cubicBezTo>
                      <a:pt x="760" y="1504"/>
                      <a:pt x="813" y="1487"/>
                      <a:pt x="821" y="1475"/>
                    </a:cubicBezTo>
                    <a:cubicBezTo>
                      <a:pt x="829" y="1463"/>
                      <a:pt x="831" y="1460"/>
                      <a:pt x="858" y="1460"/>
                    </a:cubicBezTo>
                    <a:cubicBezTo>
                      <a:pt x="885" y="1460"/>
                      <a:pt x="958" y="1458"/>
                      <a:pt x="972" y="1450"/>
                    </a:cubicBezTo>
                    <a:cubicBezTo>
                      <a:pt x="986" y="1442"/>
                      <a:pt x="1005" y="1431"/>
                      <a:pt x="1020" y="1427"/>
                    </a:cubicBezTo>
                    <a:cubicBezTo>
                      <a:pt x="1035" y="1423"/>
                      <a:pt x="1039" y="1421"/>
                      <a:pt x="1069" y="1421"/>
                    </a:cubicBezTo>
                    <a:cubicBezTo>
                      <a:pt x="1099" y="1421"/>
                      <a:pt x="1088" y="1416"/>
                      <a:pt x="1128" y="1416"/>
                    </a:cubicBezTo>
                    <a:cubicBezTo>
                      <a:pt x="1168" y="1416"/>
                      <a:pt x="1183" y="1400"/>
                      <a:pt x="1199" y="1416"/>
                    </a:cubicBezTo>
                    <a:cubicBezTo>
                      <a:pt x="1215" y="1432"/>
                      <a:pt x="1225" y="1428"/>
                      <a:pt x="1225" y="1440"/>
                    </a:cubicBezTo>
                    <a:cubicBezTo>
                      <a:pt x="1225" y="1452"/>
                      <a:pt x="1238" y="1446"/>
                      <a:pt x="1245" y="1443"/>
                    </a:cubicBezTo>
                    <a:cubicBezTo>
                      <a:pt x="1252" y="1440"/>
                      <a:pt x="1267" y="1437"/>
                      <a:pt x="1275" y="1441"/>
                    </a:cubicBezTo>
                    <a:cubicBezTo>
                      <a:pt x="1283" y="1445"/>
                      <a:pt x="1279" y="1454"/>
                      <a:pt x="1294" y="1458"/>
                    </a:cubicBezTo>
                    <a:cubicBezTo>
                      <a:pt x="1309" y="1462"/>
                      <a:pt x="1324" y="1452"/>
                      <a:pt x="1331" y="1462"/>
                    </a:cubicBezTo>
                    <a:cubicBezTo>
                      <a:pt x="1338" y="1472"/>
                      <a:pt x="1339" y="1471"/>
                      <a:pt x="1343" y="1480"/>
                    </a:cubicBezTo>
                    <a:cubicBezTo>
                      <a:pt x="1347" y="1489"/>
                      <a:pt x="1360" y="1469"/>
                      <a:pt x="1360" y="1486"/>
                    </a:cubicBezTo>
                    <a:cubicBezTo>
                      <a:pt x="1360" y="1503"/>
                      <a:pt x="1356" y="1517"/>
                      <a:pt x="1368" y="1522"/>
                    </a:cubicBezTo>
                    <a:cubicBezTo>
                      <a:pt x="1380" y="1527"/>
                      <a:pt x="1400" y="1536"/>
                      <a:pt x="1404" y="1546"/>
                    </a:cubicBezTo>
                    <a:cubicBezTo>
                      <a:pt x="1408" y="1556"/>
                      <a:pt x="1414" y="1561"/>
                      <a:pt x="1420" y="1584"/>
                    </a:cubicBezTo>
                    <a:cubicBezTo>
                      <a:pt x="1426" y="1607"/>
                      <a:pt x="1431" y="1603"/>
                      <a:pt x="1436" y="1627"/>
                    </a:cubicBezTo>
                    <a:cubicBezTo>
                      <a:pt x="1441" y="1651"/>
                      <a:pt x="1441" y="1652"/>
                      <a:pt x="1453" y="1653"/>
                    </a:cubicBezTo>
                    <a:cubicBezTo>
                      <a:pt x="1465" y="1654"/>
                      <a:pt x="1483" y="1664"/>
                      <a:pt x="1482" y="1652"/>
                    </a:cubicBezTo>
                    <a:cubicBezTo>
                      <a:pt x="1481" y="1640"/>
                      <a:pt x="1464" y="1637"/>
                      <a:pt x="1479" y="1627"/>
                    </a:cubicBezTo>
                    <a:cubicBezTo>
                      <a:pt x="1494" y="1617"/>
                      <a:pt x="1514" y="1599"/>
                      <a:pt x="1525" y="1583"/>
                    </a:cubicBezTo>
                    <a:cubicBezTo>
                      <a:pt x="1536" y="1567"/>
                      <a:pt x="1565" y="1561"/>
                      <a:pt x="1569" y="1543"/>
                    </a:cubicBezTo>
                    <a:cubicBezTo>
                      <a:pt x="1573" y="1525"/>
                      <a:pt x="1579" y="1525"/>
                      <a:pt x="1584" y="1521"/>
                    </a:cubicBezTo>
                    <a:cubicBezTo>
                      <a:pt x="1589" y="1517"/>
                      <a:pt x="1595" y="1507"/>
                      <a:pt x="1595" y="1527"/>
                    </a:cubicBezTo>
                    <a:cubicBezTo>
                      <a:pt x="1595" y="1547"/>
                      <a:pt x="1601" y="1555"/>
                      <a:pt x="1590" y="1563"/>
                    </a:cubicBezTo>
                    <a:cubicBezTo>
                      <a:pt x="1579" y="1571"/>
                      <a:pt x="1577" y="1574"/>
                      <a:pt x="1577" y="1583"/>
                    </a:cubicBezTo>
                    <a:cubicBezTo>
                      <a:pt x="1577" y="1592"/>
                      <a:pt x="1566" y="1588"/>
                      <a:pt x="1566" y="1600"/>
                    </a:cubicBezTo>
                    <a:cubicBezTo>
                      <a:pt x="1566" y="1612"/>
                      <a:pt x="1580" y="1637"/>
                      <a:pt x="1566" y="1641"/>
                    </a:cubicBezTo>
                    <a:cubicBezTo>
                      <a:pt x="1552" y="1645"/>
                      <a:pt x="1539" y="1639"/>
                      <a:pt x="1537" y="1653"/>
                    </a:cubicBezTo>
                    <a:cubicBezTo>
                      <a:pt x="1535" y="1667"/>
                      <a:pt x="1546" y="1665"/>
                      <a:pt x="1535" y="1667"/>
                    </a:cubicBezTo>
                    <a:cubicBezTo>
                      <a:pt x="1524" y="1669"/>
                      <a:pt x="1523" y="1675"/>
                      <a:pt x="1533" y="1677"/>
                    </a:cubicBezTo>
                    <a:cubicBezTo>
                      <a:pt x="1543" y="1679"/>
                      <a:pt x="1547" y="1680"/>
                      <a:pt x="1552" y="1669"/>
                    </a:cubicBezTo>
                    <a:cubicBezTo>
                      <a:pt x="1557" y="1658"/>
                      <a:pt x="1588" y="1683"/>
                      <a:pt x="1593" y="1665"/>
                    </a:cubicBezTo>
                    <a:cubicBezTo>
                      <a:pt x="1598" y="1647"/>
                      <a:pt x="1603" y="1660"/>
                      <a:pt x="1603" y="1642"/>
                    </a:cubicBezTo>
                    <a:cubicBezTo>
                      <a:pt x="1603" y="1624"/>
                      <a:pt x="1591" y="1613"/>
                      <a:pt x="1608" y="1613"/>
                    </a:cubicBezTo>
                    <a:cubicBezTo>
                      <a:pt x="1625" y="1613"/>
                      <a:pt x="1614" y="1607"/>
                      <a:pt x="1623" y="1620"/>
                    </a:cubicBezTo>
                    <a:cubicBezTo>
                      <a:pt x="1632" y="1633"/>
                      <a:pt x="1636" y="1633"/>
                      <a:pt x="1634" y="1648"/>
                    </a:cubicBezTo>
                    <a:cubicBezTo>
                      <a:pt x="1632" y="1663"/>
                      <a:pt x="1623" y="1662"/>
                      <a:pt x="1626" y="1671"/>
                    </a:cubicBezTo>
                    <a:cubicBezTo>
                      <a:pt x="1629" y="1680"/>
                      <a:pt x="1626" y="1686"/>
                      <a:pt x="1621" y="1694"/>
                    </a:cubicBezTo>
                    <a:cubicBezTo>
                      <a:pt x="1616" y="1702"/>
                      <a:pt x="1619" y="1705"/>
                      <a:pt x="1639" y="1702"/>
                    </a:cubicBezTo>
                    <a:cubicBezTo>
                      <a:pt x="1659" y="1699"/>
                      <a:pt x="1661" y="1689"/>
                      <a:pt x="1671" y="1702"/>
                    </a:cubicBezTo>
                    <a:cubicBezTo>
                      <a:pt x="1681" y="1715"/>
                      <a:pt x="1676" y="1721"/>
                      <a:pt x="1691" y="1725"/>
                    </a:cubicBezTo>
                    <a:cubicBezTo>
                      <a:pt x="1706" y="1729"/>
                      <a:pt x="1706" y="1735"/>
                      <a:pt x="1711" y="1748"/>
                    </a:cubicBezTo>
                    <a:cubicBezTo>
                      <a:pt x="1716" y="1761"/>
                      <a:pt x="1724" y="1759"/>
                      <a:pt x="1723" y="1775"/>
                    </a:cubicBezTo>
                    <a:cubicBezTo>
                      <a:pt x="1722" y="1791"/>
                      <a:pt x="1709" y="1778"/>
                      <a:pt x="1713" y="1798"/>
                    </a:cubicBezTo>
                    <a:cubicBezTo>
                      <a:pt x="1717" y="1818"/>
                      <a:pt x="1717" y="1830"/>
                      <a:pt x="1730" y="1839"/>
                    </a:cubicBezTo>
                    <a:cubicBezTo>
                      <a:pt x="1743" y="1848"/>
                      <a:pt x="1745" y="1851"/>
                      <a:pt x="1751" y="1863"/>
                    </a:cubicBezTo>
                    <a:cubicBezTo>
                      <a:pt x="1757" y="1875"/>
                      <a:pt x="1768" y="1873"/>
                      <a:pt x="1782" y="1878"/>
                    </a:cubicBezTo>
                    <a:cubicBezTo>
                      <a:pt x="1796" y="1883"/>
                      <a:pt x="1814" y="1890"/>
                      <a:pt x="1824" y="1899"/>
                    </a:cubicBezTo>
                    <a:cubicBezTo>
                      <a:pt x="1834" y="1908"/>
                      <a:pt x="1828" y="1904"/>
                      <a:pt x="1838" y="1898"/>
                    </a:cubicBezTo>
                    <a:cubicBezTo>
                      <a:pt x="1848" y="1892"/>
                      <a:pt x="1858" y="1897"/>
                      <a:pt x="1871" y="1902"/>
                    </a:cubicBezTo>
                    <a:cubicBezTo>
                      <a:pt x="1884" y="1907"/>
                      <a:pt x="1893" y="1907"/>
                      <a:pt x="1907" y="1907"/>
                    </a:cubicBezTo>
                    <a:cubicBezTo>
                      <a:pt x="1921" y="1907"/>
                      <a:pt x="1928" y="1914"/>
                      <a:pt x="1941" y="1926"/>
                    </a:cubicBezTo>
                    <a:cubicBezTo>
                      <a:pt x="1954" y="1938"/>
                      <a:pt x="1966" y="1948"/>
                      <a:pt x="1975" y="1933"/>
                    </a:cubicBezTo>
                    <a:cubicBezTo>
                      <a:pt x="1984" y="1918"/>
                      <a:pt x="2000" y="1915"/>
                      <a:pt x="2006" y="1911"/>
                    </a:cubicBezTo>
                    <a:cubicBezTo>
                      <a:pt x="2012" y="1907"/>
                      <a:pt x="2021" y="1906"/>
                      <a:pt x="2024" y="1892"/>
                    </a:cubicBezTo>
                    <a:cubicBezTo>
                      <a:pt x="2027" y="1878"/>
                      <a:pt x="2025" y="1874"/>
                      <a:pt x="2038" y="1874"/>
                    </a:cubicBezTo>
                    <a:cubicBezTo>
                      <a:pt x="2051" y="1874"/>
                      <a:pt x="2057" y="1868"/>
                      <a:pt x="2055" y="1880"/>
                    </a:cubicBezTo>
                    <a:cubicBezTo>
                      <a:pt x="2053" y="1892"/>
                      <a:pt x="2041" y="1897"/>
                      <a:pt x="2046" y="1903"/>
                    </a:cubicBezTo>
                    <a:cubicBezTo>
                      <a:pt x="2051" y="1909"/>
                      <a:pt x="2053" y="1913"/>
                      <a:pt x="2059" y="1910"/>
                    </a:cubicBezTo>
                    <a:cubicBezTo>
                      <a:pt x="2065" y="1907"/>
                      <a:pt x="2067" y="1906"/>
                      <a:pt x="2070" y="1898"/>
                    </a:cubicBezTo>
                    <a:cubicBezTo>
                      <a:pt x="2073" y="1890"/>
                      <a:pt x="2079" y="1886"/>
                      <a:pt x="2082" y="1895"/>
                    </a:cubicBezTo>
                    <a:cubicBezTo>
                      <a:pt x="2085" y="1904"/>
                      <a:pt x="2075" y="1910"/>
                      <a:pt x="2083" y="1916"/>
                    </a:cubicBezTo>
                    <a:cubicBezTo>
                      <a:pt x="2091" y="1922"/>
                      <a:pt x="2109" y="1931"/>
                      <a:pt x="2118" y="1938"/>
                    </a:cubicBezTo>
                    <a:cubicBezTo>
                      <a:pt x="2127" y="1945"/>
                      <a:pt x="2131" y="1941"/>
                      <a:pt x="2136" y="1955"/>
                    </a:cubicBezTo>
                    <a:cubicBezTo>
                      <a:pt x="2141" y="1969"/>
                      <a:pt x="2148" y="1964"/>
                      <a:pt x="2149" y="1950"/>
                    </a:cubicBezTo>
                    <a:cubicBezTo>
                      <a:pt x="2150" y="1936"/>
                      <a:pt x="2142" y="1925"/>
                      <a:pt x="2157" y="1926"/>
                    </a:cubicBezTo>
                    <a:cubicBezTo>
                      <a:pt x="2172" y="1927"/>
                      <a:pt x="2186" y="1929"/>
                      <a:pt x="2194" y="1911"/>
                    </a:cubicBezTo>
                    <a:cubicBezTo>
                      <a:pt x="2202" y="1893"/>
                      <a:pt x="2207" y="1888"/>
                      <a:pt x="2220" y="1881"/>
                    </a:cubicBezTo>
                    <a:cubicBezTo>
                      <a:pt x="2233" y="1874"/>
                      <a:pt x="2269" y="1854"/>
                      <a:pt x="2297" y="1857"/>
                    </a:cubicBezTo>
                    <a:cubicBezTo>
                      <a:pt x="2325" y="1860"/>
                      <a:pt x="2351" y="1858"/>
                      <a:pt x="2355" y="1852"/>
                    </a:cubicBezTo>
                    <a:cubicBezTo>
                      <a:pt x="2359" y="1846"/>
                      <a:pt x="2375" y="1857"/>
                      <a:pt x="2375" y="1830"/>
                    </a:cubicBezTo>
                    <a:cubicBezTo>
                      <a:pt x="2375" y="1803"/>
                      <a:pt x="2371" y="1770"/>
                      <a:pt x="2380" y="1754"/>
                    </a:cubicBezTo>
                    <a:cubicBezTo>
                      <a:pt x="2389" y="1738"/>
                      <a:pt x="2390" y="1741"/>
                      <a:pt x="2391" y="1727"/>
                    </a:cubicBezTo>
                    <a:cubicBezTo>
                      <a:pt x="2392" y="1713"/>
                      <a:pt x="2392" y="1705"/>
                      <a:pt x="2400" y="1690"/>
                    </a:cubicBezTo>
                    <a:cubicBezTo>
                      <a:pt x="2408" y="1675"/>
                      <a:pt x="2427" y="1683"/>
                      <a:pt x="2428" y="1656"/>
                    </a:cubicBezTo>
                    <a:cubicBezTo>
                      <a:pt x="2429" y="1629"/>
                      <a:pt x="2428" y="1620"/>
                      <a:pt x="2440" y="1599"/>
                    </a:cubicBezTo>
                    <a:cubicBezTo>
                      <a:pt x="2452" y="1578"/>
                      <a:pt x="2456" y="1582"/>
                      <a:pt x="2464" y="1561"/>
                    </a:cubicBezTo>
                    <a:cubicBezTo>
                      <a:pt x="2472" y="1540"/>
                      <a:pt x="2484" y="1499"/>
                      <a:pt x="2498" y="1494"/>
                    </a:cubicBezTo>
                    <a:cubicBezTo>
                      <a:pt x="2512" y="1489"/>
                      <a:pt x="2535" y="1493"/>
                      <a:pt x="2535" y="1473"/>
                    </a:cubicBezTo>
                    <a:cubicBezTo>
                      <a:pt x="2535" y="1453"/>
                      <a:pt x="2534" y="1442"/>
                      <a:pt x="2546" y="1435"/>
                    </a:cubicBezTo>
                    <a:cubicBezTo>
                      <a:pt x="2558" y="1428"/>
                      <a:pt x="2558" y="1430"/>
                      <a:pt x="2560" y="1409"/>
                    </a:cubicBezTo>
                    <a:cubicBezTo>
                      <a:pt x="2562" y="1388"/>
                      <a:pt x="2570" y="1400"/>
                      <a:pt x="2571" y="1371"/>
                    </a:cubicBezTo>
                    <a:cubicBezTo>
                      <a:pt x="2572" y="1342"/>
                      <a:pt x="2564" y="1340"/>
                      <a:pt x="2573" y="1315"/>
                    </a:cubicBezTo>
                    <a:cubicBezTo>
                      <a:pt x="2582" y="1290"/>
                      <a:pt x="2588" y="1280"/>
                      <a:pt x="2588" y="1261"/>
                    </a:cubicBezTo>
                    <a:cubicBezTo>
                      <a:pt x="2588" y="1242"/>
                      <a:pt x="2583" y="1239"/>
                      <a:pt x="2595" y="1228"/>
                    </a:cubicBezTo>
                    <a:cubicBezTo>
                      <a:pt x="2607" y="1217"/>
                      <a:pt x="2604" y="1210"/>
                      <a:pt x="2603" y="1192"/>
                    </a:cubicBezTo>
                    <a:cubicBezTo>
                      <a:pt x="2602" y="1174"/>
                      <a:pt x="2607" y="1173"/>
                      <a:pt x="2596" y="1159"/>
                    </a:cubicBezTo>
                    <a:cubicBezTo>
                      <a:pt x="2585" y="1145"/>
                      <a:pt x="2596" y="1139"/>
                      <a:pt x="2583" y="1127"/>
                    </a:cubicBezTo>
                    <a:cubicBezTo>
                      <a:pt x="2570" y="1115"/>
                      <a:pt x="2570" y="1096"/>
                      <a:pt x="2574" y="1076"/>
                    </a:cubicBezTo>
                    <a:cubicBezTo>
                      <a:pt x="2578" y="1056"/>
                      <a:pt x="2564" y="1043"/>
                      <a:pt x="2571" y="1031"/>
                    </a:cubicBezTo>
                    <a:cubicBezTo>
                      <a:pt x="2578" y="1019"/>
                      <a:pt x="2582" y="1026"/>
                      <a:pt x="2579" y="1012"/>
                    </a:cubicBezTo>
                    <a:cubicBezTo>
                      <a:pt x="2576" y="998"/>
                      <a:pt x="2575" y="993"/>
                      <a:pt x="2584" y="980"/>
                    </a:cubicBezTo>
                    <a:cubicBezTo>
                      <a:pt x="2593" y="967"/>
                      <a:pt x="2589" y="963"/>
                      <a:pt x="2589" y="950"/>
                    </a:cubicBezTo>
                    <a:cubicBezTo>
                      <a:pt x="2589" y="937"/>
                      <a:pt x="2576" y="933"/>
                      <a:pt x="2576" y="946"/>
                    </a:cubicBezTo>
                    <a:cubicBezTo>
                      <a:pt x="2576" y="959"/>
                      <a:pt x="2573" y="961"/>
                      <a:pt x="2567" y="965"/>
                    </a:cubicBezTo>
                    <a:cubicBezTo>
                      <a:pt x="2561" y="969"/>
                      <a:pt x="2567" y="992"/>
                      <a:pt x="2553" y="977"/>
                    </a:cubicBezTo>
                    <a:cubicBezTo>
                      <a:pt x="2539" y="962"/>
                      <a:pt x="2542" y="934"/>
                      <a:pt x="2525" y="933"/>
                    </a:cubicBezTo>
                    <a:cubicBezTo>
                      <a:pt x="2508" y="932"/>
                      <a:pt x="2507" y="930"/>
                      <a:pt x="2504" y="912"/>
                    </a:cubicBezTo>
                    <a:cubicBezTo>
                      <a:pt x="2501" y="894"/>
                      <a:pt x="2491" y="885"/>
                      <a:pt x="2476" y="886"/>
                    </a:cubicBezTo>
                    <a:cubicBezTo>
                      <a:pt x="2461" y="887"/>
                      <a:pt x="2454" y="881"/>
                      <a:pt x="2454" y="869"/>
                    </a:cubicBezTo>
                    <a:cubicBezTo>
                      <a:pt x="2454" y="857"/>
                      <a:pt x="2448" y="860"/>
                      <a:pt x="2435" y="854"/>
                    </a:cubicBezTo>
                    <a:cubicBezTo>
                      <a:pt x="2422" y="848"/>
                      <a:pt x="2421" y="836"/>
                      <a:pt x="2422" y="825"/>
                    </a:cubicBezTo>
                    <a:cubicBezTo>
                      <a:pt x="2423" y="814"/>
                      <a:pt x="2433" y="802"/>
                      <a:pt x="2429" y="793"/>
                    </a:cubicBezTo>
                    <a:cubicBezTo>
                      <a:pt x="2425" y="784"/>
                      <a:pt x="2414" y="777"/>
                      <a:pt x="2401" y="779"/>
                    </a:cubicBezTo>
                    <a:cubicBezTo>
                      <a:pt x="2388" y="781"/>
                      <a:pt x="2388" y="777"/>
                      <a:pt x="2381" y="770"/>
                    </a:cubicBezTo>
                    <a:cubicBezTo>
                      <a:pt x="2374" y="763"/>
                      <a:pt x="2366" y="766"/>
                      <a:pt x="2366" y="775"/>
                    </a:cubicBezTo>
                    <a:cubicBezTo>
                      <a:pt x="2366" y="784"/>
                      <a:pt x="2362" y="787"/>
                      <a:pt x="2349" y="778"/>
                    </a:cubicBezTo>
                    <a:cubicBezTo>
                      <a:pt x="2336" y="769"/>
                      <a:pt x="2342" y="752"/>
                      <a:pt x="2338" y="734"/>
                    </a:cubicBezTo>
                    <a:cubicBezTo>
                      <a:pt x="2334" y="716"/>
                      <a:pt x="2333" y="706"/>
                      <a:pt x="2324" y="696"/>
                    </a:cubicBezTo>
                    <a:cubicBezTo>
                      <a:pt x="2315" y="686"/>
                      <a:pt x="2317" y="680"/>
                      <a:pt x="2307" y="676"/>
                    </a:cubicBezTo>
                    <a:cubicBezTo>
                      <a:pt x="2297" y="672"/>
                      <a:pt x="2288" y="666"/>
                      <a:pt x="2295" y="659"/>
                    </a:cubicBezTo>
                    <a:cubicBezTo>
                      <a:pt x="2302" y="652"/>
                      <a:pt x="2310" y="648"/>
                      <a:pt x="2302" y="638"/>
                    </a:cubicBezTo>
                    <a:cubicBezTo>
                      <a:pt x="2294" y="628"/>
                      <a:pt x="2292" y="629"/>
                      <a:pt x="2271" y="625"/>
                    </a:cubicBezTo>
                    <a:cubicBezTo>
                      <a:pt x="2250" y="621"/>
                      <a:pt x="2237" y="607"/>
                      <a:pt x="2227" y="596"/>
                    </a:cubicBezTo>
                    <a:cubicBezTo>
                      <a:pt x="2217" y="585"/>
                      <a:pt x="2210" y="577"/>
                      <a:pt x="2197" y="578"/>
                    </a:cubicBezTo>
                    <a:cubicBezTo>
                      <a:pt x="2184" y="579"/>
                      <a:pt x="2180" y="564"/>
                      <a:pt x="2163" y="560"/>
                    </a:cubicBezTo>
                    <a:cubicBezTo>
                      <a:pt x="2146" y="556"/>
                      <a:pt x="2144" y="562"/>
                      <a:pt x="2141" y="538"/>
                    </a:cubicBezTo>
                    <a:cubicBezTo>
                      <a:pt x="2138" y="514"/>
                      <a:pt x="2142" y="509"/>
                      <a:pt x="2132" y="505"/>
                    </a:cubicBezTo>
                    <a:cubicBezTo>
                      <a:pt x="2122" y="501"/>
                      <a:pt x="2114" y="491"/>
                      <a:pt x="2119" y="473"/>
                    </a:cubicBezTo>
                    <a:cubicBezTo>
                      <a:pt x="2124" y="455"/>
                      <a:pt x="2140" y="476"/>
                      <a:pt x="2132" y="454"/>
                    </a:cubicBezTo>
                    <a:cubicBezTo>
                      <a:pt x="2124" y="432"/>
                      <a:pt x="2128" y="444"/>
                      <a:pt x="2117" y="431"/>
                    </a:cubicBezTo>
                    <a:cubicBezTo>
                      <a:pt x="2106" y="418"/>
                      <a:pt x="2110" y="417"/>
                      <a:pt x="2100" y="407"/>
                    </a:cubicBezTo>
                    <a:cubicBezTo>
                      <a:pt x="2090" y="397"/>
                      <a:pt x="2080" y="396"/>
                      <a:pt x="2080" y="374"/>
                    </a:cubicBezTo>
                    <a:cubicBezTo>
                      <a:pt x="2080" y="352"/>
                      <a:pt x="2073" y="339"/>
                      <a:pt x="2075" y="318"/>
                    </a:cubicBezTo>
                    <a:cubicBezTo>
                      <a:pt x="2077" y="297"/>
                      <a:pt x="2072" y="293"/>
                      <a:pt x="2063" y="282"/>
                    </a:cubicBezTo>
                    <a:cubicBezTo>
                      <a:pt x="2054" y="271"/>
                      <a:pt x="2031" y="260"/>
                      <a:pt x="2028" y="247"/>
                    </a:cubicBezTo>
                    <a:cubicBezTo>
                      <a:pt x="2025" y="234"/>
                      <a:pt x="2009" y="234"/>
                      <a:pt x="2008" y="240"/>
                    </a:cubicBezTo>
                    <a:cubicBezTo>
                      <a:pt x="2007" y="246"/>
                      <a:pt x="2006" y="245"/>
                      <a:pt x="1994" y="248"/>
                    </a:cubicBezTo>
                    <a:cubicBezTo>
                      <a:pt x="1982" y="251"/>
                      <a:pt x="1975" y="257"/>
                      <a:pt x="1972" y="245"/>
                    </a:cubicBezTo>
                    <a:cubicBezTo>
                      <a:pt x="1969" y="233"/>
                      <a:pt x="1965" y="218"/>
                      <a:pt x="1959" y="213"/>
                    </a:cubicBezTo>
                    <a:cubicBezTo>
                      <a:pt x="1953" y="208"/>
                      <a:pt x="1963" y="196"/>
                      <a:pt x="1960" y="176"/>
                    </a:cubicBezTo>
                    <a:cubicBezTo>
                      <a:pt x="1957" y="156"/>
                      <a:pt x="1965" y="158"/>
                      <a:pt x="1951" y="140"/>
                    </a:cubicBezTo>
                    <a:cubicBezTo>
                      <a:pt x="1937" y="122"/>
                      <a:pt x="1931" y="118"/>
                      <a:pt x="1934" y="106"/>
                    </a:cubicBezTo>
                    <a:cubicBezTo>
                      <a:pt x="1937" y="94"/>
                      <a:pt x="1935" y="83"/>
                      <a:pt x="1928" y="80"/>
                    </a:cubicBezTo>
                    <a:cubicBezTo>
                      <a:pt x="1921" y="77"/>
                      <a:pt x="1918" y="80"/>
                      <a:pt x="1918" y="61"/>
                    </a:cubicBezTo>
                    <a:cubicBezTo>
                      <a:pt x="1918" y="42"/>
                      <a:pt x="1921" y="42"/>
                      <a:pt x="1911" y="31"/>
                    </a:cubicBezTo>
                    <a:cubicBezTo>
                      <a:pt x="1901" y="20"/>
                      <a:pt x="1894" y="0"/>
                      <a:pt x="1888" y="11"/>
                    </a:cubicBezTo>
                    <a:cubicBezTo>
                      <a:pt x="1882" y="22"/>
                      <a:pt x="1868" y="24"/>
                      <a:pt x="1868" y="37"/>
                    </a:cubicBezTo>
                    <a:cubicBezTo>
                      <a:pt x="1868" y="50"/>
                      <a:pt x="1871" y="52"/>
                      <a:pt x="1861" y="61"/>
                    </a:cubicBezTo>
                    <a:cubicBezTo>
                      <a:pt x="1851" y="70"/>
                      <a:pt x="1867" y="87"/>
                      <a:pt x="1854" y="92"/>
                    </a:cubicBezTo>
                    <a:cubicBezTo>
                      <a:pt x="1841" y="97"/>
                      <a:pt x="1839" y="109"/>
                      <a:pt x="1838" y="117"/>
                    </a:cubicBezTo>
                    <a:cubicBezTo>
                      <a:pt x="1837" y="125"/>
                      <a:pt x="1835" y="135"/>
                      <a:pt x="1840" y="136"/>
                    </a:cubicBezTo>
                    <a:cubicBezTo>
                      <a:pt x="1845" y="137"/>
                      <a:pt x="1847" y="146"/>
                      <a:pt x="1842" y="152"/>
                    </a:cubicBezTo>
                    <a:cubicBezTo>
                      <a:pt x="1837" y="158"/>
                      <a:pt x="1829" y="160"/>
                      <a:pt x="1832" y="169"/>
                    </a:cubicBezTo>
                    <a:cubicBezTo>
                      <a:pt x="1835" y="178"/>
                      <a:pt x="1833" y="191"/>
                      <a:pt x="1829" y="195"/>
                    </a:cubicBezTo>
                    <a:cubicBezTo>
                      <a:pt x="1825" y="199"/>
                      <a:pt x="1820" y="211"/>
                      <a:pt x="1826" y="219"/>
                    </a:cubicBezTo>
                    <a:cubicBezTo>
                      <a:pt x="1832" y="227"/>
                      <a:pt x="1839" y="231"/>
                      <a:pt x="1834" y="243"/>
                    </a:cubicBezTo>
                    <a:cubicBezTo>
                      <a:pt x="1829" y="255"/>
                      <a:pt x="1825" y="264"/>
                      <a:pt x="1830" y="273"/>
                    </a:cubicBezTo>
                    <a:cubicBezTo>
                      <a:pt x="1835" y="282"/>
                      <a:pt x="1840" y="290"/>
                      <a:pt x="1834" y="295"/>
                    </a:cubicBezTo>
                    <a:cubicBezTo>
                      <a:pt x="1828" y="300"/>
                      <a:pt x="1825" y="301"/>
                      <a:pt x="1825" y="318"/>
                    </a:cubicBezTo>
                    <a:cubicBezTo>
                      <a:pt x="1825" y="335"/>
                      <a:pt x="1819" y="326"/>
                      <a:pt x="1818" y="344"/>
                    </a:cubicBezTo>
                    <a:cubicBezTo>
                      <a:pt x="1817" y="362"/>
                      <a:pt x="1815" y="363"/>
                      <a:pt x="1810" y="383"/>
                    </a:cubicBezTo>
                    <a:cubicBezTo>
                      <a:pt x="1805" y="403"/>
                      <a:pt x="1792" y="403"/>
                      <a:pt x="1792" y="420"/>
                    </a:cubicBezTo>
                    <a:cubicBezTo>
                      <a:pt x="1792" y="437"/>
                      <a:pt x="1803" y="446"/>
                      <a:pt x="1776" y="455"/>
                    </a:cubicBezTo>
                    <a:cubicBezTo>
                      <a:pt x="1749" y="464"/>
                      <a:pt x="1735" y="473"/>
                      <a:pt x="1720" y="461"/>
                    </a:cubicBezTo>
                    <a:cubicBezTo>
                      <a:pt x="1705" y="449"/>
                      <a:pt x="1682" y="441"/>
                      <a:pt x="1678" y="426"/>
                    </a:cubicBezTo>
                    <a:cubicBezTo>
                      <a:pt x="1674" y="411"/>
                      <a:pt x="1671" y="405"/>
                      <a:pt x="1655" y="404"/>
                    </a:cubicBezTo>
                    <a:cubicBezTo>
                      <a:pt x="1639" y="403"/>
                      <a:pt x="1620" y="406"/>
                      <a:pt x="1609" y="384"/>
                    </a:cubicBezTo>
                    <a:cubicBezTo>
                      <a:pt x="1598" y="362"/>
                      <a:pt x="1598" y="362"/>
                      <a:pt x="1574" y="356"/>
                    </a:cubicBezTo>
                    <a:cubicBezTo>
                      <a:pt x="1550" y="350"/>
                      <a:pt x="1559" y="346"/>
                      <a:pt x="1553" y="333"/>
                    </a:cubicBezTo>
                    <a:cubicBezTo>
                      <a:pt x="1547" y="320"/>
                      <a:pt x="1542" y="319"/>
                      <a:pt x="1537" y="333"/>
                    </a:cubicBezTo>
                    <a:cubicBezTo>
                      <a:pt x="1532" y="347"/>
                      <a:pt x="1533" y="350"/>
                      <a:pt x="1519" y="335"/>
                    </a:cubicBezTo>
                    <a:cubicBezTo>
                      <a:pt x="1505" y="320"/>
                      <a:pt x="1505" y="309"/>
                      <a:pt x="1483" y="300"/>
                    </a:cubicBezTo>
                    <a:cubicBezTo>
                      <a:pt x="1461" y="291"/>
                      <a:pt x="1440" y="274"/>
                      <a:pt x="1451" y="266"/>
                    </a:cubicBezTo>
                    <a:cubicBezTo>
                      <a:pt x="1462" y="258"/>
                      <a:pt x="1464" y="255"/>
                      <a:pt x="1468" y="241"/>
                    </a:cubicBezTo>
                    <a:cubicBezTo>
                      <a:pt x="1472" y="227"/>
                      <a:pt x="1475" y="230"/>
                      <a:pt x="1480" y="223"/>
                    </a:cubicBezTo>
                    <a:cubicBezTo>
                      <a:pt x="1485" y="216"/>
                      <a:pt x="1498" y="219"/>
                      <a:pt x="1495" y="207"/>
                    </a:cubicBezTo>
                    <a:cubicBezTo>
                      <a:pt x="1492" y="195"/>
                      <a:pt x="1469" y="205"/>
                      <a:pt x="1475" y="190"/>
                    </a:cubicBezTo>
                    <a:cubicBezTo>
                      <a:pt x="1481" y="175"/>
                      <a:pt x="1480" y="178"/>
                      <a:pt x="1488" y="172"/>
                    </a:cubicBezTo>
                    <a:cubicBezTo>
                      <a:pt x="1496" y="166"/>
                      <a:pt x="1494" y="186"/>
                      <a:pt x="1507" y="178"/>
                    </a:cubicBezTo>
                    <a:cubicBezTo>
                      <a:pt x="1520" y="170"/>
                      <a:pt x="1517" y="178"/>
                      <a:pt x="1521" y="158"/>
                    </a:cubicBezTo>
                    <a:cubicBezTo>
                      <a:pt x="1525" y="138"/>
                      <a:pt x="1518" y="137"/>
                      <a:pt x="1533" y="131"/>
                    </a:cubicBezTo>
                    <a:cubicBezTo>
                      <a:pt x="1548" y="125"/>
                      <a:pt x="1539" y="114"/>
                      <a:pt x="1536" y="105"/>
                    </a:cubicBezTo>
                    <a:cubicBezTo>
                      <a:pt x="1533" y="96"/>
                      <a:pt x="1521" y="102"/>
                      <a:pt x="1519" y="95"/>
                    </a:cubicBezTo>
                    <a:cubicBezTo>
                      <a:pt x="1517" y="88"/>
                      <a:pt x="1502" y="80"/>
                      <a:pt x="1501" y="89"/>
                    </a:cubicBezTo>
                    <a:cubicBezTo>
                      <a:pt x="1500" y="98"/>
                      <a:pt x="1496" y="99"/>
                      <a:pt x="1496" y="109"/>
                    </a:cubicBezTo>
                    <a:cubicBezTo>
                      <a:pt x="1496" y="119"/>
                      <a:pt x="1481" y="124"/>
                      <a:pt x="1480" y="115"/>
                    </a:cubicBezTo>
                    <a:cubicBezTo>
                      <a:pt x="1479" y="106"/>
                      <a:pt x="1472" y="102"/>
                      <a:pt x="1472" y="102"/>
                    </a:cubicBezTo>
                    <a:cubicBezTo>
                      <a:pt x="1472" y="102"/>
                      <a:pt x="1465" y="98"/>
                      <a:pt x="1469" y="90"/>
                    </a:cubicBezTo>
                    <a:cubicBezTo>
                      <a:pt x="1473" y="82"/>
                      <a:pt x="1465" y="74"/>
                      <a:pt x="1462" y="80"/>
                    </a:cubicBezTo>
                    <a:cubicBezTo>
                      <a:pt x="1459" y="86"/>
                      <a:pt x="1448" y="95"/>
                      <a:pt x="1432" y="96"/>
                    </a:cubicBezTo>
                    <a:cubicBezTo>
                      <a:pt x="1416" y="97"/>
                      <a:pt x="1394" y="93"/>
                      <a:pt x="1384" y="89"/>
                    </a:cubicBezTo>
                    <a:cubicBezTo>
                      <a:pt x="1374" y="85"/>
                      <a:pt x="1358" y="82"/>
                      <a:pt x="1340" y="74"/>
                    </a:cubicBezTo>
                    <a:cubicBezTo>
                      <a:pt x="1322" y="66"/>
                      <a:pt x="1325" y="74"/>
                      <a:pt x="1308" y="63"/>
                    </a:cubicBezTo>
                    <a:cubicBezTo>
                      <a:pt x="1291" y="52"/>
                      <a:pt x="1285" y="46"/>
                      <a:pt x="1278" y="56"/>
                    </a:cubicBezTo>
                    <a:cubicBezTo>
                      <a:pt x="1271" y="66"/>
                      <a:pt x="1260" y="77"/>
                      <a:pt x="1257" y="85"/>
                    </a:cubicBezTo>
                    <a:cubicBezTo>
                      <a:pt x="1254" y="93"/>
                      <a:pt x="1252" y="106"/>
                      <a:pt x="1228" y="109"/>
                    </a:cubicBezTo>
                    <a:cubicBezTo>
                      <a:pt x="1204" y="112"/>
                      <a:pt x="1199" y="112"/>
                      <a:pt x="1194" y="106"/>
                    </a:cubicBezTo>
                    <a:cubicBezTo>
                      <a:pt x="1189" y="100"/>
                      <a:pt x="1180" y="102"/>
                      <a:pt x="1175" y="110"/>
                    </a:cubicBezTo>
                    <a:cubicBezTo>
                      <a:pt x="1170" y="118"/>
                      <a:pt x="1164" y="117"/>
                      <a:pt x="1148" y="121"/>
                    </a:cubicBezTo>
                    <a:cubicBezTo>
                      <a:pt x="1132" y="125"/>
                      <a:pt x="1133" y="129"/>
                      <a:pt x="1124" y="137"/>
                    </a:cubicBezTo>
                    <a:cubicBezTo>
                      <a:pt x="1115" y="145"/>
                      <a:pt x="1102" y="153"/>
                      <a:pt x="1104" y="164"/>
                    </a:cubicBezTo>
                    <a:cubicBezTo>
                      <a:pt x="1106" y="175"/>
                      <a:pt x="1106" y="181"/>
                      <a:pt x="1097" y="190"/>
                    </a:cubicBezTo>
                    <a:cubicBezTo>
                      <a:pt x="1088" y="199"/>
                      <a:pt x="1077" y="198"/>
                      <a:pt x="1079" y="212"/>
                    </a:cubicBezTo>
                    <a:cubicBezTo>
                      <a:pt x="1081" y="226"/>
                      <a:pt x="1082" y="224"/>
                      <a:pt x="1069" y="229"/>
                    </a:cubicBezTo>
                    <a:cubicBezTo>
                      <a:pt x="1056" y="234"/>
                      <a:pt x="1050" y="246"/>
                      <a:pt x="1058" y="257"/>
                    </a:cubicBezTo>
                    <a:cubicBezTo>
                      <a:pt x="1066" y="268"/>
                      <a:pt x="1071" y="267"/>
                      <a:pt x="1072" y="279"/>
                    </a:cubicBezTo>
                    <a:cubicBezTo>
                      <a:pt x="1073" y="291"/>
                      <a:pt x="1063" y="296"/>
                      <a:pt x="1057" y="288"/>
                    </a:cubicBezTo>
                    <a:cubicBezTo>
                      <a:pt x="1051" y="280"/>
                      <a:pt x="1035" y="281"/>
                      <a:pt x="1028" y="280"/>
                    </a:cubicBezTo>
                    <a:cubicBezTo>
                      <a:pt x="1021" y="279"/>
                      <a:pt x="1026" y="272"/>
                      <a:pt x="1012" y="272"/>
                    </a:cubicBezTo>
                    <a:cubicBezTo>
                      <a:pt x="998" y="272"/>
                      <a:pt x="998" y="273"/>
                      <a:pt x="996" y="281"/>
                    </a:cubicBezTo>
                    <a:cubicBezTo>
                      <a:pt x="994" y="289"/>
                      <a:pt x="980" y="293"/>
                      <a:pt x="979" y="283"/>
                    </a:cubicBezTo>
                    <a:cubicBezTo>
                      <a:pt x="978" y="273"/>
                      <a:pt x="991" y="266"/>
                      <a:pt x="977" y="260"/>
                    </a:cubicBezTo>
                    <a:cubicBezTo>
                      <a:pt x="963" y="254"/>
                      <a:pt x="948" y="230"/>
                      <a:pt x="933" y="226"/>
                    </a:cubicBezTo>
                    <a:cubicBezTo>
                      <a:pt x="918" y="222"/>
                      <a:pt x="916" y="222"/>
                      <a:pt x="913" y="213"/>
                    </a:cubicBezTo>
                    <a:cubicBezTo>
                      <a:pt x="910" y="204"/>
                      <a:pt x="905" y="202"/>
                      <a:pt x="900" y="202"/>
                    </a:cubicBezTo>
                    <a:cubicBezTo>
                      <a:pt x="895" y="202"/>
                      <a:pt x="895" y="206"/>
                      <a:pt x="893" y="215"/>
                    </a:cubicBezTo>
                    <a:cubicBezTo>
                      <a:pt x="891" y="224"/>
                      <a:pt x="892" y="228"/>
                      <a:pt x="882" y="227"/>
                    </a:cubicBezTo>
                    <a:cubicBezTo>
                      <a:pt x="872" y="226"/>
                      <a:pt x="871" y="218"/>
                      <a:pt x="862" y="218"/>
                    </a:cubicBezTo>
                    <a:cubicBezTo>
                      <a:pt x="853" y="218"/>
                      <a:pt x="846" y="212"/>
                      <a:pt x="845" y="227"/>
                    </a:cubicBezTo>
                    <a:cubicBezTo>
                      <a:pt x="844" y="242"/>
                      <a:pt x="838" y="239"/>
                      <a:pt x="837" y="247"/>
                    </a:cubicBezTo>
                    <a:cubicBezTo>
                      <a:pt x="836" y="255"/>
                      <a:pt x="842" y="258"/>
                      <a:pt x="829" y="258"/>
                    </a:cubicBezTo>
                    <a:cubicBezTo>
                      <a:pt x="816" y="258"/>
                      <a:pt x="817" y="257"/>
                      <a:pt x="817" y="249"/>
                    </a:cubicBezTo>
                    <a:cubicBezTo>
                      <a:pt x="817" y="241"/>
                      <a:pt x="813" y="237"/>
                      <a:pt x="810" y="238"/>
                    </a:cubicBezTo>
                    <a:cubicBezTo>
                      <a:pt x="807" y="239"/>
                      <a:pt x="811" y="255"/>
                      <a:pt x="798" y="256"/>
                    </a:cubicBezTo>
                    <a:cubicBezTo>
                      <a:pt x="785" y="257"/>
                      <a:pt x="781" y="265"/>
                      <a:pt x="782" y="271"/>
                    </a:cubicBezTo>
                    <a:cubicBezTo>
                      <a:pt x="783" y="277"/>
                      <a:pt x="781" y="288"/>
                      <a:pt x="773" y="291"/>
                    </a:cubicBezTo>
                    <a:cubicBezTo>
                      <a:pt x="765" y="294"/>
                      <a:pt x="761" y="293"/>
                      <a:pt x="764" y="300"/>
                    </a:cubicBezTo>
                    <a:cubicBezTo>
                      <a:pt x="767" y="307"/>
                      <a:pt x="760" y="309"/>
                      <a:pt x="753" y="309"/>
                    </a:cubicBezTo>
                    <a:cubicBezTo>
                      <a:pt x="746" y="309"/>
                      <a:pt x="743" y="320"/>
                      <a:pt x="743" y="326"/>
                    </a:cubicBezTo>
                    <a:cubicBezTo>
                      <a:pt x="743" y="332"/>
                      <a:pt x="736" y="321"/>
                      <a:pt x="736" y="333"/>
                    </a:cubicBezTo>
                    <a:cubicBezTo>
                      <a:pt x="736" y="345"/>
                      <a:pt x="733" y="346"/>
                      <a:pt x="737" y="350"/>
                    </a:cubicBezTo>
                    <a:cubicBezTo>
                      <a:pt x="741" y="354"/>
                      <a:pt x="743" y="371"/>
                      <a:pt x="736" y="374"/>
                    </a:cubicBezTo>
                    <a:cubicBezTo>
                      <a:pt x="729" y="377"/>
                      <a:pt x="733" y="365"/>
                      <a:pt x="722" y="365"/>
                    </a:cubicBezTo>
                    <a:cubicBezTo>
                      <a:pt x="711" y="365"/>
                      <a:pt x="710" y="376"/>
                      <a:pt x="704" y="367"/>
                    </a:cubicBezTo>
                    <a:cubicBezTo>
                      <a:pt x="698" y="358"/>
                      <a:pt x="700" y="363"/>
                      <a:pt x="690" y="364"/>
                    </a:cubicBezTo>
                    <a:cubicBezTo>
                      <a:pt x="680" y="365"/>
                      <a:pt x="679" y="372"/>
                      <a:pt x="684" y="373"/>
                    </a:cubicBezTo>
                    <a:cubicBezTo>
                      <a:pt x="689" y="374"/>
                      <a:pt x="697" y="383"/>
                      <a:pt x="688" y="383"/>
                    </a:cubicBezTo>
                    <a:cubicBezTo>
                      <a:pt x="679" y="383"/>
                      <a:pt x="673" y="391"/>
                      <a:pt x="681" y="396"/>
                    </a:cubicBezTo>
                    <a:cubicBezTo>
                      <a:pt x="689" y="401"/>
                      <a:pt x="694" y="402"/>
                      <a:pt x="695" y="411"/>
                    </a:cubicBezTo>
                    <a:cubicBezTo>
                      <a:pt x="696" y="420"/>
                      <a:pt x="706" y="427"/>
                      <a:pt x="694" y="428"/>
                    </a:cubicBezTo>
                    <a:cubicBezTo>
                      <a:pt x="682" y="429"/>
                      <a:pt x="682" y="440"/>
                      <a:pt x="673" y="429"/>
                    </a:cubicBezTo>
                    <a:cubicBezTo>
                      <a:pt x="664" y="418"/>
                      <a:pt x="669" y="417"/>
                      <a:pt x="663" y="414"/>
                    </a:cubicBezTo>
                    <a:cubicBezTo>
                      <a:pt x="657" y="411"/>
                      <a:pt x="664" y="402"/>
                      <a:pt x="657" y="397"/>
                    </a:cubicBezTo>
                    <a:cubicBezTo>
                      <a:pt x="650" y="392"/>
                      <a:pt x="656" y="388"/>
                      <a:pt x="649" y="381"/>
                    </a:cubicBezTo>
                    <a:cubicBezTo>
                      <a:pt x="642" y="374"/>
                      <a:pt x="639" y="378"/>
                      <a:pt x="638" y="388"/>
                    </a:cubicBezTo>
                    <a:cubicBezTo>
                      <a:pt x="637" y="398"/>
                      <a:pt x="633" y="399"/>
                      <a:pt x="623" y="404"/>
                    </a:cubicBezTo>
                    <a:cubicBezTo>
                      <a:pt x="613" y="409"/>
                      <a:pt x="609" y="411"/>
                      <a:pt x="607" y="422"/>
                    </a:cubicBezTo>
                    <a:cubicBezTo>
                      <a:pt x="605" y="433"/>
                      <a:pt x="593" y="424"/>
                      <a:pt x="593" y="439"/>
                    </a:cubicBezTo>
                    <a:cubicBezTo>
                      <a:pt x="593" y="454"/>
                      <a:pt x="585" y="477"/>
                      <a:pt x="594" y="482"/>
                    </a:cubicBezTo>
                    <a:cubicBezTo>
                      <a:pt x="603" y="487"/>
                      <a:pt x="604" y="499"/>
                      <a:pt x="593" y="503"/>
                    </a:cubicBezTo>
                    <a:cubicBezTo>
                      <a:pt x="582" y="507"/>
                      <a:pt x="570" y="518"/>
                      <a:pt x="564" y="526"/>
                    </a:cubicBezTo>
                    <a:cubicBezTo>
                      <a:pt x="558" y="534"/>
                      <a:pt x="554" y="537"/>
                      <a:pt x="554" y="548"/>
                    </a:cubicBezTo>
                    <a:cubicBezTo>
                      <a:pt x="554" y="559"/>
                      <a:pt x="539" y="566"/>
                      <a:pt x="531" y="574"/>
                    </a:cubicBezTo>
                    <a:cubicBezTo>
                      <a:pt x="523" y="582"/>
                      <a:pt x="490" y="606"/>
                      <a:pt x="463" y="61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5" name="Freeform 18">
                <a:extLst>
                  <a:ext uri="{FF2B5EF4-FFF2-40B4-BE49-F238E27FC236}">
                    <a16:creationId xmlns:a16="http://schemas.microsoft.com/office/drawing/2014/main" id="{59230E1E-62A6-4E4C-ACFD-365DD847C4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5" y="3253"/>
                <a:ext cx="11" cy="15"/>
              </a:xfrm>
              <a:custGeom>
                <a:avLst/>
                <a:gdLst>
                  <a:gd name="T0" fmla="*/ 13 w 44"/>
                  <a:gd name="T1" fmla="*/ 10 h 62"/>
                  <a:gd name="T2" fmla="*/ 5 w 44"/>
                  <a:gd name="T3" fmla="*/ 18 h 62"/>
                  <a:gd name="T4" fmla="*/ 6 w 44"/>
                  <a:gd name="T5" fmla="*/ 34 h 62"/>
                  <a:gd name="T6" fmla="*/ 11 w 44"/>
                  <a:gd name="T7" fmla="*/ 50 h 62"/>
                  <a:gd name="T8" fmla="*/ 19 w 44"/>
                  <a:gd name="T9" fmla="*/ 55 h 62"/>
                  <a:gd name="T10" fmla="*/ 31 w 44"/>
                  <a:gd name="T11" fmla="*/ 42 h 62"/>
                  <a:gd name="T12" fmla="*/ 37 w 44"/>
                  <a:gd name="T13" fmla="*/ 33 h 62"/>
                  <a:gd name="T14" fmla="*/ 27 w 44"/>
                  <a:gd name="T15" fmla="*/ 20 h 62"/>
                  <a:gd name="T16" fmla="*/ 13 w 44"/>
                  <a:gd name="T17" fmla="*/ 1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2">
                    <a:moveTo>
                      <a:pt x="13" y="10"/>
                    </a:moveTo>
                    <a:cubicBezTo>
                      <a:pt x="13" y="10"/>
                      <a:pt x="11" y="17"/>
                      <a:pt x="5" y="18"/>
                    </a:cubicBezTo>
                    <a:cubicBezTo>
                      <a:pt x="0" y="20"/>
                      <a:pt x="5" y="28"/>
                      <a:pt x="6" y="34"/>
                    </a:cubicBezTo>
                    <a:cubicBezTo>
                      <a:pt x="7" y="41"/>
                      <a:pt x="11" y="44"/>
                      <a:pt x="11" y="50"/>
                    </a:cubicBezTo>
                    <a:cubicBezTo>
                      <a:pt x="12" y="55"/>
                      <a:pt x="16" y="62"/>
                      <a:pt x="19" y="55"/>
                    </a:cubicBezTo>
                    <a:cubicBezTo>
                      <a:pt x="21" y="48"/>
                      <a:pt x="26" y="46"/>
                      <a:pt x="31" y="42"/>
                    </a:cubicBezTo>
                    <a:cubicBezTo>
                      <a:pt x="37" y="39"/>
                      <a:pt x="44" y="40"/>
                      <a:pt x="37" y="33"/>
                    </a:cubicBezTo>
                    <a:cubicBezTo>
                      <a:pt x="31" y="26"/>
                      <a:pt x="29" y="26"/>
                      <a:pt x="27" y="20"/>
                    </a:cubicBezTo>
                    <a:cubicBezTo>
                      <a:pt x="24" y="14"/>
                      <a:pt x="13" y="0"/>
                      <a:pt x="13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6" name="Freeform 19">
                <a:extLst>
                  <a:ext uri="{FF2B5EF4-FFF2-40B4-BE49-F238E27FC236}">
                    <a16:creationId xmlns:a16="http://schemas.microsoft.com/office/drawing/2014/main" id="{36B4236A-C0D5-D34B-8510-D4A7CEFD5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" y="3271"/>
                <a:ext cx="64" cy="63"/>
              </a:xfrm>
              <a:custGeom>
                <a:avLst/>
                <a:gdLst>
                  <a:gd name="T0" fmla="*/ 7 w 253"/>
                  <a:gd name="T1" fmla="*/ 12 h 248"/>
                  <a:gd name="T2" fmla="*/ 3 w 253"/>
                  <a:gd name="T3" fmla="*/ 24 h 248"/>
                  <a:gd name="T4" fmla="*/ 9 w 253"/>
                  <a:gd name="T5" fmla="*/ 66 h 248"/>
                  <a:gd name="T6" fmla="*/ 16 w 253"/>
                  <a:gd name="T7" fmla="*/ 94 h 248"/>
                  <a:gd name="T8" fmla="*/ 31 w 253"/>
                  <a:gd name="T9" fmla="*/ 112 h 248"/>
                  <a:gd name="T10" fmla="*/ 43 w 253"/>
                  <a:gd name="T11" fmla="*/ 137 h 248"/>
                  <a:gd name="T12" fmla="*/ 52 w 253"/>
                  <a:gd name="T13" fmla="*/ 177 h 248"/>
                  <a:gd name="T14" fmla="*/ 80 w 253"/>
                  <a:gd name="T15" fmla="*/ 210 h 248"/>
                  <a:gd name="T16" fmla="*/ 102 w 253"/>
                  <a:gd name="T17" fmla="*/ 234 h 248"/>
                  <a:gd name="T18" fmla="*/ 131 w 253"/>
                  <a:gd name="T19" fmla="*/ 241 h 248"/>
                  <a:gd name="T20" fmla="*/ 153 w 253"/>
                  <a:gd name="T21" fmla="*/ 238 h 248"/>
                  <a:gd name="T22" fmla="*/ 163 w 253"/>
                  <a:gd name="T23" fmla="*/ 226 h 248"/>
                  <a:gd name="T24" fmla="*/ 174 w 253"/>
                  <a:gd name="T25" fmla="*/ 231 h 248"/>
                  <a:gd name="T26" fmla="*/ 183 w 253"/>
                  <a:gd name="T27" fmla="*/ 217 h 248"/>
                  <a:gd name="T28" fmla="*/ 179 w 253"/>
                  <a:gd name="T29" fmla="*/ 204 h 248"/>
                  <a:gd name="T30" fmla="*/ 187 w 253"/>
                  <a:gd name="T31" fmla="*/ 194 h 248"/>
                  <a:gd name="T32" fmla="*/ 203 w 253"/>
                  <a:gd name="T33" fmla="*/ 206 h 248"/>
                  <a:gd name="T34" fmla="*/ 211 w 253"/>
                  <a:gd name="T35" fmla="*/ 216 h 248"/>
                  <a:gd name="T36" fmla="*/ 220 w 253"/>
                  <a:gd name="T37" fmla="*/ 209 h 248"/>
                  <a:gd name="T38" fmla="*/ 223 w 253"/>
                  <a:gd name="T39" fmla="*/ 187 h 248"/>
                  <a:gd name="T40" fmla="*/ 227 w 253"/>
                  <a:gd name="T41" fmla="*/ 167 h 248"/>
                  <a:gd name="T42" fmla="*/ 222 w 253"/>
                  <a:gd name="T43" fmla="*/ 153 h 248"/>
                  <a:gd name="T44" fmla="*/ 233 w 253"/>
                  <a:gd name="T45" fmla="*/ 138 h 248"/>
                  <a:gd name="T46" fmla="*/ 247 w 253"/>
                  <a:gd name="T47" fmla="*/ 122 h 248"/>
                  <a:gd name="T48" fmla="*/ 245 w 253"/>
                  <a:gd name="T49" fmla="*/ 88 h 248"/>
                  <a:gd name="T50" fmla="*/ 243 w 253"/>
                  <a:gd name="T51" fmla="*/ 33 h 248"/>
                  <a:gd name="T52" fmla="*/ 222 w 253"/>
                  <a:gd name="T53" fmla="*/ 22 h 248"/>
                  <a:gd name="T54" fmla="*/ 208 w 253"/>
                  <a:gd name="T55" fmla="*/ 26 h 248"/>
                  <a:gd name="T56" fmla="*/ 192 w 253"/>
                  <a:gd name="T57" fmla="*/ 31 h 248"/>
                  <a:gd name="T58" fmla="*/ 181 w 253"/>
                  <a:gd name="T59" fmla="*/ 36 h 248"/>
                  <a:gd name="T60" fmla="*/ 151 w 253"/>
                  <a:gd name="T61" fmla="*/ 40 h 248"/>
                  <a:gd name="T62" fmla="*/ 131 w 253"/>
                  <a:gd name="T63" fmla="*/ 47 h 248"/>
                  <a:gd name="T64" fmla="*/ 118 w 253"/>
                  <a:gd name="T65" fmla="*/ 54 h 248"/>
                  <a:gd name="T66" fmla="*/ 94 w 253"/>
                  <a:gd name="T67" fmla="*/ 44 h 248"/>
                  <a:gd name="T68" fmla="*/ 78 w 253"/>
                  <a:gd name="T69" fmla="*/ 36 h 248"/>
                  <a:gd name="T70" fmla="*/ 63 w 253"/>
                  <a:gd name="T71" fmla="*/ 27 h 248"/>
                  <a:gd name="T72" fmla="*/ 29 w 253"/>
                  <a:gd name="T73" fmla="*/ 22 h 248"/>
                  <a:gd name="T74" fmla="*/ 7 w 253"/>
                  <a:gd name="T75" fmla="*/ 12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3" h="248">
                    <a:moveTo>
                      <a:pt x="7" y="12"/>
                    </a:moveTo>
                    <a:cubicBezTo>
                      <a:pt x="7" y="12"/>
                      <a:pt x="3" y="12"/>
                      <a:pt x="3" y="24"/>
                    </a:cubicBezTo>
                    <a:cubicBezTo>
                      <a:pt x="3" y="36"/>
                      <a:pt x="0" y="57"/>
                      <a:pt x="9" y="66"/>
                    </a:cubicBezTo>
                    <a:cubicBezTo>
                      <a:pt x="17" y="74"/>
                      <a:pt x="7" y="91"/>
                      <a:pt x="16" y="94"/>
                    </a:cubicBezTo>
                    <a:cubicBezTo>
                      <a:pt x="25" y="98"/>
                      <a:pt x="21" y="102"/>
                      <a:pt x="31" y="112"/>
                    </a:cubicBezTo>
                    <a:cubicBezTo>
                      <a:pt x="40" y="121"/>
                      <a:pt x="43" y="121"/>
                      <a:pt x="43" y="137"/>
                    </a:cubicBezTo>
                    <a:cubicBezTo>
                      <a:pt x="43" y="153"/>
                      <a:pt x="43" y="166"/>
                      <a:pt x="52" y="177"/>
                    </a:cubicBezTo>
                    <a:cubicBezTo>
                      <a:pt x="61" y="188"/>
                      <a:pt x="65" y="196"/>
                      <a:pt x="80" y="210"/>
                    </a:cubicBezTo>
                    <a:cubicBezTo>
                      <a:pt x="95" y="224"/>
                      <a:pt x="89" y="231"/>
                      <a:pt x="102" y="234"/>
                    </a:cubicBezTo>
                    <a:cubicBezTo>
                      <a:pt x="115" y="236"/>
                      <a:pt x="121" y="234"/>
                      <a:pt x="131" y="241"/>
                    </a:cubicBezTo>
                    <a:cubicBezTo>
                      <a:pt x="141" y="248"/>
                      <a:pt x="155" y="248"/>
                      <a:pt x="153" y="238"/>
                    </a:cubicBezTo>
                    <a:cubicBezTo>
                      <a:pt x="151" y="228"/>
                      <a:pt x="158" y="228"/>
                      <a:pt x="163" y="226"/>
                    </a:cubicBezTo>
                    <a:cubicBezTo>
                      <a:pt x="169" y="224"/>
                      <a:pt x="165" y="235"/>
                      <a:pt x="174" y="231"/>
                    </a:cubicBezTo>
                    <a:cubicBezTo>
                      <a:pt x="183" y="227"/>
                      <a:pt x="193" y="222"/>
                      <a:pt x="183" y="217"/>
                    </a:cubicBezTo>
                    <a:cubicBezTo>
                      <a:pt x="174" y="212"/>
                      <a:pt x="179" y="210"/>
                      <a:pt x="179" y="204"/>
                    </a:cubicBezTo>
                    <a:cubicBezTo>
                      <a:pt x="180" y="198"/>
                      <a:pt x="177" y="194"/>
                      <a:pt x="187" y="194"/>
                    </a:cubicBezTo>
                    <a:cubicBezTo>
                      <a:pt x="196" y="194"/>
                      <a:pt x="197" y="206"/>
                      <a:pt x="203" y="206"/>
                    </a:cubicBezTo>
                    <a:cubicBezTo>
                      <a:pt x="209" y="207"/>
                      <a:pt x="206" y="216"/>
                      <a:pt x="211" y="216"/>
                    </a:cubicBezTo>
                    <a:cubicBezTo>
                      <a:pt x="217" y="216"/>
                      <a:pt x="224" y="222"/>
                      <a:pt x="220" y="209"/>
                    </a:cubicBezTo>
                    <a:cubicBezTo>
                      <a:pt x="216" y="196"/>
                      <a:pt x="219" y="192"/>
                      <a:pt x="223" y="187"/>
                    </a:cubicBezTo>
                    <a:cubicBezTo>
                      <a:pt x="228" y="182"/>
                      <a:pt x="231" y="172"/>
                      <a:pt x="227" y="167"/>
                    </a:cubicBezTo>
                    <a:cubicBezTo>
                      <a:pt x="222" y="162"/>
                      <a:pt x="219" y="160"/>
                      <a:pt x="222" y="153"/>
                    </a:cubicBezTo>
                    <a:cubicBezTo>
                      <a:pt x="225" y="146"/>
                      <a:pt x="223" y="140"/>
                      <a:pt x="233" y="138"/>
                    </a:cubicBezTo>
                    <a:cubicBezTo>
                      <a:pt x="243" y="136"/>
                      <a:pt x="248" y="136"/>
                      <a:pt x="247" y="122"/>
                    </a:cubicBezTo>
                    <a:cubicBezTo>
                      <a:pt x="247" y="108"/>
                      <a:pt x="245" y="102"/>
                      <a:pt x="245" y="88"/>
                    </a:cubicBezTo>
                    <a:cubicBezTo>
                      <a:pt x="245" y="73"/>
                      <a:pt x="253" y="40"/>
                      <a:pt x="243" y="33"/>
                    </a:cubicBezTo>
                    <a:cubicBezTo>
                      <a:pt x="233" y="26"/>
                      <a:pt x="227" y="16"/>
                      <a:pt x="222" y="22"/>
                    </a:cubicBezTo>
                    <a:cubicBezTo>
                      <a:pt x="217" y="28"/>
                      <a:pt x="221" y="28"/>
                      <a:pt x="208" y="26"/>
                    </a:cubicBezTo>
                    <a:cubicBezTo>
                      <a:pt x="195" y="24"/>
                      <a:pt x="193" y="28"/>
                      <a:pt x="192" y="31"/>
                    </a:cubicBezTo>
                    <a:cubicBezTo>
                      <a:pt x="191" y="34"/>
                      <a:pt x="190" y="38"/>
                      <a:pt x="181" y="36"/>
                    </a:cubicBezTo>
                    <a:cubicBezTo>
                      <a:pt x="171" y="34"/>
                      <a:pt x="153" y="35"/>
                      <a:pt x="151" y="40"/>
                    </a:cubicBezTo>
                    <a:cubicBezTo>
                      <a:pt x="148" y="46"/>
                      <a:pt x="133" y="40"/>
                      <a:pt x="131" y="47"/>
                    </a:cubicBezTo>
                    <a:cubicBezTo>
                      <a:pt x="130" y="54"/>
                      <a:pt x="129" y="56"/>
                      <a:pt x="118" y="54"/>
                    </a:cubicBezTo>
                    <a:cubicBezTo>
                      <a:pt x="107" y="52"/>
                      <a:pt x="104" y="52"/>
                      <a:pt x="94" y="44"/>
                    </a:cubicBezTo>
                    <a:cubicBezTo>
                      <a:pt x="84" y="37"/>
                      <a:pt x="85" y="45"/>
                      <a:pt x="78" y="36"/>
                    </a:cubicBezTo>
                    <a:cubicBezTo>
                      <a:pt x="71" y="28"/>
                      <a:pt x="71" y="31"/>
                      <a:pt x="63" y="27"/>
                    </a:cubicBezTo>
                    <a:cubicBezTo>
                      <a:pt x="55" y="23"/>
                      <a:pt x="39" y="34"/>
                      <a:pt x="29" y="22"/>
                    </a:cubicBezTo>
                    <a:cubicBezTo>
                      <a:pt x="20" y="10"/>
                      <a:pt x="15" y="0"/>
                      <a:pt x="7" y="1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7" name="Freeform 20">
                <a:extLst>
                  <a:ext uri="{FF2B5EF4-FFF2-40B4-BE49-F238E27FC236}">
                    <a16:creationId xmlns:a16="http://schemas.microsoft.com/office/drawing/2014/main" id="{3CDC6A94-1758-C944-9003-41B440E77E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9" y="3258"/>
                <a:ext cx="14" cy="17"/>
              </a:xfrm>
              <a:custGeom>
                <a:avLst/>
                <a:gdLst>
                  <a:gd name="T0" fmla="*/ 22 w 55"/>
                  <a:gd name="T1" fmla="*/ 0 h 67"/>
                  <a:gd name="T2" fmla="*/ 8 w 55"/>
                  <a:gd name="T3" fmla="*/ 10 h 67"/>
                  <a:gd name="T4" fmla="*/ 20 w 55"/>
                  <a:gd name="T5" fmla="*/ 31 h 67"/>
                  <a:gd name="T6" fmla="*/ 33 w 55"/>
                  <a:gd name="T7" fmla="*/ 47 h 67"/>
                  <a:gd name="T8" fmla="*/ 40 w 55"/>
                  <a:gd name="T9" fmla="*/ 61 h 67"/>
                  <a:gd name="T10" fmla="*/ 47 w 55"/>
                  <a:gd name="T11" fmla="*/ 55 h 67"/>
                  <a:gd name="T12" fmla="*/ 46 w 55"/>
                  <a:gd name="T13" fmla="*/ 21 h 67"/>
                  <a:gd name="T14" fmla="*/ 22 w 55"/>
                  <a:gd name="T1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67">
                    <a:moveTo>
                      <a:pt x="22" y="0"/>
                    </a:moveTo>
                    <a:cubicBezTo>
                      <a:pt x="22" y="0"/>
                      <a:pt x="0" y="1"/>
                      <a:pt x="8" y="10"/>
                    </a:cubicBezTo>
                    <a:cubicBezTo>
                      <a:pt x="15" y="19"/>
                      <a:pt x="17" y="21"/>
                      <a:pt x="20" y="31"/>
                    </a:cubicBezTo>
                    <a:cubicBezTo>
                      <a:pt x="22" y="40"/>
                      <a:pt x="30" y="37"/>
                      <a:pt x="33" y="47"/>
                    </a:cubicBezTo>
                    <a:cubicBezTo>
                      <a:pt x="36" y="56"/>
                      <a:pt x="36" y="60"/>
                      <a:pt x="40" y="61"/>
                    </a:cubicBezTo>
                    <a:cubicBezTo>
                      <a:pt x="44" y="63"/>
                      <a:pt x="46" y="67"/>
                      <a:pt x="47" y="55"/>
                    </a:cubicBezTo>
                    <a:cubicBezTo>
                      <a:pt x="48" y="44"/>
                      <a:pt x="55" y="29"/>
                      <a:pt x="46" y="21"/>
                    </a:cubicBezTo>
                    <a:cubicBezTo>
                      <a:pt x="38" y="12"/>
                      <a:pt x="38" y="10"/>
                      <a:pt x="22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8" name="Freeform 21">
                <a:extLst>
                  <a:ext uri="{FF2B5EF4-FFF2-40B4-BE49-F238E27FC236}">
                    <a16:creationId xmlns:a16="http://schemas.microsoft.com/office/drawing/2014/main" id="{766773D6-00B2-E246-92BD-ECAA1D73F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9" y="3180"/>
                <a:ext cx="24" cy="11"/>
              </a:xfrm>
              <a:custGeom>
                <a:avLst/>
                <a:gdLst>
                  <a:gd name="T0" fmla="*/ 50 w 95"/>
                  <a:gd name="T1" fmla="*/ 3 h 44"/>
                  <a:gd name="T2" fmla="*/ 35 w 95"/>
                  <a:gd name="T3" fmla="*/ 8 h 44"/>
                  <a:gd name="T4" fmla="*/ 21 w 95"/>
                  <a:gd name="T5" fmla="*/ 14 h 44"/>
                  <a:gd name="T6" fmla="*/ 9 w 95"/>
                  <a:gd name="T7" fmla="*/ 18 h 44"/>
                  <a:gd name="T8" fmla="*/ 3 w 95"/>
                  <a:gd name="T9" fmla="*/ 27 h 44"/>
                  <a:gd name="T10" fmla="*/ 14 w 95"/>
                  <a:gd name="T11" fmla="*/ 37 h 44"/>
                  <a:gd name="T12" fmla="*/ 29 w 95"/>
                  <a:gd name="T13" fmla="*/ 42 h 44"/>
                  <a:gd name="T14" fmla="*/ 50 w 95"/>
                  <a:gd name="T15" fmla="*/ 40 h 44"/>
                  <a:gd name="T16" fmla="*/ 76 w 95"/>
                  <a:gd name="T17" fmla="*/ 32 h 44"/>
                  <a:gd name="T18" fmla="*/ 95 w 95"/>
                  <a:gd name="T19" fmla="*/ 24 h 44"/>
                  <a:gd name="T20" fmla="*/ 79 w 95"/>
                  <a:gd name="T21" fmla="*/ 16 h 44"/>
                  <a:gd name="T22" fmla="*/ 50 w 95"/>
                  <a:gd name="T23" fmla="*/ 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5" h="44">
                    <a:moveTo>
                      <a:pt x="50" y="3"/>
                    </a:moveTo>
                    <a:cubicBezTo>
                      <a:pt x="50" y="3"/>
                      <a:pt x="38" y="0"/>
                      <a:pt x="35" y="8"/>
                    </a:cubicBezTo>
                    <a:cubicBezTo>
                      <a:pt x="33" y="15"/>
                      <a:pt x="29" y="14"/>
                      <a:pt x="21" y="14"/>
                    </a:cubicBezTo>
                    <a:cubicBezTo>
                      <a:pt x="13" y="13"/>
                      <a:pt x="9" y="14"/>
                      <a:pt x="9" y="18"/>
                    </a:cubicBezTo>
                    <a:cubicBezTo>
                      <a:pt x="8" y="22"/>
                      <a:pt x="0" y="20"/>
                      <a:pt x="3" y="27"/>
                    </a:cubicBezTo>
                    <a:cubicBezTo>
                      <a:pt x="7" y="34"/>
                      <a:pt x="12" y="32"/>
                      <a:pt x="14" y="37"/>
                    </a:cubicBezTo>
                    <a:cubicBezTo>
                      <a:pt x="16" y="42"/>
                      <a:pt x="17" y="42"/>
                      <a:pt x="29" y="42"/>
                    </a:cubicBezTo>
                    <a:cubicBezTo>
                      <a:pt x="40" y="42"/>
                      <a:pt x="45" y="44"/>
                      <a:pt x="50" y="40"/>
                    </a:cubicBezTo>
                    <a:cubicBezTo>
                      <a:pt x="55" y="36"/>
                      <a:pt x="68" y="32"/>
                      <a:pt x="76" y="32"/>
                    </a:cubicBezTo>
                    <a:cubicBezTo>
                      <a:pt x="84" y="31"/>
                      <a:pt x="94" y="27"/>
                      <a:pt x="95" y="24"/>
                    </a:cubicBezTo>
                    <a:cubicBezTo>
                      <a:pt x="95" y="20"/>
                      <a:pt x="85" y="16"/>
                      <a:pt x="79" y="16"/>
                    </a:cubicBezTo>
                    <a:cubicBezTo>
                      <a:pt x="73" y="15"/>
                      <a:pt x="73" y="2"/>
                      <a:pt x="50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69" name="Freeform 22">
                <a:extLst>
                  <a:ext uri="{FF2B5EF4-FFF2-40B4-BE49-F238E27FC236}">
                    <a16:creationId xmlns:a16="http://schemas.microsoft.com/office/drawing/2014/main" id="{B8CFEA8A-8644-EC4E-9CA1-1114F8C87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" y="2761"/>
                <a:ext cx="28" cy="15"/>
              </a:xfrm>
              <a:custGeom>
                <a:avLst/>
                <a:gdLst>
                  <a:gd name="T0" fmla="*/ 54 w 112"/>
                  <a:gd name="T1" fmla="*/ 18 h 58"/>
                  <a:gd name="T2" fmla="*/ 44 w 112"/>
                  <a:gd name="T3" fmla="*/ 10 h 58"/>
                  <a:gd name="T4" fmla="*/ 30 w 112"/>
                  <a:gd name="T5" fmla="*/ 7 h 58"/>
                  <a:gd name="T6" fmla="*/ 21 w 112"/>
                  <a:gd name="T7" fmla="*/ 16 h 58"/>
                  <a:gd name="T8" fmla="*/ 13 w 112"/>
                  <a:gd name="T9" fmla="*/ 28 h 58"/>
                  <a:gd name="T10" fmla="*/ 10 w 112"/>
                  <a:gd name="T11" fmla="*/ 43 h 58"/>
                  <a:gd name="T12" fmla="*/ 35 w 112"/>
                  <a:gd name="T13" fmla="*/ 46 h 58"/>
                  <a:gd name="T14" fmla="*/ 57 w 112"/>
                  <a:gd name="T15" fmla="*/ 50 h 58"/>
                  <a:gd name="T16" fmla="*/ 74 w 112"/>
                  <a:gd name="T17" fmla="*/ 53 h 58"/>
                  <a:gd name="T18" fmla="*/ 87 w 112"/>
                  <a:gd name="T19" fmla="*/ 46 h 58"/>
                  <a:gd name="T20" fmla="*/ 101 w 112"/>
                  <a:gd name="T21" fmla="*/ 34 h 58"/>
                  <a:gd name="T22" fmla="*/ 111 w 112"/>
                  <a:gd name="T23" fmla="*/ 21 h 58"/>
                  <a:gd name="T24" fmla="*/ 102 w 112"/>
                  <a:gd name="T25" fmla="*/ 12 h 58"/>
                  <a:gd name="T26" fmla="*/ 84 w 112"/>
                  <a:gd name="T27" fmla="*/ 4 h 58"/>
                  <a:gd name="T28" fmla="*/ 78 w 112"/>
                  <a:gd name="T29" fmla="*/ 12 h 58"/>
                  <a:gd name="T30" fmla="*/ 54 w 112"/>
                  <a:gd name="T31" fmla="*/ 1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2" h="58">
                    <a:moveTo>
                      <a:pt x="54" y="18"/>
                    </a:moveTo>
                    <a:cubicBezTo>
                      <a:pt x="54" y="18"/>
                      <a:pt x="48" y="15"/>
                      <a:pt x="44" y="10"/>
                    </a:cubicBezTo>
                    <a:cubicBezTo>
                      <a:pt x="39" y="4"/>
                      <a:pt x="31" y="0"/>
                      <a:pt x="30" y="7"/>
                    </a:cubicBezTo>
                    <a:cubicBezTo>
                      <a:pt x="30" y="15"/>
                      <a:pt x="28" y="16"/>
                      <a:pt x="21" y="16"/>
                    </a:cubicBezTo>
                    <a:cubicBezTo>
                      <a:pt x="14" y="16"/>
                      <a:pt x="12" y="22"/>
                      <a:pt x="13" y="28"/>
                    </a:cubicBezTo>
                    <a:cubicBezTo>
                      <a:pt x="13" y="33"/>
                      <a:pt x="0" y="41"/>
                      <a:pt x="10" y="43"/>
                    </a:cubicBezTo>
                    <a:cubicBezTo>
                      <a:pt x="20" y="45"/>
                      <a:pt x="28" y="40"/>
                      <a:pt x="35" y="46"/>
                    </a:cubicBezTo>
                    <a:cubicBezTo>
                      <a:pt x="42" y="51"/>
                      <a:pt x="50" y="43"/>
                      <a:pt x="57" y="50"/>
                    </a:cubicBezTo>
                    <a:cubicBezTo>
                      <a:pt x="63" y="56"/>
                      <a:pt x="71" y="58"/>
                      <a:pt x="74" y="53"/>
                    </a:cubicBezTo>
                    <a:cubicBezTo>
                      <a:pt x="76" y="48"/>
                      <a:pt x="79" y="46"/>
                      <a:pt x="87" y="46"/>
                    </a:cubicBezTo>
                    <a:cubicBezTo>
                      <a:pt x="95" y="46"/>
                      <a:pt x="94" y="37"/>
                      <a:pt x="101" y="34"/>
                    </a:cubicBezTo>
                    <a:cubicBezTo>
                      <a:pt x="108" y="32"/>
                      <a:pt x="111" y="28"/>
                      <a:pt x="111" y="21"/>
                    </a:cubicBezTo>
                    <a:cubicBezTo>
                      <a:pt x="112" y="13"/>
                      <a:pt x="106" y="20"/>
                      <a:pt x="102" y="12"/>
                    </a:cubicBezTo>
                    <a:cubicBezTo>
                      <a:pt x="99" y="4"/>
                      <a:pt x="89" y="3"/>
                      <a:pt x="84" y="4"/>
                    </a:cubicBezTo>
                    <a:cubicBezTo>
                      <a:pt x="79" y="4"/>
                      <a:pt x="84" y="11"/>
                      <a:pt x="78" y="12"/>
                    </a:cubicBezTo>
                    <a:cubicBezTo>
                      <a:pt x="71" y="12"/>
                      <a:pt x="70" y="20"/>
                      <a:pt x="54" y="1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0" name="Freeform 23">
                <a:extLst>
                  <a:ext uri="{FF2B5EF4-FFF2-40B4-BE49-F238E27FC236}">
                    <a16:creationId xmlns:a16="http://schemas.microsoft.com/office/drawing/2014/main" id="{2610D23A-2900-9047-94C8-4C372BC9BE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0" y="2760"/>
                <a:ext cx="18" cy="10"/>
              </a:xfrm>
              <a:custGeom>
                <a:avLst/>
                <a:gdLst>
                  <a:gd name="T0" fmla="*/ 20 w 68"/>
                  <a:gd name="T1" fmla="*/ 2 h 38"/>
                  <a:gd name="T2" fmla="*/ 7 w 68"/>
                  <a:gd name="T3" fmla="*/ 12 h 38"/>
                  <a:gd name="T4" fmla="*/ 22 w 68"/>
                  <a:gd name="T5" fmla="*/ 23 h 38"/>
                  <a:gd name="T6" fmla="*/ 40 w 68"/>
                  <a:gd name="T7" fmla="*/ 34 h 38"/>
                  <a:gd name="T8" fmla="*/ 62 w 68"/>
                  <a:gd name="T9" fmla="*/ 29 h 38"/>
                  <a:gd name="T10" fmla="*/ 60 w 68"/>
                  <a:gd name="T11" fmla="*/ 13 h 38"/>
                  <a:gd name="T12" fmla="*/ 45 w 68"/>
                  <a:gd name="T13" fmla="*/ 1 h 38"/>
                  <a:gd name="T14" fmla="*/ 20 w 68"/>
                  <a:gd name="T15" fmla="*/ 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8" h="38">
                    <a:moveTo>
                      <a:pt x="20" y="2"/>
                    </a:moveTo>
                    <a:cubicBezTo>
                      <a:pt x="20" y="2"/>
                      <a:pt x="0" y="6"/>
                      <a:pt x="7" y="12"/>
                    </a:cubicBezTo>
                    <a:cubicBezTo>
                      <a:pt x="13" y="19"/>
                      <a:pt x="17" y="17"/>
                      <a:pt x="22" y="23"/>
                    </a:cubicBezTo>
                    <a:cubicBezTo>
                      <a:pt x="26" y="29"/>
                      <a:pt x="34" y="34"/>
                      <a:pt x="40" y="34"/>
                    </a:cubicBezTo>
                    <a:cubicBezTo>
                      <a:pt x="47" y="34"/>
                      <a:pt x="64" y="38"/>
                      <a:pt x="62" y="29"/>
                    </a:cubicBezTo>
                    <a:cubicBezTo>
                      <a:pt x="60" y="20"/>
                      <a:pt x="68" y="17"/>
                      <a:pt x="60" y="13"/>
                    </a:cubicBezTo>
                    <a:cubicBezTo>
                      <a:pt x="53" y="10"/>
                      <a:pt x="53" y="1"/>
                      <a:pt x="45" y="1"/>
                    </a:cubicBezTo>
                    <a:cubicBezTo>
                      <a:pt x="37" y="1"/>
                      <a:pt x="34" y="0"/>
                      <a:pt x="20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1" name="Freeform 24">
                <a:extLst>
                  <a:ext uri="{FF2B5EF4-FFF2-40B4-BE49-F238E27FC236}">
                    <a16:creationId xmlns:a16="http://schemas.microsoft.com/office/drawing/2014/main" id="{CE02ECD0-9F55-3D4D-8DD0-AB674ACAB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2" y="2758"/>
                <a:ext cx="12" cy="13"/>
              </a:xfrm>
              <a:custGeom>
                <a:avLst/>
                <a:gdLst>
                  <a:gd name="T0" fmla="*/ 32 w 44"/>
                  <a:gd name="T1" fmla="*/ 10 h 52"/>
                  <a:gd name="T2" fmla="*/ 21 w 44"/>
                  <a:gd name="T3" fmla="*/ 29 h 52"/>
                  <a:gd name="T4" fmla="*/ 10 w 44"/>
                  <a:gd name="T5" fmla="*/ 39 h 52"/>
                  <a:gd name="T6" fmla="*/ 5 w 44"/>
                  <a:gd name="T7" fmla="*/ 49 h 52"/>
                  <a:gd name="T8" fmla="*/ 13 w 44"/>
                  <a:gd name="T9" fmla="*/ 45 h 52"/>
                  <a:gd name="T10" fmla="*/ 32 w 44"/>
                  <a:gd name="T11" fmla="*/ 33 h 52"/>
                  <a:gd name="T12" fmla="*/ 38 w 44"/>
                  <a:gd name="T13" fmla="*/ 20 h 52"/>
                  <a:gd name="T14" fmla="*/ 32 w 44"/>
                  <a:gd name="T15" fmla="*/ 1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52">
                    <a:moveTo>
                      <a:pt x="32" y="10"/>
                    </a:moveTo>
                    <a:cubicBezTo>
                      <a:pt x="32" y="10"/>
                      <a:pt x="27" y="24"/>
                      <a:pt x="21" y="29"/>
                    </a:cubicBezTo>
                    <a:cubicBezTo>
                      <a:pt x="15" y="33"/>
                      <a:pt x="14" y="37"/>
                      <a:pt x="10" y="39"/>
                    </a:cubicBezTo>
                    <a:cubicBezTo>
                      <a:pt x="6" y="41"/>
                      <a:pt x="0" y="46"/>
                      <a:pt x="5" y="49"/>
                    </a:cubicBezTo>
                    <a:cubicBezTo>
                      <a:pt x="9" y="52"/>
                      <a:pt x="8" y="49"/>
                      <a:pt x="13" y="45"/>
                    </a:cubicBezTo>
                    <a:cubicBezTo>
                      <a:pt x="19" y="40"/>
                      <a:pt x="29" y="41"/>
                      <a:pt x="32" y="33"/>
                    </a:cubicBezTo>
                    <a:cubicBezTo>
                      <a:pt x="35" y="24"/>
                      <a:pt x="33" y="24"/>
                      <a:pt x="38" y="20"/>
                    </a:cubicBezTo>
                    <a:cubicBezTo>
                      <a:pt x="44" y="15"/>
                      <a:pt x="38" y="0"/>
                      <a:pt x="32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2" name="Freeform 25">
                <a:extLst>
                  <a:ext uri="{FF2B5EF4-FFF2-40B4-BE49-F238E27FC236}">
                    <a16:creationId xmlns:a16="http://schemas.microsoft.com/office/drawing/2014/main" id="{E75FC778-46D1-4C46-9384-00BB19698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" y="2803"/>
                <a:ext cx="11" cy="11"/>
              </a:xfrm>
              <a:custGeom>
                <a:avLst/>
                <a:gdLst>
                  <a:gd name="T0" fmla="*/ 24 w 46"/>
                  <a:gd name="T1" fmla="*/ 4 h 44"/>
                  <a:gd name="T2" fmla="*/ 10 w 46"/>
                  <a:gd name="T3" fmla="*/ 10 h 44"/>
                  <a:gd name="T4" fmla="*/ 12 w 46"/>
                  <a:gd name="T5" fmla="*/ 33 h 44"/>
                  <a:gd name="T6" fmla="*/ 27 w 46"/>
                  <a:gd name="T7" fmla="*/ 38 h 44"/>
                  <a:gd name="T8" fmla="*/ 41 w 46"/>
                  <a:gd name="T9" fmla="*/ 41 h 44"/>
                  <a:gd name="T10" fmla="*/ 40 w 46"/>
                  <a:gd name="T11" fmla="*/ 30 h 44"/>
                  <a:gd name="T12" fmla="*/ 35 w 46"/>
                  <a:gd name="T13" fmla="*/ 19 h 44"/>
                  <a:gd name="T14" fmla="*/ 42 w 46"/>
                  <a:gd name="T15" fmla="*/ 10 h 44"/>
                  <a:gd name="T16" fmla="*/ 24 w 46"/>
                  <a:gd name="T17" fmla="*/ 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44">
                    <a:moveTo>
                      <a:pt x="24" y="4"/>
                    </a:moveTo>
                    <a:cubicBezTo>
                      <a:pt x="24" y="4"/>
                      <a:pt x="8" y="0"/>
                      <a:pt x="10" y="10"/>
                    </a:cubicBezTo>
                    <a:cubicBezTo>
                      <a:pt x="12" y="20"/>
                      <a:pt x="0" y="30"/>
                      <a:pt x="12" y="33"/>
                    </a:cubicBezTo>
                    <a:cubicBezTo>
                      <a:pt x="23" y="36"/>
                      <a:pt x="25" y="34"/>
                      <a:pt x="27" y="38"/>
                    </a:cubicBezTo>
                    <a:cubicBezTo>
                      <a:pt x="28" y="43"/>
                      <a:pt x="40" y="44"/>
                      <a:pt x="41" y="41"/>
                    </a:cubicBezTo>
                    <a:cubicBezTo>
                      <a:pt x="43" y="37"/>
                      <a:pt x="46" y="32"/>
                      <a:pt x="40" y="30"/>
                    </a:cubicBezTo>
                    <a:cubicBezTo>
                      <a:pt x="33" y="28"/>
                      <a:pt x="29" y="21"/>
                      <a:pt x="35" y="19"/>
                    </a:cubicBezTo>
                    <a:cubicBezTo>
                      <a:pt x="40" y="17"/>
                      <a:pt x="44" y="17"/>
                      <a:pt x="42" y="10"/>
                    </a:cubicBezTo>
                    <a:cubicBezTo>
                      <a:pt x="39" y="2"/>
                      <a:pt x="33" y="4"/>
                      <a:pt x="24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3" name="Freeform 26">
                <a:extLst>
                  <a:ext uri="{FF2B5EF4-FFF2-40B4-BE49-F238E27FC236}">
                    <a16:creationId xmlns:a16="http://schemas.microsoft.com/office/drawing/2014/main" id="{7DBD5ADC-7AB7-3A46-A22D-7243ADDFE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0" y="2848"/>
                <a:ext cx="13" cy="7"/>
              </a:xfrm>
              <a:custGeom>
                <a:avLst/>
                <a:gdLst>
                  <a:gd name="T0" fmla="*/ 25 w 53"/>
                  <a:gd name="T1" fmla="*/ 0 h 31"/>
                  <a:gd name="T2" fmla="*/ 12 w 53"/>
                  <a:gd name="T3" fmla="*/ 6 h 31"/>
                  <a:gd name="T4" fmla="*/ 4 w 53"/>
                  <a:gd name="T5" fmla="*/ 19 h 31"/>
                  <a:gd name="T6" fmla="*/ 20 w 53"/>
                  <a:gd name="T7" fmla="*/ 23 h 31"/>
                  <a:gd name="T8" fmla="*/ 36 w 53"/>
                  <a:gd name="T9" fmla="*/ 11 h 31"/>
                  <a:gd name="T10" fmla="*/ 45 w 53"/>
                  <a:gd name="T11" fmla="*/ 4 h 31"/>
                  <a:gd name="T12" fmla="*/ 25 w 53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31">
                    <a:moveTo>
                      <a:pt x="25" y="0"/>
                    </a:moveTo>
                    <a:cubicBezTo>
                      <a:pt x="25" y="0"/>
                      <a:pt x="14" y="2"/>
                      <a:pt x="12" y="6"/>
                    </a:cubicBezTo>
                    <a:cubicBezTo>
                      <a:pt x="10" y="11"/>
                      <a:pt x="0" y="10"/>
                      <a:pt x="4" y="19"/>
                    </a:cubicBezTo>
                    <a:cubicBezTo>
                      <a:pt x="8" y="27"/>
                      <a:pt x="18" y="31"/>
                      <a:pt x="20" y="23"/>
                    </a:cubicBezTo>
                    <a:cubicBezTo>
                      <a:pt x="22" y="15"/>
                      <a:pt x="31" y="11"/>
                      <a:pt x="36" y="11"/>
                    </a:cubicBezTo>
                    <a:cubicBezTo>
                      <a:pt x="42" y="11"/>
                      <a:pt x="53" y="7"/>
                      <a:pt x="45" y="4"/>
                    </a:cubicBezTo>
                    <a:cubicBezTo>
                      <a:pt x="37" y="1"/>
                      <a:pt x="34" y="0"/>
                      <a:pt x="25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4" name="Freeform 27">
                <a:extLst>
                  <a:ext uri="{FF2B5EF4-FFF2-40B4-BE49-F238E27FC236}">
                    <a16:creationId xmlns:a16="http://schemas.microsoft.com/office/drawing/2014/main" id="{229697AC-751A-4A4D-967A-8652152AF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9" y="2989"/>
                <a:ext cx="5" cy="10"/>
              </a:xfrm>
              <a:custGeom>
                <a:avLst/>
                <a:gdLst>
                  <a:gd name="T0" fmla="*/ 12 w 18"/>
                  <a:gd name="T1" fmla="*/ 3 h 41"/>
                  <a:gd name="T2" fmla="*/ 8 w 18"/>
                  <a:gd name="T3" fmla="*/ 14 h 41"/>
                  <a:gd name="T4" fmla="*/ 5 w 18"/>
                  <a:gd name="T5" fmla="*/ 23 h 41"/>
                  <a:gd name="T6" fmla="*/ 3 w 18"/>
                  <a:gd name="T7" fmla="*/ 38 h 41"/>
                  <a:gd name="T8" fmla="*/ 16 w 18"/>
                  <a:gd name="T9" fmla="*/ 30 h 41"/>
                  <a:gd name="T10" fmla="*/ 12 w 18"/>
                  <a:gd name="T11" fmla="*/ 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41">
                    <a:moveTo>
                      <a:pt x="12" y="3"/>
                    </a:moveTo>
                    <a:cubicBezTo>
                      <a:pt x="12" y="3"/>
                      <a:pt x="7" y="10"/>
                      <a:pt x="8" y="14"/>
                    </a:cubicBezTo>
                    <a:cubicBezTo>
                      <a:pt x="8" y="19"/>
                      <a:pt x="10" y="22"/>
                      <a:pt x="5" y="23"/>
                    </a:cubicBezTo>
                    <a:cubicBezTo>
                      <a:pt x="0" y="24"/>
                      <a:pt x="0" y="38"/>
                      <a:pt x="3" y="38"/>
                    </a:cubicBezTo>
                    <a:cubicBezTo>
                      <a:pt x="6" y="38"/>
                      <a:pt x="14" y="41"/>
                      <a:pt x="16" y="30"/>
                    </a:cubicBezTo>
                    <a:cubicBezTo>
                      <a:pt x="18" y="20"/>
                      <a:pt x="18" y="0"/>
                      <a:pt x="12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5" name="Freeform 28">
                <a:extLst>
                  <a:ext uri="{FF2B5EF4-FFF2-40B4-BE49-F238E27FC236}">
                    <a16:creationId xmlns:a16="http://schemas.microsoft.com/office/drawing/2014/main" id="{B29F7923-D62E-8B44-BD0F-295E10B8AB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7" y="2920"/>
                <a:ext cx="2" cy="3"/>
              </a:xfrm>
              <a:custGeom>
                <a:avLst/>
                <a:gdLst>
                  <a:gd name="T0" fmla="*/ 4 w 8"/>
                  <a:gd name="T1" fmla="*/ 3 h 12"/>
                  <a:gd name="T2" fmla="*/ 0 w 8"/>
                  <a:gd name="T3" fmla="*/ 7 h 12"/>
                  <a:gd name="T4" fmla="*/ 5 w 8"/>
                  <a:gd name="T5" fmla="*/ 12 h 12"/>
                  <a:gd name="T6" fmla="*/ 4 w 8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2">
                    <a:moveTo>
                      <a:pt x="4" y="3"/>
                    </a:moveTo>
                    <a:cubicBezTo>
                      <a:pt x="4" y="3"/>
                      <a:pt x="0" y="4"/>
                      <a:pt x="0" y="7"/>
                    </a:cubicBezTo>
                    <a:cubicBezTo>
                      <a:pt x="1" y="10"/>
                      <a:pt x="4" y="12"/>
                      <a:pt x="5" y="12"/>
                    </a:cubicBezTo>
                    <a:cubicBezTo>
                      <a:pt x="7" y="12"/>
                      <a:pt x="8" y="0"/>
                      <a:pt x="4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6" name="Freeform 29">
                <a:extLst>
                  <a:ext uri="{FF2B5EF4-FFF2-40B4-BE49-F238E27FC236}">
                    <a16:creationId xmlns:a16="http://schemas.microsoft.com/office/drawing/2014/main" id="{13F6F7AA-80CB-F54A-9E37-C5F8A296B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2" y="3268"/>
                <a:ext cx="129" cy="128"/>
              </a:xfrm>
              <a:custGeom>
                <a:avLst/>
                <a:gdLst>
                  <a:gd name="T0" fmla="*/ 275 w 512"/>
                  <a:gd name="T1" fmla="*/ 194 h 504"/>
                  <a:gd name="T2" fmla="*/ 227 w 512"/>
                  <a:gd name="T3" fmla="*/ 236 h 504"/>
                  <a:gd name="T4" fmla="*/ 178 w 512"/>
                  <a:gd name="T5" fmla="*/ 260 h 504"/>
                  <a:gd name="T6" fmla="*/ 147 w 512"/>
                  <a:gd name="T7" fmla="*/ 280 h 504"/>
                  <a:gd name="T8" fmla="*/ 107 w 512"/>
                  <a:gd name="T9" fmla="*/ 306 h 504"/>
                  <a:gd name="T10" fmla="*/ 71 w 512"/>
                  <a:gd name="T11" fmla="*/ 352 h 504"/>
                  <a:gd name="T12" fmla="*/ 47 w 512"/>
                  <a:gd name="T13" fmla="*/ 365 h 504"/>
                  <a:gd name="T14" fmla="*/ 39 w 512"/>
                  <a:gd name="T15" fmla="*/ 388 h 504"/>
                  <a:gd name="T16" fmla="*/ 22 w 512"/>
                  <a:gd name="T17" fmla="*/ 402 h 504"/>
                  <a:gd name="T18" fmla="*/ 0 w 512"/>
                  <a:gd name="T19" fmla="*/ 422 h 504"/>
                  <a:gd name="T20" fmla="*/ 15 w 512"/>
                  <a:gd name="T21" fmla="*/ 450 h 504"/>
                  <a:gd name="T22" fmla="*/ 54 w 512"/>
                  <a:gd name="T23" fmla="*/ 464 h 504"/>
                  <a:gd name="T24" fmla="*/ 74 w 512"/>
                  <a:gd name="T25" fmla="*/ 458 h 504"/>
                  <a:gd name="T26" fmla="*/ 95 w 512"/>
                  <a:gd name="T27" fmla="*/ 476 h 504"/>
                  <a:gd name="T28" fmla="*/ 119 w 512"/>
                  <a:gd name="T29" fmla="*/ 484 h 504"/>
                  <a:gd name="T30" fmla="*/ 142 w 512"/>
                  <a:gd name="T31" fmla="*/ 493 h 504"/>
                  <a:gd name="T32" fmla="*/ 203 w 512"/>
                  <a:gd name="T33" fmla="*/ 489 h 504"/>
                  <a:gd name="T34" fmla="*/ 250 w 512"/>
                  <a:gd name="T35" fmla="*/ 442 h 504"/>
                  <a:gd name="T36" fmla="*/ 282 w 512"/>
                  <a:gd name="T37" fmla="*/ 408 h 504"/>
                  <a:gd name="T38" fmla="*/ 307 w 512"/>
                  <a:gd name="T39" fmla="*/ 349 h 504"/>
                  <a:gd name="T40" fmla="*/ 347 w 512"/>
                  <a:gd name="T41" fmla="*/ 288 h 504"/>
                  <a:gd name="T42" fmla="*/ 407 w 512"/>
                  <a:gd name="T43" fmla="*/ 276 h 504"/>
                  <a:gd name="T44" fmla="*/ 426 w 512"/>
                  <a:gd name="T45" fmla="*/ 260 h 504"/>
                  <a:gd name="T46" fmla="*/ 406 w 512"/>
                  <a:gd name="T47" fmla="*/ 226 h 504"/>
                  <a:gd name="T48" fmla="*/ 443 w 512"/>
                  <a:gd name="T49" fmla="*/ 189 h 504"/>
                  <a:gd name="T50" fmla="*/ 476 w 512"/>
                  <a:gd name="T51" fmla="*/ 148 h 504"/>
                  <a:gd name="T52" fmla="*/ 502 w 512"/>
                  <a:gd name="T53" fmla="*/ 113 h 504"/>
                  <a:gd name="T54" fmla="*/ 496 w 512"/>
                  <a:gd name="T55" fmla="*/ 70 h 504"/>
                  <a:gd name="T56" fmla="*/ 502 w 512"/>
                  <a:gd name="T57" fmla="*/ 57 h 504"/>
                  <a:gd name="T58" fmla="*/ 482 w 512"/>
                  <a:gd name="T59" fmla="*/ 66 h 504"/>
                  <a:gd name="T60" fmla="*/ 486 w 512"/>
                  <a:gd name="T61" fmla="*/ 33 h 504"/>
                  <a:gd name="T62" fmla="*/ 464 w 512"/>
                  <a:gd name="T63" fmla="*/ 50 h 504"/>
                  <a:gd name="T64" fmla="*/ 426 w 512"/>
                  <a:gd name="T65" fmla="*/ 66 h 504"/>
                  <a:gd name="T66" fmla="*/ 415 w 512"/>
                  <a:gd name="T67" fmla="*/ 29 h 504"/>
                  <a:gd name="T68" fmla="*/ 415 w 512"/>
                  <a:gd name="T69" fmla="*/ 16 h 504"/>
                  <a:gd name="T70" fmla="*/ 399 w 512"/>
                  <a:gd name="T71" fmla="*/ 12 h 504"/>
                  <a:gd name="T72" fmla="*/ 372 w 512"/>
                  <a:gd name="T73" fmla="*/ 32 h 504"/>
                  <a:gd name="T74" fmla="*/ 363 w 512"/>
                  <a:gd name="T75" fmla="*/ 61 h 504"/>
                  <a:gd name="T76" fmla="*/ 348 w 512"/>
                  <a:gd name="T77" fmla="*/ 98 h 504"/>
                  <a:gd name="T78" fmla="*/ 311 w 512"/>
                  <a:gd name="T79" fmla="*/ 136 h 504"/>
                  <a:gd name="T80" fmla="*/ 275 w 512"/>
                  <a:gd name="T81" fmla="*/ 194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2" h="504">
                    <a:moveTo>
                      <a:pt x="275" y="194"/>
                    </a:moveTo>
                    <a:cubicBezTo>
                      <a:pt x="275" y="194"/>
                      <a:pt x="244" y="225"/>
                      <a:pt x="227" y="236"/>
                    </a:cubicBezTo>
                    <a:cubicBezTo>
                      <a:pt x="210" y="246"/>
                      <a:pt x="190" y="249"/>
                      <a:pt x="178" y="260"/>
                    </a:cubicBezTo>
                    <a:cubicBezTo>
                      <a:pt x="166" y="270"/>
                      <a:pt x="164" y="280"/>
                      <a:pt x="147" y="280"/>
                    </a:cubicBezTo>
                    <a:cubicBezTo>
                      <a:pt x="130" y="280"/>
                      <a:pt x="116" y="286"/>
                      <a:pt x="107" y="306"/>
                    </a:cubicBezTo>
                    <a:cubicBezTo>
                      <a:pt x="98" y="326"/>
                      <a:pt x="74" y="341"/>
                      <a:pt x="71" y="352"/>
                    </a:cubicBezTo>
                    <a:cubicBezTo>
                      <a:pt x="68" y="362"/>
                      <a:pt x="56" y="361"/>
                      <a:pt x="47" y="365"/>
                    </a:cubicBezTo>
                    <a:cubicBezTo>
                      <a:pt x="38" y="369"/>
                      <a:pt x="39" y="374"/>
                      <a:pt x="39" y="388"/>
                    </a:cubicBezTo>
                    <a:cubicBezTo>
                      <a:pt x="39" y="401"/>
                      <a:pt x="23" y="390"/>
                      <a:pt x="22" y="402"/>
                    </a:cubicBezTo>
                    <a:cubicBezTo>
                      <a:pt x="20" y="414"/>
                      <a:pt x="0" y="396"/>
                      <a:pt x="0" y="422"/>
                    </a:cubicBezTo>
                    <a:cubicBezTo>
                      <a:pt x="0" y="449"/>
                      <a:pt x="2" y="445"/>
                      <a:pt x="15" y="450"/>
                    </a:cubicBezTo>
                    <a:cubicBezTo>
                      <a:pt x="28" y="456"/>
                      <a:pt x="50" y="478"/>
                      <a:pt x="54" y="464"/>
                    </a:cubicBezTo>
                    <a:cubicBezTo>
                      <a:pt x="58" y="449"/>
                      <a:pt x="67" y="448"/>
                      <a:pt x="74" y="458"/>
                    </a:cubicBezTo>
                    <a:cubicBezTo>
                      <a:pt x="80" y="469"/>
                      <a:pt x="83" y="476"/>
                      <a:pt x="95" y="476"/>
                    </a:cubicBezTo>
                    <a:cubicBezTo>
                      <a:pt x="107" y="476"/>
                      <a:pt x="116" y="480"/>
                      <a:pt x="119" y="484"/>
                    </a:cubicBezTo>
                    <a:cubicBezTo>
                      <a:pt x="122" y="488"/>
                      <a:pt x="131" y="493"/>
                      <a:pt x="142" y="493"/>
                    </a:cubicBezTo>
                    <a:cubicBezTo>
                      <a:pt x="152" y="493"/>
                      <a:pt x="194" y="504"/>
                      <a:pt x="203" y="489"/>
                    </a:cubicBezTo>
                    <a:cubicBezTo>
                      <a:pt x="212" y="474"/>
                      <a:pt x="234" y="450"/>
                      <a:pt x="250" y="442"/>
                    </a:cubicBezTo>
                    <a:cubicBezTo>
                      <a:pt x="266" y="434"/>
                      <a:pt x="275" y="430"/>
                      <a:pt x="282" y="408"/>
                    </a:cubicBezTo>
                    <a:cubicBezTo>
                      <a:pt x="288" y="385"/>
                      <a:pt x="304" y="374"/>
                      <a:pt x="307" y="349"/>
                    </a:cubicBezTo>
                    <a:cubicBezTo>
                      <a:pt x="310" y="324"/>
                      <a:pt x="322" y="293"/>
                      <a:pt x="347" y="288"/>
                    </a:cubicBezTo>
                    <a:cubicBezTo>
                      <a:pt x="372" y="282"/>
                      <a:pt x="386" y="276"/>
                      <a:pt x="407" y="276"/>
                    </a:cubicBezTo>
                    <a:cubicBezTo>
                      <a:pt x="428" y="276"/>
                      <a:pt x="436" y="270"/>
                      <a:pt x="426" y="260"/>
                    </a:cubicBezTo>
                    <a:cubicBezTo>
                      <a:pt x="415" y="249"/>
                      <a:pt x="391" y="236"/>
                      <a:pt x="406" y="226"/>
                    </a:cubicBezTo>
                    <a:cubicBezTo>
                      <a:pt x="420" y="217"/>
                      <a:pt x="438" y="208"/>
                      <a:pt x="443" y="189"/>
                    </a:cubicBezTo>
                    <a:cubicBezTo>
                      <a:pt x="448" y="170"/>
                      <a:pt x="460" y="156"/>
                      <a:pt x="476" y="148"/>
                    </a:cubicBezTo>
                    <a:cubicBezTo>
                      <a:pt x="492" y="140"/>
                      <a:pt x="502" y="128"/>
                      <a:pt x="502" y="113"/>
                    </a:cubicBezTo>
                    <a:cubicBezTo>
                      <a:pt x="502" y="98"/>
                      <a:pt x="488" y="78"/>
                      <a:pt x="496" y="70"/>
                    </a:cubicBezTo>
                    <a:cubicBezTo>
                      <a:pt x="504" y="62"/>
                      <a:pt x="512" y="58"/>
                      <a:pt x="502" y="57"/>
                    </a:cubicBezTo>
                    <a:cubicBezTo>
                      <a:pt x="491" y="56"/>
                      <a:pt x="488" y="77"/>
                      <a:pt x="482" y="66"/>
                    </a:cubicBezTo>
                    <a:cubicBezTo>
                      <a:pt x="475" y="56"/>
                      <a:pt x="494" y="44"/>
                      <a:pt x="486" y="33"/>
                    </a:cubicBezTo>
                    <a:cubicBezTo>
                      <a:pt x="478" y="22"/>
                      <a:pt x="478" y="46"/>
                      <a:pt x="464" y="50"/>
                    </a:cubicBezTo>
                    <a:cubicBezTo>
                      <a:pt x="451" y="54"/>
                      <a:pt x="431" y="90"/>
                      <a:pt x="426" y="66"/>
                    </a:cubicBezTo>
                    <a:cubicBezTo>
                      <a:pt x="420" y="42"/>
                      <a:pt x="423" y="32"/>
                      <a:pt x="415" y="29"/>
                    </a:cubicBezTo>
                    <a:cubicBezTo>
                      <a:pt x="407" y="26"/>
                      <a:pt x="404" y="22"/>
                      <a:pt x="415" y="16"/>
                    </a:cubicBezTo>
                    <a:cubicBezTo>
                      <a:pt x="426" y="9"/>
                      <a:pt x="410" y="0"/>
                      <a:pt x="399" y="12"/>
                    </a:cubicBezTo>
                    <a:cubicBezTo>
                      <a:pt x="388" y="24"/>
                      <a:pt x="378" y="25"/>
                      <a:pt x="372" y="32"/>
                    </a:cubicBezTo>
                    <a:cubicBezTo>
                      <a:pt x="367" y="38"/>
                      <a:pt x="360" y="38"/>
                      <a:pt x="363" y="61"/>
                    </a:cubicBezTo>
                    <a:cubicBezTo>
                      <a:pt x="366" y="84"/>
                      <a:pt x="368" y="88"/>
                      <a:pt x="348" y="98"/>
                    </a:cubicBezTo>
                    <a:cubicBezTo>
                      <a:pt x="328" y="109"/>
                      <a:pt x="316" y="110"/>
                      <a:pt x="311" y="136"/>
                    </a:cubicBezTo>
                    <a:cubicBezTo>
                      <a:pt x="306" y="161"/>
                      <a:pt x="291" y="181"/>
                      <a:pt x="275" y="19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7" name="Freeform 30">
                <a:extLst>
                  <a:ext uri="{FF2B5EF4-FFF2-40B4-BE49-F238E27FC236}">
                    <a16:creationId xmlns:a16="http://schemas.microsoft.com/office/drawing/2014/main" id="{1E4973F7-038C-7944-A974-F114B9786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2" y="3157"/>
                <a:ext cx="96" cy="137"/>
              </a:xfrm>
              <a:custGeom>
                <a:avLst/>
                <a:gdLst>
                  <a:gd name="T0" fmla="*/ 16 w 382"/>
                  <a:gd name="T1" fmla="*/ 26 h 542"/>
                  <a:gd name="T2" fmla="*/ 31 w 382"/>
                  <a:gd name="T3" fmla="*/ 60 h 542"/>
                  <a:gd name="T4" fmla="*/ 54 w 382"/>
                  <a:gd name="T5" fmla="*/ 93 h 542"/>
                  <a:gd name="T6" fmla="*/ 74 w 382"/>
                  <a:gd name="T7" fmla="*/ 128 h 542"/>
                  <a:gd name="T8" fmla="*/ 94 w 382"/>
                  <a:gd name="T9" fmla="*/ 138 h 542"/>
                  <a:gd name="T10" fmla="*/ 104 w 382"/>
                  <a:gd name="T11" fmla="*/ 154 h 542"/>
                  <a:gd name="T12" fmla="*/ 115 w 382"/>
                  <a:gd name="T13" fmla="*/ 186 h 542"/>
                  <a:gd name="T14" fmla="*/ 135 w 382"/>
                  <a:gd name="T15" fmla="*/ 213 h 542"/>
                  <a:gd name="T16" fmla="*/ 130 w 382"/>
                  <a:gd name="T17" fmla="*/ 289 h 542"/>
                  <a:gd name="T18" fmla="*/ 126 w 382"/>
                  <a:gd name="T19" fmla="*/ 309 h 542"/>
                  <a:gd name="T20" fmla="*/ 116 w 382"/>
                  <a:gd name="T21" fmla="*/ 338 h 542"/>
                  <a:gd name="T22" fmla="*/ 93 w 382"/>
                  <a:gd name="T23" fmla="*/ 344 h 542"/>
                  <a:gd name="T24" fmla="*/ 84 w 382"/>
                  <a:gd name="T25" fmla="*/ 351 h 542"/>
                  <a:gd name="T26" fmla="*/ 69 w 382"/>
                  <a:gd name="T27" fmla="*/ 362 h 542"/>
                  <a:gd name="T28" fmla="*/ 87 w 382"/>
                  <a:gd name="T29" fmla="*/ 385 h 542"/>
                  <a:gd name="T30" fmla="*/ 112 w 382"/>
                  <a:gd name="T31" fmla="*/ 399 h 542"/>
                  <a:gd name="T32" fmla="*/ 140 w 382"/>
                  <a:gd name="T33" fmla="*/ 413 h 542"/>
                  <a:gd name="T34" fmla="*/ 165 w 382"/>
                  <a:gd name="T35" fmla="*/ 431 h 542"/>
                  <a:gd name="T36" fmla="*/ 170 w 382"/>
                  <a:gd name="T37" fmla="*/ 453 h 542"/>
                  <a:gd name="T38" fmla="*/ 157 w 382"/>
                  <a:gd name="T39" fmla="*/ 481 h 542"/>
                  <a:gd name="T40" fmla="*/ 137 w 382"/>
                  <a:gd name="T41" fmla="*/ 516 h 542"/>
                  <a:gd name="T42" fmla="*/ 163 w 382"/>
                  <a:gd name="T43" fmla="*/ 528 h 542"/>
                  <a:gd name="T44" fmla="*/ 195 w 382"/>
                  <a:gd name="T45" fmla="*/ 534 h 542"/>
                  <a:gd name="T46" fmla="*/ 224 w 382"/>
                  <a:gd name="T47" fmla="*/ 497 h 542"/>
                  <a:gd name="T48" fmla="*/ 251 w 382"/>
                  <a:gd name="T49" fmla="*/ 457 h 542"/>
                  <a:gd name="T50" fmla="*/ 282 w 382"/>
                  <a:gd name="T51" fmla="*/ 417 h 542"/>
                  <a:gd name="T52" fmla="*/ 284 w 382"/>
                  <a:gd name="T53" fmla="*/ 398 h 542"/>
                  <a:gd name="T54" fmla="*/ 280 w 382"/>
                  <a:gd name="T55" fmla="*/ 374 h 542"/>
                  <a:gd name="T56" fmla="*/ 295 w 382"/>
                  <a:gd name="T57" fmla="*/ 353 h 542"/>
                  <a:gd name="T58" fmla="*/ 323 w 382"/>
                  <a:gd name="T59" fmla="*/ 355 h 542"/>
                  <a:gd name="T60" fmla="*/ 344 w 382"/>
                  <a:gd name="T61" fmla="*/ 358 h 542"/>
                  <a:gd name="T62" fmla="*/ 342 w 382"/>
                  <a:gd name="T63" fmla="*/ 350 h 542"/>
                  <a:gd name="T64" fmla="*/ 339 w 382"/>
                  <a:gd name="T65" fmla="*/ 334 h 542"/>
                  <a:gd name="T66" fmla="*/ 350 w 382"/>
                  <a:gd name="T67" fmla="*/ 321 h 542"/>
                  <a:gd name="T68" fmla="*/ 361 w 382"/>
                  <a:gd name="T69" fmla="*/ 310 h 542"/>
                  <a:gd name="T70" fmla="*/ 372 w 382"/>
                  <a:gd name="T71" fmla="*/ 288 h 542"/>
                  <a:gd name="T72" fmla="*/ 373 w 382"/>
                  <a:gd name="T73" fmla="*/ 257 h 542"/>
                  <a:gd name="T74" fmla="*/ 380 w 382"/>
                  <a:gd name="T75" fmla="*/ 245 h 542"/>
                  <a:gd name="T76" fmla="*/ 370 w 382"/>
                  <a:gd name="T77" fmla="*/ 239 h 542"/>
                  <a:gd name="T78" fmla="*/ 347 w 382"/>
                  <a:gd name="T79" fmla="*/ 231 h 542"/>
                  <a:gd name="T80" fmla="*/ 328 w 382"/>
                  <a:gd name="T81" fmla="*/ 241 h 542"/>
                  <a:gd name="T82" fmla="*/ 309 w 382"/>
                  <a:gd name="T83" fmla="*/ 258 h 542"/>
                  <a:gd name="T84" fmla="*/ 280 w 382"/>
                  <a:gd name="T85" fmla="*/ 267 h 542"/>
                  <a:gd name="T86" fmla="*/ 260 w 382"/>
                  <a:gd name="T87" fmla="*/ 255 h 542"/>
                  <a:gd name="T88" fmla="*/ 249 w 382"/>
                  <a:gd name="T89" fmla="*/ 247 h 542"/>
                  <a:gd name="T90" fmla="*/ 226 w 382"/>
                  <a:gd name="T91" fmla="*/ 239 h 542"/>
                  <a:gd name="T92" fmla="*/ 215 w 382"/>
                  <a:gd name="T93" fmla="*/ 225 h 542"/>
                  <a:gd name="T94" fmla="*/ 210 w 382"/>
                  <a:gd name="T95" fmla="*/ 189 h 542"/>
                  <a:gd name="T96" fmla="*/ 179 w 382"/>
                  <a:gd name="T97" fmla="*/ 166 h 542"/>
                  <a:gd name="T98" fmla="*/ 176 w 382"/>
                  <a:gd name="T99" fmla="*/ 186 h 542"/>
                  <a:gd name="T100" fmla="*/ 167 w 382"/>
                  <a:gd name="T101" fmla="*/ 198 h 542"/>
                  <a:gd name="T102" fmla="*/ 146 w 382"/>
                  <a:gd name="T103" fmla="*/ 182 h 542"/>
                  <a:gd name="T104" fmla="*/ 139 w 382"/>
                  <a:gd name="T105" fmla="*/ 163 h 542"/>
                  <a:gd name="T106" fmla="*/ 133 w 382"/>
                  <a:gd name="T107" fmla="*/ 132 h 542"/>
                  <a:gd name="T108" fmla="*/ 121 w 382"/>
                  <a:gd name="T109" fmla="*/ 111 h 542"/>
                  <a:gd name="T110" fmla="*/ 114 w 382"/>
                  <a:gd name="T111" fmla="*/ 78 h 542"/>
                  <a:gd name="T112" fmla="*/ 76 w 382"/>
                  <a:gd name="T113" fmla="*/ 47 h 542"/>
                  <a:gd name="T114" fmla="*/ 40 w 382"/>
                  <a:gd name="T115" fmla="*/ 31 h 542"/>
                  <a:gd name="T116" fmla="*/ 15 w 382"/>
                  <a:gd name="T117" fmla="*/ 3 h 542"/>
                  <a:gd name="T118" fmla="*/ 2 w 382"/>
                  <a:gd name="T119" fmla="*/ 9 h 542"/>
                  <a:gd name="T120" fmla="*/ 16 w 382"/>
                  <a:gd name="T121" fmla="*/ 26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82" h="542">
                    <a:moveTo>
                      <a:pt x="16" y="26"/>
                    </a:moveTo>
                    <a:cubicBezTo>
                      <a:pt x="16" y="26"/>
                      <a:pt x="31" y="37"/>
                      <a:pt x="31" y="60"/>
                    </a:cubicBezTo>
                    <a:cubicBezTo>
                      <a:pt x="31" y="82"/>
                      <a:pt x="44" y="86"/>
                      <a:pt x="54" y="93"/>
                    </a:cubicBezTo>
                    <a:cubicBezTo>
                      <a:pt x="63" y="100"/>
                      <a:pt x="63" y="114"/>
                      <a:pt x="74" y="128"/>
                    </a:cubicBezTo>
                    <a:cubicBezTo>
                      <a:pt x="84" y="141"/>
                      <a:pt x="90" y="146"/>
                      <a:pt x="94" y="138"/>
                    </a:cubicBezTo>
                    <a:cubicBezTo>
                      <a:pt x="98" y="130"/>
                      <a:pt x="104" y="145"/>
                      <a:pt x="104" y="154"/>
                    </a:cubicBezTo>
                    <a:cubicBezTo>
                      <a:pt x="104" y="164"/>
                      <a:pt x="98" y="180"/>
                      <a:pt x="115" y="186"/>
                    </a:cubicBezTo>
                    <a:cubicBezTo>
                      <a:pt x="132" y="193"/>
                      <a:pt x="138" y="188"/>
                      <a:pt x="135" y="213"/>
                    </a:cubicBezTo>
                    <a:cubicBezTo>
                      <a:pt x="132" y="238"/>
                      <a:pt x="143" y="284"/>
                      <a:pt x="130" y="289"/>
                    </a:cubicBezTo>
                    <a:cubicBezTo>
                      <a:pt x="116" y="294"/>
                      <a:pt x="126" y="297"/>
                      <a:pt x="126" y="309"/>
                    </a:cubicBezTo>
                    <a:cubicBezTo>
                      <a:pt x="126" y="321"/>
                      <a:pt x="130" y="336"/>
                      <a:pt x="116" y="338"/>
                    </a:cubicBezTo>
                    <a:cubicBezTo>
                      <a:pt x="103" y="341"/>
                      <a:pt x="95" y="337"/>
                      <a:pt x="93" y="344"/>
                    </a:cubicBezTo>
                    <a:cubicBezTo>
                      <a:pt x="91" y="351"/>
                      <a:pt x="91" y="351"/>
                      <a:pt x="84" y="351"/>
                    </a:cubicBezTo>
                    <a:cubicBezTo>
                      <a:pt x="77" y="352"/>
                      <a:pt x="70" y="353"/>
                      <a:pt x="69" y="362"/>
                    </a:cubicBezTo>
                    <a:cubicBezTo>
                      <a:pt x="69" y="372"/>
                      <a:pt x="77" y="380"/>
                      <a:pt x="87" y="385"/>
                    </a:cubicBezTo>
                    <a:cubicBezTo>
                      <a:pt x="98" y="390"/>
                      <a:pt x="100" y="392"/>
                      <a:pt x="112" y="399"/>
                    </a:cubicBezTo>
                    <a:cubicBezTo>
                      <a:pt x="124" y="407"/>
                      <a:pt x="130" y="410"/>
                      <a:pt x="140" y="413"/>
                    </a:cubicBezTo>
                    <a:cubicBezTo>
                      <a:pt x="150" y="415"/>
                      <a:pt x="161" y="426"/>
                      <a:pt x="165" y="431"/>
                    </a:cubicBezTo>
                    <a:cubicBezTo>
                      <a:pt x="169" y="437"/>
                      <a:pt x="172" y="442"/>
                      <a:pt x="170" y="453"/>
                    </a:cubicBezTo>
                    <a:cubicBezTo>
                      <a:pt x="167" y="465"/>
                      <a:pt x="165" y="469"/>
                      <a:pt x="157" y="481"/>
                    </a:cubicBezTo>
                    <a:cubicBezTo>
                      <a:pt x="148" y="493"/>
                      <a:pt x="126" y="507"/>
                      <a:pt x="137" y="516"/>
                    </a:cubicBezTo>
                    <a:cubicBezTo>
                      <a:pt x="148" y="525"/>
                      <a:pt x="155" y="520"/>
                      <a:pt x="163" y="528"/>
                    </a:cubicBezTo>
                    <a:cubicBezTo>
                      <a:pt x="170" y="536"/>
                      <a:pt x="189" y="542"/>
                      <a:pt x="195" y="534"/>
                    </a:cubicBezTo>
                    <a:cubicBezTo>
                      <a:pt x="202" y="525"/>
                      <a:pt x="222" y="512"/>
                      <a:pt x="224" y="497"/>
                    </a:cubicBezTo>
                    <a:cubicBezTo>
                      <a:pt x="225" y="482"/>
                      <a:pt x="241" y="472"/>
                      <a:pt x="251" y="457"/>
                    </a:cubicBezTo>
                    <a:cubicBezTo>
                      <a:pt x="261" y="442"/>
                      <a:pt x="280" y="424"/>
                      <a:pt x="282" y="417"/>
                    </a:cubicBezTo>
                    <a:cubicBezTo>
                      <a:pt x="283" y="409"/>
                      <a:pt x="290" y="407"/>
                      <a:pt x="284" y="398"/>
                    </a:cubicBezTo>
                    <a:cubicBezTo>
                      <a:pt x="278" y="390"/>
                      <a:pt x="277" y="383"/>
                      <a:pt x="280" y="374"/>
                    </a:cubicBezTo>
                    <a:cubicBezTo>
                      <a:pt x="284" y="364"/>
                      <a:pt x="279" y="353"/>
                      <a:pt x="295" y="353"/>
                    </a:cubicBezTo>
                    <a:cubicBezTo>
                      <a:pt x="310" y="353"/>
                      <a:pt x="309" y="348"/>
                      <a:pt x="323" y="355"/>
                    </a:cubicBezTo>
                    <a:cubicBezTo>
                      <a:pt x="337" y="361"/>
                      <a:pt x="340" y="364"/>
                      <a:pt x="344" y="358"/>
                    </a:cubicBezTo>
                    <a:cubicBezTo>
                      <a:pt x="348" y="351"/>
                      <a:pt x="348" y="352"/>
                      <a:pt x="342" y="350"/>
                    </a:cubicBezTo>
                    <a:cubicBezTo>
                      <a:pt x="336" y="348"/>
                      <a:pt x="338" y="340"/>
                      <a:pt x="339" y="334"/>
                    </a:cubicBezTo>
                    <a:cubicBezTo>
                      <a:pt x="341" y="328"/>
                      <a:pt x="337" y="321"/>
                      <a:pt x="350" y="321"/>
                    </a:cubicBezTo>
                    <a:cubicBezTo>
                      <a:pt x="362" y="321"/>
                      <a:pt x="355" y="322"/>
                      <a:pt x="361" y="310"/>
                    </a:cubicBezTo>
                    <a:cubicBezTo>
                      <a:pt x="368" y="298"/>
                      <a:pt x="374" y="297"/>
                      <a:pt x="372" y="288"/>
                    </a:cubicBezTo>
                    <a:cubicBezTo>
                      <a:pt x="371" y="280"/>
                      <a:pt x="365" y="261"/>
                      <a:pt x="373" y="257"/>
                    </a:cubicBezTo>
                    <a:cubicBezTo>
                      <a:pt x="380" y="254"/>
                      <a:pt x="382" y="251"/>
                      <a:pt x="380" y="245"/>
                    </a:cubicBezTo>
                    <a:cubicBezTo>
                      <a:pt x="378" y="239"/>
                      <a:pt x="377" y="239"/>
                      <a:pt x="370" y="239"/>
                    </a:cubicBezTo>
                    <a:cubicBezTo>
                      <a:pt x="363" y="238"/>
                      <a:pt x="356" y="225"/>
                      <a:pt x="347" y="231"/>
                    </a:cubicBezTo>
                    <a:cubicBezTo>
                      <a:pt x="337" y="236"/>
                      <a:pt x="339" y="239"/>
                      <a:pt x="328" y="241"/>
                    </a:cubicBezTo>
                    <a:cubicBezTo>
                      <a:pt x="318" y="242"/>
                      <a:pt x="319" y="250"/>
                      <a:pt x="309" y="258"/>
                    </a:cubicBezTo>
                    <a:cubicBezTo>
                      <a:pt x="299" y="266"/>
                      <a:pt x="294" y="272"/>
                      <a:pt x="280" y="267"/>
                    </a:cubicBezTo>
                    <a:cubicBezTo>
                      <a:pt x="266" y="262"/>
                      <a:pt x="268" y="256"/>
                      <a:pt x="260" y="255"/>
                    </a:cubicBezTo>
                    <a:cubicBezTo>
                      <a:pt x="253" y="253"/>
                      <a:pt x="266" y="249"/>
                      <a:pt x="249" y="247"/>
                    </a:cubicBezTo>
                    <a:cubicBezTo>
                      <a:pt x="232" y="244"/>
                      <a:pt x="235" y="240"/>
                      <a:pt x="226" y="239"/>
                    </a:cubicBezTo>
                    <a:cubicBezTo>
                      <a:pt x="217" y="239"/>
                      <a:pt x="217" y="239"/>
                      <a:pt x="215" y="225"/>
                    </a:cubicBezTo>
                    <a:cubicBezTo>
                      <a:pt x="213" y="212"/>
                      <a:pt x="222" y="200"/>
                      <a:pt x="210" y="189"/>
                    </a:cubicBezTo>
                    <a:cubicBezTo>
                      <a:pt x="197" y="179"/>
                      <a:pt x="185" y="165"/>
                      <a:pt x="179" y="166"/>
                    </a:cubicBezTo>
                    <a:cubicBezTo>
                      <a:pt x="174" y="167"/>
                      <a:pt x="174" y="176"/>
                      <a:pt x="176" y="186"/>
                    </a:cubicBezTo>
                    <a:cubicBezTo>
                      <a:pt x="177" y="195"/>
                      <a:pt x="176" y="208"/>
                      <a:pt x="167" y="198"/>
                    </a:cubicBezTo>
                    <a:cubicBezTo>
                      <a:pt x="159" y="187"/>
                      <a:pt x="152" y="183"/>
                      <a:pt x="146" y="182"/>
                    </a:cubicBezTo>
                    <a:cubicBezTo>
                      <a:pt x="140" y="181"/>
                      <a:pt x="139" y="172"/>
                      <a:pt x="139" y="163"/>
                    </a:cubicBezTo>
                    <a:cubicBezTo>
                      <a:pt x="139" y="154"/>
                      <a:pt x="143" y="140"/>
                      <a:pt x="133" y="132"/>
                    </a:cubicBezTo>
                    <a:cubicBezTo>
                      <a:pt x="124" y="125"/>
                      <a:pt x="120" y="122"/>
                      <a:pt x="121" y="111"/>
                    </a:cubicBezTo>
                    <a:cubicBezTo>
                      <a:pt x="122" y="101"/>
                      <a:pt x="136" y="92"/>
                      <a:pt x="114" y="78"/>
                    </a:cubicBezTo>
                    <a:cubicBezTo>
                      <a:pt x="93" y="64"/>
                      <a:pt x="89" y="52"/>
                      <a:pt x="76" y="47"/>
                    </a:cubicBezTo>
                    <a:cubicBezTo>
                      <a:pt x="63" y="41"/>
                      <a:pt x="51" y="40"/>
                      <a:pt x="40" y="31"/>
                    </a:cubicBezTo>
                    <a:cubicBezTo>
                      <a:pt x="29" y="23"/>
                      <a:pt x="23" y="6"/>
                      <a:pt x="15" y="3"/>
                    </a:cubicBezTo>
                    <a:cubicBezTo>
                      <a:pt x="7" y="0"/>
                      <a:pt x="4" y="6"/>
                      <a:pt x="2" y="9"/>
                    </a:cubicBezTo>
                    <a:cubicBezTo>
                      <a:pt x="0" y="13"/>
                      <a:pt x="1" y="17"/>
                      <a:pt x="16" y="2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8" name="Freeform 31">
                <a:extLst>
                  <a:ext uri="{FF2B5EF4-FFF2-40B4-BE49-F238E27FC236}">
                    <a16:creationId xmlns:a16="http://schemas.microsoft.com/office/drawing/2014/main" id="{C04B635B-D348-B54C-BF5B-291C427D7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9" y="3391"/>
                <a:ext cx="12" cy="15"/>
              </a:xfrm>
              <a:custGeom>
                <a:avLst/>
                <a:gdLst>
                  <a:gd name="T0" fmla="*/ 16 w 48"/>
                  <a:gd name="T1" fmla="*/ 19 h 60"/>
                  <a:gd name="T2" fmla="*/ 10 w 48"/>
                  <a:gd name="T3" fmla="*/ 43 h 60"/>
                  <a:gd name="T4" fmla="*/ 9 w 48"/>
                  <a:gd name="T5" fmla="*/ 60 h 60"/>
                  <a:gd name="T6" fmla="*/ 34 w 48"/>
                  <a:gd name="T7" fmla="*/ 52 h 60"/>
                  <a:gd name="T8" fmla="*/ 48 w 48"/>
                  <a:gd name="T9" fmla="*/ 44 h 60"/>
                  <a:gd name="T10" fmla="*/ 38 w 48"/>
                  <a:gd name="T11" fmla="*/ 27 h 60"/>
                  <a:gd name="T12" fmla="*/ 16 w 48"/>
                  <a:gd name="T13" fmla="*/ 19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60">
                    <a:moveTo>
                      <a:pt x="16" y="19"/>
                    </a:moveTo>
                    <a:cubicBezTo>
                      <a:pt x="16" y="19"/>
                      <a:pt x="20" y="35"/>
                      <a:pt x="10" y="43"/>
                    </a:cubicBezTo>
                    <a:cubicBezTo>
                      <a:pt x="0" y="51"/>
                      <a:pt x="1" y="60"/>
                      <a:pt x="9" y="60"/>
                    </a:cubicBezTo>
                    <a:cubicBezTo>
                      <a:pt x="18" y="60"/>
                      <a:pt x="25" y="48"/>
                      <a:pt x="34" y="52"/>
                    </a:cubicBezTo>
                    <a:cubicBezTo>
                      <a:pt x="44" y="57"/>
                      <a:pt x="48" y="51"/>
                      <a:pt x="48" y="44"/>
                    </a:cubicBezTo>
                    <a:cubicBezTo>
                      <a:pt x="47" y="36"/>
                      <a:pt x="41" y="38"/>
                      <a:pt x="38" y="27"/>
                    </a:cubicBezTo>
                    <a:cubicBezTo>
                      <a:pt x="35" y="16"/>
                      <a:pt x="13" y="0"/>
                      <a:pt x="16" y="1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79" name="Freeform 32">
                <a:extLst>
                  <a:ext uri="{FF2B5EF4-FFF2-40B4-BE49-F238E27FC236}">
                    <a16:creationId xmlns:a16="http://schemas.microsoft.com/office/drawing/2014/main" id="{0E41CE67-F498-7048-BD60-DA2AA5CD1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910"/>
                <a:ext cx="49" cy="40"/>
              </a:xfrm>
              <a:custGeom>
                <a:avLst/>
                <a:gdLst>
                  <a:gd name="T0" fmla="*/ 99 w 195"/>
                  <a:gd name="T1" fmla="*/ 71 h 157"/>
                  <a:gd name="T2" fmla="*/ 79 w 195"/>
                  <a:gd name="T3" fmla="*/ 49 h 157"/>
                  <a:gd name="T4" fmla="*/ 54 w 195"/>
                  <a:gd name="T5" fmla="*/ 31 h 157"/>
                  <a:gd name="T6" fmla="*/ 22 w 195"/>
                  <a:gd name="T7" fmla="*/ 6 h 157"/>
                  <a:gd name="T8" fmla="*/ 7 w 195"/>
                  <a:gd name="T9" fmla="*/ 13 h 157"/>
                  <a:gd name="T10" fmla="*/ 27 w 195"/>
                  <a:gd name="T11" fmla="*/ 45 h 157"/>
                  <a:gd name="T12" fmla="*/ 53 w 195"/>
                  <a:gd name="T13" fmla="*/ 71 h 157"/>
                  <a:gd name="T14" fmla="*/ 78 w 195"/>
                  <a:gd name="T15" fmla="*/ 95 h 157"/>
                  <a:gd name="T16" fmla="*/ 119 w 195"/>
                  <a:gd name="T17" fmla="*/ 121 h 157"/>
                  <a:gd name="T18" fmla="*/ 153 w 195"/>
                  <a:gd name="T19" fmla="*/ 142 h 157"/>
                  <a:gd name="T20" fmla="*/ 182 w 195"/>
                  <a:gd name="T21" fmla="*/ 149 h 157"/>
                  <a:gd name="T22" fmla="*/ 175 w 195"/>
                  <a:gd name="T23" fmla="*/ 125 h 157"/>
                  <a:gd name="T24" fmla="*/ 131 w 195"/>
                  <a:gd name="T25" fmla="*/ 89 h 157"/>
                  <a:gd name="T26" fmla="*/ 99 w 195"/>
                  <a:gd name="T27" fmla="*/ 71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5" h="157">
                    <a:moveTo>
                      <a:pt x="99" y="71"/>
                    </a:moveTo>
                    <a:cubicBezTo>
                      <a:pt x="99" y="71"/>
                      <a:pt x="83" y="55"/>
                      <a:pt x="79" y="49"/>
                    </a:cubicBezTo>
                    <a:cubicBezTo>
                      <a:pt x="76" y="42"/>
                      <a:pt x="62" y="36"/>
                      <a:pt x="54" y="31"/>
                    </a:cubicBezTo>
                    <a:cubicBezTo>
                      <a:pt x="46" y="25"/>
                      <a:pt x="33" y="12"/>
                      <a:pt x="22" y="6"/>
                    </a:cubicBezTo>
                    <a:cubicBezTo>
                      <a:pt x="11" y="0"/>
                      <a:pt x="0" y="1"/>
                      <a:pt x="7" y="13"/>
                    </a:cubicBezTo>
                    <a:cubicBezTo>
                      <a:pt x="13" y="24"/>
                      <a:pt x="14" y="37"/>
                      <a:pt x="27" y="45"/>
                    </a:cubicBezTo>
                    <a:cubicBezTo>
                      <a:pt x="39" y="53"/>
                      <a:pt x="47" y="63"/>
                      <a:pt x="53" y="71"/>
                    </a:cubicBezTo>
                    <a:cubicBezTo>
                      <a:pt x="59" y="80"/>
                      <a:pt x="63" y="86"/>
                      <a:pt x="78" y="95"/>
                    </a:cubicBezTo>
                    <a:cubicBezTo>
                      <a:pt x="93" y="103"/>
                      <a:pt x="104" y="113"/>
                      <a:pt x="119" y="121"/>
                    </a:cubicBezTo>
                    <a:cubicBezTo>
                      <a:pt x="135" y="130"/>
                      <a:pt x="143" y="135"/>
                      <a:pt x="153" y="142"/>
                    </a:cubicBezTo>
                    <a:cubicBezTo>
                      <a:pt x="163" y="149"/>
                      <a:pt x="179" y="157"/>
                      <a:pt x="182" y="149"/>
                    </a:cubicBezTo>
                    <a:cubicBezTo>
                      <a:pt x="185" y="142"/>
                      <a:pt x="195" y="139"/>
                      <a:pt x="175" y="125"/>
                    </a:cubicBezTo>
                    <a:cubicBezTo>
                      <a:pt x="155" y="111"/>
                      <a:pt x="143" y="93"/>
                      <a:pt x="131" y="89"/>
                    </a:cubicBezTo>
                    <a:cubicBezTo>
                      <a:pt x="119" y="86"/>
                      <a:pt x="109" y="85"/>
                      <a:pt x="99" y="7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0" name="Freeform 33">
                <a:extLst>
                  <a:ext uri="{FF2B5EF4-FFF2-40B4-BE49-F238E27FC236}">
                    <a16:creationId xmlns:a16="http://schemas.microsoft.com/office/drawing/2014/main" id="{B77CA94A-E30F-2449-BD9A-8B1C07903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1" y="2917"/>
                <a:ext cx="8" cy="12"/>
              </a:xfrm>
              <a:custGeom>
                <a:avLst/>
                <a:gdLst>
                  <a:gd name="T0" fmla="*/ 4 w 29"/>
                  <a:gd name="T1" fmla="*/ 7 h 49"/>
                  <a:gd name="T2" fmla="*/ 1 w 29"/>
                  <a:gd name="T3" fmla="*/ 27 h 49"/>
                  <a:gd name="T4" fmla="*/ 10 w 29"/>
                  <a:gd name="T5" fmla="*/ 45 h 49"/>
                  <a:gd name="T6" fmla="*/ 28 w 29"/>
                  <a:gd name="T7" fmla="*/ 41 h 49"/>
                  <a:gd name="T8" fmla="*/ 20 w 29"/>
                  <a:gd name="T9" fmla="*/ 27 h 49"/>
                  <a:gd name="T10" fmla="*/ 4 w 29"/>
                  <a:gd name="T11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49">
                    <a:moveTo>
                      <a:pt x="4" y="7"/>
                    </a:moveTo>
                    <a:cubicBezTo>
                      <a:pt x="4" y="7"/>
                      <a:pt x="0" y="16"/>
                      <a:pt x="1" y="27"/>
                    </a:cubicBezTo>
                    <a:cubicBezTo>
                      <a:pt x="1" y="37"/>
                      <a:pt x="3" y="43"/>
                      <a:pt x="10" y="45"/>
                    </a:cubicBezTo>
                    <a:cubicBezTo>
                      <a:pt x="17" y="46"/>
                      <a:pt x="27" y="49"/>
                      <a:pt x="28" y="41"/>
                    </a:cubicBezTo>
                    <a:cubicBezTo>
                      <a:pt x="29" y="32"/>
                      <a:pt x="29" y="31"/>
                      <a:pt x="20" y="27"/>
                    </a:cubicBezTo>
                    <a:cubicBezTo>
                      <a:pt x="11" y="22"/>
                      <a:pt x="15" y="0"/>
                      <a:pt x="4" y="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1" name="Freeform 34">
                <a:extLst>
                  <a:ext uri="{FF2B5EF4-FFF2-40B4-BE49-F238E27FC236}">
                    <a16:creationId xmlns:a16="http://schemas.microsoft.com/office/drawing/2014/main" id="{B8DD6C8D-E52C-9545-9B28-4E6887922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5" y="2927"/>
                <a:ext cx="5" cy="11"/>
              </a:xfrm>
              <a:custGeom>
                <a:avLst/>
                <a:gdLst>
                  <a:gd name="T0" fmla="*/ 1 w 23"/>
                  <a:gd name="T1" fmla="*/ 9 h 41"/>
                  <a:gd name="T2" fmla="*/ 0 w 23"/>
                  <a:gd name="T3" fmla="*/ 32 h 41"/>
                  <a:gd name="T4" fmla="*/ 11 w 23"/>
                  <a:gd name="T5" fmla="*/ 35 h 41"/>
                  <a:gd name="T6" fmla="*/ 17 w 23"/>
                  <a:gd name="T7" fmla="*/ 22 h 41"/>
                  <a:gd name="T8" fmla="*/ 1 w 23"/>
                  <a:gd name="T9" fmla="*/ 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41">
                    <a:moveTo>
                      <a:pt x="1" y="9"/>
                    </a:moveTo>
                    <a:cubicBezTo>
                      <a:pt x="1" y="9"/>
                      <a:pt x="0" y="28"/>
                      <a:pt x="0" y="32"/>
                    </a:cubicBezTo>
                    <a:cubicBezTo>
                      <a:pt x="0" y="36"/>
                      <a:pt x="8" y="41"/>
                      <a:pt x="11" y="35"/>
                    </a:cubicBezTo>
                    <a:cubicBezTo>
                      <a:pt x="15" y="29"/>
                      <a:pt x="23" y="31"/>
                      <a:pt x="17" y="22"/>
                    </a:cubicBezTo>
                    <a:cubicBezTo>
                      <a:pt x="11" y="13"/>
                      <a:pt x="2" y="0"/>
                      <a:pt x="1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2" name="Freeform 35">
                <a:extLst>
                  <a:ext uri="{FF2B5EF4-FFF2-40B4-BE49-F238E27FC236}">
                    <a16:creationId xmlns:a16="http://schemas.microsoft.com/office/drawing/2014/main" id="{E2ADE4DD-69B8-984C-BC79-2C109CA46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0" y="2646"/>
                <a:ext cx="67" cy="39"/>
              </a:xfrm>
              <a:custGeom>
                <a:avLst/>
                <a:gdLst>
                  <a:gd name="T0" fmla="*/ 77 w 264"/>
                  <a:gd name="T1" fmla="*/ 99 h 155"/>
                  <a:gd name="T2" fmla="*/ 55 w 264"/>
                  <a:gd name="T3" fmla="*/ 96 h 155"/>
                  <a:gd name="T4" fmla="*/ 36 w 264"/>
                  <a:gd name="T5" fmla="*/ 89 h 155"/>
                  <a:gd name="T6" fmla="*/ 4 w 264"/>
                  <a:gd name="T7" fmla="*/ 94 h 155"/>
                  <a:gd name="T8" fmla="*/ 15 w 264"/>
                  <a:gd name="T9" fmla="*/ 121 h 155"/>
                  <a:gd name="T10" fmla="*/ 56 w 264"/>
                  <a:gd name="T11" fmla="*/ 134 h 155"/>
                  <a:gd name="T12" fmla="*/ 88 w 264"/>
                  <a:gd name="T13" fmla="*/ 149 h 155"/>
                  <a:gd name="T14" fmla="*/ 138 w 264"/>
                  <a:gd name="T15" fmla="*/ 146 h 155"/>
                  <a:gd name="T16" fmla="*/ 165 w 264"/>
                  <a:gd name="T17" fmla="*/ 135 h 155"/>
                  <a:gd name="T18" fmla="*/ 192 w 264"/>
                  <a:gd name="T19" fmla="*/ 116 h 155"/>
                  <a:gd name="T20" fmla="*/ 213 w 264"/>
                  <a:gd name="T21" fmla="*/ 98 h 155"/>
                  <a:gd name="T22" fmla="*/ 242 w 264"/>
                  <a:gd name="T23" fmla="*/ 92 h 155"/>
                  <a:gd name="T24" fmla="*/ 244 w 264"/>
                  <a:gd name="T25" fmla="*/ 66 h 155"/>
                  <a:gd name="T26" fmla="*/ 263 w 264"/>
                  <a:gd name="T27" fmla="*/ 46 h 155"/>
                  <a:gd name="T28" fmla="*/ 258 w 264"/>
                  <a:gd name="T29" fmla="*/ 22 h 155"/>
                  <a:gd name="T30" fmla="*/ 242 w 264"/>
                  <a:gd name="T31" fmla="*/ 10 h 155"/>
                  <a:gd name="T32" fmla="*/ 216 w 264"/>
                  <a:gd name="T33" fmla="*/ 8 h 155"/>
                  <a:gd name="T34" fmla="*/ 197 w 264"/>
                  <a:gd name="T35" fmla="*/ 15 h 155"/>
                  <a:gd name="T36" fmla="*/ 205 w 264"/>
                  <a:gd name="T37" fmla="*/ 28 h 155"/>
                  <a:gd name="T38" fmla="*/ 198 w 264"/>
                  <a:gd name="T39" fmla="*/ 56 h 155"/>
                  <a:gd name="T40" fmla="*/ 173 w 264"/>
                  <a:gd name="T41" fmla="*/ 65 h 155"/>
                  <a:gd name="T42" fmla="*/ 156 w 264"/>
                  <a:gd name="T43" fmla="*/ 90 h 155"/>
                  <a:gd name="T44" fmla="*/ 134 w 264"/>
                  <a:gd name="T45" fmla="*/ 87 h 155"/>
                  <a:gd name="T46" fmla="*/ 77 w 264"/>
                  <a:gd name="T47" fmla="*/ 99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4" h="155">
                    <a:moveTo>
                      <a:pt x="77" y="99"/>
                    </a:moveTo>
                    <a:cubicBezTo>
                      <a:pt x="77" y="99"/>
                      <a:pt x="56" y="103"/>
                      <a:pt x="55" y="96"/>
                    </a:cubicBezTo>
                    <a:cubicBezTo>
                      <a:pt x="54" y="90"/>
                      <a:pt x="44" y="89"/>
                      <a:pt x="36" y="89"/>
                    </a:cubicBezTo>
                    <a:cubicBezTo>
                      <a:pt x="29" y="89"/>
                      <a:pt x="7" y="87"/>
                      <a:pt x="4" y="94"/>
                    </a:cubicBezTo>
                    <a:cubicBezTo>
                      <a:pt x="0" y="100"/>
                      <a:pt x="2" y="116"/>
                      <a:pt x="15" y="121"/>
                    </a:cubicBezTo>
                    <a:cubicBezTo>
                      <a:pt x="28" y="126"/>
                      <a:pt x="43" y="128"/>
                      <a:pt x="56" y="134"/>
                    </a:cubicBezTo>
                    <a:cubicBezTo>
                      <a:pt x="68" y="140"/>
                      <a:pt x="80" y="148"/>
                      <a:pt x="88" y="149"/>
                    </a:cubicBezTo>
                    <a:cubicBezTo>
                      <a:pt x="96" y="150"/>
                      <a:pt x="131" y="155"/>
                      <a:pt x="138" y="146"/>
                    </a:cubicBezTo>
                    <a:cubicBezTo>
                      <a:pt x="144" y="138"/>
                      <a:pt x="156" y="142"/>
                      <a:pt x="165" y="135"/>
                    </a:cubicBezTo>
                    <a:cubicBezTo>
                      <a:pt x="174" y="128"/>
                      <a:pt x="185" y="124"/>
                      <a:pt x="192" y="116"/>
                    </a:cubicBezTo>
                    <a:cubicBezTo>
                      <a:pt x="200" y="108"/>
                      <a:pt x="196" y="98"/>
                      <a:pt x="213" y="98"/>
                    </a:cubicBezTo>
                    <a:cubicBezTo>
                      <a:pt x="230" y="98"/>
                      <a:pt x="241" y="96"/>
                      <a:pt x="242" y="92"/>
                    </a:cubicBezTo>
                    <a:cubicBezTo>
                      <a:pt x="242" y="87"/>
                      <a:pt x="236" y="69"/>
                      <a:pt x="244" y="66"/>
                    </a:cubicBezTo>
                    <a:cubicBezTo>
                      <a:pt x="252" y="64"/>
                      <a:pt x="262" y="52"/>
                      <a:pt x="263" y="46"/>
                    </a:cubicBezTo>
                    <a:cubicBezTo>
                      <a:pt x="264" y="41"/>
                      <a:pt x="263" y="30"/>
                      <a:pt x="258" y="22"/>
                    </a:cubicBezTo>
                    <a:cubicBezTo>
                      <a:pt x="252" y="15"/>
                      <a:pt x="250" y="4"/>
                      <a:pt x="242" y="10"/>
                    </a:cubicBezTo>
                    <a:cubicBezTo>
                      <a:pt x="234" y="15"/>
                      <a:pt x="219" y="16"/>
                      <a:pt x="216" y="8"/>
                    </a:cubicBezTo>
                    <a:cubicBezTo>
                      <a:pt x="214" y="0"/>
                      <a:pt x="203" y="10"/>
                      <a:pt x="197" y="15"/>
                    </a:cubicBezTo>
                    <a:cubicBezTo>
                      <a:pt x="191" y="20"/>
                      <a:pt x="205" y="19"/>
                      <a:pt x="205" y="28"/>
                    </a:cubicBezTo>
                    <a:cubicBezTo>
                      <a:pt x="205" y="36"/>
                      <a:pt x="211" y="59"/>
                      <a:pt x="198" y="56"/>
                    </a:cubicBezTo>
                    <a:cubicBezTo>
                      <a:pt x="184" y="52"/>
                      <a:pt x="175" y="58"/>
                      <a:pt x="173" y="65"/>
                    </a:cubicBezTo>
                    <a:cubicBezTo>
                      <a:pt x="171" y="72"/>
                      <a:pt x="160" y="86"/>
                      <a:pt x="156" y="90"/>
                    </a:cubicBezTo>
                    <a:cubicBezTo>
                      <a:pt x="152" y="95"/>
                      <a:pt x="147" y="86"/>
                      <a:pt x="134" y="87"/>
                    </a:cubicBezTo>
                    <a:cubicBezTo>
                      <a:pt x="122" y="88"/>
                      <a:pt x="96" y="94"/>
                      <a:pt x="77" y="9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3" name="Freeform 36">
                <a:extLst>
                  <a:ext uri="{FF2B5EF4-FFF2-40B4-BE49-F238E27FC236}">
                    <a16:creationId xmlns:a16="http://schemas.microsoft.com/office/drawing/2014/main" id="{49EE1822-F0A1-9B4A-BB11-9BE13DDE2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9" y="2622"/>
                <a:ext cx="41" cy="37"/>
              </a:xfrm>
              <a:custGeom>
                <a:avLst/>
                <a:gdLst>
                  <a:gd name="T0" fmla="*/ 30 w 162"/>
                  <a:gd name="T1" fmla="*/ 13 h 146"/>
                  <a:gd name="T2" fmla="*/ 3 w 162"/>
                  <a:gd name="T3" fmla="*/ 5 h 146"/>
                  <a:gd name="T4" fmla="*/ 14 w 162"/>
                  <a:gd name="T5" fmla="*/ 19 h 146"/>
                  <a:gd name="T6" fmla="*/ 54 w 162"/>
                  <a:gd name="T7" fmla="*/ 45 h 146"/>
                  <a:gd name="T8" fmla="*/ 117 w 162"/>
                  <a:gd name="T9" fmla="*/ 100 h 146"/>
                  <a:gd name="T10" fmla="*/ 126 w 162"/>
                  <a:gd name="T11" fmla="*/ 141 h 146"/>
                  <a:gd name="T12" fmla="*/ 149 w 162"/>
                  <a:gd name="T13" fmla="*/ 129 h 146"/>
                  <a:gd name="T14" fmla="*/ 146 w 162"/>
                  <a:gd name="T15" fmla="*/ 98 h 146"/>
                  <a:gd name="T16" fmla="*/ 30 w 162"/>
                  <a:gd name="T17" fmla="*/ 1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" h="146">
                    <a:moveTo>
                      <a:pt x="30" y="13"/>
                    </a:moveTo>
                    <a:cubicBezTo>
                      <a:pt x="30" y="13"/>
                      <a:pt x="6" y="0"/>
                      <a:pt x="3" y="5"/>
                    </a:cubicBezTo>
                    <a:cubicBezTo>
                      <a:pt x="0" y="11"/>
                      <a:pt x="1" y="16"/>
                      <a:pt x="14" y="19"/>
                    </a:cubicBezTo>
                    <a:cubicBezTo>
                      <a:pt x="28" y="21"/>
                      <a:pt x="47" y="41"/>
                      <a:pt x="54" y="45"/>
                    </a:cubicBezTo>
                    <a:cubicBezTo>
                      <a:pt x="60" y="49"/>
                      <a:pt x="112" y="77"/>
                      <a:pt x="117" y="100"/>
                    </a:cubicBezTo>
                    <a:cubicBezTo>
                      <a:pt x="122" y="123"/>
                      <a:pt x="115" y="135"/>
                      <a:pt x="126" y="141"/>
                    </a:cubicBezTo>
                    <a:cubicBezTo>
                      <a:pt x="136" y="146"/>
                      <a:pt x="147" y="140"/>
                      <a:pt x="149" y="129"/>
                    </a:cubicBezTo>
                    <a:cubicBezTo>
                      <a:pt x="151" y="119"/>
                      <a:pt x="162" y="107"/>
                      <a:pt x="146" y="98"/>
                    </a:cubicBezTo>
                    <a:cubicBezTo>
                      <a:pt x="130" y="89"/>
                      <a:pt x="84" y="41"/>
                      <a:pt x="30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4" name="Freeform 37">
                <a:extLst>
                  <a:ext uri="{FF2B5EF4-FFF2-40B4-BE49-F238E27FC236}">
                    <a16:creationId xmlns:a16="http://schemas.microsoft.com/office/drawing/2014/main" id="{816957BC-4D38-A64B-8628-28E253E45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" y="2618"/>
                <a:ext cx="10" cy="7"/>
              </a:xfrm>
              <a:custGeom>
                <a:avLst/>
                <a:gdLst>
                  <a:gd name="T0" fmla="*/ 13 w 41"/>
                  <a:gd name="T1" fmla="*/ 1 h 28"/>
                  <a:gd name="T2" fmla="*/ 11 w 41"/>
                  <a:gd name="T3" fmla="*/ 20 h 28"/>
                  <a:gd name="T4" fmla="*/ 38 w 41"/>
                  <a:gd name="T5" fmla="*/ 20 h 28"/>
                  <a:gd name="T6" fmla="*/ 13 w 41"/>
                  <a:gd name="T7" fmla="*/ 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28">
                    <a:moveTo>
                      <a:pt x="13" y="1"/>
                    </a:moveTo>
                    <a:cubicBezTo>
                      <a:pt x="13" y="1"/>
                      <a:pt x="0" y="16"/>
                      <a:pt x="11" y="20"/>
                    </a:cubicBezTo>
                    <a:cubicBezTo>
                      <a:pt x="22" y="24"/>
                      <a:pt x="36" y="28"/>
                      <a:pt x="38" y="20"/>
                    </a:cubicBezTo>
                    <a:cubicBezTo>
                      <a:pt x="41" y="12"/>
                      <a:pt x="32" y="0"/>
                      <a:pt x="13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5" name="Freeform 38">
                <a:extLst>
                  <a:ext uri="{FF2B5EF4-FFF2-40B4-BE49-F238E27FC236}">
                    <a16:creationId xmlns:a16="http://schemas.microsoft.com/office/drawing/2014/main" id="{9EC69EA0-0818-0248-9308-ED22BDCF8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7" y="2603"/>
                <a:ext cx="5" cy="5"/>
              </a:xfrm>
              <a:custGeom>
                <a:avLst/>
                <a:gdLst>
                  <a:gd name="T0" fmla="*/ 8 w 22"/>
                  <a:gd name="T1" fmla="*/ 4 h 20"/>
                  <a:gd name="T2" fmla="*/ 8 w 22"/>
                  <a:gd name="T3" fmla="*/ 12 h 20"/>
                  <a:gd name="T4" fmla="*/ 20 w 22"/>
                  <a:gd name="T5" fmla="*/ 10 h 20"/>
                  <a:gd name="T6" fmla="*/ 8 w 22"/>
                  <a:gd name="T7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20">
                    <a:moveTo>
                      <a:pt x="8" y="4"/>
                    </a:moveTo>
                    <a:cubicBezTo>
                      <a:pt x="8" y="4"/>
                      <a:pt x="0" y="10"/>
                      <a:pt x="8" y="12"/>
                    </a:cubicBezTo>
                    <a:cubicBezTo>
                      <a:pt x="16" y="14"/>
                      <a:pt x="19" y="20"/>
                      <a:pt x="20" y="10"/>
                    </a:cubicBezTo>
                    <a:cubicBezTo>
                      <a:pt x="22" y="0"/>
                      <a:pt x="16" y="2"/>
                      <a:pt x="8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6" name="Freeform 39">
                <a:extLst>
                  <a:ext uri="{FF2B5EF4-FFF2-40B4-BE49-F238E27FC236}">
                    <a16:creationId xmlns:a16="http://schemas.microsoft.com/office/drawing/2014/main" id="{5620BDF2-5940-1D43-8F63-CCCC931B2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" y="2611"/>
                <a:ext cx="16" cy="7"/>
              </a:xfrm>
              <a:custGeom>
                <a:avLst/>
                <a:gdLst>
                  <a:gd name="T0" fmla="*/ 31 w 63"/>
                  <a:gd name="T1" fmla="*/ 1 h 29"/>
                  <a:gd name="T2" fmla="*/ 6 w 63"/>
                  <a:gd name="T3" fmla="*/ 9 h 29"/>
                  <a:gd name="T4" fmla="*/ 17 w 63"/>
                  <a:gd name="T5" fmla="*/ 25 h 29"/>
                  <a:gd name="T6" fmla="*/ 41 w 63"/>
                  <a:gd name="T7" fmla="*/ 23 h 29"/>
                  <a:gd name="T8" fmla="*/ 60 w 63"/>
                  <a:gd name="T9" fmla="*/ 17 h 29"/>
                  <a:gd name="T10" fmla="*/ 48 w 63"/>
                  <a:gd name="T11" fmla="*/ 5 h 29"/>
                  <a:gd name="T12" fmla="*/ 31 w 63"/>
                  <a:gd name="T1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29">
                    <a:moveTo>
                      <a:pt x="31" y="1"/>
                    </a:moveTo>
                    <a:cubicBezTo>
                      <a:pt x="31" y="1"/>
                      <a:pt x="12" y="3"/>
                      <a:pt x="6" y="9"/>
                    </a:cubicBezTo>
                    <a:cubicBezTo>
                      <a:pt x="0" y="15"/>
                      <a:pt x="6" y="29"/>
                      <a:pt x="17" y="25"/>
                    </a:cubicBezTo>
                    <a:cubicBezTo>
                      <a:pt x="28" y="21"/>
                      <a:pt x="30" y="21"/>
                      <a:pt x="41" y="23"/>
                    </a:cubicBezTo>
                    <a:cubicBezTo>
                      <a:pt x="52" y="25"/>
                      <a:pt x="58" y="23"/>
                      <a:pt x="60" y="17"/>
                    </a:cubicBezTo>
                    <a:cubicBezTo>
                      <a:pt x="63" y="12"/>
                      <a:pt x="60" y="7"/>
                      <a:pt x="48" y="5"/>
                    </a:cubicBezTo>
                    <a:cubicBezTo>
                      <a:pt x="37" y="4"/>
                      <a:pt x="40" y="0"/>
                      <a:pt x="31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7" name="Freeform 40">
                <a:extLst>
                  <a:ext uri="{FF2B5EF4-FFF2-40B4-BE49-F238E27FC236}">
                    <a16:creationId xmlns:a16="http://schemas.microsoft.com/office/drawing/2014/main" id="{12E1B77F-65EC-5B4B-813A-C4537A91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2658"/>
                <a:ext cx="26" cy="36"/>
              </a:xfrm>
              <a:custGeom>
                <a:avLst/>
                <a:gdLst>
                  <a:gd name="T0" fmla="*/ 1 w 103"/>
                  <a:gd name="T1" fmla="*/ 14 h 141"/>
                  <a:gd name="T2" fmla="*/ 7 w 103"/>
                  <a:gd name="T3" fmla="*/ 46 h 141"/>
                  <a:gd name="T4" fmla="*/ 16 w 103"/>
                  <a:gd name="T5" fmla="*/ 75 h 141"/>
                  <a:gd name="T6" fmla="*/ 43 w 103"/>
                  <a:gd name="T7" fmla="*/ 114 h 141"/>
                  <a:gd name="T8" fmla="*/ 72 w 103"/>
                  <a:gd name="T9" fmla="*/ 139 h 141"/>
                  <a:gd name="T10" fmla="*/ 99 w 103"/>
                  <a:gd name="T11" fmla="*/ 132 h 141"/>
                  <a:gd name="T12" fmla="*/ 90 w 103"/>
                  <a:gd name="T13" fmla="*/ 102 h 141"/>
                  <a:gd name="T14" fmla="*/ 60 w 103"/>
                  <a:gd name="T15" fmla="*/ 72 h 141"/>
                  <a:gd name="T16" fmla="*/ 43 w 103"/>
                  <a:gd name="T17" fmla="*/ 48 h 141"/>
                  <a:gd name="T18" fmla="*/ 18 w 103"/>
                  <a:gd name="T19" fmla="*/ 29 h 141"/>
                  <a:gd name="T20" fmla="*/ 1 w 103"/>
                  <a:gd name="T21" fmla="*/ 14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3" h="141">
                    <a:moveTo>
                      <a:pt x="1" y="14"/>
                    </a:moveTo>
                    <a:cubicBezTo>
                      <a:pt x="1" y="14"/>
                      <a:pt x="0" y="42"/>
                      <a:pt x="7" y="46"/>
                    </a:cubicBezTo>
                    <a:cubicBezTo>
                      <a:pt x="14" y="51"/>
                      <a:pt x="8" y="70"/>
                      <a:pt x="16" y="75"/>
                    </a:cubicBezTo>
                    <a:cubicBezTo>
                      <a:pt x="24" y="80"/>
                      <a:pt x="39" y="106"/>
                      <a:pt x="43" y="114"/>
                    </a:cubicBezTo>
                    <a:cubicBezTo>
                      <a:pt x="47" y="122"/>
                      <a:pt x="64" y="137"/>
                      <a:pt x="72" y="139"/>
                    </a:cubicBezTo>
                    <a:cubicBezTo>
                      <a:pt x="81" y="141"/>
                      <a:pt x="97" y="140"/>
                      <a:pt x="99" y="132"/>
                    </a:cubicBezTo>
                    <a:cubicBezTo>
                      <a:pt x="101" y="125"/>
                      <a:pt x="103" y="112"/>
                      <a:pt x="90" y="102"/>
                    </a:cubicBezTo>
                    <a:cubicBezTo>
                      <a:pt x="78" y="92"/>
                      <a:pt x="66" y="85"/>
                      <a:pt x="60" y="72"/>
                    </a:cubicBezTo>
                    <a:cubicBezTo>
                      <a:pt x="53" y="60"/>
                      <a:pt x="53" y="51"/>
                      <a:pt x="43" y="48"/>
                    </a:cubicBezTo>
                    <a:cubicBezTo>
                      <a:pt x="33" y="46"/>
                      <a:pt x="22" y="41"/>
                      <a:pt x="18" y="29"/>
                    </a:cubicBezTo>
                    <a:cubicBezTo>
                      <a:pt x="14" y="17"/>
                      <a:pt x="4" y="0"/>
                      <a:pt x="1" y="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8" name="Freeform 41">
                <a:extLst>
                  <a:ext uri="{FF2B5EF4-FFF2-40B4-BE49-F238E27FC236}">
                    <a16:creationId xmlns:a16="http://schemas.microsoft.com/office/drawing/2014/main" id="{C1793A40-76AC-0946-8F89-B659B633E7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0" y="2687"/>
                <a:ext cx="18" cy="16"/>
              </a:xfrm>
              <a:custGeom>
                <a:avLst/>
                <a:gdLst>
                  <a:gd name="T0" fmla="*/ 31 w 73"/>
                  <a:gd name="T1" fmla="*/ 13 h 64"/>
                  <a:gd name="T2" fmla="*/ 9 w 73"/>
                  <a:gd name="T3" fmla="*/ 2 h 64"/>
                  <a:gd name="T4" fmla="*/ 15 w 73"/>
                  <a:gd name="T5" fmla="*/ 26 h 64"/>
                  <a:gd name="T6" fmla="*/ 38 w 73"/>
                  <a:gd name="T7" fmla="*/ 47 h 64"/>
                  <a:gd name="T8" fmla="*/ 55 w 73"/>
                  <a:gd name="T9" fmla="*/ 58 h 64"/>
                  <a:gd name="T10" fmla="*/ 70 w 73"/>
                  <a:gd name="T11" fmla="*/ 60 h 64"/>
                  <a:gd name="T12" fmla="*/ 63 w 73"/>
                  <a:gd name="T13" fmla="*/ 48 h 64"/>
                  <a:gd name="T14" fmla="*/ 31 w 73"/>
                  <a:gd name="T15" fmla="*/ 1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3" h="64">
                    <a:moveTo>
                      <a:pt x="31" y="13"/>
                    </a:moveTo>
                    <a:cubicBezTo>
                      <a:pt x="31" y="13"/>
                      <a:pt x="18" y="0"/>
                      <a:pt x="9" y="2"/>
                    </a:cubicBezTo>
                    <a:cubicBezTo>
                      <a:pt x="0" y="3"/>
                      <a:pt x="8" y="22"/>
                      <a:pt x="15" y="26"/>
                    </a:cubicBezTo>
                    <a:cubicBezTo>
                      <a:pt x="22" y="30"/>
                      <a:pt x="35" y="42"/>
                      <a:pt x="38" y="47"/>
                    </a:cubicBezTo>
                    <a:cubicBezTo>
                      <a:pt x="42" y="52"/>
                      <a:pt x="52" y="54"/>
                      <a:pt x="55" y="58"/>
                    </a:cubicBezTo>
                    <a:cubicBezTo>
                      <a:pt x="58" y="62"/>
                      <a:pt x="68" y="64"/>
                      <a:pt x="70" y="60"/>
                    </a:cubicBezTo>
                    <a:cubicBezTo>
                      <a:pt x="73" y="56"/>
                      <a:pt x="66" y="56"/>
                      <a:pt x="63" y="48"/>
                    </a:cubicBezTo>
                    <a:cubicBezTo>
                      <a:pt x="60" y="41"/>
                      <a:pt x="48" y="26"/>
                      <a:pt x="31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89" name="Freeform 42">
                <a:extLst>
                  <a:ext uri="{FF2B5EF4-FFF2-40B4-BE49-F238E27FC236}">
                    <a16:creationId xmlns:a16="http://schemas.microsoft.com/office/drawing/2014/main" id="{E2DBEEBE-8A1A-C748-A498-F9A0044D5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1" y="2701"/>
                <a:ext cx="27" cy="20"/>
              </a:xfrm>
              <a:custGeom>
                <a:avLst/>
                <a:gdLst>
                  <a:gd name="T0" fmla="*/ 56 w 105"/>
                  <a:gd name="T1" fmla="*/ 26 h 76"/>
                  <a:gd name="T2" fmla="*/ 35 w 105"/>
                  <a:gd name="T3" fmla="*/ 13 h 76"/>
                  <a:gd name="T4" fmla="*/ 15 w 105"/>
                  <a:gd name="T5" fmla="*/ 2 h 76"/>
                  <a:gd name="T6" fmla="*/ 15 w 105"/>
                  <a:gd name="T7" fmla="*/ 26 h 76"/>
                  <a:gd name="T8" fmla="*/ 56 w 105"/>
                  <a:gd name="T9" fmla="*/ 55 h 76"/>
                  <a:gd name="T10" fmla="*/ 86 w 105"/>
                  <a:gd name="T11" fmla="*/ 69 h 76"/>
                  <a:gd name="T12" fmla="*/ 105 w 105"/>
                  <a:gd name="T13" fmla="*/ 69 h 76"/>
                  <a:gd name="T14" fmla="*/ 92 w 105"/>
                  <a:gd name="T15" fmla="*/ 52 h 76"/>
                  <a:gd name="T16" fmla="*/ 56 w 105"/>
                  <a:gd name="T17" fmla="*/ 2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76">
                    <a:moveTo>
                      <a:pt x="56" y="26"/>
                    </a:moveTo>
                    <a:cubicBezTo>
                      <a:pt x="56" y="26"/>
                      <a:pt x="42" y="20"/>
                      <a:pt x="35" y="13"/>
                    </a:cubicBezTo>
                    <a:cubicBezTo>
                      <a:pt x="28" y="6"/>
                      <a:pt x="30" y="3"/>
                      <a:pt x="15" y="2"/>
                    </a:cubicBezTo>
                    <a:cubicBezTo>
                      <a:pt x="0" y="0"/>
                      <a:pt x="4" y="20"/>
                      <a:pt x="15" y="26"/>
                    </a:cubicBezTo>
                    <a:cubicBezTo>
                      <a:pt x="26" y="33"/>
                      <a:pt x="48" y="52"/>
                      <a:pt x="56" y="55"/>
                    </a:cubicBezTo>
                    <a:cubicBezTo>
                      <a:pt x="63" y="58"/>
                      <a:pt x="78" y="62"/>
                      <a:pt x="86" y="69"/>
                    </a:cubicBezTo>
                    <a:cubicBezTo>
                      <a:pt x="94" y="76"/>
                      <a:pt x="105" y="76"/>
                      <a:pt x="105" y="69"/>
                    </a:cubicBezTo>
                    <a:cubicBezTo>
                      <a:pt x="105" y="62"/>
                      <a:pt x="103" y="64"/>
                      <a:pt x="92" y="52"/>
                    </a:cubicBezTo>
                    <a:cubicBezTo>
                      <a:pt x="80" y="41"/>
                      <a:pt x="79" y="26"/>
                      <a:pt x="56" y="2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0" name="Freeform 43">
                <a:extLst>
                  <a:ext uri="{FF2B5EF4-FFF2-40B4-BE49-F238E27FC236}">
                    <a16:creationId xmlns:a16="http://schemas.microsoft.com/office/drawing/2014/main" id="{06BAC9E8-2C66-4E44-9B72-4AE2F3F14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7" y="2706"/>
                <a:ext cx="24" cy="19"/>
              </a:xfrm>
              <a:custGeom>
                <a:avLst/>
                <a:gdLst>
                  <a:gd name="T0" fmla="*/ 19 w 94"/>
                  <a:gd name="T1" fmla="*/ 5 h 77"/>
                  <a:gd name="T2" fmla="*/ 8 w 94"/>
                  <a:gd name="T3" fmla="*/ 23 h 77"/>
                  <a:gd name="T4" fmla="*/ 34 w 94"/>
                  <a:gd name="T5" fmla="*/ 37 h 77"/>
                  <a:gd name="T6" fmla="*/ 21 w 94"/>
                  <a:gd name="T7" fmla="*/ 55 h 77"/>
                  <a:gd name="T8" fmla="*/ 35 w 94"/>
                  <a:gd name="T9" fmla="*/ 56 h 77"/>
                  <a:gd name="T10" fmla="*/ 48 w 94"/>
                  <a:gd name="T11" fmla="*/ 51 h 77"/>
                  <a:gd name="T12" fmla="*/ 60 w 94"/>
                  <a:gd name="T13" fmla="*/ 60 h 77"/>
                  <a:gd name="T14" fmla="*/ 78 w 94"/>
                  <a:gd name="T15" fmla="*/ 69 h 77"/>
                  <a:gd name="T16" fmla="*/ 81 w 94"/>
                  <a:gd name="T17" fmla="*/ 49 h 77"/>
                  <a:gd name="T18" fmla="*/ 66 w 94"/>
                  <a:gd name="T19" fmla="*/ 37 h 77"/>
                  <a:gd name="T20" fmla="*/ 52 w 94"/>
                  <a:gd name="T21" fmla="*/ 26 h 77"/>
                  <a:gd name="T22" fmla="*/ 41 w 94"/>
                  <a:gd name="T23" fmla="*/ 15 h 77"/>
                  <a:gd name="T24" fmla="*/ 24 w 94"/>
                  <a:gd name="T25" fmla="*/ 15 h 77"/>
                  <a:gd name="T26" fmla="*/ 19 w 94"/>
                  <a:gd name="T27" fmla="*/ 5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" h="77">
                    <a:moveTo>
                      <a:pt x="19" y="5"/>
                    </a:moveTo>
                    <a:cubicBezTo>
                      <a:pt x="19" y="5"/>
                      <a:pt x="0" y="19"/>
                      <a:pt x="8" y="23"/>
                    </a:cubicBezTo>
                    <a:cubicBezTo>
                      <a:pt x="16" y="27"/>
                      <a:pt x="35" y="32"/>
                      <a:pt x="34" y="37"/>
                    </a:cubicBezTo>
                    <a:cubicBezTo>
                      <a:pt x="32" y="43"/>
                      <a:pt x="15" y="47"/>
                      <a:pt x="21" y="55"/>
                    </a:cubicBezTo>
                    <a:cubicBezTo>
                      <a:pt x="27" y="62"/>
                      <a:pt x="34" y="67"/>
                      <a:pt x="35" y="56"/>
                    </a:cubicBezTo>
                    <a:cubicBezTo>
                      <a:pt x="36" y="45"/>
                      <a:pt x="43" y="48"/>
                      <a:pt x="48" y="51"/>
                    </a:cubicBezTo>
                    <a:cubicBezTo>
                      <a:pt x="54" y="55"/>
                      <a:pt x="59" y="54"/>
                      <a:pt x="60" y="60"/>
                    </a:cubicBezTo>
                    <a:cubicBezTo>
                      <a:pt x="62" y="66"/>
                      <a:pt x="77" y="77"/>
                      <a:pt x="78" y="69"/>
                    </a:cubicBezTo>
                    <a:cubicBezTo>
                      <a:pt x="80" y="60"/>
                      <a:pt x="94" y="50"/>
                      <a:pt x="81" y="49"/>
                    </a:cubicBezTo>
                    <a:cubicBezTo>
                      <a:pt x="68" y="47"/>
                      <a:pt x="74" y="43"/>
                      <a:pt x="66" y="37"/>
                    </a:cubicBezTo>
                    <a:cubicBezTo>
                      <a:pt x="58" y="31"/>
                      <a:pt x="52" y="34"/>
                      <a:pt x="52" y="26"/>
                    </a:cubicBezTo>
                    <a:cubicBezTo>
                      <a:pt x="51" y="18"/>
                      <a:pt x="47" y="15"/>
                      <a:pt x="41" y="15"/>
                    </a:cubicBezTo>
                    <a:cubicBezTo>
                      <a:pt x="35" y="15"/>
                      <a:pt x="26" y="22"/>
                      <a:pt x="24" y="15"/>
                    </a:cubicBezTo>
                    <a:cubicBezTo>
                      <a:pt x="22" y="9"/>
                      <a:pt x="24" y="0"/>
                      <a:pt x="19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1" name="Freeform 44">
                <a:extLst>
                  <a:ext uri="{FF2B5EF4-FFF2-40B4-BE49-F238E27FC236}">
                    <a16:creationId xmlns:a16="http://schemas.microsoft.com/office/drawing/2014/main" id="{E8047DB6-3202-B84C-AFD8-B4FF8CC11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1" y="2702"/>
                <a:ext cx="7" cy="9"/>
              </a:xfrm>
              <a:custGeom>
                <a:avLst/>
                <a:gdLst>
                  <a:gd name="T0" fmla="*/ 1 w 27"/>
                  <a:gd name="T1" fmla="*/ 9 h 34"/>
                  <a:gd name="T2" fmla="*/ 7 w 27"/>
                  <a:gd name="T3" fmla="*/ 24 h 34"/>
                  <a:gd name="T4" fmla="*/ 17 w 27"/>
                  <a:gd name="T5" fmla="*/ 26 h 34"/>
                  <a:gd name="T6" fmla="*/ 21 w 27"/>
                  <a:gd name="T7" fmla="*/ 11 h 34"/>
                  <a:gd name="T8" fmla="*/ 1 w 27"/>
                  <a:gd name="T9" fmla="*/ 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34">
                    <a:moveTo>
                      <a:pt x="1" y="9"/>
                    </a:moveTo>
                    <a:cubicBezTo>
                      <a:pt x="1" y="9"/>
                      <a:pt x="3" y="22"/>
                      <a:pt x="7" y="24"/>
                    </a:cubicBezTo>
                    <a:cubicBezTo>
                      <a:pt x="11" y="26"/>
                      <a:pt x="14" y="34"/>
                      <a:pt x="17" y="26"/>
                    </a:cubicBezTo>
                    <a:cubicBezTo>
                      <a:pt x="21" y="18"/>
                      <a:pt x="27" y="11"/>
                      <a:pt x="21" y="11"/>
                    </a:cubicBezTo>
                    <a:cubicBezTo>
                      <a:pt x="14" y="11"/>
                      <a:pt x="0" y="0"/>
                      <a:pt x="1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2" name="Freeform 45">
                <a:extLst>
                  <a:ext uri="{FF2B5EF4-FFF2-40B4-BE49-F238E27FC236}">
                    <a16:creationId xmlns:a16="http://schemas.microsoft.com/office/drawing/2014/main" id="{3005EE59-3919-A041-B22F-6BC03DF384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5" y="2728"/>
                <a:ext cx="22" cy="20"/>
              </a:xfrm>
              <a:custGeom>
                <a:avLst/>
                <a:gdLst>
                  <a:gd name="T0" fmla="*/ 47 w 89"/>
                  <a:gd name="T1" fmla="*/ 12 h 78"/>
                  <a:gd name="T2" fmla="*/ 41 w 89"/>
                  <a:gd name="T3" fmla="*/ 12 h 78"/>
                  <a:gd name="T4" fmla="*/ 33 w 89"/>
                  <a:gd name="T5" fmla="*/ 20 h 78"/>
                  <a:gd name="T6" fmla="*/ 31 w 89"/>
                  <a:gd name="T7" fmla="*/ 4 h 78"/>
                  <a:gd name="T8" fmla="*/ 21 w 89"/>
                  <a:gd name="T9" fmla="*/ 10 h 78"/>
                  <a:gd name="T10" fmla="*/ 5 w 89"/>
                  <a:gd name="T11" fmla="*/ 14 h 78"/>
                  <a:gd name="T12" fmla="*/ 21 w 89"/>
                  <a:gd name="T13" fmla="*/ 25 h 78"/>
                  <a:gd name="T14" fmla="*/ 41 w 89"/>
                  <a:gd name="T15" fmla="*/ 36 h 78"/>
                  <a:gd name="T16" fmla="*/ 59 w 89"/>
                  <a:gd name="T17" fmla="*/ 50 h 78"/>
                  <a:gd name="T18" fmla="*/ 67 w 89"/>
                  <a:gd name="T19" fmla="*/ 65 h 78"/>
                  <a:gd name="T20" fmla="*/ 87 w 89"/>
                  <a:gd name="T21" fmla="*/ 67 h 78"/>
                  <a:gd name="T22" fmla="*/ 79 w 89"/>
                  <a:gd name="T23" fmla="*/ 54 h 78"/>
                  <a:gd name="T24" fmla="*/ 69 w 89"/>
                  <a:gd name="T25" fmla="*/ 46 h 78"/>
                  <a:gd name="T26" fmla="*/ 65 w 89"/>
                  <a:gd name="T27" fmla="*/ 36 h 78"/>
                  <a:gd name="T28" fmla="*/ 66 w 89"/>
                  <a:gd name="T29" fmla="*/ 28 h 78"/>
                  <a:gd name="T30" fmla="*/ 57 w 89"/>
                  <a:gd name="T31" fmla="*/ 19 h 78"/>
                  <a:gd name="T32" fmla="*/ 47 w 89"/>
                  <a:gd name="T33" fmla="*/ 1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9" h="78">
                    <a:moveTo>
                      <a:pt x="47" y="12"/>
                    </a:moveTo>
                    <a:cubicBezTo>
                      <a:pt x="47" y="12"/>
                      <a:pt x="43" y="6"/>
                      <a:pt x="41" y="12"/>
                    </a:cubicBezTo>
                    <a:cubicBezTo>
                      <a:pt x="39" y="18"/>
                      <a:pt x="36" y="25"/>
                      <a:pt x="33" y="20"/>
                    </a:cubicBezTo>
                    <a:cubicBezTo>
                      <a:pt x="29" y="14"/>
                      <a:pt x="37" y="8"/>
                      <a:pt x="31" y="4"/>
                    </a:cubicBezTo>
                    <a:cubicBezTo>
                      <a:pt x="24" y="0"/>
                      <a:pt x="21" y="5"/>
                      <a:pt x="21" y="10"/>
                    </a:cubicBezTo>
                    <a:cubicBezTo>
                      <a:pt x="21" y="14"/>
                      <a:pt x="0" y="10"/>
                      <a:pt x="5" y="14"/>
                    </a:cubicBezTo>
                    <a:cubicBezTo>
                      <a:pt x="11" y="19"/>
                      <a:pt x="19" y="20"/>
                      <a:pt x="21" y="25"/>
                    </a:cubicBezTo>
                    <a:cubicBezTo>
                      <a:pt x="24" y="30"/>
                      <a:pt x="39" y="29"/>
                      <a:pt x="41" y="36"/>
                    </a:cubicBezTo>
                    <a:cubicBezTo>
                      <a:pt x="43" y="44"/>
                      <a:pt x="57" y="40"/>
                      <a:pt x="59" y="50"/>
                    </a:cubicBezTo>
                    <a:cubicBezTo>
                      <a:pt x="61" y="59"/>
                      <a:pt x="63" y="64"/>
                      <a:pt x="67" y="65"/>
                    </a:cubicBezTo>
                    <a:cubicBezTo>
                      <a:pt x="71" y="66"/>
                      <a:pt x="85" y="78"/>
                      <a:pt x="87" y="67"/>
                    </a:cubicBezTo>
                    <a:cubicBezTo>
                      <a:pt x="89" y="56"/>
                      <a:pt x="89" y="54"/>
                      <a:pt x="79" y="54"/>
                    </a:cubicBezTo>
                    <a:cubicBezTo>
                      <a:pt x="69" y="54"/>
                      <a:pt x="77" y="48"/>
                      <a:pt x="69" y="46"/>
                    </a:cubicBezTo>
                    <a:cubicBezTo>
                      <a:pt x="61" y="45"/>
                      <a:pt x="61" y="37"/>
                      <a:pt x="65" y="36"/>
                    </a:cubicBezTo>
                    <a:cubicBezTo>
                      <a:pt x="70" y="36"/>
                      <a:pt x="69" y="32"/>
                      <a:pt x="66" y="28"/>
                    </a:cubicBezTo>
                    <a:cubicBezTo>
                      <a:pt x="63" y="23"/>
                      <a:pt x="61" y="18"/>
                      <a:pt x="57" y="19"/>
                    </a:cubicBezTo>
                    <a:cubicBezTo>
                      <a:pt x="53" y="20"/>
                      <a:pt x="48" y="21"/>
                      <a:pt x="47" y="1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3" name="Freeform 46">
                <a:extLst>
                  <a:ext uri="{FF2B5EF4-FFF2-40B4-BE49-F238E27FC236}">
                    <a16:creationId xmlns:a16="http://schemas.microsoft.com/office/drawing/2014/main" id="{6179025A-26F9-154D-83F7-72290404B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2" y="2717"/>
                <a:ext cx="3" cy="7"/>
              </a:xfrm>
              <a:custGeom>
                <a:avLst/>
                <a:gdLst>
                  <a:gd name="T0" fmla="*/ 4 w 12"/>
                  <a:gd name="T1" fmla="*/ 7 h 26"/>
                  <a:gd name="T2" fmla="*/ 3 w 12"/>
                  <a:gd name="T3" fmla="*/ 22 h 26"/>
                  <a:gd name="T4" fmla="*/ 12 w 12"/>
                  <a:gd name="T5" fmla="*/ 15 h 26"/>
                  <a:gd name="T6" fmla="*/ 4 w 12"/>
                  <a:gd name="T7" fmla="*/ 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26">
                    <a:moveTo>
                      <a:pt x="4" y="7"/>
                    </a:moveTo>
                    <a:cubicBezTo>
                      <a:pt x="4" y="7"/>
                      <a:pt x="0" y="18"/>
                      <a:pt x="3" y="22"/>
                    </a:cubicBezTo>
                    <a:cubicBezTo>
                      <a:pt x="6" y="26"/>
                      <a:pt x="12" y="22"/>
                      <a:pt x="12" y="15"/>
                    </a:cubicBezTo>
                    <a:cubicBezTo>
                      <a:pt x="12" y="8"/>
                      <a:pt x="5" y="0"/>
                      <a:pt x="4" y="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4" name="Freeform 47">
                <a:extLst>
                  <a:ext uri="{FF2B5EF4-FFF2-40B4-BE49-F238E27FC236}">
                    <a16:creationId xmlns:a16="http://schemas.microsoft.com/office/drawing/2014/main" id="{8B9314B8-CE85-0C4E-9287-FD7137834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6" y="2724"/>
                <a:ext cx="10" cy="7"/>
              </a:xfrm>
              <a:custGeom>
                <a:avLst/>
                <a:gdLst>
                  <a:gd name="T0" fmla="*/ 19 w 39"/>
                  <a:gd name="T1" fmla="*/ 7 h 31"/>
                  <a:gd name="T2" fmla="*/ 11 w 39"/>
                  <a:gd name="T3" fmla="*/ 14 h 31"/>
                  <a:gd name="T4" fmla="*/ 13 w 39"/>
                  <a:gd name="T5" fmla="*/ 24 h 31"/>
                  <a:gd name="T6" fmla="*/ 27 w 39"/>
                  <a:gd name="T7" fmla="*/ 28 h 31"/>
                  <a:gd name="T8" fmla="*/ 34 w 39"/>
                  <a:gd name="T9" fmla="*/ 16 h 31"/>
                  <a:gd name="T10" fmla="*/ 19 w 39"/>
                  <a:gd name="T11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31">
                    <a:moveTo>
                      <a:pt x="19" y="7"/>
                    </a:moveTo>
                    <a:cubicBezTo>
                      <a:pt x="19" y="7"/>
                      <a:pt x="21" y="14"/>
                      <a:pt x="11" y="14"/>
                    </a:cubicBezTo>
                    <a:cubicBezTo>
                      <a:pt x="0" y="14"/>
                      <a:pt x="10" y="24"/>
                      <a:pt x="13" y="24"/>
                    </a:cubicBezTo>
                    <a:cubicBezTo>
                      <a:pt x="17" y="25"/>
                      <a:pt x="18" y="31"/>
                      <a:pt x="27" y="28"/>
                    </a:cubicBezTo>
                    <a:cubicBezTo>
                      <a:pt x="37" y="24"/>
                      <a:pt x="39" y="21"/>
                      <a:pt x="34" y="16"/>
                    </a:cubicBezTo>
                    <a:cubicBezTo>
                      <a:pt x="29" y="12"/>
                      <a:pt x="19" y="0"/>
                      <a:pt x="19" y="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5" name="Freeform 48">
                <a:extLst>
                  <a:ext uri="{FF2B5EF4-FFF2-40B4-BE49-F238E27FC236}">
                    <a16:creationId xmlns:a16="http://schemas.microsoft.com/office/drawing/2014/main" id="{C46892A1-1E2B-3B4D-A519-E9096D44B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3" y="2752"/>
                <a:ext cx="10" cy="3"/>
              </a:xfrm>
              <a:custGeom>
                <a:avLst/>
                <a:gdLst>
                  <a:gd name="T0" fmla="*/ 25 w 37"/>
                  <a:gd name="T1" fmla="*/ 1 h 14"/>
                  <a:gd name="T2" fmla="*/ 12 w 37"/>
                  <a:gd name="T3" fmla="*/ 9 h 14"/>
                  <a:gd name="T4" fmla="*/ 25 w 37"/>
                  <a:gd name="T5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14">
                    <a:moveTo>
                      <a:pt x="25" y="1"/>
                    </a:moveTo>
                    <a:cubicBezTo>
                      <a:pt x="25" y="1"/>
                      <a:pt x="0" y="4"/>
                      <a:pt x="12" y="9"/>
                    </a:cubicBezTo>
                    <a:cubicBezTo>
                      <a:pt x="24" y="14"/>
                      <a:pt x="37" y="0"/>
                      <a:pt x="25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6" name="Freeform 49">
                <a:extLst>
                  <a:ext uri="{FF2B5EF4-FFF2-40B4-BE49-F238E27FC236}">
                    <a16:creationId xmlns:a16="http://schemas.microsoft.com/office/drawing/2014/main" id="{A0F24BEF-2C95-9E47-98EA-4D86756B5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7" y="2764"/>
                <a:ext cx="11" cy="7"/>
              </a:xfrm>
              <a:custGeom>
                <a:avLst/>
                <a:gdLst>
                  <a:gd name="T0" fmla="*/ 20 w 45"/>
                  <a:gd name="T1" fmla="*/ 3 h 29"/>
                  <a:gd name="T2" fmla="*/ 4 w 45"/>
                  <a:gd name="T3" fmla="*/ 8 h 29"/>
                  <a:gd name="T4" fmla="*/ 20 w 45"/>
                  <a:gd name="T5" fmla="*/ 23 h 29"/>
                  <a:gd name="T6" fmla="*/ 42 w 45"/>
                  <a:gd name="T7" fmla="*/ 18 h 29"/>
                  <a:gd name="T8" fmla="*/ 28 w 45"/>
                  <a:gd name="T9" fmla="*/ 8 h 29"/>
                  <a:gd name="T10" fmla="*/ 20 w 45"/>
                  <a:gd name="T11" fmla="*/ 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29">
                    <a:moveTo>
                      <a:pt x="20" y="3"/>
                    </a:moveTo>
                    <a:cubicBezTo>
                      <a:pt x="20" y="3"/>
                      <a:pt x="0" y="2"/>
                      <a:pt x="4" y="8"/>
                    </a:cubicBezTo>
                    <a:cubicBezTo>
                      <a:pt x="9" y="14"/>
                      <a:pt x="13" y="18"/>
                      <a:pt x="20" y="23"/>
                    </a:cubicBezTo>
                    <a:cubicBezTo>
                      <a:pt x="28" y="29"/>
                      <a:pt x="38" y="25"/>
                      <a:pt x="42" y="18"/>
                    </a:cubicBezTo>
                    <a:cubicBezTo>
                      <a:pt x="45" y="11"/>
                      <a:pt x="30" y="16"/>
                      <a:pt x="28" y="8"/>
                    </a:cubicBezTo>
                    <a:cubicBezTo>
                      <a:pt x="27" y="0"/>
                      <a:pt x="28" y="3"/>
                      <a:pt x="20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7" name="Freeform 50">
                <a:extLst>
                  <a:ext uri="{FF2B5EF4-FFF2-40B4-BE49-F238E27FC236}">
                    <a16:creationId xmlns:a16="http://schemas.microsoft.com/office/drawing/2014/main" id="{1432F70F-5441-F54A-8EF6-FCA8D3C0D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729"/>
                <a:ext cx="23" cy="13"/>
              </a:xfrm>
              <a:custGeom>
                <a:avLst/>
                <a:gdLst>
                  <a:gd name="T0" fmla="*/ 34 w 91"/>
                  <a:gd name="T1" fmla="*/ 11 h 51"/>
                  <a:gd name="T2" fmla="*/ 19 w 91"/>
                  <a:gd name="T3" fmla="*/ 6 h 51"/>
                  <a:gd name="T4" fmla="*/ 1 w 91"/>
                  <a:gd name="T5" fmla="*/ 8 h 51"/>
                  <a:gd name="T6" fmla="*/ 7 w 91"/>
                  <a:gd name="T7" fmla="*/ 32 h 51"/>
                  <a:gd name="T8" fmla="*/ 21 w 91"/>
                  <a:gd name="T9" fmla="*/ 45 h 51"/>
                  <a:gd name="T10" fmla="*/ 44 w 91"/>
                  <a:gd name="T11" fmla="*/ 46 h 51"/>
                  <a:gd name="T12" fmla="*/ 66 w 91"/>
                  <a:gd name="T13" fmla="*/ 50 h 51"/>
                  <a:gd name="T14" fmla="*/ 82 w 91"/>
                  <a:gd name="T15" fmla="*/ 38 h 51"/>
                  <a:gd name="T16" fmla="*/ 69 w 91"/>
                  <a:gd name="T17" fmla="*/ 29 h 51"/>
                  <a:gd name="T18" fmla="*/ 59 w 91"/>
                  <a:gd name="T19" fmla="*/ 18 h 51"/>
                  <a:gd name="T20" fmla="*/ 34 w 91"/>
                  <a:gd name="T21" fmla="*/ 1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1" h="51">
                    <a:moveTo>
                      <a:pt x="34" y="11"/>
                    </a:moveTo>
                    <a:cubicBezTo>
                      <a:pt x="34" y="11"/>
                      <a:pt x="22" y="12"/>
                      <a:pt x="19" y="6"/>
                    </a:cubicBezTo>
                    <a:cubicBezTo>
                      <a:pt x="17" y="0"/>
                      <a:pt x="3" y="0"/>
                      <a:pt x="1" y="8"/>
                    </a:cubicBezTo>
                    <a:cubicBezTo>
                      <a:pt x="0" y="16"/>
                      <a:pt x="1" y="30"/>
                      <a:pt x="7" y="32"/>
                    </a:cubicBezTo>
                    <a:cubicBezTo>
                      <a:pt x="12" y="35"/>
                      <a:pt x="15" y="45"/>
                      <a:pt x="21" y="45"/>
                    </a:cubicBezTo>
                    <a:cubicBezTo>
                      <a:pt x="27" y="45"/>
                      <a:pt x="38" y="40"/>
                      <a:pt x="44" y="46"/>
                    </a:cubicBezTo>
                    <a:cubicBezTo>
                      <a:pt x="50" y="51"/>
                      <a:pt x="57" y="50"/>
                      <a:pt x="66" y="50"/>
                    </a:cubicBezTo>
                    <a:cubicBezTo>
                      <a:pt x="75" y="50"/>
                      <a:pt x="91" y="43"/>
                      <a:pt x="82" y="38"/>
                    </a:cubicBezTo>
                    <a:cubicBezTo>
                      <a:pt x="73" y="32"/>
                      <a:pt x="69" y="35"/>
                      <a:pt x="69" y="29"/>
                    </a:cubicBezTo>
                    <a:cubicBezTo>
                      <a:pt x="69" y="23"/>
                      <a:pt x="66" y="21"/>
                      <a:pt x="59" y="18"/>
                    </a:cubicBezTo>
                    <a:cubicBezTo>
                      <a:pt x="53" y="14"/>
                      <a:pt x="51" y="9"/>
                      <a:pt x="34" y="1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8" name="Freeform 51">
                <a:extLst>
                  <a:ext uri="{FF2B5EF4-FFF2-40B4-BE49-F238E27FC236}">
                    <a16:creationId xmlns:a16="http://schemas.microsoft.com/office/drawing/2014/main" id="{CDEE976A-16A7-6444-A39A-3C71D2152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713"/>
                <a:ext cx="21" cy="27"/>
              </a:xfrm>
              <a:custGeom>
                <a:avLst/>
                <a:gdLst>
                  <a:gd name="T0" fmla="*/ 8 w 82"/>
                  <a:gd name="T1" fmla="*/ 5 h 109"/>
                  <a:gd name="T2" fmla="*/ 3 w 82"/>
                  <a:gd name="T3" fmla="*/ 13 h 109"/>
                  <a:gd name="T4" fmla="*/ 9 w 82"/>
                  <a:gd name="T5" fmla="*/ 31 h 109"/>
                  <a:gd name="T6" fmla="*/ 16 w 82"/>
                  <a:gd name="T7" fmla="*/ 53 h 109"/>
                  <a:gd name="T8" fmla="*/ 31 w 82"/>
                  <a:gd name="T9" fmla="*/ 75 h 109"/>
                  <a:gd name="T10" fmla="*/ 55 w 82"/>
                  <a:gd name="T11" fmla="*/ 99 h 109"/>
                  <a:gd name="T12" fmla="*/ 73 w 82"/>
                  <a:gd name="T13" fmla="*/ 105 h 109"/>
                  <a:gd name="T14" fmla="*/ 73 w 82"/>
                  <a:gd name="T15" fmla="*/ 90 h 109"/>
                  <a:gd name="T16" fmla="*/ 51 w 82"/>
                  <a:gd name="T17" fmla="*/ 62 h 109"/>
                  <a:gd name="T18" fmla="*/ 47 w 82"/>
                  <a:gd name="T19" fmla="*/ 47 h 109"/>
                  <a:gd name="T20" fmla="*/ 35 w 82"/>
                  <a:gd name="T21" fmla="*/ 30 h 109"/>
                  <a:gd name="T22" fmla="*/ 31 w 82"/>
                  <a:gd name="T23" fmla="*/ 15 h 109"/>
                  <a:gd name="T24" fmla="*/ 8 w 82"/>
                  <a:gd name="T25" fmla="*/ 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2" h="109">
                    <a:moveTo>
                      <a:pt x="8" y="5"/>
                    </a:moveTo>
                    <a:cubicBezTo>
                      <a:pt x="8" y="5"/>
                      <a:pt x="0" y="11"/>
                      <a:pt x="3" y="13"/>
                    </a:cubicBezTo>
                    <a:cubicBezTo>
                      <a:pt x="5" y="15"/>
                      <a:pt x="11" y="18"/>
                      <a:pt x="9" y="31"/>
                    </a:cubicBezTo>
                    <a:cubicBezTo>
                      <a:pt x="7" y="45"/>
                      <a:pt x="16" y="43"/>
                      <a:pt x="16" y="53"/>
                    </a:cubicBezTo>
                    <a:cubicBezTo>
                      <a:pt x="16" y="63"/>
                      <a:pt x="21" y="70"/>
                      <a:pt x="31" y="75"/>
                    </a:cubicBezTo>
                    <a:cubicBezTo>
                      <a:pt x="41" y="81"/>
                      <a:pt x="50" y="90"/>
                      <a:pt x="55" y="99"/>
                    </a:cubicBezTo>
                    <a:cubicBezTo>
                      <a:pt x="61" y="107"/>
                      <a:pt x="67" y="109"/>
                      <a:pt x="73" y="105"/>
                    </a:cubicBezTo>
                    <a:cubicBezTo>
                      <a:pt x="78" y="100"/>
                      <a:pt x="82" y="97"/>
                      <a:pt x="73" y="90"/>
                    </a:cubicBezTo>
                    <a:cubicBezTo>
                      <a:pt x="63" y="83"/>
                      <a:pt x="52" y="71"/>
                      <a:pt x="51" y="62"/>
                    </a:cubicBezTo>
                    <a:cubicBezTo>
                      <a:pt x="51" y="53"/>
                      <a:pt x="55" y="53"/>
                      <a:pt x="47" y="47"/>
                    </a:cubicBezTo>
                    <a:cubicBezTo>
                      <a:pt x="39" y="40"/>
                      <a:pt x="35" y="39"/>
                      <a:pt x="35" y="30"/>
                    </a:cubicBezTo>
                    <a:cubicBezTo>
                      <a:pt x="35" y="21"/>
                      <a:pt x="37" y="17"/>
                      <a:pt x="31" y="15"/>
                    </a:cubicBezTo>
                    <a:cubicBezTo>
                      <a:pt x="25" y="12"/>
                      <a:pt x="27" y="0"/>
                      <a:pt x="8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99" name="Freeform 52">
                <a:extLst>
                  <a:ext uri="{FF2B5EF4-FFF2-40B4-BE49-F238E27FC236}">
                    <a16:creationId xmlns:a16="http://schemas.microsoft.com/office/drawing/2014/main" id="{3DC22616-26B3-6746-9B2A-775E2288B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6" y="2766"/>
                <a:ext cx="12" cy="8"/>
              </a:xfrm>
              <a:custGeom>
                <a:avLst/>
                <a:gdLst>
                  <a:gd name="T0" fmla="*/ 25 w 48"/>
                  <a:gd name="T1" fmla="*/ 9 h 32"/>
                  <a:gd name="T2" fmla="*/ 8 w 48"/>
                  <a:gd name="T3" fmla="*/ 0 h 32"/>
                  <a:gd name="T4" fmla="*/ 11 w 48"/>
                  <a:gd name="T5" fmla="*/ 12 h 32"/>
                  <a:gd name="T6" fmla="*/ 32 w 48"/>
                  <a:gd name="T7" fmla="*/ 28 h 32"/>
                  <a:gd name="T8" fmla="*/ 48 w 48"/>
                  <a:gd name="T9" fmla="*/ 26 h 32"/>
                  <a:gd name="T10" fmla="*/ 25 w 48"/>
                  <a:gd name="T11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32">
                    <a:moveTo>
                      <a:pt x="25" y="9"/>
                    </a:moveTo>
                    <a:cubicBezTo>
                      <a:pt x="25" y="9"/>
                      <a:pt x="17" y="0"/>
                      <a:pt x="8" y="0"/>
                    </a:cubicBezTo>
                    <a:cubicBezTo>
                      <a:pt x="0" y="0"/>
                      <a:pt x="1" y="8"/>
                      <a:pt x="11" y="12"/>
                    </a:cubicBezTo>
                    <a:cubicBezTo>
                      <a:pt x="21" y="16"/>
                      <a:pt x="22" y="27"/>
                      <a:pt x="32" y="28"/>
                    </a:cubicBezTo>
                    <a:cubicBezTo>
                      <a:pt x="41" y="30"/>
                      <a:pt x="48" y="32"/>
                      <a:pt x="48" y="26"/>
                    </a:cubicBezTo>
                    <a:cubicBezTo>
                      <a:pt x="48" y="21"/>
                      <a:pt x="38" y="12"/>
                      <a:pt x="25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0" name="Freeform 53">
                <a:extLst>
                  <a:ext uri="{FF2B5EF4-FFF2-40B4-BE49-F238E27FC236}">
                    <a16:creationId xmlns:a16="http://schemas.microsoft.com/office/drawing/2014/main" id="{BDEE2026-987B-264F-B54E-1D9ECDFF56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742"/>
                <a:ext cx="16" cy="15"/>
              </a:xfrm>
              <a:custGeom>
                <a:avLst/>
                <a:gdLst>
                  <a:gd name="T0" fmla="*/ 4 w 65"/>
                  <a:gd name="T1" fmla="*/ 8 h 58"/>
                  <a:gd name="T2" fmla="*/ 8 w 65"/>
                  <a:gd name="T3" fmla="*/ 32 h 58"/>
                  <a:gd name="T4" fmla="*/ 26 w 65"/>
                  <a:gd name="T5" fmla="*/ 50 h 58"/>
                  <a:gd name="T6" fmla="*/ 47 w 65"/>
                  <a:gd name="T7" fmla="*/ 55 h 58"/>
                  <a:gd name="T8" fmla="*/ 64 w 65"/>
                  <a:gd name="T9" fmla="*/ 51 h 58"/>
                  <a:gd name="T10" fmla="*/ 48 w 65"/>
                  <a:gd name="T11" fmla="*/ 32 h 58"/>
                  <a:gd name="T12" fmla="*/ 29 w 65"/>
                  <a:gd name="T13" fmla="*/ 22 h 58"/>
                  <a:gd name="T14" fmla="*/ 15 w 65"/>
                  <a:gd name="T15" fmla="*/ 12 h 58"/>
                  <a:gd name="T16" fmla="*/ 4 w 65"/>
                  <a:gd name="T17" fmla="*/ 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58">
                    <a:moveTo>
                      <a:pt x="4" y="8"/>
                    </a:moveTo>
                    <a:cubicBezTo>
                      <a:pt x="4" y="8"/>
                      <a:pt x="0" y="28"/>
                      <a:pt x="8" y="32"/>
                    </a:cubicBezTo>
                    <a:cubicBezTo>
                      <a:pt x="16" y="36"/>
                      <a:pt x="18" y="44"/>
                      <a:pt x="26" y="50"/>
                    </a:cubicBezTo>
                    <a:cubicBezTo>
                      <a:pt x="34" y="55"/>
                      <a:pt x="42" y="55"/>
                      <a:pt x="47" y="55"/>
                    </a:cubicBezTo>
                    <a:cubicBezTo>
                      <a:pt x="53" y="55"/>
                      <a:pt x="63" y="58"/>
                      <a:pt x="64" y="51"/>
                    </a:cubicBezTo>
                    <a:cubicBezTo>
                      <a:pt x="65" y="44"/>
                      <a:pt x="53" y="34"/>
                      <a:pt x="48" y="32"/>
                    </a:cubicBezTo>
                    <a:cubicBezTo>
                      <a:pt x="43" y="30"/>
                      <a:pt x="37" y="25"/>
                      <a:pt x="29" y="22"/>
                    </a:cubicBezTo>
                    <a:cubicBezTo>
                      <a:pt x="21" y="20"/>
                      <a:pt x="16" y="20"/>
                      <a:pt x="15" y="12"/>
                    </a:cubicBezTo>
                    <a:cubicBezTo>
                      <a:pt x="13" y="4"/>
                      <a:pt x="5" y="0"/>
                      <a:pt x="4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1" name="Freeform 54">
                <a:extLst>
                  <a:ext uri="{FF2B5EF4-FFF2-40B4-BE49-F238E27FC236}">
                    <a16:creationId xmlns:a16="http://schemas.microsoft.com/office/drawing/2014/main" id="{509ED0D2-B341-304F-B632-34CC98C12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7" y="2623"/>
                <a:ext cx="165" cy="133"/>
              </a:xfrm>
              <a:custGeom>
                <a:avLst/>
                <a:gdLst>
                  <a:gd name="T0" fmla="*/ 649 w 652"/>
                  <a:gd name="T1" fmla="*/ 487 h 526"/>
                  <a:gd name="T2" fmla="*/ 631 w 652"/>
                  <a:gd name="T3" fmla="*/ 482 h 526"/>
                  <a:gd name="T4" fmla="*/ 612 w 652"/>
                  <a:gd name="T5" fmla="*/ 477 h 526"/>
                  <a:gd name="T6" fmla="*/ 590 w 652"/>
                  <a:gd name="T7" fmla="*/ 470 h 526"/>
                  <a:gd name="T8" fmla="*/ 589 w 652"/>
                  <a:gd name="T9" fmla="*/ 443 h 526"/>
                  <a:gd name="T10" fmla="*/ 546 w 652"/>
                  <a:gd name="T11" fmla="*/ 440 h 526"/>
                  <a:gd name="T12" fmla="*/ 544 w 652"/>
                  <a:gd name="T13" fmla="*/ 420 h 526"/>
                  <a:gd name="T14" fmla="*/ 541 w 652"/>
                  <a:gd name="T15" fmla="*/ 407 h 526"/>
                  <a:gd name="T16" fmla="*/ 526 w 652"/>
                  <a:gd name="T17" fmla="*/ 405 h 526"/>
                  <a:gd name="T18" fmla="*/ 506 w 652"/>
                  <a:gd name="T19" fmla="*/ 411 h 526"/>
                  <a:gd name="T20" fmla="*/ 488 w 652"/>
                  <a:gd name="T21" fmla="*/ 384 h 526"/>
                  <a:gd name="T22" fmla="*/ 472 w 652"/>
                  <a:gd name="T23" fmla="*/ 344 h 526"/>
                  <a:gd name="T24" fmla="*/ 436 w 652"/>
                  <a:gd name="T25" fmla="*/ 323 h 526"/>
                  <a:gd name="T26" fmla="*/ 407 w 652"/>
                  <a:gd name="T27" fmla="*/ 275 h 526"/>
                  <a:gd name="T28" fmla="*/ 442 w 652"/>
                  <a:gd name="T29" fmla="*/ 260 h 526"/>
                  <a:gd name="T30" fmla="*/ 454 w 652"/>
                  <a:gd name="T31" fmla="*/ 240 h 526"/>
                  <a:gd name="T32" fmla="*/ 423 w 652"/>
                  <a:gd name="T33" fmla="*/ 216 h 526"/>
                  <a:gd name="T34" fmla="*/ 393 w 652"/>
                  <a:gd name="T35" fmla="*/ 203 h 526"/>
                  <a:gd name="T36" fmla="*/ 365 w 652"/>
                  <a:gd name="T37" fmla="*/ 189 h 526"/>
                  <a:gd name="T38" fmla="*/ 336 w 652"/>
                  <a:gd name="T39" fmla="*/ 169 h 526"/>
                  <a:gd name="T40" fmla="*/ 310 w 652"/>
                  <a:gd name="T41" fmla="*/ 126 h 526"/>
                  <a:gd name="T42" fmla="*/ 231 w 652"/>
                  <a:gd name="T43" fmla="*/ 75 h 526"/>
                  <a:gd name="T44" fmla="*/ 199 w 652"/>
                  <a:gd name="T45" fmla="*/ 61 h 526"/>
                  <a:gd name="T46" fmla="*/ 160 w 652"/>
                  <a:gd name="T47" fmla="*/ 46 h 526"/>
                  <a:gd name="T48" fmla="*/ 109 w 652"/>
                  <a:gd name="T49" fmla="*/ 35 h 526"/>
                  <a:gd name="T50" fmla="*/ 35 w 652"/>
                  <a:gd name="T51" fmla="*/ 1 h 526"/>
                  <a:gd name="T52" fmla="*/ 15 w 652"/>
                  <a:gd name="T53" fmla="*/ 3 h 526"/>
                  <a:gd name="T54" fmla="*/ 17 w 652"/>
                  <a:gd name="T55" fmla="*/ 218 h 526"/>
                  <a:gd name="T56" fmla="*/ 12 w 652"/>
                  <a:gd name="T57" fmla="*/ 249 h 526"/>
                  <a:gd name="T58" fmla="*/ 15 w 652"/>
                  <a:gd name="T59" fmla="*/ 272 h 526"/>
                  <a:gd name="T60" fmla="*/ 17 w 652"/>
                  <a:gd name="T61" fmla="*/ 317 h 526"/>
                  <a:gd name="T62" fmla="*/ 18 w 652"/>
                  <a:gd name="T63" fmla="*/ 421 h 526"/>
                  <a:gd name="T64" fmla="*/ 35 w 652"/>
                  <a:gd name="T65" fmla="*/ 423 h 526"/>
                  <a:gd name="T66" fmla="*/ 86 w 652"/>
                  <a:gd name="T67" fmla="*/ 422 h 526"/>
                  <a:gd name="T68" fmla="*/ 128 w 652"/>
                  <a:gd name="T69" fmla="*/ 430 h 526"/>
                  <a:gd name="T70" fmla="*/ 151 w 652"/>
                  <a:gd name="T71" fmla="*/ 416 h 526"/>
                  <a:gd name="T72" fmla="*/ 171 w 652"/>
                  <a:gd name="T73" fmla="*/ 401 h 526"/>
                  <a:gd name="T74" fmla="*/ 181 w 652"/>
                  <a:gd name="T75" fmla="*/ 388 h 526"/>
                  <a:gd name="T76" fmla="*/ 183 w 652"/>
                  <a:gd name="T77" fmla="*/ 379 h 526"/>
                  <a:gd name="T78" fmla="*/ 183 w 652"/>
                  <a:gd name="T79" fmla="*/ 355 h 526"/>
                  <a:gd name="T80" fmla="*/ 204 w 652"/>
                  <a:gd name="T81" fmla="*/ 344 h 526"/>
                  <a:gd name="T82" fmla="*/ 218 w 652"/>
                  <a:gd name="T83" fmla="*/ 327 h 526"/>
                  <a:gd name="T84" fmla="*/ 250 w 652"/>
                  <a:gd name="T85" fmla="*/ 315 h 526"/>
                  <a:gd name="T86" fmla="*/ 275 w 652"/>
                  <a:gd name="T87" fmla="*/ 336 h 526"/>
                  <a:gd name="T88" fmla="*/ 312 w 652"/>
                  <a:gd name="T89" fmla="*/ 348 h 526"/>
                  <a:gd name="T90" fmla="*/ 353 w 652"/>
                  <a:gd name="T91" fmla="*/ 369 h 526"/>
                  <a:gd name="T92" fmla="*/ 380 w 652"/>
                  <a:gd name="T93" fmla="*/ 410 h 526"/>
                  <a:gd name="T94" fmla="*/ 398 w 652"/>
                  <a:gd name="T95" fmla="*/ 431 h 526"/>
                  <a:gd name="T96" fmla="*/ 409 w 652"/>
                  <a:gd name="T97" fmla="*/ 443 h 526"/>
                  <a:gd name="T98" fmla="*/ 435 w 652"/>
                  <a:gd name="T99" fmla="*/ 462 h 526"/>
                  <a:gd name="T100" fmla="*/ 458 w 652"/>
                  <a:gd name="T101" fmla="*/ 486 h 526"/>
                  <a:gd name="T102" fmla="*/ 518 w 652"/>
                  <a:gd name="T103" fmla="*/ 486 h 526"/>
                  <a:gd name="T104" fmla="*/ 554 w 652"/>
                  <a:gd name="T105" fmla="*/ 493 h 526"/>
                  <a:gd name="T106" fmla="*/ 584 w 652"/>
                  <a:gd name="T107" fmla="*/ 495 h 526"/>
                  <a:gd name="T108" fmla="*/ 601 w 652"/>
                  <a:gd name="T109" fmla="*/ 515 h 526"/>
                  <a:gd name="T110" fmla="*/ 627 w 652"/>
                  <a:gd name="T111" fmla="*/ 512 h 526"/>
                  <a:gd name="T112" fmla="*/ 632 w 652"/>
                  <a:gd name="T113" fmla="*/ 492 h 526"/>
                  <a:gd name="T114" fmla="*/ 649 w 652"/>
                  <a:gd name="T115" fmla="*/ 487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52" h="526">
                    <a:moveTo>
                      <a:pt x="649" y="487"/>
                    </a:moveTo>
                    <a:cubicBezTo>
                      <a:pt x="646" y="483"/>
                      <a:pt x="640" y="482"/>
                      <a:pt x="631" y="482"/>
                    </a:cubicBezTo>
                    <a:cubicBezTo>
                      <a:pt x="622" y="482"/>
                      <a:pt x="626" y="477"/>
                      <a:pt x="612" y="477"/>
                    </a:cubicBezTo>
                    <a:cubicBezTo>
                      <a:pt x="598" y="477"/>
                      <a:pt x="595" y="482"/>
                      <a:pt x="590" y="470"/>
                    </a:cubicBezTo>
                    <a:cubicBezTo>
                      <a:pt x="585" y="458"/>
                      <a:pt x="603" y="447"/>
                      <a:pt x="589" y="443"/>
                    </a:cubicBezTo>
                    <a:cubicBezTo>
                      <a:pt x="575" y="439"/>
                      <a:pt x="551" y="454"/>
                      <a:pt x="546" y="440"/>
                    </a:cubicBezTo>
                    <a:cubicBezTo>
                      <a:pt x="541" y="426"/>
                      <a:pt x="537" y="421"/>
                      <a:pt x="544" y="420"/>
                    </a:cubicBezTo>
                    <a:cubicBezTo>
                      <a:pt x="551" y="419"/>
                      <a:pt x="550" y="414"/>
                      <a:pt x="541" y="407"/>
                    </a:cubicBezTo>
                    <a:cubicBezTo>
                      <a:pt x="532" y="400"/>
                      <a:pt x="527" y="398"/>
                      <a:pt x="526" y="405"/>
                    </a:cubicBezTo>
                    <a:cubicBezTo>
                      <a:pt x="525" y="412"/>
                      <a:pt x="516" y="418"/>
                      <a:pt x="506" y="411"/>
                    </a:cubicBezTo>
                    <a:cubicBezTo>
                      <a:pt x="496" y="404"/>
                      <a:pt x="503" y="397"/>
                      <a:pt x="488" y="384"/>
                    </a:cubicBezTo>
                    <a:cubicBezTo>
                      <a:pt x="473" y="371"/>
                      <a:pt x="488" y="349"/>
                      <a:pt x="472" y="344"/>
                    </a:cubicBezTo>
                    <a:cubicBezTo>
                      <a:pt x="456" y="339"/>
                      <a:pt x="456" y="335"/>
                      <a:pt x="436" y="323"/>
                    </a:cubicBezTo>
                    <a:cubicBezTo>
                      <a:pt x="416" y="311"/>
                      <a:pt x="400" y="294"/>
                      <a:pt x="407" y="275"/>
                    </a:cubicBezTo>
                    <a:cubicBezTo>
                      <a:pt x="414" y="256"/>
                      <a:pt x="426" y="258"/>
                      <a:pt x="442" y="260"/>
                    </a:cubicBezTo>
                    <a:cubicBezTo>
                      <a:pt x="458" y="262"/>
                      <a:pt x="470" y="263"/>
                      <a:pt x="454" y="240"/>
                    </a:cubicBezTo>
                    <a:cubicBezTo>
                      <a:pt x="438" y="217"/>
                      <a:pt x="437" y="215"/>
                      <a:pt x="423" y="216"/>
                    </a:cubicBezTo>
                    <a:cubicBezTo>
                      <a:pt x="409" y="217"/>
                      <a:pt x="410" y="203"/>
                      <a:pt x="393" y="203"/>
                    </a:cubicBezTo>
                    <a:cubicBezTo>
                      <a:pt x="376" y="203"/>
                      <a:pt x="378" y="189"/>
                      <a:pt x="365" y="189"/>
                    </a:cubicBezTo>
                    <a:cubicBezTo>
                      <a:pt x="352" y="189"/>
                      <a:pt x="348" y="188"/>
                      <a:pt x="336" y="169"/>
                    </a:cubicBezTo>
                    <a:cubicBezTo>
                      <a:pt x="324" y="150"/>
                      <a:pt x="332" y="140"/>
                      <a:pt x="310" y="126"/>
                    </a:cubicBezTo>
                    <a:cubicBezTo>
                      <a:pt x="288" y="112"/>
                      <a:pt x="251" y="77"/>
                      <a:pt x="231" y="75"/>
                    </a:cubicBezTo>
                    <a:cubicBezTo>
                      <a:pt x="211" y="73"/>
                      <a:pt x="218" y="73"/>
                      <a:pt x="199" y="61"/>
                    </a:cubicBezTo>
                    <a:cubicBezTo>
                      <a:pt x="180" y="49"/>
                      <a:pt x="176" y="49"/>
                      <a:pt x="160" y="46"/>
                    </a:cubicBezTo>
                    <a:cubicBezTo>
                      <a:pt x="144" y="43"/>
                      <a:pt x="146" y="54"/>
                      <a:pt x="109" y="35"/>
                    </a:cubicBezTo>
                    <a:cubicBezTo>
                      <a:pt x="72" y="16"/>
                      <a:pt x="52" y="3"/>
                      <a:pt x="35" y="1"/>
                    </a:cubicBezTo>
                    <a:cubicBezTo>
                      <a:pt x="28" y="0"/>
                      <a:pt x="21" y="1"/>
                      <a:pt x="15" y="3"/>
                    </a:cubicBezTo>
                    <a:cubicBezTo>
                      <a:pt x="17" y="218"/>
                      <a:pt x="17" y="218"/>
                      <a:pt x="17" y="218"/>
                    </a:cubicBezTo>
                    <a:cubicBezTo>
                      <a:pt x="17" y="218"/>
                      <a:pt x="24" y="242"/>
                      <a:pt x="12" y="249"/>
                    </a:cubicBezTo>
                    <a:cubicBezTo>
                      <a:pt x="0" y="255"/>
                      <a:pt x="7" y="266"/>
                      <a:pt x="15" y="272"/>
                    </a:cubicBezTo>
                    <a:cubicBezTo>
                      <a:pt x="24" y="279"/>
                      <a:pt x="19" y="293"/>
                      <a:pt x="17" y="317"/>
                    </a:cubicBezTo>
                    <a:cubicBezTo>
                      <a:pt x="16" y="334"/>
                      <a:pt x="17" y="389"/>
                      <a:pt x="18" y="421"/>
                    </a:cubicBezTo>
                    <a:cubicBezTo>
                      <a:pt x="22" y="423"/>
                      <a:pt x="27" y="423"/>
                      <a:pt x="35" y="423"/>
                    </a:cubicBezTo>
                    <a:cubicBezTo>
                      <a:pt x="54" y="422"/>
                      <a:pt x="62" y="421"/>
                      <a:pt x="86" y="422"/>
                    </a:cubicBezTo>
                    <a:cubicBezTo>
                      <a:pt x="110" y="423"/>
                      <a:pt x="119" y="437"/>
                      <a:pt x="128" y="430"/>
                    </a:cubicBezTo>
                    <a:cubicBezTo>
                      <a:pt x="137" y="423"/>
                      <a:pt x="139" y="418"/>
                      <a:pt x="151" y="416"/>
                    </a:cubicBezTo>
                    <a:cubicBezTo>
                      <a:pt x="163" y="414"/>
                      <a:pt x="171" y="410"/>
                      <a:pt x="171" y="401"/>
                    </a:cubicBezTo>
                    <a:cubicBezTo>
                      <a:pt x="171" y="392"/>
                      <a:pt x="169" y="387"/>
                      <a:pt x="181" y="388"/>
                    </a:cubicBezTo>
                    <a:cubicBezTo>
                      <a:pt x="193" y="389"/>
                      <a:pt x="189" y="385"/>
                      <a:pt x="183" y="379"/>
                    </a:cubicBezTo>
                    <a:cubicBezTo>
                      <a:pt x="177" y="373"/>
                      <a:pt x="177" y="357"/>
                      <a:pt x="183" y="355"/>
                    </a:cubicBezTo>
                    <a:cubicBezTo>
                      <a:pt x="189" y="353"/>
                      <a:pt x="199" y="357"/>
                      <a:pt x="204" y="344"/>
                    </a:cubicBezTo>
                    <a:cubicBezTo>
                      <a:pt x="209" y="331"/>
                      <a:pt x="208" y="329"/>
                      <a:pt x="218" y="327"/>
                    </a:cubicBezTo>
                    <a:cubicBezTo>
                      <a:pt x="228" y="325"/>
                      <a:pt x="237" y="309"/>
                      <a:pt x="250" y="315"/>
                    </a:cubicBezTo>
                    <a:cubicBezTo>
                      <a:pt x="263" y="321"/>
                      <a:pt x="256" y="337"/>
                      <a:pt x="275" y="336"/>
                    </a:cubicBezTo>
                    <a:cubicBezTo>
                      <a:pt x="294" y="335"/>
                      <a:pt x="298" y="348"/>
                      <a:pt x="312" y="348"/>
                    </a:cubicBezTo>
                    <a:cubicBezTo>
                      <a:pt x="326" y="348"/>
                      <a:pt x="339" y="347"/>
                      <a:pt x="353" y="369"/>
                    </a:cubicBezTo>
                    <a:cubicBezTo>
                      <a:pt x="367" y="391"/>
                      <a:pt x="363" y="409"/>
                      <a:pt x="380" y="410"/>
                    </a:cubicBezTo>
                    <a:cubicBezTo>
                      <a:pt x="397" y="411"/>
                      <a:pt x="398" y="425"/>
                      <a:pt x="398" y="431"/>
                    </a:cubicBezTo>
                    <a:cubicBezTo>
                      <a:pt x="398" y="437"/>
                      <a:pt x="398" y="442"/>
                      <a:pt x="409" y="443"/>
                    </a:cubicBezTo>
                    <a:cubicBezTo>
                      <a:pt x="420" y="444"/>
                      <a:pt x="430" y="449"/>
                      <a:pt x="435" y="462"/>
                    </a:cubicBezTo>
                    <a:cubicBezTo>
                      <a:pt x="440" y="475"/>
                      <a:pt x="444" y="486"/>
                      <a:pt x="458" y="486"/>
                    </a:cubicBezTo>
                    <a:cubicBezTo>
                      <a:pt x="472" y="486"/>
                      <a:pt x="501" y="487"/>
                      <a:pt x="518" y="486"/>
                    </a:cubicBezTo>
                    <a:cubicBezTo>
                      <a:pt x="535" y="485"/>
                      <a:pt x="534" y="495"/>
                      <a:pt x="554" y="493"/>
                    </a:cubicBezTo>
                    <a:cubicBezTo>
                      <a:pt x="574" y="491"/>
                      <a:pt x="580" y="484"/>
                      <a:pt x="584" y="495"/>
                    </a:cubicBezTo>
                    <a:cubicBezTo>
                      <a:pt x="588" y="506"/>
                      <a:pt x="586" y="515"/>
                      <a:pt x="601" y="515"/>
                    </a:cubicBezTo>
                    <a:cubicBezTo>
                      <a:pt x="616" y="515"/>
                      <a:pt x="630" y="526"/>
                      <a:pt x="627" y="512"/>
                    </a:cubicBezTo>
                    <a:cubicBezTo>
                      <a:pt x="624" y="498"/>
                      <a:pt x="619" y="492"/>
                      <a:pt x="632" y="492"/>
                    </a:cubicBezTo>
                    <a:cubicBezTo>
                      <a:pt x="645" y="492"/>
                      <a:pt x="652" y="491"/>
                      <a:pt x="649" y="48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2" name="Freeform 55">
                <a:extLst>
                  <a:ext uri="{FF2B5EF4-FFF2-40B4-BE49-F238E27FC236}">
                    <a16:creationId xmlns:a16="http://schemas.microsoft.com/office/drawing/2014/main" id="{BA3E2185-6EA7-2440-813E-3AD77603B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2195"/>
                <a:ext cx="172" cy="59"/>
              </a:xfrm>
              <a:custGeom>
                <a:avLst/>
                <a:gdLst>
                  <a:gd name="T0" fmla="*/ 63 w 681"/>
                  <a:gd name="T1" fmla="*/ 35 h 234"/>
                  <a:gd name="T2" fmla="*/ 33 w 681"/>
                  <a:gd name="T3" fmla="*/ 50 h 234"/>
                  <a:gd name="T4" fmla="*/ 25 w 681"/>
                  <a:gd name="T5" fmla="*/ 76 h 234"/>
                  <a:gd name="T6" fmla="*/ 0 w 681"/>
                  <a:gd name="T7" fmla="*/ 90 h 234"/>
                  <a:gd name="T8" fmla="*/ 12 w 681"/>
                  <a:gd name="T9" fmla="*/ 89 h 234"/>
                  <a:gd name="T10" fmla="*/ 26 w 681"/>
                  <a:gd name="T11" fmla="*/ 95 h 234"/>
                  <a:gd name="T12" fmla="*/ 45 w 681"/>
                  <a:gd name="T13" fmla="*/ 93 h 234"/>
                  <a:gd name="T14" fmla="*/ 68 w 681"/>
                  <a:gd name="T15" fmla="*/ 77 h 234"/>
                  <a:gd name="T16" fmla="*/ 91 w 681"/>
                  <a:gd name="T17" fmla="*/ 67 h 234"/>
                  <a:gd name="T18" fmla="*/ 124 w 681"/>
                  <a:gd name="T19" fmla="*/ 53 h 234"/>
                  <a:gd name="T20" fmla="*/ 153 w 681"/>
                  <a:gd name="T21" fmla="*/ 35 h 234"/>
                  <a:gd name="T22" fmla="*/ 199 w 681"/>
                  <a:gd name="T23" fmla="*/ 42 h 234"/>
                  <a:gd name="T24" fmla="*/ 187 w 681"/>
                  <a:gd name="T25" fmla="*/ 57 h 234"/>
                  <a:gd name="T26" fmla="*/ 203 w 681"/>
                  <a:gd name="T27" fmla="*/ 77 h 234"/>
                  <a:gd name="T28" fmla="*/ 232 w 681"/>
                  <a:gd name="T29" fmla="*/ 75 h 234"/>
                  <a:gd name="T30" fmla="*/ 269 w 681"/>
                  <a:gd name="T31" fmla="*/ 81 h 234"/>
                  <a:gd name="T32" fmla="*/ 301 w 681"/>
                  <a:gd name="T33" fmla="*/ 95 h 234"/>
                  <a:gd name="T34" fmla="*/ 339 w 681"/>
                  <a:gd name="T35" fmla="*/ 116 h 234"/>
                  <a:gd name="T36" fmla="*/ 376 w 681"/>
                  <a:gd name="T37" fmla="*/ 125 h 234"/>
                  <a:gd name="T38" fmla="*/ 406 w 681"/>
                  <a:gd name="T39" fmla="*/ 140 h 234"/>
                  <a:gd name="T40" fmla="*/ 443 w 681"/>
                  <a:gd name="T41" fmla="*/ 170 h 234"/>
                  <a:gd name="T42" fmla="*/ 496 w 681"/>
                  <a:gd name="T43" fmla="*/ 184 h 234"/>
                  <a:gd name="T44" fmla="*/ 485 w 681"/>
                  <a:gd name="T45" fmla="*/ 201 h 234"/>
                  <a:gd name="T46" fmla="*/ 459 w 681"/>
                  <a:gd name="T47" fmla="*/ 215 h 234"/>
                  <a:gd name="T48" fmla="*/ 475 w 681"/>
                  <a:gd name="T49" fmla="*/ 225 h 234"/>
                  <a:gd name="T50" fmla="*/ 507 w 681"/>
                  <a:gd name="T51" fmla="*/ 216 h 234"/>
                  <a:gd name="T52" fmla="*/ 586 w 681"/>
                  <a:gd name="T53" fmla="*/ 222 h 234"/>
                  <a:gd name="T54" fmla="*/ 624 w 681"/>
                  <a:gd name="T55" fmla="*/ 228 h 234"/>
                  <a:gd name="T56" fmla="*/ 645 w 681"/>
                  <a:gd name="T57" fmla="*/ 212 h 234"/>
                  <a:gd name="T58" fmla="*/ 680 w 681"/>
                  <a:gd name="T59" fmla="*/ 203 h 234"/>
                  <a:gd name="T60" fmla="*/ 655 w 681"/>
                  <a:gd name="T61" fmla="*/ 185 h 234"/>
                  <a:gd name="T62" fmla="*/ 624 w 681"/>
                  <a:gd name="T63" fmla="*/ 171 h 234"/>
                  <a:gd name="T64" fmla="*/ 589 w 681"/>
                  <a:gd name="T65" fmla="*/ 161 h 234"/>
                  <a:gd name="T66" fmla="*/ 570 w 681"/>
                  <a:gd name="T67" fmla="*/ 141 h 234"/>
                  <a:gd name="T68" fmla="*/ 538 w 681"/>
                  <a:gd name="T69" fmla="*/ 129 h 234"/>
                  <a:gd name="T70" fmla="*/ 490 w 681"/>
                  <a:gd name="T71" fmla="*/ 109 h 234"/>
                  <a:gd name="T72" fmla="*/ 462 w 681"/>
                  <a:gd name="T73" fmla="*/ 89 h 234"/>
                  <a:gd name="T74" fmla="*/ 448 w 681"/>
                  <a:gd name="T75" fmla="*/ 69 h 234"/>
                  <a:gd name="T76" fmla="*/ 429 w 681"/>
                  <a:gd name="T77" fmla="*/ 62 h 234"/>
                  <a:gd name="T78" fmla="*/ 419 w 681"/>
                  <a:gd name="T79" fmla="*/ 69 h 234"/>
                  <a:gd name="T80" fmla="*/ 404 w 681"/>
                  <a:gd name="T81" fmla="*/ 39 h 234"/>
                  <a:gd name="T82" fmla="*/ 384 w 681"/>
                  <a:gd name="T83" fmla="*/ 57 h 234"/>
                  <a:gd name="T84" fmla="*/ 349 w 681"/>
                  <a:gd name="T85" fmla="*/ 45 h 234"/>
                  <a:gd name="T86" fmla="*/ 316 w 681"/>
                  <a:gd name="T87" fmla="*/ 18 h 234"/>
                  <a:gd name="T88" fmla="*/ 277 w 681"/>
                  <a:gd name="T89" fmla="*/ 12 h 234"/>
                  <a:gd name="T90" fmla="*/ 232 w 681"/>
                  <a:gd name="T91" fmla="*/ 0 h 234"/>
                  <a:gd name="T92" fmla="*/ 194 w 681"/>
                  <a:gd name="T93" fmla="*/ 3 h 234"/>
                  <a:gd name="T94" fmla="*/ 149 w 681"/>
                  <a:gd name="T95" fmla="*/ 7 h 234"/>
                  <a:gd name="T96" fmla="*/ 103 w 681"/>
                  <a:gd name="T97" fmla="*/ 14 h 234"/>
                  <a:gd name="T98" fmla="*/ 63 w 681"/>
                  <a:gd name="T99" fmla="*/ 35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1" h="234">
                    <a:moveTo>
                      <a:pt x="63" y="35"/>
                    </a:moveTo>
                    <a:cubicBezTo>
                      <a:pt x="63" y="35"/>
                      <a:pt x="37" y="37"/>
                      <a:pt x="33" y="50"/>
                    </a:cubicBezTo>
                    <a:cubicBezTo>
                      <a:pt x="30" y="63"/>
                      <a:pt x="35" y="74"/>
                      <a:pt x="25" y="76"/>
                    </a:cubicBezTo>
                    <a:cubicBezTo>
                      <a:pt x="15" y="78"/>
                      <a:pt x="0" y="82"/>
                      <a:pt x="0" y="90"/>
                    </a:cubicBezTo>
                    <a:cubicBezTo>
                      <a:pt x="0" y="98"/>
                      <a:pt x="7" y="93"/>
                      <a:pt x="12" y="89"/>
                    </a:cubicBezTo>
                    <a:cubicBezTo>
                      <a:pt x="16" y="85"/>
                      <a:pt x="22" y="92"/>
                      <a:pt x="26" y="95"/>
                    </a:cubicBezTo>
                    <a:cubicBezTo>
                      <a:pt x="30" y="98"/>
                      <a:pt x="42" y="100"/>
                      <a:pt x="45" y="93"/>
                    </a:cubicBezTo>
                    <a:cubicBezTo>
                      <a:pt x="49" y="85"/>
                      <a:pt x="55" y="77"/>
                      <a:pt x="68" y="77"/>
                    </a:cubicBezTo>
                    <a:cubicBezTo>
                      <a:pt x="81" y="77"/>
                      <a:pt x="75" y="68"/>
                      <a:pt x="91" y="67"/>
                    </a:cubicBezTo>
                    <a:cubicBezTo>
                      <a:pt x="108" y="67"/>
                      <a:pt x="119" y="60"/>
                      <a:pt x="124" y="53"/>
                    </a:cubicBezTo>
                    <a:cubicBezTo>
                      <a:pt x="128" y="46"/>
                      <a:pt x="135" y="35"/>
                      <a:pt x="153" y="35"/>
                    </a:cubicBezTo>
                    <a:cubicBezTo>
                      <a:pt x="171" y="35"/>
                      <a:pt x="197" y="37"/>
                      <a:pt x="199" y="42"/>
                    </a:cubicBezTo>
                    <a:cubicBezTo>
                      <a:pt x="200" y="46"/>
                      <a:pt x="195" y="52"/>
                      <a:pt x="187" y="57"/>
                    </a:cubicBezTo>
                    <a:cubicBezTo>
                      <a:pt x="179" y="62"/>
                      <a:pt x="190" y="77"/>
                      <a:pt x="203" y="77"/>
                    </a:cubicBezTo>
                    <a:cubicBezTo>
                      <a:pt x="216" y="77"/>
                      <a:pt x="222" y="71"/>
                      <a:pt x="232" y="75"/>
                    </a:cubicBezTo>
                    <a:cubicBezTo>
                      <a:pt x="242" y="80"/>
                      <a:pt x="256" y="80"/>
                      <a:pt x="269" y="81"/>
                    </a:cubicBezTo>
                    <a:cubicBezTo>
                      <a:pt x="282" y="82"/>
                      <a:pt x="290" y="83"/>
                      <a:pt x="301" y="95"/>
                    </a:cubicBezTo>
                    <a:cubicBezTo>
                      <a:pt x="311" y="106"/>
                      <a:pt x="326" y="115"/>
                      <a:pt x="339" y="116"/>
                    </a:cubicBezTo>
                    <a:cubicBezTo>
                      <a:pt x="351" y="117"/>
                      <a:pt x="369" y="119"/>
                      <a:pt x="376" y="125"/>
                    </a:cubicBezTo>
                    <a:cubicBezTo>
                      <a:pt x="384" y="130"/>
                      <a:pt x="395" y="116"/>
                      <a:pt x="406" y="140"/>
                    </a:cubicBezTo>
                    <a:cubicBezTo>
                      <a:pt x="417" y="163"/>
                      <a:pt x="424" y="168"/>
                      <a:pt x="443" y="170"/>
                    </a:cubicBezTo>
                    <a:cubicBezTo>
                      <a:pt x="462" y="172"/>
                      <a:pt x="494" y="172"/>
                      <a:pt x="496" y="184"/>
                    </a:cubicBezTo>
                    <a:cubicBezTo>
                      <a:pt x="498" y="195"/>
                      <a:pt x="497" y="200"/>
                      <a:pt x="485" y="201"/>
                    </a:cubicBezTo>
                    <a:cubicBezTo>
                      <a:pt x="473" y="203"/>
                      <a:pt x="458" y="206"/>
                      <a:pt x="459" y="215"/>
                    </a:cubicBezTo>
                    <a:cubicBezTo>
                      <a:pt x="460" y="224"/>
                      <a:pt x="465" y="225"/>
                      <a:pt x="475" y="225"/>
                    </a:cubicBezTo>
                    <a:cubicBezTo>
                      <a:pt x="484" y="225"/>
                      <a:pt x="491" y="214"/>
                      <a:pt x="507" y="216"/>
                    </a:cubicBezTo>
                    <a:cubicBezTo>
                      <a:pt x="523" y="219"/>
                      <a:pt x="578" y="213"/>
                      <a:pt x="586" y="222"/>
                    </a:cubicBezTo>
                    <a:cubicBezTo>
                      <a:pt x="594" y="230"/>
                      <a:pt x="614" y="234"/>
                      <a:pt x="624" y="228"/>
                    </a:cubicBezTo>
                    <a:cubicBezTo>
                      <a:pt x="634" y="222"/>
                      <a:pt x="629" y="212"/>
                      <a:pt x="645" y="212"/>
                    </a:cubicBezTo>
                    <a:cubicBezTo>
                      <a:pt x="661" y="212"/>
                      <a:pt x="680" y="209"/>
                      <a:pt x="680" y="203"/>
                    </a:cubicBezTo>
                    <a:cubicBezTo>
                      <a:pt x="681" y="196"/>
                      <a:pt x="664" y="196"/>
                      <a:pt x="655" y="185"/>
                    </a:cubicBezTo>
                    <a:cubicBezTo>
                      <a:pt x="647" y="173"/>
                      <a:pt x="637" y="173"/>
                      <a:pt x="624" y="171"/>
                    </a:cubicBezTo>
                    <a:cubicBezTo>
                      <a:pt x="612" y="168"/>
                      <a:pt x="595" y="172"/>
                      <a:pt x="589" y="161"/>
                    </a:cubicBezTo>
                    <a:cubicBezTo>
                      <a:pt x="584" y="149"/>
                      <a:pt x="585" y="143"/>
                      <a:pt x="570" y="141"/>
                    </a:cubicBezTo>
                    <a:cubicBezTo>
                      <a:pt x="555" y="140"/>
                      <a:pt x="554" y="138"/>
                      <a:pt x="538" y="129"/>
                    </a:cubicBezTo>
                    <a:cubicBezTo>
                      <a:pt x="521" y="120"/>
                      <a:pt x="500" y="119"/>
                      <a:pt x="490" y="109"/>
                    </a:cubicBezTo>
                    <a:cubicBezTo>
                      <a:pt x="479" y="99"/>
                      <a:pt x="471" y="93"/>
                      <a:pt x="462" y="89"/>
                    </a:cubicBezTo>
                    <a:cubicBezTo>
                      <a:pt x="454" y="85"/>
                      <a:pt x="458" y="79"/>
                      <a:pt x="448" y="69"/>
                    </a:cubicBezTo>
                    <a:cubicBezTo>
                      <a:pt x="438" y="59"/>
                      <a:pt x="423" y="51"/>
                      <a:pt x="429" y="62"/>
                    </a:cubicBezTo>
                    <a:cubicBezTo>
                      <a:pt x="435" y="74"/>
                      <a:pt x="428" y="81"/>
                      <a:pt x="419" y="69"/>
                    </a:cubicBezTo>
                    <a:cubicBezTo>
                      <a:pt x="409" y="57"/>
                      <a:pt x="413" y="39"/>
                      <a:pt x="404" y="39"/>
                    </a:cubicBezTo>
                    <a:cubicBezTo>
                      <a:pt x="394" y="40"/>
                      <a:pt x="401" y="57"/>
                      <a:pt x="384" y="57"/>
                    </a:cubicBezTo>
                    <a:cubicBezTo>
                      <a:pt x="368" y="58"/>
                      <a:pt x="361" y="60"/>
                      <a:pt x="349" y="45"/>
                    </a:cubicBezTo>
                    <a:cubicBezTo>
                      <a:pt x="336" y="31"/>
                      <a:pt x="334" y="19"/>
                      <a:pt x="316" y="18"/>
                    </a:cubicBezTo>
                    <a:cubicBezTo>
                      <a:pt x="297" y="17"/>
                      <a:pt x="289" y="19"/>
                      <a:pt x="277" y="12"/>
                    </a:cubicBezTo>
                    <a:cubicBezTo>
                      <a:pt x="265" y="4"/>
                      <a:pt x="243" y="0"/>
                      <a:pt x="232" y="0"/>
                    </a:cubicBezTo>
                    <a:cubicBezTo>
                      <a:pt x="220" y="0"/>
                      <a:pt x="214" y="3"/>
                      <a:pt x="194" y="3"/>
                    </a:cubicBezTo>
                    <a:cubicBezTo>
                      <a:pt x="174" y="3"/>
                      <a:pt x="163" y="6"/>
                      <a:pt x="149" y="7"/>
                    </a:cubicBezTo>
                    <a:cubicBezTo>
                      <a:pt x="136" y="9"/>
                      <a:pt x="108" y="8"/>
                      <a:pt x="103" y="14"/>
                    </a:cubicBezTo>
                    <a:cubicBezTo>
                      <a:pt x="98" y="19"/>
                      <a:pt x="78" y="27"/>
                      <a:pt x="63" y="3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3" name="Freeform 56">
                <a:extLst>
                  <a:ext uri="{FF2B5EF4-FFF2-40B4-BE49-F238E27FC236}">
                    <a16:creationId xmlns:a16="http://schemas.microsoft.com/office/drawing/2014/main" id="{829F4B2F-0065-B841-BC96-EA4909849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9" y="2217"/>
                <a:ext cx="11" cy="9"/>
              </a:xfrm>
              <a:custGeom>
                <a:avLst/>
                <a:gdLst>
                  <a:gd name="T0" fmla="*/ 20 w 43"/>
                  <a:gd name="T1" fmla="*/ 0 h 36"/>
                  <a:gd name="T2" fmla="*/ 6 w 43"/>
                  <a:gd name="T3" fmla="*/ 12 h 36"/>
                  <a:gd name="T4" fmla="*/ 15 w 43"/>
                  <a:gd name="T5" fmla="*/ 33 h 36"/>
                  <a:gd name="T6" fmla="*/ 42 w 43"/>
                  <a:gd name="T7" fmla="*/ 28 h 36"/>
                  <a:gd name="T8" fmla="*/ 32 w 43"/>
                  <a:gd name="T9" fmla="*/ 2 h 36"/>
                  <a:gd name="T10" fmla="*/ 20 w 43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36">
                    <a:moveTo>
                      <a:pt x="20" y="0"/>
                    </a:moveTo>
                    <a:cubicBezTo>
                      <a:pt x="20" y="0"/>
                      <a:pt x="7" y="1"/>
                      <a:pt x="6" y="12"/>
                    </a:cubicBezTo>
                    <a:cubicBezTo>
                      <a:pt x="5" y="24"/>
                      <a:pt x="0" y="30"/>
                      <a:pt x="15" y="33"/>
                    </a:cubicBezTo>
                    <a:cubicBezTo>
                      <a:pt x="30" y="36"/>
                      <a:pt x="40" y="36"/>
                      <a:pt x="42" y="28"/>
                    </a:cubicBezTo>
                    <a:cubicBezTo>
                      <a:pt x="43" y="20"/>
                      <a:pt x="43" y="5"/>
                      <a:pt x="32" y="2"/>
                    </a:cubicBezTo>
                    <a:cubicBezTo>
                      <a:pt x="20" y="0"/>
                      <a:pt x="25" y="0"/>
                      <a:pt x="20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4" name="Freeform 57">
                <a:extLst>
                  <a:ext uri="{FF2B5EF4-FFF2-40B4-BE49-F238E27FC236}">
                    <a16:creationId xmlns:a16="http://schemas.microsoft.com/office/drawing/2014/main" id="{2E805840-CA96-1D42-B727-192593F37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6" y="2274"/>
                <a:ext cx="35" cy="12"/>
              </a:xfrm>
              <a:custGeom>
                <a:avLst/>
                <a:gdLst>
                  <a:gd name="T0" fmla="*/ 65 w 139"/>
                  <a:gd name="T1" fmla="*/ 2 h 50"/>
                  <a:gd name="T2" fmla="*/ 25 w 139"/>
                  <a:gd name="T3" fmla="*/ 2 h 50"/>
                  <a:gd name="T4" fmla="*/ 13 w 139"/>
                  <a:gd name="T5" fmla="*/ 23 h 50"/>
                  <a:gd name="T6" fmla="*/ 34 w 139"/>
                  <a:gd name="T7" fmla="*/ 38 h 50"/>
                  <a:gd name="T8" fmla="*/ 57 w 139"/>
                  <a:gd name="T9" fmla="*/ 49 h 50"/>
                  <a:gd name="T10" fmla="*/ 91 w 139"/>
                  <a:gd name="T11" fmla="*/ 43 h 50"/>
                  <a:gd name="T12" fmla="*/ 106 w 139"/>
                  <a:gd name="T13" fmla="*/ 36 h 50"/>
                  <a:gd name="T14" fmla="*/ 126 w 139"/>
                  <a:gd name="T15" fmla="*/ 45 h 50"/>
                  <a:gd name="T16" fmla="*/ 139 w 139"/>
                  <a:gd name="T17" fmla="*/ 32 h 50"/>
                  <a:gd name="T18" fmla="*/ 123 w 139"/>
                  <a:gd name="T19" fmla="*/ 17 h 50"/>
                  <a:gd name="T20" fmla="*/ 101 w 139"/>
                  <a:gd name="T21" fmla="*/ 8 h 50"/>
                  <a:gd name="T22" fmla="*/ 65 w 139"/>
                  <a:gd name="T23" fmla="*/ 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9" h="50">
                    <a:moveTo>
                      <a:pt x="65" y="2"/>
                    </a:moveTo>
                    <a:cubicBezTo>
                      <a:pt x="65" y="2"/>
                      <a:pt x="36" y="0"/>
                      <a:pt x="25" y="2"/>
                    </a:cubicBezTo>
                    <a:cubicBezTo>
                      <a:pt x="13" y="5"/>
                      <a:pt x="0" y="21"/>
                      <a:pt x="13" y="23"/>
                    </a:cubicBezTo>
                    <a:cubicBezTo>
                      <a:pt x="26" y="25"/>
                      <a:pt x="29" y="32"/>
                      <a:pt x="34" y="38"/>
                    </a:cubicBezTo>
                    <a:cubicBezTo>
                      <a:pt x="39" y="45"/>
                      <a:pt x="44" y="50"/>
                      <a:pt x="57" y="49"/>
                    </a:cubicBezTo>
                    <a:cubicBezTo>
                      <a:pt x="70" y="48"/>
                      <a:pt x="91" y="50"/>
                      <a:pt x="91" y="43"/>
                    </a:cubicBezTo>
                    <a:cubicBezTo>
                      <a:pt x="91" y="37"/>
                      <a:pt x="97" y="33"/>
                      <a:pt x="106" y="36"/>
                    </a:cubicBezTo>
                    <a:cubicBezTo>
                      <a:pt x="114" y="39"/>
                      <a:pt x="119" y="45"/>
                      <a:pt x="126" y="45"/>
                    </a:cubicBezTo>
                    <a:cubicBezTo>
                      <a:pt x="132" y="45"/>
                      <a:pt x="139" y="40"/>
                      <a:pt x="139" y="32"/>
                    </a:cubicBezTo>
                    <a:cubicBezTo>
                      <a:pt x="139" y="25"/>
                      <a:pt x="135" y="18"/>
                      <a:pt x="123" y="17"/>
                    </a:cubicBezTo>
                    <a:cubicBezTo>
                      <a:pt x="111" y="17"/>
                      <a:pt x="112" y="10"/>
                      <a:pt x="101" y="8"/>
                    </a:cubicBezTo>
                    <a:cubicBezTo>
                      <a:pt x="89" y="7"/>
                      <a:pt x="95" y="7"/>
                      <a:pt x="65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5" name="Freeform 58">
                <a:extLst>
                  <a:ext uri="{FF2B5EF4-FFF2-40B4-BE49-F238E27FC236}">
                    <a16:creationId xmlns:a16="http://schemas.microsoft.com/office/drawing/2014/main" id="{E98101F5-DE97-2245-94E8-1E3D638B2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258"/>
                <a:ext cx="8" cy="6"/>
              </a:xfrm>
              <a:custGeom>
                <a:avLst/>
                <a:gdLst>
                  <a:gd name="T0" fmla="*/ 9 w 28"/>
                  <a:gd name="T1" fmla="*/ 2 h 21"/>
                  <a:gd name="T2" fmla="*/ 0 w 28"/>
                  <a:gd name="T3" fmla="*/ 11 h 21"/>
                  <a:gd name="T4" fmla="*/ 16 w 28"/>
                  <a:gd name="T5" fmla="*/ 10 h 21"/>
                  <a:gd name="T6" fmla="*/ 9 w 28"/>
                  <a:gd name="T7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21">
                    <a:moveTo>
                      <a:pt x="9" y="2"/>
                    </a:moveTo>
                    <a:cubicBezTo>
                      <a:pt x="9" y="2"/>
                      <a:pt x="0" y="3"/>
                      <a:pt x="0" y="11"/>
                    </a:cubicBezTo>
                    <a:cubicBezTo>
                      <a:pt x="0" y="19"/>
                      <a:pt x="9" y="21"/>
                      <a:pt x="16" y="10"/>
                    </a:cubicBezTo>
                    <a:cubicBezTo>
                      <a:pt x="22" y="0"/>
                      <a:pt x="28" y="1"/>
                      <a:pt x="9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6" name="Freeform 59">
                <a:extLst>
                  <a:ext uri="{FF2B5EF4-FFF2-40B4-BE49-F238E27FC236}">
                    <a16:creationId xmlns:a16="http://schemas.microsoft.com/office/drawing/2014/main" id="{E2E4F978-E12F-E044-8A65-08D269DDD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7" y="2129"/>
                <a:ext cx="33" cy="23"/>
              </a:xfrm>
              <a:custGeom>
                <a:avLst/>
                <a:gdLst>
                  <a:gd name="T0" fmla="*/ 42 w 127"/>
                  <a:gd name="T1" fmla="*/ 20 h 92"/>
                  <a:gd name="T2" fmla="*/ 29 w 127"/>
                  <a:gd name="T3" fmla="*/ 15 h 92"/>
                  <a:gd name="T4" fmla="*/ 16 w 127"/>
                  <a:gd name="T5" fmla="*/ 22 h 92"/>
                  <a:gd name="T6" fmla="*/ 12 w 127"/>
                  <a:gd name="T7" fmla="*/ 38 h 92"/>
                  <a:gd name="T8" fmla="*/ 43 w 127"/>
                  <a:gd name="T9" fmla="*/ 33 h 92"/>
                  <a:gd name="T10" fmla="*/ 65 w 127"/>
                  <a:gd name="T11" fmla="*/ 24 h 92"/>
                  <a:gd name="T12" fmla="*/ 87 w 127"/>
                  <a:gd name="T13" fmla="*/ 18 h 92"/>
                  <a:gd name="T14" fmla="*/ 98 w 127"/>
                  <a:gd name="T15" fmla="*/ 30 h 92"/>
                  <a:gd name="T16" fmla="*/ 111 w 127"/>
                  <a:gd name="T17" fmla="*/ 43 h 92"/>
                  <a:gd name="T18" fmla="*/ 101 w 127"/>
                  <a:gd name="T19" fmla="*/ 59 h 92"/>
                  <a:gd name="T20" fmla="*/ 103 w 127"/>
                  <a:gd name="T21" fmla="*/ 78 h 92"/>
                  <a:gd name="T22" fmla="*/ 114 w 127"/>
                  <a:gd name="T23" fmla="*/ 78 h 92"/>
                  <a:gd name="T24" fmla="*/ 116 w 127"/>
                  <a:gd name="T25" fmla="*/ 53 h 92"/>
                  <a:gd name="T26" fmla="*/ 122 w 127"/>
                  <a:gd name="T27" fmla="*/ 31 h 92"/>
                  <a:gd name="T28" fmla="*/ 99 w 127"/>
                  <a:gd name="T29" fmla="*/ 11 h 92"/>
                  <a:gd name="T30" fmla="*/ 69 w 127"/>
                  <a:gd name="T31" fmla="*/ 1 h 92"/>
                  <a:gd name="T32" fmla="*/ 53 w 127"/>
                  <a:gd name="T33" fmla="*/ 11 h 92"/>
                  <a:gd name="T34" fmla="*/ 42 w 127"/>
                  <a:gd name="T35" fmla="*/ 2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7" h="92">
                    <a:moveTo>
                      <a:pt x="42" y="20"/>
                    </a:moveTo>
                    <a:cubicBezTo>
                      <a:pt x="42" y="20"/>
                      <a:pt x="36" y="20"/>
                      <a:pt x="29" y="15"/>
                    </a:cubicBezTo>
                    <a:cubicBezTo>
                      <a:pt x="22" y="11"/>
                      <a:pt x="30" y="19"/>
                      <a:pt x="16" y="22"/>
                    </a:cubicBezTo>
                    <a:cubicBezTo>
                      <a:pt x="2" y="25"/>
                      <a:pt x="0" y="37"/>
                      <a:pt x="12" y="38"/>
                    </a:cubicBezTo>
                    <a:cubicBezTo>
                      <a:pt x="25" y="38"/>
                      <a:pt x="35" y="37"/>
                      <a:pt x="43" y="33"/>
                    </a:cubicBezTo>
                    <a:cubicBezTo>
                      <a:pt x="52" y="28"/>
                      <a:pt x="63" y="29"/>
                      <a:pt x="65" y="24"/>
                    </a:cubicBezTo>
                    <a:cubicBezTo>
                      <a:pt x="68" y="19"/>
                      <a:pt x="81" y="15"/>
                      <a:pt x="87" y="18"/>
                    </a:cubicBezTo>
                    <a:cubicBezTo>
                      <a:pt x="93" y="21"/>
                      <a:pt x="98" y="23"/>
                      <a:pt x="98" y="30"/>
                    </a:cubicBezTo>
                    <a:cubicBezTo>
                      <a:pt x="98" y="36"/>
                      <a:pt x="111" y="37"/>
                      <a:pt x="111" y="43"/>
                    </a:cubicBezTo>
                    <a:cubicBezTo>
                      <a:pt x="111" y="50"/>
                      <a:pt x="108" y="58"/>
                      <a:pt x="101" y="59"/>
                    </a:cubicBezTo>
                    <a:cubicBezTo>
                      <a:pt x="93" y="61"/>
                      <a:pt x="96" y="68"/>
                      <a:pt x="103" y="78"/>
                    </a:cubicBezTo>
                    <a:cubicBezTo>
                      <a:pt x="111" y="88"/>
                      <a:pt x="117" y="92"/>
                      <a:pt x="114" y="78"/>
                    </a:cubicBezTo>
                    <a:cubicBezTo>
                      <a:pt x="111" y="65"/>
                      <a:pt x="106" y="58"/>
                      <a:pt x="116" y="53"/>
                    </a:cubicBezTo>
                    <a:cubicBezTo>
                      <a:pt x="127" y="48"/>
                      <a:pt x="126" y="38"/>
                      <a:pt x="122" y="31"/>
                    </a:cubicBezTo>
                    <a:cubicBezTo>
                      <a:pt x="118" y="25"/>
                      <a:pt x="104" y="19"/>
                      <a:pt x="99" y="11"/>
                    </a:cubicBezTo>
                    <a:cubicBezTo>
                      <a:pt x="94" y="3"/>
                      <a:pt x="75" y="0"/>
                      <a:pt x="69" y="1"/>
                    </a:cubicBezTo>
                    <a:cubicBezTo>
                      <a:pt x="63" y="2"/>
                      <a:pt x="53" y="3"/>
                      <a:pt x="53" y="11"/>
                    </a:cubicBezTo>
                    <a:cubicBezTo>
                      <a:pt x="53" y="19"/>
                      <a:pt x="55" y="20"/>
                      <a:pt x="42" y="2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7" name="Freeform 60">
                <a:extLst>
                  <a:ext uri="{FF2B5EF4-FFF2-40B4-BE49-F238E27FC236}">
                    <a16:creationId xmlns:a16="http://schemas.microsoft.com/office/drawing/2014/main" id="{9F07DECD-7163-724A-8959-91A20B662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7" y="2155"/>
                <a:ext cx="10" cy="23"/>
              </a:xfrm>
              <a:custGeom>
                <a:avLst/>
                <a:gdLst>
                  <a:gd name="T0" fmla="*/ 12 w 41"/>
                  <a:gd name="T1" fmla="*/ 23 h 90"/>
                  <a:gd name="T2" fmla="*/ 10 w 41"/>
                  <a:gd name="T3" fmla="*/ 47 h 90"/>
                  <a:gd name="T4" fmla="*/ 8 w 41"/>
                  <a:gd name="T5" fmla="*/ 68 h 90"/>
                  <a:gd name="T6" fmla="*/ 21 w 41"/>
                  <a:gd name="T7" fmla="*/ 84 h 90"/>
                  <a:gd name="T8" fmla="*/ 30 w 41"/>
                  <a:gd name="T9" fmla="*/ 82 h 90"/>
                  <a:gd name="T10" fmla="*/ 39 w 41"/>
                  <a:gd name="T11" fmla="*/ 61 h 90"/>
                  <a:gd name="T12" fmla="*/ 31 w 41"/>
                  <a:gd name="T13" fmla="*/ 42 h 90"/>
                  <a:gd name="T14" fmla="*/ 12 w 41"/>
                  <a:gd name="T15" fmla="*/ 23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90">
                    <a:moveTo>
                      <a:pt x="12" y="23"/>
                    </a:moveTo>
                    <a:cubicBezTo>
                      <a:pt x="12" y="23"/>
                      <a:pt x="19" y="40"/>
                      <a:pt x="10" y="47"/>
                    </a:cubicBezTo>
                    <a:cubicBezTo>
                      <a:pt x="0" y="53"/>
                      <a:pt x="2" y="62"/>
                      <a:pt x="8" y="68"/>
                    </a:cubicBezTo>
                    <a:cubicBezTo>
                      <a:pt x="15" y="75"/>
                      <a:pt x="20" y="80"/>
                      <a:pt x="21" y="84"/>
                    </a:cubicBezTo>
                    <a:cubicBezTo>
                      <a:pt x="23" y="88"/>
                      <a:pt x="24" y="90"/>
                      <a:pt x="30" y="82"/>
                    </a:cubicBezTo>
                    <a:cubicBezTo>
                      <a:pt x="36" y="74"/>
                      <a:pt x="41" y="72"/>
                      <a:pt x="39" y="61"/>
                    </a:cubicBezTo>
                    <a:cubicBezTo>
                      <a:pt x="37" y="50"/>
                      <a:pt x="35" y="52"/>
                      <a:pt x="31" y="42"/>
                    </a:cubicBezTo>
                    <a:cubicBezTo>
                      <a:pt x="28" y="31"/>
                      <a:pt x="8" y="0"/>
                      <a:pt x="12" y="2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8" name="Freeform 61">
                <a:extLst>
                  <a:ext uri="{FF2B5EF4-FFF2-40B4-BE49-F238E27FC236}">
                    <a16:creationId xmlns:a16="http://schemas.microsoft.com/office/drawing/2014/main" id="{2C02E4EE-3303-7F46-A16B-C1CDA11F1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3" y="2177"/>
                <a:ext cx="9" cy="10"/>
              </a:xfrm>
              <a:custGeom>
                <a:avLst/>
                <a:gdLst>
                  <a:gd name="T0" fmla="*/ 14 w 33"/>
                  <a:gd name="T1" fmla="*/ 2 h 40"/>
                  <a:gd name="T2" fmla="*/ 4 w 33"/>
                  <a:gd name="T3" fmla="*/ 14 h 40"/>
                  <a:gd name="T4" fmla="*/ 15 w 33"/>
                  <a:gd name="T5" fmla="*/ 32 h 40"/>
                  <a:gd name="T6" fmla="*/ 28 w 33"/>
                  <a:gd name="T7" fmla="*/ 31 h 40"/>
                  <a:gd name="T8" fmla="*/ 28 w 33"/>
                  <a:gd name="T9" fmla="*/ 14 h 40"/>
                  <a:gd name="T10" fmla="*/ 14 w 33"/>
                  <a:gd name="T11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40">
                    <a:moveTo>
                      <a:pt x="14" y="2"/>
                    </a:moveTo>
                    <a:cubicBezTo>
                      <a:pt x="14" y="2"/>
                      <a:pt x="0" y="7"/>
                      <a:pt x="4" y="14"/>
                    </a:cubicBezTo>
                    <a:cubicBezTo>
                      <a:pt x="7" y="20"/>
                      <a:pt x="15" y="29"/>
                      <a:pt x="15" y="32"/>
                    </a:cubicBezTo>
                    <a:cubicBezTo>
                      <a:pt x="15" y="35"/>
                      <a:pt x="28" y="40"/>
                      <a:pt x="28" y="31"/>
                    </a:cubicBezTo>
                    <a:cubicBezTo>
                      <a:pt x="29" y="22"/>
                      <a:pt x="33" y="17"/>
                      <a:pt x="28" y="14"/>
                    </a:cubicBezTo>
                    <a:cubicBezTo>
                      <a:pt x="22" y="10"/>
                      <a:pt x="19" y="0"/>
                      <a:pt x="14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09" name="Freeform 62">
                <a:extLst>
                  <a:ext uri="{FF2B5EF4-FFF2-40B4-BE49-F238E27FC236}">
                    <a16:creationId xmlns:a16="http://schemas.microsoft.com/office/drawing/2014/main" id="{704F2EEF-A79F-6F42-8425-19519AA63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0" y="2160"/>
                <a:ext cx="6" cy="5"/>
              </a:xfrm>
              <a:custGeom>
                <a:avLst/>
                <a:gdLst>
                  <a:gd name="T0" fmla="*/ 12 w 26"/>
                  <a:gd name="T1" fmla="*/ 8 h 22"/>
                  <a:gd name="T2" fmla="*/ 6 w 26"/>
                  <a:gd name="T3" fmla="*/ 13 h 22"/>
                  <a:gd name="T4" fmla="*/ 7 w 26"/>
                  <a:gd name="T5" fmla="*/ 22 h 22"/>
                  <a:gd name="T6" fmla="*/ 12 w 26"/>
                  <a:gd name="T7" fmla="*/ 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22">
                    <a:moveTo>
                      <a:pt x="12" y="8"/>
                    </a:moveTo>
                    <a:cubicBezTo>
                      <a:pt x="12" y="8"/>
                      <a:pt x="10" y="12"/>
                      <a:pt x="6" y="13"/>
                    </a:cubicBezTo>
                    <a:cubicBezTo>
                      <a:pt x="3" y="15"/>
                      <a:pt x="0" y="22"/>
                      <a:pt x="7" y="22"/>
                    </a:cubicBezTo>
                    <a:cubicBezTo>
                      <a:pt x="13" y="22"/>
                      <a:pt x="26" y="0"/>
                      <a:pt x="12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0" name="Freeform 63">
                <a:extLst>
                  <a:ext uri="{FF2B5EF4-FFF2-40B4-BE49-F238E27FC236}">
                    <a16:creationId xmlns:a16="http://schemas.microsoft.com/office/drawing/2014/main" id="{44FFDEFF-5A74-7148-BAA7-92523993D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3" y="2154"/>
                <a:ext cx="12" cy="14"/>
              </a:xfrm>
              <a:custGeom>
                <a:avLst/>
                <a:gdLst>
                  <a:gd name="T0" fmla="*/ 7 w 47"/>
                  <a:gd name="T1" fmla="*/ 4 h 53"/>
                  <a:gd name="T2" fmla="*/ 7 w 47"/>
                  <a:gd name="T3" fmla="*/ 17 h 53"/>
                  <a:gd name="T4" fmla="*/ 25 w 47"/>
                  <a:gd name="T5" fmla="*/ 26 h 53"/>
                  <a:gd name="T6" fmla="*/ 30 w 47"/>
                  <a:gd name="T7" fmla="*/ 37 h 53"/>
                  <a:gd name="T8" fmla="*/ 34 w 47"/>
                  <a:gd name="T9" fmla="*/ 48 h 53"/>
                  <a:gd name="T10" fmla="*/ 42 w 47"/>
                  <a:gd name="T11" fmla="*/ 32 h 53"/>
                  <a:gd name="T12" fmla="*/ 28 w 47"/>
                  <a:gd name="T13" fmla="*/ 16 h 53"/>
                  <a:gd name="T14" fmla="*/ 7 w 47"/>
                  <a:gd name="T15" fmla="*/ 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53">
                    <a:moveTo>
                      <a:pt x="7" y="4"/>
                    </a:moveTo>
                    <a:cubicBezTo>
                      <a:pt x="7" y="4"/>
                      <a:pt x="0" y="14"/>
                      <a:pt x="7" y="17"/>
                    </a:cubicBezTo>
                    <a:cubicBezTo>
                      <a:pt x="13" y="20"/>
                      <a:pt x="23" y="18"/>
                      <a:pt x="25" y="26"/>
                    </a:cubicBezTo>
                    <a:cubicBezTo>
                      <a:pt x="28" y="34"/>
                      <a:pt x="32" y="27"/>
                      <a:pt x="30" y="37"/>
                    </a:cubicBezTo>
                    <a:cubicBezTo>
                      <a:pt x="29" y="47"/>
                      <a:pt x="31" y="53"/>
                      <a:pt x="34" y="48"/>
                    </a:cubicBezTo>
                    <a:cubicBezTo>
                      <a:pt x="38" y="43"/>
                      <a:pt x="47" y="42"/>
                      <a:pt x="42" y="32"/>
                    </a:cubicBezTo>
                    <a:cubicBezTo>
                      <a:pt x="37" y="23"/>
                      <a:pt x="36" y="20"/>
                      <a:pt x="28" y="16"/>
                    </a:cubicBezTo>
                    <a:cubicBezTo>
                      <a:pt x="20" y="12"/>
                      <a:pt x="14" y="0"/>
                      <a:pt x="7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1" name="Freeform 64">
                <a:extLst>
                  <a:ext uri="{FF2B5EF4-FFF2-40B4-BE49-F238E27FC236}">
                    <a16:creationId xmlns:a16="http://schemas.microsoft.com/office/drawing/2014/main" id="{7795AD51-3327-4E41-BD0A-3CCA9808A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9" y="2169"/>
                <a:ext cx="7" cy="12"/>
              </a:xfrm>
              <a:custGeom>
                <a:avLst/>
                <a:gdLst>
                  <a:gd name="T0" fmla="*/ 11 w 28"/>
                  <a:gd name="T1" fmla="*/ 0 h 46"/>
                  <a:gd name="T2" fmla="*/ 5 w 28"/>
                  <a:gd name="T3" fmla="*/ 10 h 46"/>
                  <a:gd name="T4" fmla="*/ 16 w 28"/>
                  <a:gd name="T5" fmla="*/ 28 h 46"/>
                  <a:gd name="T6" fmla="*/ 23 w 28"/>
                  <a:gd name="T7" fmla="*/ 42 h 46"/>
                  <a:gd name="T8" fmla="*/ 26 w 28"/>
                  <a:gd name="T9" fmla="*/ 23 h 46"/>
                  <a:gd name="T10" fmla="*/ 11 w 28"/>
                  <a:gd name="T11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46">
                    <a:moveTo>
                      <a:pt x="11" y="0"/>
                    </a:moveTo>
                    <a:cubicBezTo>
                      <a:pt x="11" y="0"/>
                      <a:pt x="0" y="2"/>
                      <a:pt x="5" y="10"/>
                    </a:cubicBezTo>
                    <a:cubicBezTo>
                      <a:pt x="10" y="19"/>
                      <a:pt x="16" y="13"/>
                      <a:pt x="16" y="28"/>
                    </a:cubicBezTo>
                    <a:cubicBezTo>
                      <a:pt x="16" y="42"/>
                      <a:pt x="19" y="46"/>
                      <a:pt x="23" y="42"/>
                    </a:cubicBezTo>
                    <a:cubicBezTo>
                      <a:pt x="26" y="38"/>
                      <a:pt x="28" y="31"/>
                      <a:pt x="26" y="23"/>
                    </a:cubicBezTo>
                    <a:cubicBezTo>
                      <a:pt x="23" y="14"/>
                      <a:pt x="23" y="8"/>
                      <a:pt x="11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2" name="Freeform 65">
                <a:extLst>
                  <a:ext uri="{FF2B5EF4-FFF2-40B4-BE49-F238E27FC236}">
                    <a16:creationId xmlns:a16="http://schemas.microsoft.com/office/drawing/2014/main" id="{674926B3-8E29-B542-926E-5B1D6614D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2" y="2185"/>
                <a:ext cx="12" cy="9"/>
              </a:xfrm>
              <a:custGeom>
                <a:avLst/>
                <a:gdLst>
                  <a:gd name="T0" fmla="*/ 14 w 45"/>
                  <a:gd name="T1" fmla="*/ 3 h 36"/>
                  <a:gd name="T2" fmla="*/ 12 w 45"/>
                  <a:gd name="T3" fmla="*/ 17 h 36"/>
                  <a:gd name="T4" fmla="*/ 37 w 45"/>
                  <a:gd name="T5" fmla="*/ 24 h 36"/>
                  <a:gd name="T6" fmla="*/ 14 w 45"/>
                  <a:gd name="T7" fmla="*/ 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" h="36">
                    <a:moveTo>
                      <a:pt x="14" y="3"/>
                    </a:moveTo>
                    <a:cubicBezTo>
                      <a:pt x="14" y="3"/>
                      <a:pt x="0" y="13"/>
                      <a:pt x="12" y="17"/>
                    </a:cubicBezTo>
                    <a:cubicBezTo>
                      <a:pt x="25" y="21"/>
                      <a:pt x="45" y="36"/>
                      <a:pt x="37" y="24"/>
                    </a:cubicBezTo>
                    <a:cubicBezTo>
                      <a:pt x="30" y="12"/>
                      <a:pt x="21" y="0"/>
                      <a:pt x="14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3" name="Freeform 66">
                <a:extLst>
                  <a:ext uri="{FF2B5EF4-FFF2-40B4-BE49-F238E27FC236}">
                    <a16:creationId xmlns:a16="http://schemas.microsoft.com/office/drawing/2014/main" id="{A3F47CB4-13D9-0F42-90B0-ACAFD335C8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5" y="2185"/>
                <a:ext cx="10" cy="15"/>
              </a:xfrm>
              <a:custGeom>
                <a:avLst/>
                <a:gdLst>
                  <a:gd name="T0" fmla="*/ 7 w 39"/>
                  <a:gd name="T1" fmla="*/ 8 h 58"/>
                  <a:gd name="T2" fmla="*/ 7 w 39"/>
                  <a:gd name="T3" fmla="*/ 22 h 58"/>
                  <a:gd name="T4" fmla="*/ 15 w 39"/>
                  <a:gd name="T5" fmla="*/ 41 h 58"/>
                  <a:gd name="T6" fmla="*/ 26 w 39"/>
                  <a:gd name="T7" fmla="*/ 58 h 58"/>
                  <a:gd name="T8" fmla="*/ 33 w 39"/>
                  <a:gd name="T9" fmla="*/ 47 h 58"/>
                  <a:gd name="T10" fmla="*/ 23 w 39"/>
                  <a:gd name="T11" fmla="*/ 29 h 58"/>
                  <a:gd name="T12" fmla="*/ 7 w 39"/>
                  <a:gd name="T13" fmla="*/ 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8">
                    <a:moveTo>
                      <a:pt x="7" y="8"/>
                    </a:moveTo>
                    <a:cubicBezTo>
                      <a:pt x="7" y="8"/>
                      <a:pt x="0" y="17"/>
                      <a:pt x="7" y="22"/>
                    </a:cubicBezTo>
                    <a:cubicBezTo>
                      <a:pt x="13" y="27"/>
                      <a:pt x="13" y="33"/>
                      <a:pt x="15" y="41"/>
                    </a:cubicBezTo>
                    <a:cubicBezTo>
                      <a:pt x="18" y="49"/>
                      <a:pt x="22" y="58"/>
                      <a:pt x="26" y="58"/>
                    </a:cubicBezTo>
                    <a:cubicBezTo>
                      <a:pt x="30" y="58"/>
                      <a:pt x="39" y="57"/>
                      <a:pt x="33" y="47"/>
                    </a:cubicBezTo>
                    <a:cubicBezTo>
                      <a:pt x="26" y="38"/>
                      <a:pt x="29" y="37"/>
                      <a:pt x="23" y="29"/>
                    </a:cubicBezTo>
                    <a:cubicBezTo>
                      <a:pt x="18" y="22"/>
                      <a:pt x="10" y="0"/>
                      <a:pt x="7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4" name="Freeform 67">
                <a:extLst>
                  <a:ext uri="{FF2B5EF4-FFF2-40B4-BE49-F238E27FC236}">
                    <a16:creationId xmlns:a16="http://schemas.microsoft.com/office/drawing/2014/main" id="{A7CDD391-C98F-3341-87B0-4D37322B6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1" y="2199"/>
                <a:ext cx="9" cy="16"/>
              </a:xfrm>
              <a:custGeom>
                <a:avLst/>
                <a:gdLst>
                  <a:gd name="T0" fmla="*/ 3 w 35"/>
                  <a:gd name="T1" fmla="*/ 8 h 63"/>
                  <a:gd name="T2" fmla="*/ 10 w 35"/>
                  <a:gd name="T3" fmla="*/ 22 h 63"/>
                  <a:gd name="T4" fmla="*/ 23 w 35"/>
                  <a:gd name="T5" fmla="*/ 29 h 63"/>
                  <a:gd name="T6" fmla="*/ 13 w 35"/>
                  <a:gd name="T7" fmla="*/ 45 h 63"/>
                  <a:gd name="T8" fmla="*/ 5 w 35"/>
                  <a:gd name="T9" fmla="*/ 61 h 63"/>
                  <a:gd name="T10" fmla="*/ 20 w 35"/>
                  <a:gd name="T11" fmla="*/ 53 h 63"/>
                  <a:gd name="T12" fmla="*/ 34 w 35"/>
                  <a:gd name="T13" fmla="*/ 29 h 63"/>
                  <a:gd name="T14" fmla="*/ 19 w 35"/>
                  <a:gd name="T15" fmla="*/ 13 h 63"/>
                  <a:gd name="T16" fmla="*/ 3 w 35"/>
                  <a:gd name="T17" fmla="*/ 8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63">
                    <a:moveTo>
                      <a:pt x="3" y="8"/>
                    </a:moveTo>
                    <a:cubicBezTo>
                      <a:pt x="3" y="8"/>
                      <a:pt x="3" y="22"/>
                      <a:pt x="10" y="22"/>
                    </a:cubicBezTo>
                    <a:cubicBezTo>
                      <a:pt x="17" y="22"/>
                      <a:pt x="23" y="21"/>
                      <a:pt x="23" y="29"/>
                    </a:cubicBezTo>
                    <a:cubicBezTo>
                      <a:pt x="23" y="38"/>
                      <a:pt x="19" y="40"/>
                      <a:pt x="13" y="45"/>
                    </a:cubicBezTo>
                    <a:cubicBezTo>
                      <a:pt x="6" y="50"/>
                      <a:pt x="0" y="59"/>
                      <a:pt x="5" y="61"/>
                    </a:cubicBezTo>
                    <a:cubicBezTo>
                      <a:pt x="10" y="63"/>
                      <a:pt x="13" y="60"/>
                      <a:pt x="20" y="53"/>
                    </a:cubicBezTo>
                    <a:cubicBezTo>
                      <a:pt x="27" y="46"/>
                      <a:pt x="35" y="40"/>
                      <a:pt x="34" y="29"/>
                    </a:cubicBezTo>
                    <a:cubicBezTo>
                      <a:pt x="34" y="18"/>
                      <a:pt x="30" y="17"/>
                      <a:pt x="19" y="13"/>
                    </a:cubicBezTo>
                    <a:cubicBezTo>
                      <a:pt x="7" y="10"/>
                      <a:pt x="3" y="0"/>
                      <a:pt x="3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5" name="Freeform 68">
                <a:extLst>
                  <a:ext uri="{FF2B5EF4-FFF2-40B4-BE49-F238E27FC236}">
                    <a16:creationId xmlns:a16="http://schemas.microsoft.com/office/drawing/2014/main" id="{F89BA384-8B39-D04D-B793-B13904EF3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1" y="2208"/>
                <a:ext cx="8" cy="4"/>
              </a:xfrm>
              <a:custGeom>
                <a:avLst/>
                <a:gdLst>
                  <a:gd name="T0" fmla="*/ 11 w 32"/>
                  <a:gd name="T1" fmla="*/ 2 h 16"/>
                  <a:gd name="T2" fmla="*/ 12 w 32"/>
                  <a:gd name="T3" fmla="*/ 11 h 16"/>
                  <a:gd name="T4" fmla="*/ 32 w 32"/>
                  <a:gd name="T5" fmla="*/ 10 h 16"/>
                  <a:gd name="T6" fmla="*/ 11 w 32"/>
                  <a:gd name="T7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16">
                    <a:moveTo>
                      <a:pt x="11" y="2"/>
                    </a:moveTo>
                    <a:cubicBezTo>
                      <a:pt x="11" y="2"/>
                      <a:pt x="0" y="9"/>
                      <a:pt x="12" y="11"/>
                    </a:cubicBezTo>
                    <a:cubicBezTo>
                      <a:pt x="24" y="13"/>
                      <a:pt x="32" y="16"/>
                      <a:pt x="32" y="10"/>
                    </a:cubicBezTo>
                    <a:cubicBezTo>
                      <a:pt x="32" y="4"/>
                      <a:pt x="19" y="0"/>
                      <a:pt x="11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6" name="Freeform 69">
                <a:extLst>
                  <a:ext uri="{FF2B5EF4-FFF2-40B4-BE49-F238E27FC236}">
                    <a16:creationId xmlns:a16="http://schemas.microsoft.com/office/drawing/2014/main" id="{C19F919B-D8FD-C941-BCAE-C43FB897F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1" y="2227"/>
                <a:ext cx="12" cy="8"/>
              </a:xfrm>
              <a:custGeom>
                <a:avLst/>
                <a:gdLst>
                  <a:gd name="T0" fmla="*/ 28 w 46"/>
                  <a:gd name="T1" fmla="*/ 6 h 31"/>
                  <a:gd name="T2" fmla="*/ 3 w 46"/>
                  <a:gd name="T3" fmla="*/ 15 h 31"/>
                  <a:gd name="T4" fmla="*/ 14 w 46"/>
                  <a:gd name="T5" fmla="*/ 29 h 31"/>
                  <a:gd name="T6" fmla="*/ 36 w 46"/>
                  <a:gd name="T7" fmla="*/ 21 h 31"/>
                  <a:gd name="T8" fmla="*/ 46 w 46"/>
                  <a:gd name="T9" fmla="*/ 8 h 31"/>
                  <a:gd name="T10" fmla="*/ 28 w 46"/>
                  <a:gd name="T1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31">
                    <a:moveTo>
                      <a:pt x="28" y="6"/>
                    </a:moveTo>
                    <a:cubicBezTo>
                      <a:pt x="28" y="6"/>
                      <a:pt x="5" y="10"/>
                      <a:pt x="3" y="15"/>
                    </a:cubicBezTo>
                    <a:cubicBezTo>
                      <a:pt x="2" y="20"/>
                      <a:pt x="0" y="27"/>
                      <a:pt x="14" y="29"/>
                    </a:cubicBezTo>
                    <a:cubicBezTo>
                      <a:pt x="29" y="31"/>
                      <a:pt x="29" y="24"/>
                      <a:pt x="36" y="21"/>
                    </a:cubicBezTo>
                    <a:cubicBezTo>
                      <a:pt x="44" y="19"/>
                      <a:pt x="46" y="14"/>
                      <a:pt x="46" y="8"/>
                    </a:cubicBezTo>
                    <a:cubicBezTo>
                      <a:pt x="45" y="2"/>
                      <a:pt x="35" y="0"/>
                      <a:pt x="28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7" name="Freeform 70">
                <a:extLst>
                  <a:ext uri="{FF2B5EF4-FFF2-40B4-BE49-F238E27FC236}">
                    <a16:creationId xmlns:a16="http://schemas.microsoft.com/office/drawing/2014/main" id="{84DF6DA0-4913-D546-A4E3-9DBFBE0B3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5" y="2274"/>
                <a:ext cx="27" cy="11"/>
              </a:xfrm>
              <a:custGeom>
                <a:avLst/>
                <a:gdLst>
                  <a:gd name="T0" fmla="*/ 54 w 105"/>
                  <a:gd name="T1" fmla="*/ 2 h 45"/>
                  <a:gd name="T2" fmla="*/ 6 w 105"/>
                  <a:gd name="T3" fmla="*/ 5 h 45"/>
                  <a:gd name="T4" fmla="*/ 4 w 105"/>
                  <a:gd name="T5" fmla="*/ 19 h 45"/>
                  <a:gd name="T6" fmla="*/ 19 w 105"/>
                  <a:gd name="T7" fmla="*/ 40 h 45"/>
                  <a:gd name="T8" fmla="*/ 87 w 105"/>
                  <a:gd name="T9" fmla="*/ 38 h 45"/>
                  <a:gd name="T10" fmla="*/ 103 w 105"/>
                  <a:gd name="T11" fmla="*/ 22 h 45"/>
                  <a:gd name="T12" fmla="*/ 91 w 105"/>
                  <a:gd name="T13" fmla="*/ 4 h 45"/>
                  <a:gd name="T14" fmla="*/ 54 w 105"/>
                  <a:gd name="T15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45">
                    <a:moveTo>
                      <a:pt x="54" y="2"/>
                    </a:moveTo>
                    <a:cubicBezTo>
                      <a:pt x="54" y="2"/>
                      <a:pt x="11" y="0"/>
                      <a:pt x="6" y="5"/>
                    </a:cubicBezTo>
                    <a:cubicBezTo>
                      <a:pt x="1" y="11"/>
                      <a:pt x="0" y="10"/>
                      <a:pt x="4" y="19"/>
                    </a:cubicBezTo>
                    <a:cubicBezTo>
                      <a:pt x="9" y="28"/>
                      <a:pt x="7" y="40"/>
                      <a:pt x="19" y="40"/>
                    </a:cubicBezTo>
                    <a:cubicBezTo>
                      <a:pt x="31" y="40"/>
                      <a:pt x="85" y="45"/>
                      <a:pt x="87" y="38"/>
                    </a:cubicBezTo>
                    <a:cubicBezTo>
                      <a:pt x="90" y="31"/>
                      <a:pt x="103" y="33"/>
                      <a:pt x="103" y="22"/>
                    </a:cubicBezTo>
                    <a:cubicBezTo>
                      <a:pt x="103" y="12"/>
                      <a:pt x="105" y="4"/>
                      <a:pt x="91" y="4"/>
                    </a:cubicBezTo>
                    <a:cubicBezTo>
                      <a:pt x="77" y="4"/>
                      <a:pt x="83" y="1"/>
                      <a:pt x="54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8" name="Freeform 71">
                <a:extLst>
                  <a:ext uri="{FF2B5EF4-FFF2-40B4-BE49-F238E27FC236}">
                    <a16:creationId xmlns:a16="http://schemas.microsoft.com/office/drawing/2014/main" id="{3B90895B-AB7F-BE42-9548-208B7A27B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0" y="2275"/>
                <a:ext cx="6" cy="10"/>
              </a:xfrm>
              <a:custGeom>
                <a:avLst/>
                <a:gdLst>
                  <a:gd name="T0" fmla="*/ 17 w 26"/>
                  <a:gd name="T1" fmla="*/ 10 h 40"/>
                  <a:gd name="T2" fmla="*/ 7 w 26"/>
                  <a:gd name="T3" fmla="*/ 22 h 40"/>
                  <a:gd name="T4" fmla="*/ 7 w 26"/>
                  <a:gd name="T5" fmla="*/ 38 h 40"/>
                  <a:gd name="T6" fmla="*/ 26 w 26"/>
                  <a:gd name="T7" fmla="*/ 28 h 40"/>
                  <a:gd name="T8" fmla="*/ 17 w 26"/>
                  <a:gd name="T9" fmla="*/ 1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40">
                    <a:moveTo>
                      <a:pt x="17" y="10"/>
                    </a:moveTo>
                    <a:cubicBezTo>
                      <a:pt x="17" y="10"/>
                      <a:pt x="14" y="20"/>
                      <a:pt x="7" y="22"/>
                    </a:cubicBezTo>
                    <a:cubicBezTo>
                      <a:pt x="1" y="24"/>
                      <a:pt x="0" y="38"/>
                      <a:pt x="7" y="38"/>
                    </a:cubicBezTo>
                    <a:cubicBezTo>
                      <a:pt x="15" y="38"/>
                      <a:pt x="26" y="40"/>
                      <a:pt x="26" y="28"/>
                    </a:cubicBezTo>
                    <a:cubicBezTo>
                      <a:pt x="26" y="16"/>
                      <a:pt x="23" y="0"/>
                      <a:pt x="17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19" name="Freeform 72">
                <a:extLst>
                  <a:ext uri="{FF2B5EF4-FFF2-40B4-BE49-F238E27FC236}">
                    <a16:creationId xmlns:a16="http://schemas.microsoft.com/office/drawing/2014/main" id="{0B38623C-36A6-FA45-B3C8-66F6E06BD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2" y="2285"/>
                <a:ext cx="11" cy="6"/>
              </a:xfrm>
              <a:custGeom>
                <a:avLst/>
                <a:gdLst>
                  <a:gd name="T0" fmla="*/ 20 w 44"/>
                  <a:gd name="T1" fmla="*/ 3 h 20"/>
                  <a:gd name="T2" fmla="*/ 0 w 44"/>
                  <a:gd name="T3" fmla="*/ 10 h 20"/>
                  <a:gd name="T4" fmla="*/ 20 w 44"/>
                  <a:gd name="T5" fmla="*/ 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0">
                    <a:moveTo>
                      <a:pt x="20" y="3"/>
                    </a:moveTo>
                    <a:cubicBezTo>
                      <a:pt x="20" y="3"/>
                      <a:pt x="0" y="0"/>
                      <a:pt x="0" y="10"/>
                    </a:cubicBezTo>
                    <a:cubicBezTo>
                      <a:pt x="0" y="20"/>
                      <a:pt x="44" y="6"/>
                      <a:pt x="20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0" name="Freeform 73">
                <a:extLst>
                  <a:ext uri="{FF2B5EF4-FFF2-40B4-BE49-F238E27FC236}">
                    <a16:creationId xmlns:a16="http://schemas.microsoft.com/office/drawing/2014/main" id="{2964E65A-301F-B446-A406-C366E402FC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2292"/>
                <a:ext cx="6" cy="5"/>
              </a:xfrm>
              <a:custGeom>
                <a:avLst/>
                <a:gdLst>
                  <a:gd name="T0" fmla="*/ 15 w 25"/>
                  <a:gd name="T1" fmla="*/ 3 h 20"/>
                  <a:gd name="T2" fmla="*/ 3 w 25"/>
                  <a:gd name="T3" fmla="*/ 8 h 20"/>
                  <a:gd name="T4" fmla="*/ 18 w 25"/>
                  <a:gd name="T5" fmla="*/ 14 h 20"/>
                  <a:gd name="T6" fmla="*/ 15 w 25"/>
                  <a:gd name="T7" fmla="*/ 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20">
                    <a:moveTo>
                      <a:pt x="15" y="3"/>
                    </a:moveTo>
                    <a:cubicBezTo>
                      <a:pt x="15" y="3"/>
                      <a:pt x="0" y="0"/>
                      <a:pt x="3" y="8"/>
                    </a:cubicBezTo>
                    <a:cubicBezTo>
                      <a:pt x="6" y="15"/>
                      <a:pt x="15" y="20"/>
                      <a:pt x="18" y="14"/>
                    </a:cubicBezTo>
                    <a:cubicBezTo>
                      <a:pt x="22" y="9"/>
                      <a:pt x="25" y="6"/>
                      <a:pt x="15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1" name="Freeform 74">
                <a:extLst>
                  <a:ext uri="{FF2B5EF4-FFF2-40B4-BE49-F238E27FC236}">
                    <a16:creationId xmlns:a16="http://schemas.microsoft.com/office/drawing/2014/main" id="{ACC050D6-6F13-6245-944D-830BD0B6F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2" y="2303"/>
                <a:ext cx="11" cy="14"/>
              </a:xfrm>
              <a:custGeom>
                <a:avLst/>
                <a:gdLst>
                  <a:gd name="T0" fmla="*/ 27 w 44"/>
                  <a:gd name="T1" fmla="*/ 13 h 55"/>
                  <a:gd name="T2" fmla="*/ 17 w 44"/>
                  <a:gd name="T3" fmla="*/ 32 h 55"/>
                  <a:gd name="T4" fmla="*/ 6 w 44"/>
                  <a:gd name="T5" fmla="*/ 44 h 55"/>
                  <a:gd name="T6" fmla="*/ 28 w 44"/>
                  <a:gd name="T7" fmla="*/ 43 h 55"/>
                  <a:gd name="T8" fmla="*/ 40 w 44"/>
                  <a:gd name="T9" fmla="*/ 24 h 55"/>
                  <a:gd name="T10" fmla="*/ 27 w 44"/>
                  <a:gd name="T11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5">
                    <a:moveTo>
                      <a:pt x="27" y="13"/>
                    </a:moveTo>
                    <a:cubicBezTo>
                      <a:pt x="27" y="13"/>
                      <a:pt x="28" y="27"/>
                      <a:pt x="17" y="32"/>
                    </a:cubicBezTo>
                    <a:cubicBezTo>
                      <a:pt x="6" y="36"/>
                      <a:pt x="0" y="38"/>
                      <a:pt x="6" y="44"/>
                    </a:cubicBezTo>
                    <a:cubicBezTo>
                      <a:pt x="11" y="49"/>
                      <a:pt x="26" y="55"/>
                      <a:pt x="28" y="43"/>
                    </a:cubicBezTo>
                    <a:cubicBezTo>
                      <a:pt x="30" y="31"/>
                      <a:pt x="44" y="34"/>
                      <a:pt x="40" y="24"/>
                    </a:cubicBezTo>
                    <a:cubicBezTo>
                      <a:pt x="35" y="14"/>
                      <a:pt x="28" y="0"/>
                      <a:pt x="27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2" name="Freeform 75">
                <a:extLst>
                  <a:ext uri="{FF2B5EF4-FFF2-40B4-BE49-F238E27FC236}">
                    <a16:creationId xmlns:a16="http://schemas.microsoft.com/office/drawing/2014/main" id="{E7D86B16-0574-2C4C-903D-473A125A2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7" y="2321"/>
                <a:ext cx="7" cy="8"/>
              </a:xfrm>
              <a:custGeom>
                <a:avLst/>
                <a:gdLst>
                  <a:gd name="T0" fmla="*/ 14 w 27"/>
                  <a:gd name="T1" fmla="*/ 2 h 34"/>
                  <a:gd name="T2" fmla="*/ 10 w 27"/>
                  <a:gd name="T3" fmla="*/ 15 h 34"/>
                  <a:gd name="T4" fmla="*/ 26 w 27"/>
                  <a:gd name="T5" fmla="*/ 23 h 34"/>
                  <a:gd name="T6" fmla="*/ 14 w 27"/>
                  <a:gd name="T7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34">
                    <a:moveTo>
                      <a:pt x="14" y="2"/>
                    </a:moveTo>
                    <a:cubicBezTo>
                      <a:pt x="14" y="2"/>
                      <a:pt x="0" y="9"/>
                      <a:pt x="10" y="15"/>
                    </a:cubicBezTo>
                    <a:cubicBezTo>
                      <a:pt x="20" y="22"/>
                      <a:pt x="25" y="34"/>
                      <a:pt x="26" y="23"/>
                    </a:cubicBezTo>
                    <a:cubicBezTo>
                      <a:pt x="27" y="12"/>
                      <a:pt x="20" y="0"/>
                      <a:pt x="14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3" name="Freeform 76">
                <a:extLst>
                  <a:ext uri="{FF2B5EF4-FFF2-40B4-BE49-F238E27FC236}">
                    <a16:creationId xmlns:a16="http://schemas.microsoft.com/office/drawing/2014/main" id="{CCA0B6D7-A18D-F44F-A6C2-68AF1CF1B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" y="2330"/>
                <a:ext cx="10" cy="13"/>
              </a:xfrm>
              <a:custGeom>
                <a:avLst/>
                <a:gdLst>
                  <a:gd name="T0" fmla="*/ 7 w 39"/>
                  <a:gd name="T1" fmla="*/ 9 h 49"/>
                  <a:gd name="T2" fmla="*/ 6 w 39"/>
                  <a:gd name="T3" fmla="*/ 32 h 49"/>
                  <a:gd name="T4" fmla="*/ 22 w 39"/>
                  <a:gd name="T5" fmla="*/ 49 h 49"/>
                  <a:gd name="T6" fmla="*/ 31 w 39"/>
                  <a:gd name="T7" fmla="*/ 35 h 49"/>
                  <a:gd name="T8" fmla="*/ 13 w 39"/>
                  <a:gd name="T9" fmla="*/ 17 h 49"/>
                  <a:gd name="T10" fmla="*/ 7 w 39"/>
                  <a:gd name="T11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49">
                    <a:moveTo>
                      <a:pt x="7" y="9"/>
                    </a:moveTo>
                    <a:cubicBezTo>
                      <a:pt x="7" y="9"/>
                      <a:pt x="0" y="24"/>
                      <a:pt x="6" y="32"/>
                    </a:cubicBezTo>
                    <a:cubicBezTo>
                      <a:pt x="11" y="40"/>
                      <a:pt x="14" y="49"/>
                      <a:pt x="22" y="49"/>
                    </a:cubicBezTo>
                    <a:cubicBezTo>
                      <a:pt x="30" y="49"/>
                      <a:pt x="39" y="46"/>
                      <a:pt x="31" y="35"/>
                    </a:cubicBezTo>
                    <a:cubicBezTo>
                      <a:pt x="23" y="25"/>
                      <a:pt x="13" y="29"/>
                      <a:pt x="13" y="17"/>
                    </a:cubicBezTo>
                    <a:cubicBezTo>
                      <a:pt x="13" y="5"/>
                      <a:pt x="9" y="0"/>
                      <a:pt x="7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4" name="Freeform 77">
                <a:extLst>
                  <a:ext uri="{FF2B5EF4-FFF2-40B4-BE49-F238E27FC236}">
                    <a16:creationId xmlns:a16="http://schemas.microsoft.com/office/drawing/2014/main" id="{D04A9EE5-2C98-EB4B-A173-BF7A9AD68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4" y="2344"/>
                <a:ext cx="5" cy="10"/>
              </a:xfrm>
              <a:custGeom>
                <a:avLst/>
                <a:gdLst>
                  <a:gd name="T0" fmla="*/ 7 w 19"/>
                  <a:gd name="T1" fmla="*/ 14 h 37"/>
                  <a:gd name="T2" fmla="*/ 5 w 19"/>
                  <a:gd name="T3" fmla="*/ 31 h 37"/>
                  <a:gd name="T4" fmla="*/ 18 w 19"/>
                  <a:gd name="T5" fmla="*/ 27 h 37"/>
                  <a:gd name="T6" fmla="*/ 7 w 19"/>
                  <a:gd name="T7" fmla="*/ 1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37">
                    <a:moveTo>
                      <a:pt x="7" y="14"/>
                    </a:moveTo>
                    <a:cubicBezTo>
                      <a:pt x="7" y="14"/>
                      <a:pt x="0" y="25"/>
                      <a:pt x="5" y="31"/>
                    </a:cubicBezTo>
                    <a:cubicBezTo>
                      <a:pt x="10" y="37"/>
                      <a:pt x="18" y="35"/>
                      <a:pt x="18" y="27"/>
                    </a:cubicBezTo>
                    <a:cubicBezTo>
                      <a:pt x="19" y="19"/>
                      <a:pt x="10" y="0"/>
                      <a:pt x="7" y="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5" name="Freeform 78">
                <a:extLst>
                  <a:ext uri="{FF2B5EF4-FFF2-40B4-BE49-F238E27FC236}">
                    <a16:creationId xmlns:a16="http://schemas.microsoft.com/office/drawing/2014/main" id="{C9B0EFFE-F485-3040-8F7D-E11B186F7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7" y="2359"/>
                <a:ext cx="7" cy="5"/>
              </a:xfrm>
              <a:custGeom>
                <a:avLst/>
                <a:gdLst>
                  <a:gd name="T0" fmla="*/ 6 w 27"/>
                  <a:gd name="T1" fmla="*/ 7 h 19"/>
                  <a:gd name="T2" fmla="*/ 6 w 27"/>
                  <a:gd name="T3" fmla="*/ 17 h 19"/>
                  <a:gd name="T4" fmla="*/ 20 w 27"/>
                  <a:gd name="T5" fmla="*/ 13 h 19"/>
                  <a:gd name="T6" fmla="*/ 6 w 27"/>
                  <a:gd name="T7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9">
                    <a:moveTo>
                      <a:pt x="6" y="7"/>
                    </a:moveTo>
                    <a:cubicBezTo>
                      <a:pt x="6" y="7"/>
                      <a:pt x="0" y="15"/>
                      <a:pt x="6" y="17"/>
                    </a:cubicBezTo>
                    <a:cubicBezTo>
                      <a:pt x="13" y="19"/>
                      <a:pt x="27" y="18"/>
                      <a:pt x="20" y="13"/>
                    </a:cubicBezTo>
                    <a:cubicBezTo>
                      <a:pt x="13" y="8"/>
                      <a:pt x="8" y="0"/>
                      <a:pt x="6" y="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6" name="Freeform 79">
                <a:extLst>
                  <a:ext uri="{FF2B5EF4-FFF2-40B4-BE49-F238E27FC236}">
                    <a16:creationId xmlns:a16="http://schemas.microsoft.com/office/drawing/2014/main" id="{1D92DA9D-347F-4944-87DA-B904B9436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2" y="2357"/>
                <a:ext cx="3" cy="8"/>
              </a:xfrm>
              <a:custGeom>
                <a:avLst/>
                <a:gdLst>
                  <a:gd name="T0" fmla="*/ 5 w 12"/>
                  <a:gd name="T1" fmla="*/ 11 h 30"/>
                  <a:gd name="T2" fmla="*/ 5 w 12"/>
                  <a:gd name="T3" fmla="*/ 29 h 30"/>
                  <a:gd name="T4" fmla="*/ 12 w 12"/>
                  <a:gd name="T5" fmla="*/ 20 h 30"/>
                  <a:gd name="T6" fmla="*/ 5 w 12"/>
                  <a:gd name="T7" fmla="*/ 1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30">
                    <a:moveTo>
                      <a:pt x="5" y="11"/>
                    </a:moveTo>
                    <a:cubicBezTo>
                      <a:pt x="5" y="11"/>
                      <a:pt x="0" y="27"/>
                      <a:pt x="5" y="29"/>
                    </a:cubicBezTo>
                    <a:cubicBezTo>
                      <a:pt x="10" y="30"/>
                      <a:pt x="12" y="27"/>
                      <a:pt x="12" y="20"/>
                    </a:cubicBezTo>
                    <a:cubicBezTo>
                      <a:pt x="12" y="12"/>
                      <a:pt x="7" y="0"/>
                      <a:pt x="5" y="1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7" name="Freeform 80">
                <a:extLst>
                  <a:ext uri="{FF2B5EF4-FFF2-40B4-BE49-F238E27FC236}">
                    <a16:creationId xmlns:a16="http://schemas.microsoft.com/office/drawing/2014/main" id="{ECB0EDAA-D274-AB48-89FF-6D94CEAD4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4" y="2377"/>
                <a:ext cx="4" cy="6"/>
              </a:xfrm>
              <a:custGeom>
                <a:avLst/>
                <a:gdLst>
                  <a:gd name="T0" fmla="*/ 2 w 16"/>
                  <a:gd name="T1" fmla="*/ 6 h 24"/>
                  <a:gd name="T2" fmla="*/ 8 w 16"/>
                  <a:gd name="T3" fmla="*/ 23 h 24"/>
                  <a:gd name="T4" fmla="*/ 2 w 16"/>
                  <a:gd name="T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4">
                    <a:moveTo>
                      <a:pt x="2" y="6"/>
                    </a:moveTo>
                    <a:cubicBezTo>
                      <a:pt x="2" y="6"/>
                      <a:pt x="0" y="24"/>
                      <a:pt x="8" y="23"/>
                    </a:cubicBezTo>
                    <a:cubicBezTo>
                      <a:pt x="16" y="23"/>
                      <a:pt x="9" y="0"/>
                      <a:pt x="2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8" name="Freeform 81">
                <a:extLst>
                  <a:ext uri="{FF2B5EF4-FFF2-40B4-BE49-F238E27FC236}">
                    <a16:creationId xmlns:a16="http://schemas.microsoft.com/office/drawing/2014/main" id="{6462DF66-A3C8-3643-8B35-30A93BAC6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1" y="2397"/>
                <a:ext cx="19" cy="18"/>
              </a:xfrm>
              <a:custGeom>
                <a:avLst/>
                <a:gdLst>
                  <a:gd name="T0" fmla="*/ 52 w 75"/>
                  <a:gd name="T1" fmla="*/ 13 h 73"/>
                  <a:gd name="T2" fmla="*/ 35 w 75"/>
                  <a:gd name="T3" fmla="*/ 28 h 73"/>
                  <a:gd name="T4" fmla="*/ 25 w 75"/>
                  <a:gd name="T5" fmla="*/ 52 h 73"/>
                  <a:gd name="T6" fmla="*/ 16 w 75"/>
                  <a:gd name="T7" fmla="*/ 66 h 73"/>
                  <a:gd name="T8" fmla="*/ 59 w 75"/>
                  <a:gd name="T9" fmla="*/ 64 h 73"/>
                  <a:gd name="T10" fmla="*/ 68 w 75"/>
                  <a:gd name="T11" fmla="*/ 46 h 73"/>
                  <a:gd name="T12" fmla="*/ 52 w 75"/>
                  <a:gd name="T13" fmla="*/ 1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73">
                    <a:moveTo>
                      <a:pt x="52" y="13"/>
                    </a:moveTo>
                    <a:cubicBezTo>
                      <a:pt x="52" y="13"/>
                      <a:pt x="37" y="20"/>
                      <a:pt x="35" y="28"/>
                    </a:cubicBezTo>
                    <a:cubicBezTo>
                      <a:pt x="34" y="36"/>
                      <a:pt x="33" y="51"/>
                      <a:pt x="25" y="52"/>
                    </a:cubicBezTo>
                    <a:cubicBezTo>
                      <a:pt x="17" y="53"/>
                      <a:pt x="0" y="64"/>
                      <a:pt x="16" y="66"/>
                    </a:cubicBezTo>
                    <a:cubicBezTo>
                      <a:pt x="31" y="68"/>
                      <a:pt x="57" y="73"/>
                      <a:pt x="59" y="64"/>
                    </a:cubicBezTo>
                    <a:cubicBezTo>
                      <a:pt x="60" y="56"/>
                      <a:pt x="75" y="61"/>
                      <a:pt x="68" y="46"/>
                    </a:cubicBezTo>
                    <a:cubicBezTo>
                      <a:pt x="61" y="31"/>
                      <a:pt x="59" y="0"/>
                      <a:pt x="52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29" name="Freeform 82">
                <a:extLst>
                  <a:ext uri="{FF2B5EF4-FFF2-40B4-BE49-F238E27FC236}">
                    <a16:creationId xmlns:a16="http://schemas.microsoft.com/office/drawing/2014/main" id="{2802ED24-F96B-6148-B7D9-A07A08589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9" y="2391"/>
                <a:ext cx="5" cy="7"/>
              </a:xfrm>
              <a:custGeom>
                <a:avLst/>
                <a:gdLst>
                  <a:gd name="T0" fmla="*/ 12 w 18"/>
                  <a:gd name="T1" fmla="*/ 8 h 27"/>
                  <a:gd name="T2" fmla="*/ 2 w 18"/>
                  <a:gd name="T3" fmla="*/ 22 h 27"/>
                  <a:gd name="T4" fmla="*/ 14 w 18"/>
                  <a:gd name="T5" fmla="*/ 20 h 27"/>
                  <a:gd name="T6" fmla="*/ 12 w 18"/>
                  <a:gd name="T7" fmla="*/ 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7">
                    <a:moveTo>
                      <a:pt x="12" y="8"/>
                    </a:moveTo>
                    <a:cubicBezTo>
                      <a:pt x="12" y="8"/>
                      <a:pt x="0" y="17"/>
                      <a:pt x="2" y="22"/>
                    </a:cubicBezTo>
                    <a:cubicBezTo>
                      <a:pt x="3" y="27"/>
                      <a:pt x="11" y="24"/>
                      <a:pt x="14" y="20"/>
                    </a:cubicBezTo>
                    <a:cubicBezTo>
                      <a:pt x="17" y="16"/>
                      <a:pt x="18" y="0"/>
                      <a:pt x="12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0" name="Freeform 83">
                <a:extLst>
                  <a:ext uri="{FF2B5EF4-FFF2-40B4-BE49-F238E27FC236}">
                    <a16:creationId xmlns:a16="http://schemas.microsoft.com/office/drawing/2014/main" id="{DD50227B-5BA4-8C46-9511-F9ACABADD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0" y="2247"/>
                <a:ext cx="45" cy="35"/>
              </a:xfrm>
              <a:custGeom>
                <a:avLst/>
                <a:gdLst>
                  <a:gd name="T0" fmla="*/ 160 w 178"/>
                  <a:gd name="T1" fmla="*/ 123 h 142"/>
                  <a:gd name="T2" fmla="*/ 168 w 178"/>
                  <a:gd name="T3" fmla="*/ 98 h 142"/>
                  <a:gd name="T4" fmla="*/ 169 w 178"/>
                  <a:gd name="T5" fmla="*/ 67 h 142"/>
                  <a:gd name="T6" fmla="*/ 175 w 178"/>
                  <a:gd name="T7" fmla="*/ 42 h 142"/>
                  <a:gd name="T8" fmla="*/ 167 w 178"/>
                  <a:gd name="T9" fmla="*/ 23 h 142"/>
                  <a:gd name="T10" fmla="*/ 152 w 178"/>
                  <a:gd name="T11" fmla="*/ 27 h 142"/>
                  <a:gd name="T12" fmla="*/ 127 w 178"/>
                  <a:gd name="T13" fmla="*/ 15 h 142"/>
                  <a:gd name="T14" fmla="*/ 91 w 178"/>
                  <a:gd name="T15" fmla="*/ 8 h 142"/>
                  <a:gd name="T16" fmla="*/ 76 w 178"/>
                  <a:gd name="T17" fmla="*/ 16 h 142"/>
                  <a:gd name="T18" fmla="*/ 70 w 178"/>
                  <a:gd name="T19" fmla="*/ 32 h 142"/>
                  <a:gd name="T20" fmla="*/ 88 w 178"/>
                  <a:gd name="T21" fmla="*/ 41 h 142"/>
                  <a:gd name="T22" fmla="*/ 108 w 178"/>
                  <a:gd name="T23" fmla="*/ 50 h 142"/>
                  <a:gd name="T24" fmla="*/ 112 w 178"/>
                  <a:gd name="T25" fmla="*/ 74 h 142"/>
                  <a:gd name="T26" fmla="*/ 110 w 178"/>
                  <a:gd name="T27" fmla="*/ 110 h 142"/>
                  <a:gd name="T28" fmla="*/ 77 w 178"/>
                  <a:gd name="T29" fmla="*/ 103 h 142"/>
                  <a:gd name="T30" fmla="*/ 53 w 178"/>
                  <a:gd name="T31" fmla="*/ 85 h 142"/>
                  <a:gd name="T32" fmla="*/ 26 w 178"/>
                  <a:gd name="T33" fmla="*/ 80 h 142"/>
                  <a:gd name="T34" fmla="*/ 20 w 178"/>
                  <a:gd name="T35" fmla="*/ 102 h 142"/>
                  <a:gd name="T36" fmla="*/ 4 w 178"/>
                  <a:gd name="T37" fmla="*/ 115 h 142"/>
                  <a:gd name="T38" fmla="*/ 18 w 178"/>
                  <a:gd name="T39" fmla="*/ 127 h 142"/>
                  <a:gd name="T40" fmla="*/ 44 w 178"/>
                  <a:gd name="T41" fmla="*/ 134 h 142"/>
                  <a:gd name="T42" fmla="*/ 72 w 178"/>
                  <a:gd name="T43" fmla="*/ 129 h 142"/>
                  <a:gd name="T44" fmla="*/ 162 w 178"/>
                  <a:gd name="T45" fmla="*/ 133 h 142"/>
                  <a:gd name="T46" fmla="*/ 160 w 178"/>
                  <a:gd name="T47" fmla="*/ 123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8" h="142">
                    <a:moveTo>
                      <a:pt x="160" y="123"/>
                    </a:moveTo>
                    <a:cubicBezTo>
                      <a:pt x="158" y="118"/>
                      <a:pt x="162" y="106"/>
                      <a:pt x="168" y="98"/>
                    </a:cubicBezTo>
                    <a:cubicBezTo>
                      <a:pt x="173" y="90"/>
                      <a:pt x="172" y="74"/>
                      <a:pt x="169" y="67"/>
                    </a:cubicBezTo>
                    <a:cubicBezTo>
                      <a:pt x="167" y="59"/>
                      <a:pt x="169" y="55"/>
                      <a:pt x="175" y="42"/>
                    </a:cubicBezTo>
                    <a:cubicBezTo>
                      <a:pt x="178" y="33"/>
                      <a:pt x="172" y="27"/>
                      <a:pt x="167" y="23"/>
                    </a:cubicBezTo>
                    <a:cubicBezTo>
                      <a:pt x="165" y="28"/>
                      <a:pt x="160" y="30"/>
                      <a:pt x="152" y="27"/>
                    </a:cubicBezTo>
                    <a:cubicBezTo>
                      <a:pt x="140" y="24"/>
                      <a:pt x="134" y="21"/>
                      <a:pt x="127" y="15"/>
                    </a:cubicBezTo>
                    <a:cubicBezTo>
                      <a:pt x="120" y="9"/>
                      <a:pt x="102" y="0"/>
                      <a:pt x="91" y="8"/>
                    </a:cubicBezTo>
                    <a:cubicBezTo>
                      <a:pt x="91" y="8"/>
                      <a:pt x="88" y="14"/>
                      <a:pt x="76" y="16"/>
                    </a:cubicBezTo>
                    <a:cubicBezTo>
                      <a:pt x="64" y="18"/>
                      <a:pt x="63" y="27"/>
                      <a:pt x="70" y="32"/>
                    </a:cubicBezTo>
                    <a:cubicBezTo>
                      <a:pt x="76" y="37"/>
                      <a:pt x="81" y="41"/>
                      <a:pt x="88" y="41"/>
                    </a:cubicBezTo>
                    <a:cubicBezTo>
                      <a:pt x="96" y="41"/>
                      <a:pt x="105" y="45"/>
                      <a:pt x="108" y="50"/>
                    </a:cubicBezTo>
                    <a:cubicBezTo>
                      <a:pt x="111" y="55"/>
                      <a:pt x="113" y="65"/>
                      <a:pt x="112" y="74"/>
                    </a:cubicBezTo>
                    <a:cubicBezTo>
                      <a:pt x="111" y="82"/>
                      <a:pt x="139" y="115"/>
                      <a:pt x="110" y="110"/>
                    </a:cubicBezTo>
                    <a:cubicBezTo>
                      <a:pt x="81" y="105"/>
                      <a:pt x="82" y="113"/>
                      <a:pt x="77" y="103"/>
                    </a:cubicBezTo>
                    <a:cubicBezTo>
                      <a:pt x="72" y="94"/>
                      <a:pt x="67" y="87"/>
                      <a:pt x="53" y="85"/>
                    </a:cubicBezTo>
                    <a:cubicBezTo>
                      <a:pt x="40" y="83"/>
                      <a:pt x="29" y="70"/>
                      <a:pt x="26" y="80"/>
                    </a:cubicBezTo>
                    <a:cubicBezTo>
                      <a:pt x="23" y="89"/>
                      <a:pt x="35" y="101"/>
                      <a:pt x="20" y="102"/>
                    </a:cubicBezTo>
                    <a:cubicBezTo>
                      <a:pt x="4" y="103"/>
                      <a:pt x="0" y="108"/>
                      <a:pt x="4" y="115"/>
                    </a:cubicBezTo>
                    <a:cubicBezTo>
                      <a:pt x="8" y="123"/>
                      <a:pt x="12" y="116"/>
                      <a:pt x="18" y="127"/>
                    </a:cubicBezTo>
                    <a:cubicBezTo>
                      <a:pt x="25" y="138"/>
                      <a:pt x="36" y="142"/>
                      <a:pt x="44" y="134"/>
                    </a:cubicBezTo>
                    <a:cubicBezTo>
                      <a:pt x="52" y="126"/>
                      <a:pt x="56" y="128"/>
                      <a:pt x="72" y="129"/>
                    </a:cubicBezTo>
                    <a:cubicBezTo>
                      <a:pt x="86" y="130"/>
                      <a:pt x="145" y="125"/>
                      <a:pt x="162" y="133"/>
                    </a:cubicBezTo>
                    <a:cubicBezTo>
                      <a:pt x="162" y="129"/>
                      <a:pt x="161" y="126"/>
                      <a:pt x="160" y="12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1" name="Freeform 84">
                <a:extLst>
                  <a:ext uri="{FF2B5EF4-FFF2-40B4-BE49-F238E27FC236}">
                    <a16:creationId xmlns:a16="http://schemas.microsoft.com/office/drawing/2014/main" id="{0CE7A5B1-5E04-2142-8198-C6DD81595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" y="2248"/>
                <a:ext cx="60" cy="40"/>
              </a:xfrm>
              <a:custGeom>
                <a:avLst/>
                <a:gdLst>
                  <a:gd name="T0" fmla="*/ 224 w 235"/>
                  <a:gd name="T1" fmla="*/ 95 h 159"/>
                  <a:gd name="T2" fmla="*/ 221 w 235"/>
                  <a:gd name="T3" fmla="*/ 64 h 159"/>
                  <a:gd name="T4" fmla="*/ 177 w 235"/>
                  <a:gd name="T5" fmla="*/ 44 h 159"/>
                  <a:gd name="T6" fmla="*/ 130 w 235"/>
                  <a:gd name="T7" fmla="*/ 42 h 159"/>
                  <a:gd name="T8" fmla="*/ 107 w 235"/>
                  <a:gd name="T9" fmla="*/ 27 h 159"/>
                  <a:gd name="T10" fmla="*/ 79 w 235"/>
                  <a:gd name="T11" fmla="*/ 9 h 159"/>
                  <a:gd name="T12" fmla="*/ 31 w 235"/>
                  <a:gd name="T13" fmla="*/ 4 h 159"/>
                  <a:gd name="T14" fmla="*/ 9 w 235"/>
                  <a:gd name="T15" fmla="*/ 14 h 159"/>
                  <a:gd name="T16" fmla="*/ 9 w 235"/>
                  <a:gd name="T17" fmla="*/ 18 h 159"/>
                  <a:gd name="T18" fmla="*/ 17 w 235"/>
                  <a:gd name="T19" fmla="*/ 37 h 159"/>
                  <a:gd name="T20" fmla="*/ 11 w 235"/>
                  <a:gd name="T21" fmla="*/ 62 h 159"/>
                  <a:gd name="T22" fmla="*/ 10 w 235"/>
                  <a:gd name="T23" fmla="*/ 93 h 159"/>
                  <a:gd name="T24" fmla="*/ 2 w 235"/>
                  <a:gd name="T25" fmla="*/ 118 h 159"/>
                  <a:gd name="T26" fmla="*/ 4 w 235"/>
                  <a:gd name="T27" fmla="*/ 128 h 159"/>
                  <a:gd name="T28" fmla="*/ 9 w 235"/>
                  <a:gd name="T29" fmla="*/ 133 h 159"/>
                  <a:gd name="T30" fmla="*/ 31 w 235"/>
                  <a:gd name="T31" fmla="*/ 158 h 159"/>
                  <a:gd name="T32" fmla="*/ 45 w 235"/>
                  <a:gd name="T33" fmla="*/ 145 h 159"/>
                  <a:gd name="T34" fmla="*/ 75 w 235"/>
                  <a:gd name="T35" fmla="*/ 117 h 159"/>
                  <a:gd name="T36" fmla="*/ 113 w 235"/>
                  <a:gd name="T37" fmla="*/ 125 h 159"/>
                  <a:gd name="T38" fmla="*/ 147 w 235"/>
                  <a:gd name="T39" fmla="*/ 114 h 159"/>
                  <a:gd name="T40" fmla="*/ 176 w 235"/>
                  <a:gd name="T41" fmla="*/ 111 h 159"/>
                  <a:gd name="T42" fmla="*/ 231 w 235"/>
                  <a:gd name="T43" fmla="*/ 118 h 159"/>
                  <a:gd name="T44" fmla="*/ 224 w 235"/>
                  <a:gd name="T45" fmla="*/ 95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5" h="159">
                    <a:moveTo>
                      <a:pt x="224" y="95"/>
                    </a:moveTo>
                    <a:cubicBezTo>
                      <a:pt x="214" y="85"/>
                      <a:pt x="228" y="76"/>
                      <a:pt x="221" y="64"/>
                    </a:cubicBezTo>
                    <a:cubicBezTo>
                      <a:pt x="215" y="52"/>
                      <a:pt x="191" y="42"/>
                      <a:pt x="177" y="44"/>
                    </a:cubicBezTo>
                    <a:cubicBezTo>
                      <a:pt x="163" y="45"/>
                      <a:pt x="138" y="56"/>
                      <a:pt x="130" y="42"/>
                    </a:cubicBezTo>
                    <a:cubicBezTo>
                      <a:pt x="123" y="27"/>
                      <a:pt x="122" y="32"/>
                      <a:pt x="107" y="27"/>
                    </a:cubicBezTo>
                    <a:cubicBezTo>
                      <a:pt x="93" y="22"/>
                      <a:pt x="90" y="19"/>
                      <a:pt x="79" y="9"/>
                    </a:cubicBezTo>
                    <a:cubicBezTo>
                      <a:pt x="68" y="0"/>
                      <a:pt x="47" y="1"/>
                      <a:pt x="31" y="4"/>
                    </a:cubicBezTo>
                    <a:cubicBezTo>
                      <a:pt x="14" y="6"/>
                      <a:pt x="9" y="7"/>
                      <a:pt x="9" y="14"/>
                    </a:cubicBezTo>
                    <a:cubicBezTo>
                      <a:pt x="9" y="15"/>
                      <a:pt x="9" y="17"/>
                      <a:pt x="9" y="18"/>
                    </a:cubicBezTo>
                    <a:cubicBezTo>
                      <a:pt x="14" y="22"/>
                      <a:pt x="20" y="28"/>
                      <a:pt x="17" y="37"/>
                    </a:cubicBezTo>
                    <a:cubicBezTo>
                      <a:pt x="11" y="50"/>
                      <a:pt x="9" y="54"/>
                      <a:pt x="11" y="62"/>
                    </a:cubicBezTo>
                    <a:cubicBezTo>
                      <a:pt x="14" y="69"/>
                      <a:pt x="15" y="85"/>
                      <a:pt x="10" y="93"/>
                    </a:cubicBezTo>
                    <a:cubicBezTo>
                      <a:pt x="4" y="101"/>
                      <a:pt x="0" y="113"/>
                      <a:pt x="2" y="118"/>
                    </a:cubicBezTo>
                    <a:cubicBezTo>
                      <a:pt x="3" y="121"/>
                      <a:pt x="4" y="124"/>
                      <a:pt x="4" y="128"/>
                    </a:cubicBezTo>
                    <a:cubicBezTo>
                      <a:pt x="7" y="129"/>
                      <a:pt x="8" y="131"/>
                      <a:pt x="9" y="133"/>
                    </a:cubicBezTo>
                    <a:cubicBezTo>
                      <a:pt x="11" y="147"/>
                      <a:pt x="22" y="156"/>
                      <a:pt x="31" y="158"/>
                    </a:cubicBezTo>
                    <a:cubicBezTo>
                      <a:pt x="39" y="159"/>
                      <a:pt x="44" y="155"/>
                      <a:pt x="45" y="145"/>
                    </a:cubicBezTo>
                    <a:cubicBezTo>
                      <a:pt x="46" y="135"/>
                      <a:pt x="59" y="108"/>
                      <a:pt x="75" y="117"/>
                    </a:cubicBezTo>
                    <a:cubicBezTo>
                      <a:pt x="90" y="126"/>
                      <a:pt x="102" y="137"/>
                      <a:pt x="113" y="125"/>
                    </a:cubicBezTo>
                    <a:cubicBezTo>
                      <a:pt x="124" y="114"/>
                      <a:pt x="137" y="114"/>
                      <a:pt x="147" y="114"/>
                    </a:cubicBezTo>
                    <a:cubicBezTo>
                      <a:pt x="157" y="114"/>
                      <a:pt x="157" y="109"/>
                      <a:pt x="176" y="111"/>
                    </a:cubicBezTo>
                    <a:cubicBezTo>
                      <a:pt x="194" y="113"/>
                      <a:pt x="226" y="125"/>
                      <a:pt x="231" y="118"/>
                    </a:cubicBezTo>
                    <a:cubicBezTo>
                      <a:pt x="235" y="112"/>
                      <a:pt x="234" y="104"/>
                      <a:pt x="224" y="9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2" name="Freeform 85">
                <a:extLst>
                  <a:ext uri="{FF2B5EF4-FFF2-40B4-BE49-F238E27FC236}">
                    <a16:creationId xmlns:a16="http://schemas.microsoft.com/office/drawing/2014/main" id="{441A3A7D-2D6C-1F46-A9A2-D081C0C7F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3" y="2276"/>
                <a:ext cx="22" cy="44"/>
              </a:xfrm>
              <a:custGeom>
                <a:avLst/>
                <a:gdLst>
                  <a:gd name="T0" fmla="*/ 30 w 87"/>
                  <a:gd name="T1" fmla="*/ 170 h 174"/>
                  <a:gd name="T2" fmla="*/ 26 w 87"/>
                  <a:gd name="T3" fmla="*/ 164 h 174"/>
                  <a:gd name="T4" fmla="*/ 37 w 87"/>
                  <a:gd name="T5" fmla="*/ 146 h 174"/>
                  <a:gd name="T6" fmla="*/ 56 w 87"/>
                  <a:gd name="T7" fmla="*/ 125 h 174"/>
                  <a:gd name="T8" fmla="*/ 66 w 87"/>
                  <a:gd name="T9" fmla="*/ 103 h 174"/>
                  <a:gd name="T10" fmla="*/ 67 w 87"/>
                  <a:gd name="T11" fmla="*/ 39 h 174"/>
                  <a:gd name="T12" fmla="*/ 87 w 87"/>
                  <a:gd name="T13" fmla="*/ 26 h 174"/>
                  <a:gd name="T14" fmla="*/ 73 w 87"/>
                  <a:gd name="T15" fmla="*/ 14 h 174"/>
                  <a:gd name="T16" fmla="*/ 63 w 87"/>
                  <a:gd name="T17" fmla="*/ 2 h 174"/>
                  <a:gd name="T18" fmla="*/ 38 w 87"/>
                  <a:gd name="T19" fmla="*/ 21 h 174"/>
                  <a:gd name="T20" fmla="*/ 15 w 87"/>
                  <a:gd name="T21" fmla="*/ 34 h 174"/>
                  <a:gd name="T22" fmla="*/ 1 w 87"/>
                  <a:gd name="T23" fmla="*/ 45 h 174"/>
                  <a:gd name="T24" fmla="*/ 1 w 87"/>
                  <a:gd name="T25" fmla="*/ 45 h 174"/>
                  <a:gd name="T26" fmla="*/ 0 w 87"/>
                  <a:gd name="T27" fmla="*/ 170 h 174"/>
                  <a:gd name="T28" fmla="*/ 30 w 87"/>
                  <a:gd name="T29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174">
                    <a:moveTo>
                      <a:pt x="30" y="170"/>
                    </a:moveTo>
                    <a:cubicBezTo>
                      <a:pt x="28" y="168"/>
                      <a:pt x="27" y="166"/>
                      <a:pt x="26" y="164"/>
                    </a:cubicBezTo>
                    <a:cubicBezTo>
                      <a:pt x="25" y="156"/>
                      <a:pt x="27" y="152"/>
                      <a:pt x="37" y="146"/>
                    </a:cubicBezTo>
                    <a:cubicBezTo>
                      <a:pt x="47" y="141"/>
                      <a:pt x="54" y="137"/>
                      <a:pt x="56" y="125"/>
                    </a:cubicBezTo>
                    <a:cubicBezTo>
                      <a:pt x="58" y="114"/>
                      <a:pt x="67" y="122"/>
                      <a:pt x="66" y="103"/>
                    </a:cubicBezTo>
                    <a:cubicBezTo>
                      <a:pt x="64" y="84"/>
                      <a:pt x="58" y="51"/>
                      <a:pt x="67" y="39"/>
                    </a:cubicBezTo>
                    <a:cubicBezTo>
                      <a:pt x="72" y="33"/>
                      <a:pt x="80" y="30"/>
                      <a:pt x="87" y="26"/>
                    </a:cubicBezTo>
                    <a:cubicBezTo>
                      <a:pt x="80" y="23"/>
                      <a:pt x="74" y="18"/>
                      <a:pt x="73" y="14"/>
                    </a:cubicBezTo>
                    <a:cubicBezTo>
                      <a:pt x="72" y="8"/>
                      <a:pt x="70" y="5"/>
                      <a:pt x="63" y="2"/>
                    </a:cubicBezTo>
                    <a:cubicBezTo>
                      <a:pt x="56" y="0"/>
                      <a:pt x="44" y="0"/>
                      <a:pt x="38" y="21"/>
                    </a:cubicBezTo>
                    <a:cubicBezTo>
                      <a:pt x="32" y="42"/>
                      <a:pt x="27" y="38"/>
                      <a:pt x="15" y="34"/>
                    </a:cubicBezTo>
                    <a:cubicBezTo>
                      <a:pt x="3" y="31"/>
                      <a:pt x="7" y="35"/>
                      <a:pt x="1" y="45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0" y="170"/>
                      <a:pt x="16" y="174"/>
                      <a:pt x="30" y="17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3" name="Freeform 86">
                <a:extLst>
                  <a:ext uri="{FF2B5EF4-FFF2-40B4-BE49-F238E27FC236}">
                    <a16:creationId xmlns:a16="http://schemas.microsoft.com/office/drawing/2014/main" id="{72500BFA-9FE9-A94A-8F14-57A26DF3D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2" y="2286"/>
                <a:ext cx="66" cy="68"/>
              </a:xfrm>
              <a:custGeom>
                <a:avLst/>
                <a:gdLst>
                  <a:gd name="T0" fmla="*/ 145 w 260"/>
                  <a:gd name="T1" fmla="*/ 262 h 269"/>
                  <a:gd name="T2" fmla="*/ 160 w 260"/>
                  <a:gd name="T3" fmla="*/ 246 h 269"/>
                  <a:gd name="T4" fmla="*/ 174 w 260"/>
                  <a:gd name="T5" fmla="*/ 230 h 269"/>
                  <a:gd name="T6" fmla="*/ 195 w 260"/>
                  <a:gd name="T7" fmla="*/ 212 h 269"/>
                  <a:gd name="T8" fmla="*/ 213 w 260"/>
                  <a:gd name="T9" fmla="*/ 178 h 269"/>
                  <a:gd name="T10" fmla="*/ 237 w 260"/>
                  <a:gd name="T11" fmla="*/ 162 h 269"/>
                  <a:gd name="T12" fmla="*/ 260 w 260"/>
                  <a:gd name="T13" fmla="*/ 133 h 269"/>
                  <a:gd name="T14" fmla="*/ 246 w 260"/>
                  <a:gd name="T15" fmla="*/ 134 h 269"/>
                  <a:gd name="T16" fmla="*/ 229 w 260"/>
                  <a:gd name="T17" fmla="*/ 129 h 269"/>
                  <a:gd name="T18" fmla="*/ 199 w 260"/>
                  <a:gd name="T19" fmla="*/ 129 h 269"/>
                  <a:gd name="T20" fmla="*/ 200 w 260"/>
                  <a:gd name="T21" fmla="*/ 4 h 269"/>
                  <a:gd name="T22" fmla="*/ 110 w 260"/>
                  <a:gd name="T23" fmla="*/ 3 h 269"/>
                  <a:gd name="T24" fmla="*/ 84 w 260"/>
                  <a:gd name="T25" fmla="*/ 20 h 269"/>
                  <a:gd name="T26" fmla="*/ 70 w 260"/>
                  <a:gd name="T27" fmla="*/ 38 h 269"/>
                  <a:gd name="T28" fmla="*/ 70 w 260"/>
                  <a:gd name="T29" fmla="*/ 54 h 269"/>
                  <a:gd name="T30" fmla="*/ 107 w 260"/>
                  <a:gd name="T31" fmla="*/ 88 h 269"/>
                  <a:gd name="T32" fmla="*/ 117 w 260"/>
                  <a:gd name="T33" fmla="*/ 113 h 269"/>
                  <a:gd name="T34" fmla="*/ 61 w 260"/>
                  <a:gd name="T35" fmla="*/ 117 h 269"/>
                  <a:gd name="T36" fmla="*/ 40 w 260"/>
                  <a:gd name="T37" fmla="*/ 142 h 269"/>
                  <a:gd name="T38" fmla="*/ 11 w 260"/>
                  <a:gd name="T39" fmla="*/ 188 h 269"/>
                  <a:gd name="T40" fmla="*/ 0 w 260"/>
                  <a:gd name="T41" fmla="*/ 222 h 269"/>
                  <a:gd name="T42" fmla="*/ 6 w 260"/>
                  <a:gd name="T43" fmla="*/ 224 h 269"/>
                  <a:gd name="T44" fmla="*/ 34 w 260"/>
                  <a:gd name="T45" fmla="*/ 238 h 269"/>
                  <a:gd name="T46" fmla="*/ 75 w 260"/>
                  <a:gd name="T47" fmla="*/ 257 h 269"/>
                  <a:gd name="T48" fmla="*/ 116 w 260"/>
                  <a:gd name="T49" fmla="*/ 259 h 269"/>
                  <a:gd name="T50" fmla="*/ 132 w 260"/>
                  <a:gd name="T51" fmla="*/ 269 h 269"/>
                  <a:gd name="T52" fmla="*/ 145 w 260"/>
                  <a:gd name="T53" fmla="*/ 262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60" h="269">
                    <a:moveTo>
                      <a:pt x="145" y="262"/>
                    </a:moveTo>
                    <a:cubicBezTo>
                      <a:pt x="160" y="262"/>
                      <a:pt x="149" y="248"/>
                      <a:pt x="160" y="246"/>
                    </a:cubicBezTo>
                    <a:cubicBezTo>
                      <a:pt x="171" y="245"/>
                      <a:pt x="171" y="238"/>
                      <a:pt x="174" y="230"/>
                    </a:cubicBezTo>
                    <a:cubicBezTo>
                      <a:pt x="178" y="222"/>
                      <a:pt x="194" y="227"/>
                      <a:pt x="195" y="212"/>
                    </a:cubicBezTo>
                    <a:cubicBezTo>
                      <a:pt x="197" y="197"/>
                      <a:pt x="197" y="181"/>
                      <a:pt x="213" y="178"/>
                    </a:cubicBezTo>
                    <a:cubicBezTo>
                      <a:pt x="230" y="174"/>
                      <a:pt x="229" y="170"/>
                      <a:pt x="237" y="162"/>
                    </a:cubicBezTo>
                    <a:cubicBezTo>
                      <a:pt x="244" y="156"/>
                      <a:pt x="255" y="149"/>
                      <a:pt x="260" y="133"/>
                    </a:cubicBezTo>
                    <a:cubicBezTo>
                      <a:pt x="255" y="134"/>
                      <a:pt x="250" y="134"/>
                      <a:pt x="246" y="134"/>
                    </a:cubicBezTo>
                    <a:cubicBezTo>
                      <a:pt x="240" y="134"/>
                      <a:pt x="233" y="132"/>
                      <a:pt x="229" y="129"/>
                    </a:cubicBezTo>
                    <a:cubicBezTo>
                      <a:pt x="215" y="133"/>
                      <a:pt x="199" y="129"/>
                      <a:pt x="199" y="129"/>
                    </a:cubicBezTo>
                    <a:cubicBezTo>
                      <a:pt x="200" y="4"/>
                      <a:pt x="200" y="4"/>
                      <a:pt x="200" y="4"/>
                    </a:cubicBezTo>
                    <a:cubicBezTo>
                      <a:pt x="194" y="13"/>
                      <a:pt x="134" y="5"/>
                      <a:pt x="110" y="3"/>
                    </a:cubicBezTo>
                    <a:cubicBezTo>
                      <a:pt x="87" y="0"/>
                      <a:pt x="84" y="11"/>
                      <a:pt x="84" y="20"/>
                    </a:cubicBezTo>
                    <a:cubicBezTo>
                      <a:pt x="84" y="30"/>
                      <a:pt x="95" y="38"/>
                      <a:pt x="70" y="38"/>
                    </a:cubicBezTo>
                    <a:cubicBezTo>
                      <a:pt x="45" y="38"/>
                      <a:pt x="56" y="44"/>
                      <a:pt x="70" y="54"/>
                    </a:cubicBezTo>
                    <a:cubicBezTo>
                      <a:pt x="84" y="63"/>
                      <a:pt x="90" y="75"/>
                      <a:pt x="107" y="88"/>
                    </a:cubicBezTo>
                    <a:cubicBezTo>
                      <a:pt x="123" y="101"/>
                      <a:pt x="117" y="100"/>
                      <a:pt x="117" y="113"/>
                    </a:cubicBezTo>
                    <a:cubicBezTo>
                      <a:pt x="117" y="126"/>
                      <a:pt x="88" y="117"/>
                      <a:pt x="61" y="117"/>
                    </a:cubicBezTo>
                    <a:cubicBezTo>
                      <a:pt x="33" y="117"/>
                      <a:pt x="40" y="132"/>
                      <a:pt x="40" y="142"/>
                    </a:cubicBezTo>
                    <a:cubicBezTo>
                      <a:pt x="40" y="153"/>
                      <a:pt x="20" y="171"/>
                      <a:pt x="11" y="188"/>
                    </a:cubicBezTo>
                    <a:cubicBezTo>
                      <a:pt x="5" y="200"/>
                      <a:pt x="2" y="213"/>
                      <a:pt x="0" y="222"/>
                    </a:cubicBezTo>
                    <a:cubicBezTo>
                      <a:pt x="2" y="222"/>
                      <a:pt x="4" y="223"/>
                      <a:pt x="6" y="224"/>
                    </a:cubicBezTo>
                    <a:cubicBezTo>
                      <a:pt x="17" y="227"/>
                      <a:pt x="16" y="219"/>
                      <a:pt x="34" y="238"/>
                    </a:cubicBezTo>
                    <a:cubicBezTo>
                      <a:pt x="52" y="258"/>
                      <a:pt x="64" y="257"/>
                      <a:pt x="75" y="257"/>
                    </a:cubicBezTo>
                    <a:cubicBezTo>
                      <a:pt x="86" y="257"/>
                      <a:pt x="98" y="253"/>
                      <a:pt x="116" y="259"/>
                    </a:cubicBezTo>
                    <a:cubicBezTo>
                      <a:pt x="123" y="261"/>
                      <a:pt x="128" y="265"/>
                      <a:pt x="132" y="269"/>
                    </a:cubicBezTo>
                    <a:cubicBezTo>
                      <a:pt x="134" y="265"/>
                      <a:pt x="138" y="262"/>
                      <a:pt x="145" y="26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4" name="Freeform 87">
                <a:extLst>
                  <a:ext uri="{FF2B5EF4-FFF2-40B4-BE49-F238E27FC236}">
                    <a16:creationId xmlns:a16="http://schemas.microsoft.com/office/drawing/2014/main" id="{423105B1-199C-3846-BF58-5C482BADE6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6" y="2342"/>
                <a:ext cx="41" cy="23"/>
              </a:xfrm>
              <a:custGeom>
                <a:avLst/>
                <a:gdLst>
                  <a:gd name="T0" fmla="*/ 115 w 163"/>
                  <a:gd name="T1" fmla="*/ 38 h 92"/>
                  <a:gd name="T2" fmla="*/ 79 w 163"/>
                  <a:gd name="T3" fmla="*/ 18 h 92"/>
                  <a:gd name="T4" fmla="*/ 60 w 163"/>
                  <a:gd name="T5" fmla="*/ 0 h 92"/>
                  <a:gd name="T6" fmla="*/ 42 w 163"/>
                  <a:gd name="T7" fmla="*/ 10 h 92"/>
                  <a:gd name="T8" fmla="*/ 28 w 163"/>
                  <a:gd name="T9" fmla="*/ 26 h 92"/>
                  <a:gd name="T10" fmla="*/ 13 w 163"/>
                  <a:gd name="T11" fmla="*/ 42 h 92"/>
                  <a:gd name="T12" fmla="*/ 0 w 163"/>
                  <a:gd name="T13" fmla="*/ 49 h 92"/>
                  <a:gd name="T14" fmla="*/ 26 w 163"/>
                  <a:gd name="T15" fmla="*/ 63 h 92"/>
                  <a:gd name="T16" fmla="*/ 75 w 163"/>
                  <a:gd name="T17" fmla="*/ 77 h 92"/>
                  <a:gd name="T18" fmla="*/ 138 w 163"/>
                  <a:gd name="T19" fmla="*/ 88 h 92"/>
                  <a:gd name="T20" fmla="*/ 158 w 163"/>
                  <a:gd name="T21" fmla="*/ 77 h 92"/>
                  <a:gd name="T22" fmla="*/ 163 w 163"/>
                  <a:gd name="T23" fmla="*/ 71 h 92"/>
                  <a:gd name="T24" fmla="*/ 159 w 163"/>
                  <a:gd name="T25" fmla="*/ 46 h 92"/>
                  <a:gd name="T26" fmla="*/ 115 w 163"/>
                  <a:gd name="T27" fmla="*/ 3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3" h="92">
                    <a:moveTo>
                      <a:pt x="115" y="38"/>
                    </a:moveTo>
                    <a:cubicBezTo>
                      <a:pt x="100" y="38"/>
                      <a:pt x="89" y="24"/>
                      <a:pt x="79" y="18"/>
                    </a:cubicBezTo>
                    <a:cubicBezTo>
                      <a:pt x="74" y="15"/>
                      <a:pt x="66" y="7"/>
                      <a:pt x="60" y="0"/>
                    </a:cubicBezTo>
                    <a:cubicBezTo>
                      <a:pt x="55" y="5"/>
                      <a:pt x="45" y="4"/>
                      <a:pt x="42" y="10"/>
                    </a:cubicBezTo>
                    <a:cubicBezTo>
                      <a:pt x="39" y="18"/>
                      <a:pt x="39" y="25"/>
                      <a:pt x="28" y="26"/>
                    </a:cubicBezTo>
                    <a:cubicBezTo>
                      <a:pt x="17" y="28"/>
                      <a:pt x="28" y="42"/>
                      <a:pt x="13" y="42"/>
                    </a:cubicBezTo>
                    <a:cubicBezTo>
                      <a:pt x="6" y="42"/>
                      <a:pt x="2" y="45"/>
                      <a:pt x="0" y="49"/>
                    </a:cubicBezTo>
                    <a:cubicBezTo>
                      <a:pt x="7" y="54"/>
                      <a:pt x="13" y="60"/>
                      <a:pt x="26" y="63"/>
                    </a:cubicBezTo>
                    <a:cubicBezTo>
                      <a:pt x="49" y="69"/>
                      <a:pt x="60" y="68"/>
                      <a:pt x="75" y="77"/>
                    </a:cubicBezTo>
                    <a:cubicBezTo>
                      <a:pt x="89" y="85"/>
                      <a:pt x="120" y="92"/>
                      <a:pt x="138" y="88"/>
                    </a:cubicBezTo>
                    <a:cubicBezTo>
                      <a:pt x="156" y="84"/>
                      <a:pt x="155" y="83"/>
                      <a:pt x="158" y="77"/>
                    </a:cubicBezTo>
                    <a:cubicBezTo>
                      <a:pt x="160" y="74"/>
                      <a:pt x="161" y="72"/>
                      <a:pt x="163" y="71"/>
                    </a:cubicBezTo>
                    <a:cubicBezTo>
                      <a:pt x="160" y="64"/>
                      <a:pt x="160" y="53"/>
                      <a:pt x="159" y="46"/>
                    </a:cubicBezTo>
                    <a:cubicBezTo>
                      <a:pt x="157" y="36"/>
                      <a:pt x="131" y="39"/>
                      <a:pt x="115" y="3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5" name="Freeform 88">
                <a:extLst>
                  <a:ext uri="{FF2B5EF4-FFF2-40B4-BE49-F238E27FC236}">
                    <a16:creationId xmlns:a16="http://schemas.microsoft.com/office/drawing/2014/main" id="{66942388-3BA7-9542-B4C6-D1172E774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1" y="2316"/>
                <a:ext cx="100" cy="51"/>
              </a:xfrm>
              <a:custGeom>
                <a:avLst/>
                <a:gdLst>
                  <a:gd name="T0" fmla="*/ 129 w 397"/>
                  <a:gd name="T1" fmla="*/ 198 h 201"/>
                  <a:gd name="T2" fmla="*/ 148 w 397"/>
                  <a:gd name="T3" fmla="*/ 192 h 201"/>
                  <a:gd name="T4" fmla="*/ 165 w 397"/>
                  <a:gd name="T5" fmla="*/ 172 h 201"/>
                  <a:gd name="T6" fmla="*/ 177 w 397"/>
                  <a:gd name="T7" fmla="*/ 148 h 201"/>
                  <a:gd name="T8" fmla="*/ 197 w 397"/>
                  <a:gd name="T9" fmla="*/ 138 h 201"/>
                  <a:gd name="T10" fmla="*/ 213 w 397"/>
                  <a:gd name="T11" fmla="*/ 137 h 201"/>
                  <a:gd name="T12" fmla="*/ 231 w 397"/>
                  <a:gd name="T13" fmla="*/ 141 h 201"/>
                  <a:gd name="T14" fmla="*/ 249 w 397"/>
                  <a:gd name="T15" fmla="*/ 122 h 201"/>
                  <a:gd name="T16" fmla="*/ 265 w 397"/>
                  <a:gd name="T17" fmla="*/ 100 h 201"/>
                  <a:gd name="T18" fmla="*/ 282 w 397"/>
                  <a:gd name="T19" fmla="*/ 79 h 201"/>
                  <a:gd name="T20" fmla="*/ 298 w 397"/>
                  <a:gd name="T21" fmla="*/ 85 h 201"/>
                  <a:gd name="T22" fmla="*/ 303 w 397"/>
                  <a:gd name="T23" fmla="*/ 97 h 201"/>
                  <a:gd name="T24" fmla="*/ 325 w 397"/>
                  <a:gd name="T25" fmla="*/ 85 h 201"/>
                  <a:gd name="T26" fmla="*/ 351 w 397"/>
                  <a:gd name="T27" fmla="*/ 80 h 201"/>
                  <a:gd name="T28" fmla="*/ 370 w 397"/>
                  <a:gd name="T29" fmla="*/ 72 h 201"/>
                  <a:gd name="T30" fmla="*/ 396 w 397"/>
                  <a:gd name="T31" fmla="*/ 66 h 201"/>
                  <a:gd name="T32" fmla="*/ 395 w 397"/>
                  <a:gd name="T33" fmla="*/ 56 h 201"/>
                  <a:gd name="T34" fmla="*/ 359 w 397"/>
                  <a:gd name="T35" fmla="*/ 37 h 201"/>
                  <a:gd name="T36" fmla="*/ 301 w 397"/>
                  <a:gd name="T37" fmla="*/ 5 h 201"/>
                  <a:gd name="T38" fmla="*/ 259 w 397"/>
                  <a:gd name="T39" fmla="*/ 4 h 201"/>
                  <a:gd name="T40" fmla="*/ 199 w 397"/>
                  <a:gd name="T41" fmla="*/ 7 h 201"/>
                  <a:gd name="T42" fmla="*/ 161 w 397"/>
                  <a:gd name="T43" fmla="*/ 11 h 201"/>
                  <a:gd name="T44" fmla="*/ 119 w 397"/>
                  <a:gd name="T45" fmla="*/ 10 h 201"/>
                  <a:gd name="T46" fmla="*/ 87 w 397"/>
                  <a:gd name="T47" fmla="*/ 7 h 201"/>
                  <a:gd name="T48" fmla="*/ 68 w 397"/>
                  <a:gd name="T49" fmla="*/ 13 h 201"/>
                  <a:gd name="T50" fmla="*/ 45 w 397"/>
                  <a:gd name="T51" fmla="*/ 42 h 201"/>
                  <a:gd name="T52" fmla="*/ 21 w 397"/>
                  <a:gd name="T53" fmla="*/ 58 h 201"/>
                  <a:gd name="T54" fmla="*/ 3 w 397"/>
                  <a:gd name="T55" fmla="*/ 92 h 201"/>
                  <a:gd name="T56" fmla="*/ 0 w 397"/>
                  <a:gd name="T57" fmla="*/ 100 h 201"/>
                  <a:gd name="T58" fmla="*/ 19 w 397"/>
                  <a:gd name="T59" fmla="*/ 118 h 201"/>
                  <a:gd name="T60" fmla="*/ 55 w 397"/>
                  <a:gd name="T61" fmla="*/ 138 h 201"/>
                  <a:gd name="T62" fmla="*/ 99 w 397"/>
                  <a:gd name="T63" fmla="*/ 146 h 201"/>
                  <a:gd name="T64" fmla="*/ 103 w 397"/>
                  <a:gd name="T65" fmla="*/ 171 h 201"/>
                  <a:gd name="T66" fmla="*/ 109 w 397"/>
                  <a:gd name="T67" fmla="*/ 171 h 201"/>
                  <a:gd name="T68" fmla="*/ 120 w 397"/>
                  <a:gd name="T69" fmla="*/ 190 h 201"/>
                  <a:gd name="T70" fmla="*/ 105 w 397"/>
                  <a:gd name="T71" fmla="*/ 200 h 201"/>
                  <a:gd name="T72" fmla="*/ 129 w 397"/>
                  <a:gd name="T73" fmla="*/ 19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97" h="201">
                    <a:moveTo>
                      <a:pt x="129" y="198"/>
                    </a:moveTo>
                    <a:cubicBezTo>
                      <a:pt x="140" y="199"/>
                      <a:pt x="143" y="201"/>
                      <a:pt x="148" y="192"/>
                    </a:cubicBezTo>
                    <a:cubicBezTo>
                      <a:pt x="153" y="184"/>
                      <a:pt x="165" y="186"/>
                      <a:pt x="165" y="172"/>
                    </a:cubicBezTo>
                    <a:cubicBezTo>
                      <a:pt x="165" y="158"/>
                      <a:pt x="166" y="148"/>
                      <a:pt x="177" y="148"/>
                    </a:cubicBezTo>
                    <a:cubicBezTo>
                      <a:pt x="187" y="148"/>
                      <a:pt x="194" y="142"/>
                      <a:pt x="197" y="138"/>
                    </a:cubicBezTo>
                    <a:cubicBezTo>
                      <a:pt x="199" y="134"/>
                      <a:pt x="209" y="130"/>
                      <a:pt x="213" y="137"/>
                    </a:cubicBezTo>
                    <a:cubicBezTo>
                      <a:pt x="217" y="144"/>
                      <a:pt x="225" y="148"/>
                      <a:pt x="231" y="141"/>
                    </a:cubicBezTo>
                    <a:cubicBezTo>
                      <a:pt x="237" y="134"/>
                      <a:pt x="241" y="124"/>
                      <a:pt x="249" y="122"/>
                    </a:cubicBezTo>
                    <a:cubicBezTo>
                      <a:pt x="257" y="120"/>
                      <a:pt x="262" y="107"/>
                      <a:pt x="265" y="100"/>
                    </a:cubicBezTo>
                    <a:cubicBezTo>
                      <a:pt x="267" y="94"/>
                      <a:pt x="273" y="79"/>
                      <a:pt x="282" y="79"/>
                    </a:cubicBezTo>
                    <a:cubicBezTo>
                      <a:pt x="291" y="79"/>
                      <a:pt x="296" y="76"/>
                      <a:pt x="298" y="85"/>
                    </a:cubicBezTo>
                    <a:cubicBezTo>
                      <a:pt x="300" y="94"/>
                      <a:pt x="296" y="98"/>
                      <a:pt x="303" y="97"/>
                    </a:cubicBezTo>
                    <a:cubicBezTo>
                      <a:pt x="311" y="96"/>
                      <a:pt x="315" y="85"/>
                      <a:pt x="325" y="85"/>
                    </a:cubicBezTo>
                    <a:cubicBezTo>
                      <a:pt x="335" y="85"/>
                      <a:pt x="340" y="87"/>
                      <a:pt x="351" y="80"/>
                    </a:cubicBezTo>
                    <a:cubicBezTo>
                      <a:pt x="361" y="74"/>
                      <a:pt x="362" y="73"/>
                      <a:pt x="370" y="72"/>
                    </a:cubicBezTo>
                    <a:cubicBezTo>
                      <a:pt x="378" y="72"/>
                      <a:pt x="383" y="67"/>
                      <a:pt x="396" y="66"/>
                    </a:cubicBezTo>
                    <a:cubicBezTo>
                      <a:pt x="397" y="63"/>
                      <a:pt x="397" y="60"/>
                      <a:pt x="395" y="56"/>
                    </a:cubicBezTo>
                    <a:cubicBezTo>
                      <a:pt x="390" y="45"/>
                      <a:pt x="374" y="52"/>
                      <a:pt x="359" y="37"/>
                    </a:cubicBezTo>
                    <a:cubicBezTo>
                      <a:pt x="345" y="23"/>
                      <a:pt x="318" y="5"/>
                      <a:pt x="301" y="5"/>
                    </a:cubicBezTo>
                    <a:cubicBezTo>
                      <a:pt x="284" y="5"/>
                      <a:pt x="277" y="0"/>
                      <a:pt x="259" y="4"/>
                    </a:cubicBezTo>
                    <a:cubicBezTo>
                      <a:pt x="240" y="7"/>
                      <a:pt x="223" y="7"/>
                      <a:pt x="199" y="7"/>
                    </a:cubicBezTo>
                    <a:cubicBezTo>
                      <a:pt x="176" y="7"/>
                      <a:pt x="177" y="5"/>
                      <a:pt x="161" y="11"/>
                    </a:cubicBezTo>
                    <a:cubicBezTo>
                      <a:pt x="145" y="17"/>
                      <a:pt x="132" y="14"/>
                      <a:pt x="119" y="10"/>
                    </a:cubicBezTo>
                    <a:cubicBezTo>
                      <a:pt x="106" y="5"/>
                      <a:pt x="97" y="3"/>
                      <a:pt x="87" y="7"/>
                    </a:cubicBezTo>
                    <a:cubicBezTo>
                      <a:pt x="81" y="10"/>
                      <a:pt x="74" y="12"/>
                      <a:pt x="68" y="13"/>
                    </a:cubicBezTo>
                    <a:cubicBezTo>
                      <a:pt x="63" y="29"/>
                      <a:pt x="52" y="36"/>
                      <a:pt x="45" y="42"/>
                    </a:cubicBezTo>
                    <a:cubicBezTo>
                      <a:pt x="37" y="50"/>
                      <a:pt x="38" y="54"/>
                      <a:pt x="21" y="58"/>
                    </a:cubicBezTo>
                    <a:cubicBezTo>
                      <a:pt x="5" y="61"/>
                      <a:pt x="5" y="77"/>
                      <a:pt x="3" y="92"/>
                    </a:cubicBezTo>
                    <a:cubicBezTo>
                      <a:pt x="3" y="96"/>
                      <a:pt x="2" y="99"/>
                      <a:pt x="0" y="100"/>
                    </a:cubicBezTo>
                    <a:cubicBezTo>
                      <a:pt x="6" y="107"/>
                      <a:pt x="14" y="115"/>
                      <a:pt x="19" y="118"/>
                    </a:cubicBezTo>
                    <a:cubicBezTo>
                      <a:pt x="29" y="124"/>
                      <a:pt x="40" y="138"/>
                      <a:pt x="55" y="138"/>
                    </a:cubicBezTo>
                    <a:cubicBezTo>
                      <a:pt x="71" y="139"/>
                      <a:pt x="97" y="136"/>
                      <a:pt x="99" y="146"/>
                    </a:cubicBezTo>
                    <a:cubicBezTo>
                      <a:pt x="100" y="153"/>
                      <a:pt x="100" y="164"/>
                      <a:pt x="103" y="171"/>
                    </a:cubicBezTo>
                    <a:cubicBezTo>
                      <a:pt x="104" y="171"/>
                      <a:pt x="106" y="171"/>
                      <a:pt x="109" y="171"/>
                    </a:cubicBezTo>
                    <a:cubicBezTo>
                      <a:pt x="117" y="173"/>
                      <a:pt x="133" y="189"/>
                      <a:pt x="120" y="190"/>
                    </a:cubicBezTo>
                    <a:cubicBezTo>
                      <a:pt x="112" y="190"/>
                      <a:pt x="106" y="195"/>
                      <a:pt x="105" y="200"/>
                    </a:cubicBezTo>
                    <a:cubicBezTo>
                      <a:pt x="112" y="199"/>
                      <a:pt x="122" y="198"/>
                      <a:pt x="129" y="19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6" name="Freeform 89">
                <a:extLst>
                  <a:ext uri="{FF2B5EF4-FFF2-40B4-BE49-F238E27FC236}">
                    <a16:creationId xmlns:a16="http://schemas.microsoft.com/office/drawing/2014/main" id="{88A5AEBE-5221-144E-9461-730E44B99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2333"/>
                <a:ext cx="74" cy="71"/>
              </a:xfrm>
              <a:custGeom>
                <a:avLst/>
                <a:gdLst>
                  <a:gd name="T0" fmla="*/ 135 w 291"/>
                  <a:gd name="T1" fmla="*/ 253 h 282"/>
                  <a:gd name="T2" fmla="*/ 162 w 291"/>
                  <a:gd name="T3" fmla="*/ 259 h 282"/>
                  <a:gd name="T4" fmla="*/ 208 w 291"/>
                  <a:gd name="T5" fmla="*/ 262 h 282"/>
                  <a:gd name="T6" fmla="*/ 229 w 291"/>
                  <a:gd name="T7" fmla="*/ 280 h 282"/>
                  <a:gd name="T8" fmla="*/ 246 w 291"/>
                  <a:gd name="T9" fmla="*/ 273 h 282"/>
                  <a:gd name="T10" fmla="*/ 257 w 291"/>
                  <a:gd name="T11" fmla="*/ 264 h 282"/>
                  <a:gd name="T12" fmla="*/ 255 w 291"/>
                  <a:gd name="T13" fmla="*/ 252 h 282"/>
                  <a:gd name="T14" fmla="*/ 252 w 291"/>
                  <a:gd name="T15" fmla="*/ 233 h 282"/>
                  <a:gd name="T16" fmla="*/ 257 w 291"/>
                  <a:gd name="T17" fmla="*/ 209 h 282"/>
                  <a:gd name="T18" fmla="*/ 262 w 291"/>
                  <a:gd name="T19" fmla="*/ 177 h 282"/>
                  <a:gd name="T20" fmla="*/ 275 w 291"/>
                  <a:gd name="T21" fmla="*/ 141 h 282"/>
                  <a:gd name="T22" fmla="*/ 266 w 291"/>
                  <a:gd name="T23" fmla="*/ 104 h 282"/>
                  <a:gd name="T24" fmla="*/ 276 w 291"/>
                  <a:gd name="T25" fmla="*/ 74 h 282"/>
                  <a:gd name="T26" fmla="*/ 288 w 291"/>
                  <a:gd name="T27" fmla="*/ 45 h 282"/>
                  <a:gd name="T28" fmla="*/ 282 w 291"/>
                  <a:gd name="T29" fmla="*/ 15 h 282"/>
                  <a:gd name="T30" fmla="*/ 291 w 291"/>
                  <a:gd name="T31" fmla="*/ 0 h 282"/>
                  <a:gd name="T32" fmla="*/ 265 w 291"/>
                  <a:gd name="T33" fmla="*/ 6 h 282"/>
                  <a:gd name="T34" fmla="*/ 246 w 291"/>
                  <a:gd name="T35" fmla="*/ 14 h 282"/>
                  <a:gd name="T36" fmla="*/ 220 w 291"/>
                  <a:gd name="T37" fmla="*/ 19 h 282"/>
                  <a:gd name="T38" fmla="*/ 198 w 291"/>
                  <a:gd name="T39" fmla="*/ 31 h 282"/>
                  <a:gd name="T40" fmla="*/ 193 w 291"/>
                  <a:gd name="T41" fmla="*/ 19 h 282"/>
                  <a:gd name="T42" fmla="*/ 177 w 291"/>
                  <a:gd name="T43" fmla="*/ 13 h 282"/>
                  <a:gd name="T44" fmla="*/ 160 w 291"/>
                  <a:gd name="T45" fmla="*/ 34 h 282"/>
                  <a:gd name="T46" fmla="*/ 144 w 291"/>
                  <a:gd name="T47" fmla="*/ 56 h 282"/>
                  <a:gd name="T48" fmla="*/ 126 w 291"/>
                  <a:gd name="T49" fmla="*/ 75 h 282"/>
                  <a:gd name="T50" fmla="*/ 108 w 291"/>
                  <a:gd name="T51" fmla="*/ 71 h 282"/>
                  <a:gd name="T52" fmla="*/ 92 w 291"/>
                  <a:gd name="T53" fmla="*/ 72 h 282"/>
                  <a:gd name="T54" fmla="*/ 72 w 291"/>
                  <a:gd name="T55" fmla="*/ 82 h 282"/>
                  <a:gd name="T56" fmla="*/ 60 w 291"/>
                  <a:gd name="T57" fmla="*/ 106 h 282"/>
                  <a:gd name="T58" fmla="*/ 43 w 291"/>
                  <a:gd name="T59" fmla="*/ 126 h 282"/>
                  <a:gd name="T60" fmla="*/ 24 w 291"/>
                  <a:gd name="T61" fmla="*/ 132 h 282"/>
                  <a:gd name="T62" fmla="*/ 0 w 291"/>
                  <a:gd name="T63" fmla="*/ 134 h 282"/>
                  <a:gd name="T64" fmla="*/ 5 w 291"/>
                  <a:gd name="T65" fmla="*/ 142 h 282"/>
                  <a:gd name="T66" fmla="*/ 22 w 291"/>
                  <a:gd name="T67" fmla="*/ 161 h 282"/>
                  <a:gd name="T68" fmla="*/ 49 w 291"/>
                  <a:gd name="T69" fmla="*/ 180 h 282"/>
                  <a:gd name="T70" fmla="*/ 79 w 291"/>
                  <a:gd name="T71" fmla="*/ 214 h 282"/>
                  <a:gd name="T72" fmla="*/ 119 w 291"/>
                  <a:gd name="T73" fmla="*/ 247 h 282"/>
                  <a:gd name="T74" fmla="*/ 119 w 291"/>
                  <a:gd name="T75" fmla="*/ 248 h 282"/>
                  <a:gd name="T76" fmla="*/ 135 w 291"/>
                  <a:gd name="T77" fmla="*/ 253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91" h="282">
                    <a:moveTo>
                      <a:pt x="135" y="253"/>
                    </a:moveTo>
                    <a:cubicBezTo>
                      <a:pt x="148" y="264"/>
                      <a:pt x="152" y="259"/>
                      <a:pt x="162" y="259"/>
                    </a:cubicBezTo>
                    <a:cubicBezTo>
                      <a:pt x="172" y="259"/>
                      <a:pt x="202" y="253"/>
                      <a:pt x="208" y="262"/>
                    </a:cubicBezTo>
                    <a:cubicBezTo>
                      <a:pt x="214" y="272"/>
                      <a:pt x="214" y="277"/>
                      <a:pt x="229" y="280"/>
                    </a:cubicBezTo>
                    <a:cubicBezTo>
                      <a:pt x="244" y="282"/>
                      <a:pt x="243" y="280"/>
                      <a:pt x="246" y="273"/>
                    </a:cubicBezTo>
                    <a:cubicBezTo>
                      <a:pt x="247" y="269"/>
                      <a:pt x="251" y="265"/>
                      <a:pt x="257" y="264"/>
                    </a:cubicBezTo>
                    <a:cubicBezTo>
                      <a:pt x="257" y="260"/>
                      <a:pt x="257" y="256"/>
                      <a:pt x="255" y="252"/>
                    </a:cubicBezTo>
                    <a:cubicBezTo>
                      <a:pt x="251" y="244"/>
                      <a:pt x="247" y="242"/>
                      <a:pt x="252" y="233"/>
                    </a:cubicBezTo>
                    <a:cubicBezTo>
                      <a:pt x="258" y="225"/>
                      <a:pt x="262" y="221"/>
                      <a:pt x="257" y="209"/>
                    </a:cubicBezTo>
                    <a:cubicBezTo>
                      <a:pt x="252" y="196"/>
                      <a:pt x="256" y="185"/>
                      <a:pt x="262" y="177"/>
                    </a:cubicBezTo>
                    <a:cubicBezTo>
                      <a:pt x="269" y="169"/>
                      <a:pt x="279" y="156"/>
                      <a:pt x="275" y="141"/>
                    </a:cubicBezTo>
                    <a:cubicBezTo>
                      <a:pt x="271" y="125"/>
                      <a:pt x="259" y="113"/>
                      <a:pt x="266" y="104"/>
                    </a:cubicBezTo>
                    <a:cubicBezTo>
                      <a:pt x="273" y="94"/>
                      <a:pt x="273" y="84"/>
                      <a:pt x="276" y="74"/>
                    </a:cubicBezTo>
                    <a:cubicBezTo>
                      <a:pt x="278" y="63"/>
                      <a:pt x="289" y="61"/>
                      <a:pt x="288" y="45"/>
                    </a:cubicBezTo>
                    <a:cubicBezTo>
                      <a:pt x="287" y="29"/>
                      <a:pt x="277" y="27"/>
                      <a:pt x="282" y="15"/>
                    </a:cubicBezTo>
                    <a:cubicBezTo>
                      <a:pt x="285" y="7"/>
                      <a:pt x="289" y="4"/>
                      <a:pt x="291" y="0"/>
                    </a:cubicBezTo>
                    <a:cubicBezTo>
                      <a:pt x="278" y="1"/>
                      <a:pt x="273" y="6"/>
                      <a:pt x="265" y="6"/>
                    </a:cubicBezTo>
                    <a:cubicBezTo>
                      <a:pt x="257" y="7"/>
                      <a:pt x="256" y="8"/>
                      <a:pt x="246" y="14"/>
                    </a:cubicBezTo>
                    <a:cubicBezTo>
                      <a:pt x="235" y="21"/>
                      <a:pt x="230" y="19"/>
                      <a:pt x="220" y="19"/>
                    </a:cubicBezTo>
                    <a:cubicBezTo>
                      <a:pt x="210" y="19"/>
                      <a:pt x="206" y="30"/>
                      <a:pt x="198" y="31"/>
                    </a:cubicBezTo>
                    <a:cubicBezTo>
                      <a:pt x="191" y="32"/>
                      <a:pt x="195" y="28"/>
                      <a:pt x="193" y="19"/>
                    </a:cubicBezTo>
                    <a:cubicBezTo>
                      <a:pt x="191" y="10"/>
                      <a:pt x="186" y="13"/>
                      <a:pt x="177" y="13"/>
                    </a:cubicBezTo>
                    <a:cubicBezTo>
                      <a:pt x="168" y="13"/>
                      <a:pt x="162" y="28"/>
                      <a:pt x="160" y="34"/>
                    </a:cubicBezTo>
                    <a:cubicBezTo>
                      <a:pt x="157" y="41"/>
                      <a:pt x="152" y="54"/>
                      <a:pt x="144" y="56"/>
                    </a:cubicBezTo>
                    <a:cubicBezTo>
                      <a:pt x="136" y="58"/>
                      <a:pt x="132" y="68"/>
                      <a:pt x="126" y="75"/>
                    </a:cubicBezTo>
                    <a:cubicBezTo>
                      <a:pt x="120" y="82"/>
                      <a:pt x="112" y="78"/>
                      <a:pt x="108" y="71"/>
                    </a:cubicBezTo>
                    <a:cubicBezTo>
                      <a:pt x="104" y="64"/>
                      <a:pt x="94" y="68"/>
                      <a:pt x="92" y="72"/>
                    </a:cubicBezTo>
                    <a:cubicBezTo>
                      <a:pt x="89" y="76"/>
                      <a:pt x="82" y="82"/>
                      <a:pt x="72" y="82"/>
                    </a:cubicBezTo>
                    <a:cubicBezTo>
                      <a:pt x="61" y="82"/>
                      <a:pt x="60" y="92"/>
                      <a:pt x="60" y="106"/>
                    </a:cubicBezTo>
                    <a:cubicBezTo>
                      <a:pt x="60" y="120"/>
                      <a:pt x="48" y="118"/>
                      <a:pt x="43" y="126"/>
                    </a:cubicBezTo>
                    <a:cubicBezTo>
                      <a:pt x="38" y="135"/>
                      <a:pt x="35" y="133"/>
                      <a:pt x="24" y="132"/>
                    </a:cubicBezTo>
                    <a:cubicBezTo>
                      <a:pt x="17" y="132"/>
                      <a:pt x="7" y="133"/>
                      <a:pt x="0" y="134"/>
                    </a:cubicBezTo>
                    <a:cubicBezTo>
                      <a:pt x="0" y="137"/>
                      <a:pt x="1" y="139"/>
                      <a:pt x="5" y="142"/>
                    </a:cubicBezTo>
                    <a:cubicBezTo>
                      <a:pt x="15" y="150"/>
                      <a:pt x="7" y="159"/>
                      <a:pt x="22" y="161"/>
                    </a:cubicBezTo>
                    <a:cubicBezTo>
                      <a:pt x="36" y="163"/>
                      <a:pt x="43" y="167"/>
                      <a:pt x="49" y="180"/>
                    </a:cubicBezTo>
                    <a:cubicBezTo>
                      <a:pt x="55" y="192"/>
                      <a:pt x="68" y="206"/>
                      <a:pt x="79" y="214"/>
                    </a:cubicBezTo>
                    <a:cubicBezTo>
                      <a:pt x="91" y="222"/>
                      <a:pt x="117" y="239"/>
                      <a:pt x="119" y="247"/>
                    </a:cubicBezTo>
                    <a:cubicBezTo>
                      <a:pt x="119" y="247"/>
                      <a:pt x="119" y="248"/>
                      <a:pt x="119" y="248"/>
                    </a:cubicBezTo>
                    <a:cubicBezTo>
                      <a:pt x="123" y="247"/>
                      <a:pt x="129" y="248"/>
                      <a:pt x="135" y="25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7" name="Freeform 90">
                <a:extLst>
                  <a:ext uri="{FF2B5EF4-FFF2-40B4-BE49-F238E27FC236}">
                    <a16:creationId xmlns:a16="http://schemas.microsoft.com/office/drawing/2014/main" id="{E1E45EF9-F4CE-B042-AE6D-DB412D90E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5" y="2396"/>
                <a:ext cx="53" cy="49"/>
              </a:xfrm>
              <a:custGeom>
                <a:avLst/>
                <a:gdLst>
                  <a:gd name="T0" fmla="*/ 198 w 210"/>
                  <a:gd name="T1" fmla="*/ 172 h 195"/>
                  <a:gd name="T2" fmla="*/ 202 w 210"/>
                  <a:gd name="T3" fmla="*/ 157 h 195"/>
                  <a:gd name="T4" fmla="*/ 199 w 210"/>
                  <a:gd name="T5" fmla="*/ 145 h 195"/>
                  <a:gd name="T6" fmla="*/ 192 w 210"/>
                  <a:gd name="T7" fmla="*/ 127 h 195"/>
                  <a:gd name="T8" fmla="*/ 198 w 210"/>
                  <a:gd name="T9" fmla="*/ 105 h 195"/>
                  <a:gd name="T10" fmla="*/ 207 w 210"/>
                  <a:gd name="T11" fmla="*/ 90 h 195"/>
                  <a:gd name="T12" fmla="*/ 172 w 210"/>
                  <a:gd name="T13" fmla="*/ 59 h 195"/>
                  <a:gd name="T14" fmla="*/ 158 w 210"/>
                  <a:gd name="T15" fmla="*/ 33 h 195"/>
                  <a:gd name="T16" fmla="*/ 147 w 210"/>
                  <a:gd name="T17" fmla="*/ 17 h 195"/>
                  <a:gd name="T18" fmla="*/ 136 w 210"/>
                  <a:gd name="T19" fmla="*/ 26 h 195"/>
                  <a:gd name="T20" fmla="*/ 119 w 210"/>
                  <a:gd name="T21" fmla="*/ 33 h 195"/>
                  <a:gd name="T22" fmla="*/ 98 w 210"/>
                  <a:gd name="T23" fmla="*/ 15 h 195"/>
                  <a:gd name="T24" fmla="*/ 52 w 210"/>
                  <a:gd name="T25" fmla="*/ 12 h 195"/>
                  <a:gd name="T26" fmla="*/ 25 w 210"/>
                  <a:gd name="T27" fmla="*/ 6 h 195"/>
                  <a:gd name="T28" fmla="*/ 9 w 210"/>
                  <a:gd name="T29" fmla="*/ 1 h 195"/>
                  <a:gd name="T30" fmla="*/ 11 w 210"/>
                  <a:gd name="T31" fmla="*/ 27 h 195"/>
                  <a:gd name="T32" fmla="*/ 9 w 210"/>
                  <a:gd name="T33" fmla="*/ 44 h 195"/>
                  <a:gd name="T34" fmla="*/ 10 w 210"/>
                  <a:gd name="T35" fmla="*/ 72 h 195"/>
                  <a:gd name="T36" fmla="*/ 37 w 210"/>
                  <a:gd name="T37" fmla="*/ 91 h 195"/>
                  <a:gd name="T38" fmla="*/ 63 w 210"/>
                  <a:gd name="T39" fmla="*/ 98 h 195"/>
                  <a:gd name="T40" fmla="*/ 81 w 210"/>
                  <a:gd name="T41" fmla="*/ 90 h 195"/>
                  <a:gd name="T42" fmla="*/ 99 w 210"/>
                  <a:gd name="T43" fmla="*/ 110 h 195"/>
                  <a:gd name="T44" fmla="*/ 140 w 210"/>
                  <a:gd name="T45" fmla="*/ 127 h 195"/>
                  <a:gd name="T46" fmla="*/ 151 w 210"/>
                  <a:gd name="T47" fmla="*/ 150 h 195"/>
                  <a:gd name="T48" fmla="*/ 154 w 210"/>
                  <a:gd name="T49" fmla="*/ 177 h 195"/>
                  <a:gd name="T50" fmla="*/ 195 w 210"/>
                  <a:gd name="T51" fmla="*/ 191 h 195"/>
                  <a:gd name="T52" fmla="*/ 198 w 210"/>
                  <a:gd name="T53" fmla="*/ 172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10" h="195">
                    <a:moveTo>
                      <a:pt x="198" y="172"/>
                    </a:moveTo>
                    <a:cubicBezTo>
                      <a:pt x="198" y="167"/>
                      <a:pt x="198" y="161"/>
                      <a:pt x="202" y="157"/>
                    </a:cubicBezTo>
                    <a:cubicBezTo>
                      <a:pt x="206" y="152"/>
                      <a:pt x="210" y="145"/>
                      <a:pt x="199" y="145"/>
                    </a:cubicBezTo>
                    <a:cubicBezTo>
                      <a:pt x="188" y="144"/>
                      <a:pt x="192" y="133"/>
                      <a:pt x="192" y="127"/>
                    </a:cubicBezTo>
                    <a:cubicBezTo>
                      <a:pt x="191" y="122"/>
                      <a:pt x="192" y="112"/>
                      <a:pt x="198" y="105"/>
                    </a:cubicBezTo>
                    <a:cubicBezTo>
                      <a:pt x="202" y="102"/>
                      <a:pt x="205" y="96"/>
                      <a:pt x="207" y="90"/>
                    </a:cubicBezTo>
                    <a:cubicBezTo>
                      <a:pt x="198" y="88"/>
                      <a:pt x="184" y="68"/>
                      <a:pt x="172" y="59"/>
                    </a:cubicBezTo>
                    <a:cubicBezTo>
                      <a:pt x="160" y="49"/>
                      <a:pt x="173" y="46"/>
                      <a:pt x="158" y="33"/>
                    </a:cubicBezTo>
                    <a:cubicBezTo>
                      <a:pt x="149" y="26"/>
                      <a:pt x="148" y="21"/>
                      <a:pt x="147" y="17"/>
                    </a:cubicBezTo>
                    <a:cubicBezTo>
                      <a:pt x="141" y="18"/>
                      <a:pt x="137" y="22"/>
                      <a:pt x="136" y="26"/>
                    </a:cubicBezTo>
                    <a:cubicBezTo>
                      <a:pt x="133" y="33"/>
                      <a:pt x="134" y="35"/>
                      <a:pt x="119" y="33"/>
                    </a:cubicBezTo>
                    <a:cubicBezTo>
                      <a:pt x="104" y="30"/>
                      <a:pt x="104" y="25"/>
                      <a:pt x="98" y="15"/>
                    </a:cubicBezTo>
                    <a:cubicBezTo>
                      <a:pt x="92" y="6"/>
                      <a:pt x="62" y="12"/>
                      <a:pt x="52" y="12"/>
                    </a:cubicBezTo>
                    <a:cubicBezTo>
                      <a:pt x="42" y="12"/>
                      <a:pt x="38" y="17"/>
                      <a:pt x="25" y="6"/>
                    </a:cubicBezTo>
                    <a:cubicBezTo>
                      <a:pt x="19" y="1"/>
                      <a:pt x="13" y="0"/>
                      <a:pt x="9" y="1"/>
                    </a:cubicBezTo>
                    <a:cubicBezTo>
                      <a:pt x="10" y="9"/>
                      <a:pt x="4" y="20"/>
                      <a:pt x="11" y="27"/>
                    </a:cubicBezTo>
                    <a:cubicBezTo>
                      <a:pt x="17" y="34"/>
                      <a:pt x="16" y="40"/>
                      <a:pt x="9" y="44"/>
                    </a:cubicBezTo>
                    <a:cubicBezTo>
                      <a:pt x="1" y="48"/>
                      <a:pt x="0" y="62"/>
                      <a:pt x="10" y="72"/>
                    </a:cubicBezTo>
                    <a:cubicBezTo>
                      <a:pt x="20" y="82"/>
                      <a:pt x="32" y="81"/>
                      <a:pt x="37" y="91"/>
                    </a:cubicBezTo>
                    <a:cubicBezTo>
                      <a:pt x="41" y="101"/>
                      <a:pt x="59" y="107"/>
                      <a:pt x="63" y="98"/>
                    </a:cubicBezTo>
                    <a:cubicBezTo>
                      <a:pt x="68" y="89"/>
                      <a:pt x="80" y="72"/>
                      <a:pt x="81" y="90"/>
                    </a:cubicBezTo>
                    <a:cubicBezTo>
                      <a:pt x="82" y="108"/>
                      <a:pt x="87" y="108"/>
                      <a:pt x="99" y="110"/>
                    </a:cubicBezTo>
                    <a:cubicBezTo>
                      <a:pt x="111" y="112"/>
                      <a:pt x="135" y="117"/>
                      <a:pt x="140" y="127"/>
                    </a:cubicBezTo>
                    <a:cubicBezTo>
                      <a:pt x="146" y="137"/>
                      <a:pt x="154" y="139"/>
                      <a:pt x="151" y="150"/>
                    </a:cubicBezTo>
                    <a:cubicBezTo>
                      <a:pt x="147" y="160"/>
                      <a:pt x="140" y="170"/>
                      <a:pt x="154" y="177"/>
                    </a:cubicBezTo>
                    <a:cubicBezTo>
                      <a:pt x="168" y="183"/>
                      <a:pt x="181" y="195"/>
                      <a:pt x="195" y="191"/>
                    </a:cubicBezTo>
                    <a:cubicBezTo>
                      <a:pt x="195" y="182"/>
                      <a:pt x="198" y="176"/>
                      <a:pt x="198" y="17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8" name="Freeform 91">
                <a:extLst>
                  <a:ext uri="{FF2B5EF4-FFF2-40B4-BE49-F238E27FC236}">
                    <a16:creationId xmlns:a16="http://schemas.microsoft.com/office/drawing/2014/main" id="{89C25857-131C-5545-9CEA-69C0F5FB2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" y="2418"/>
                <a:ext cx="53" cy="42"/>
              </a:xfrm>
              <a:custGeom>
                <a:avLst/>
                <a:gdLst>
                  <a:gd name="T0" fmla="*/ 204 w 211"/>
                  <a:gd name="T1" fmla="*/ 50 h 166"/>
                  <a:gd name="T2" fmla="*/ 180 w 211"/>
                  <a:gd name="T3" fmla="*/ 33 h 166"/>
                  <a:gd name="T4" fmla="*/ 148 w 211"/>
                  <a:gd name="T5" fmla="*/ 54 h 166"/>
                  <a:gd name="T6" fmla="*/ 95 w 211"/>
                  <a:gd name="T7" fmla="*/ 58 h 166"/>
                  <a:gd name="T8" fmla="*/ 68 w 211"/>
                  <a:gd name="T9" fmla="*/ 33 h 166"/>
                  <a:gd name="T10" fmla="*/ 37 w 211"/>
                  <a:gd name="T11" fmla="*/ 19 h 166"/>
                  <a:gd name="T12" fmla="*/ 20 w 211"/>
                  <a:gd name="T13" fmla="*/ 0 h 166"/>
                  <a:gd name="T14" fmla="*/ 19 w 211"/>
                  <a:gd name="T15" fmla="*/ 0 h 166"/>
                  <a:gd name="T16" fmla="*/ 10 w 211"/>
                  <a:gd name="T17" fmla="*/ 15 h 166"/>
                  <a:gd name="T18" fmla="*/ 4 w 211"/>
                  <a:gd name="T19" fmla="*/ 37 h 166"/>
                  <a:gd name="T20" fmla="*/ 11 w 211"/>
                  <a:gd name="T21" fmla="*/ 55 h 166"/>
                  <a:gd name="T22" fmla="*/ 14 w 211"/>
                  <a:gd name="T23" fmla="*/ 67 h 166"/>
                  <a:gd name="T24" fmla="*/ 10 w 211"/>
                  <a:gd name="T25" fmla="*/ 82 h 166"/>
                  <a:gd name="T26" fmla="*/ 7 w 211"/>
                  <a:gd name="T27" fmla="*/ 101 h 166"/>
                  <a:gd name="T28" fmla="*/ 7 w 211"/>
                  <a:gd name="T29" fmla="*/ 101 h 166"/>
                  <a:gd name="T30" fmla="*/ 43 w 211"/>
                  <a:gd name="T31" fmla="*/ 98 h 166"/>
                  <a:gd name="T32" fmla="*/ 77 w 211"/>
                  <a:gd name="T33" fmla="*/ 111 h 166"/>
                  <a:gd name="T34" fmla="*/ 101 w 211"/>
                  <a:gd name="T35" fmla="*/ 131 h 166"/>
                  <a:gd name="T36" fmla="*/ 123 w 211"/>
                  <a:gd name="T37" fmla="*/ 136 h 166"/>
                  <a:gd name="T38" fmla="*/ 133 w 211"/>
                  <a:gd name="T39" fmla="*/ 153 h 166"/>
                  <a:gd name="T40" fmla="*/ 152 w 211"/>
                  <a:gd name="T41" fmla="*/ 162 h 166"/>
                  <a:gd name="T42" fmla="*/ 172 w 211"/>
                  <a:gd name="T43" fmla="*/ 157 h 166"/>
                  <a:gd name="T44" fmla="*/ 193 w 211"/>
                  <a:gd name="T45" fmla="*/ 149 h 166"/>
                  <a:gd name="T46" fmla="*/ 188 w 211"/>
                  <a:gd name="T47" fmla="*/ 131 h 166"/>
                  <a:gd name="T48" fmla="*/ 166 w 211"/>
                  <a:gd name="T49" fmla="*/ 108 h 166"/>
                  <a:gd name="T50" fmla="*/ 182 w 211"/>
                  <a:gd name="T51" fmla="*/ 92 h 166"/>
                  <a:gd name="T52" fmla="*/ 210 w 211"/>
                  <a:gd name="T53" fmla="*/ 69 h 166"/>
                  <a:gd name="T54" fmla="*/ 204 w 211"/>
                  <a:gd name="T55" fmla="*/ 5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11" h="166">
                    <a:moveTo>
                      <a:pt x="204" y="50"/>
                    </a:moveTo>
                    <a:cubicBezTo>
                      <a:pt x="198" y="44"/>
                      <a:pt x="190" y="26"/>
                      <a:pt x="180" y="33"/>
                    </a:cubicBezTo>
                    <a:cubicBezTo>
                      <a:pt x="171" y="40"/>
                      <a:pt x="164" y="52"/>
                      <a:pt x="148" y="54"/>
                    </a:cubicBezTo>
                    <a:cubicBezTo>
                      <a:pt x="132" y="56"/>
                      <a:pt x="101" y="72"/>
                      <a:pt x="95" y="58"/>
                    </a:cubicBezTo>
                    <a:cubicBezTo>
                      <a:pt x="89" y="45"/>
                      <a:pt x="81" y="34"/>
                      <a:pt x="68" y="33"/>
                    </a:cubicBezTo>
                    <a:cubicBezTo>
                      <a:pt x="54" y="33"/>
                      <a:pt x="42" y="32"/>
                      <a:pt x="37" y="19"/>
                    </a:cubicBezTo>
                    <a:cubicBezTo>
                      <a:pt x="33" y="7"/>
                      <a:pt x="29" y="2"/>
                      <a:pt x="2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6"/>
                      <a:pt x="14" y="12"/>
                      <a:pt x="10" y="15"/>
                    </a:cubicBezTo>
                    <a:cubicBezTo>
                      <a:pt x="4" y="22"/>
                      <a:pt x="3" y="32"/>
                      <a:pt x="4" y="37"/>
                    </a:cubicBezTo>
                    <a:cubicBezTo>
                      <a:pt x="4" y="43"/>
                      <a:pt x="0" y="54"/>
                      <a:pt x="11" y="55"/>
                    </a:cubicBezTo>
                    <a:cubicBezTo>
                      <a:pt x="22" y="55"/>
                      <a:pt x="18" y="62"/>
                      <a:pt x="14" y="67"/>
                    </a:cubicBezTo>
                    <a:cubicBezTo>
                      <a:pt x="10" y="71"/>
                      <a:pt x="10" y="77"/>
                      <a:pt x="10" y="82"/>
                    </a:cubicBezTo>
                    <a:cubicBezTo>
                      <a:pt x="10" y="86"/>
                      <a:pt x="7" y="92"/>
                      <a:pt x="7" y="101"/>
                    </a:cubicBezTo>
                    <a:cubicBezTo>
                      <a:pt x="7" y="101"/>
                      <a:pt x="7" y="101"/>
                      <a:pt x="7" y="101"/>
                    </a:cubicBezTo>
                    <a:cubicBezTo>
                      <a:pt x="22" y="96"/>
                      <a:pt x="26" y="96"/>
                      <a:pt x="43" y="98"/>
                    </a:cubicBezTo>
                    <a:cubicBezTo>
                      <a:pt x="60" y="100"/>
                      <a:pt x="70" y="101"/>
                      <a:pt x="77" y="111"/>
                    </a:cubicBezTo>
                    <a:cubicBezTo>
                      <a:pt x="83" y="122"/>
                      <a:pt x="87" y="131"/>
                      <a:pt x="101" y="131"/>
                    </a:cubicBezTo>
                    <a:cubicBezTo>
                      <a:pt x="114" y="132"/>
                      <a:pt x="123" y="125"/>
                      <a:pt x="123" y="136"/>
                    </a:cubicBezTo>
                    <a:cubicBezTo>
                      <a:pt x="123" y="147"/>
                      <a:pt x="128" y="140"/>
                      <a:pt x="133" y="153"/>
                    </a:cubicBezTo>
                    <a:cubicBezTo>
                      <a:pt x="139" y="166"/>
                      <a:pt x="138" y="161"/>
                      <a:pt x="152" y="162"/>
                    </a:cubicBezTo>
                    <a:cubicBezTo>
                      <a:pt x="167" y="163"/>
                      <a:pt x="169" y="165"/>
                      <a:pt x="172" y="157"/>
                    </a:cubicBezTo>
                    <a:cubicBezTo>
                      <a:pt x="175" y="149"/>
                      <a:pt x="191" y="156"/>
                      <a:pt x="193" y="149"/>
                    </a:cubicBezTo>
                    <a:cubicBezTo>
                      <a:pt x="194" y="141"/>
                      <a:pt x="197" y="135"/>
                      <a:pt x="188" y="131"/>
                    </a:cubicBezTo>
                    <a:cubicBezTo>
                      <a:pt x="179" y="126"/>
                      <a:pt x="161" y="117"/>
                      <a:pt x="166" y="108"/>
                    </a:cubicBezTo>
                    <a:cubicBezTo>
                      <a:pt x="170" y="99"/>
                      <a:pt x="171" y="95"/>
                      <a:pt x="182" y="92"/>
                    </a:cubicBezTo>
                    <a:cubicBezTo>
                      <a:pt x="193" y="89"/>
                      <a:pt x="208" y="80"/>
                      <a:pt x="210" y="69"/>
                    </a:cubicBezTo>
                    <a:cubicBezTo>
                      <a:pt x="211" y="58"/>
                      <a:pt x="210" y="55"/>
                      <a:pt x="204" y="5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39" name="Freeform 92">
                <a:extLst>
                  <a:ext uri="{FF2B5EF4-FFF2-40B4-BE49-F238E27FC236}">
                    <a16:creationId xmlns:a16="http://schemas.microsoft.com/office/drawing/2014/main" id="{9FB7DBCE-F874-0342-8FA5-8630989C2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2" y="2421"/>
                <a:ext cx="44" cy="39"/>
              </a:xfrm>
              <a:custGeom>
                <a:avLst/>
                <a:gdLst>
                  <a:gd name="T0" fmla="*/ 136 w 173"/>
                  <a:gd name="T1" fmla="*/ 150 h 154"/>
                  <a:gd name="T2" fmla="*/ 137 w 173"/>
                  <a:gd name="T3" fmla="*/ 125 h 154"/>
                  <a:gd name="T4" fmla="*/ 149 w 173"/>
                  <a:gd name="T5" fmla="*/ 132 h 154"/>
                  <a:gd name="T6" fmla="*/ 167 w 173"/>
                  <a:gd name="T7" fmla="*/ 123 h 154"/>
                  <a:gd name="T8" fmla="*/ 171 w 173"/>
                  <a:gd name="T9" fmla="*/ 106 h 154"/>
                  <a:gd name="T10" fmla="*/ 164 w 173"/>
                  <a:gd name="T11" fmla="*/ 93 h 154"/>
                  <a:gd name="T12" fmla="*/ 159 w 173"/>
                  <a:gd name="T13" fmla="*/ 81 h 154"/>
                  <a:gd name="T14" fmla="*/ 160 w 173"/>
                  <a:gd name="T15" fmla="*/ 66 h 154"/>
                  <a:gd name="T16" fmla="*/ 162 w 173"/>
                  <a:gd name="T17" fmla="*/ 55 h 154"/>
                  <a:gd name="T18" fmla="*/ 132 w 173"/>
                  <a:gd name="T19" fmla="*/ 30 h 154"/>
                  <a:gd name="T20" fmla="*/ 85 w 173"/>
                  <a:gd name="T21" fmla="*/ 12 h 154"/>
                  <a:gd name="T22" fmla="*/ 31 w 173"/>
                  <a:gd name="T23" fmla="*/ 3 h 154"/>
                  <a:gd name="T24" fmla="*/ 18 w 173"/>
                  <a:gd name="T25" fmla="*/ 10 h 154"/>
                  <a:gd name="T26" fmla="*/ 6 w 173"/>
                  <a:gd name="T27" fmla="*/ 21 h 154"/>
                  <a:gd name="T28" fmla="*/ 15 w 173"/>
                  <a:gd name="T29" fmla="*/ 38 h 154"/>
                  <a:gd name="T30" fmla="*/ 24 w 173"/>
                  <a:gd name="T31" fmla="*/ 60 h 154"/>
                  <a:gd name="T32" fmla="*/ 45 w 173"/>
                  <a:gd name="T33" fmla="*/ 68 h 154"/>
                  <a:gd name="T34" fmla="*/ 63 w 173"/>
                  <a:gd name="T35" fmla="*/ 60 h 154"/>
                  <a:gd name="T36" fmla="*/ 80 w 173"/>
                  <a:gd name="T37" fmla="*/ 63 h 154"/>
                  <a:gd name="T38" fmla="*/ 111 w 173"/>
                  <a:gd name="T39" fmla="*/ 65 h 154"/>
                  <a:gd name="T40" fmla="*/ 117 w 173"/>
                  <a:gd name="T41" fmla="*/ 80 h 154"/>
                  <a:gd name="T42" fmla="*/ 103 w 173"/>
                  <a:gd name="T43" fmla="*/ 104 h 154"/>
                  <a:gd name="T44" fmla="*/ 115 w 173"/>
                  <a:gd name="T45" fmla="*/ 133 h 154"/>
                  <a:gd name="T46" fmla="*/ 133 w 173"/>
                  <a:gd name="T47" fmla="*/ 154 h 154"/>
                  <a:gd name="T48" fmla="*/ 136 w 173"/>
                  <a:gd name="T49" fmla="*/ 15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3" h="154">
                    <a:moveTo>
                      <a:pt x="136" y="150"/>
                    </a:moveTo>
                    <a:cubicBezTo>
                      <a:pt x="138" y="146"/>
                      <a:pt x="137" y="130"/>
                      <a:pt x="137" y="125"/>
                    </a:cubicBezTo>
                    <a:cubicBezTo>
                      <a:pt x="138" y="120"/>
                      <a:pt x="146" y="126"/>
                      <a:pt x="149" y="132"/>
                    </a:cubicBezTo>
                    <a:cubicBezTo>
                      <a:pt x="152" y="139"/>
                      <a:pt x="161" y="128"/>
                      <a:pt x="167" y="123"/>
                    </a:cubicBezTo>
                    <a:cubicBezTo>
                      <a:pt x="173" y="118"/>
                      <a:pt x="171" y="109"/>
                      <a:pt x="171" y="106"/>
                    </a:cubicBezTo>
                    <a:cubicBezTo>
                      <a:pt x="171" y="102"/>
                      <a:pt x="171" y="95"/>
                      <a:pt x="164" y="93"/>
                    </a:cubicBezTo>
                    <a:cubicBezTo>
                      <a:pt x="158" y="92"/>
                      <a:pt x="162" y="88"/>
                      <a:pt x="159" y="81"/>
                    </a:cubicBezTo>
                    <a:cubicBezTo>
                      <a:pt x="156" y="73"/>
                      <a:pt x="161" y="74"/>
                      <a:pt x="160" y="66"/>
                    </a:cubicBezTo>
                    <a:cubicBezTo>
                      <a:pt x="160" y="63"/>
                      <a:pt x="161" y="59"/>
                      <a:pt x="162" y="55"/>
                    </a:cubicBezTo>
                    <a:cubicBezTo>
                      <a:pt x="155" y="46"/>
                      <a:pt x="145" y="38"/>
                      <a:pt x="132" y="30"/>
                    </a:cubicBezTo>
                    <a:cubicBezTo>
                      <a:pt x="108" y="16"/>
                      <a:pt x="98" y="16"/>
                      <a:pt x="85" y="12"/>
                    </a:cubicBezTo>
                    <a:cubicBezTo>
                      <a:pt x="72" y="7"/>
                      <a:pt x="64" y="0"/>
                      <a:pt x="31" y="3"/>
                    </a:cubicBezTo>
                    <a:cubicBezTo>
                      <a:pt x="31" y="3"/>
                      <a:pt x="26" y="6"/>
                      <a:pt x="18" y="10"/>
                    </a:cubicBezTo>
                    <a:cubicBezTo>
                      <a:pt x="10" y="14"/>
                      <a:pt x="0" y="15"/>
                      <a:pt x="6" y="21"/>
                    </a:cubicBezTo>
                    <a:cubicBezTo>
                      <a:pt x="11" y="28"/>
                      <a:pt x="13" y="35"/>
                      <a:pt x="15" y="38"/>
                    </a:cubicBezTo>
                    <a:cubicBezTo>
                      <a:pt x="18" y="41"/>
                      <a:pt x="24" y="51"/>
                      <a:pt x="24" y="60"/>
                    </a:cubicBezTo>
                    <a:cubicBezTo>
                      <a:pt x="24" y="68"/>
                      <a:pt x="38" y="79"/>
                      <a:pt x="45" y="68"/>
                    </a:cubicBezTo>
                    <a:cubicBezTo>
                      <a:pt x="53" y="58"/>
                      <a:pt x="56" y="56"/>
                      <a:pt x="63" y="60"/>
                    </a:cubicBezTo>
                    <a:cubicBezTo>
                      <a:pt x="71" y="65"/>
                      <a:pt x="70" y="56"/>
                      <a:pt x="80" y="63"/>
                    </a:cubicBezTo>
                    <a:cubicBezTo>
                      <a:pt x="90" y="71"/>
                      <a:pt x="106" y="63"/>
                      <a:pt x="111" y="65"/>
                    </a:cubicBezTo>
                    <a:cubicBezTo>
                      <a:pt x="115" y="67"/>
                      <a:pt x="129" y="74"/>
                      <a:pt x="117" y="80"/>
                    </a:cubicBezTo>
                    <a:cubicBezTo>
                      <a:pt x="104" y="86"/>
                      <a:pt x="99" y="92"/>
                      <a:pt x="103" y="104"/>
                    </a:cubicBezTo>
                    <a:cubicBezTo>
                      <a:pt x="106" y="116"/>
                      <a:pt x="104" y="122"/>
                      <a:pt x="115" y="133"/>
                    </a:cubicBezTo>
                    <a:cubicBezTo>
                      <a:pt x="125" y="142"/>
                      <a:pt x="127" y="144"/>
                      <a:pt x="133" y="154"/>
                    </a:cubicBezTo>
                    <a:cubicBezTo>
                      <a:pt x="134" y="153"/>
                      <a:pt x="135" y="152"/>
                      <a:pt x="136" y="15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0" name="Freeform 93">
                <a:extLst>
                  <a:ext uri="{FF2B5EF4-FFF2-40B4-BE49-F238E27FC236}">
                    <a16:creationId xmlns:a16="http://schemas.microsoft.com/office/drawing/2014/main" id="{C86AE383-0026-0B41-B551-403E98FC9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7" y="1303"/>
                <a:ext cx="176" cy="83"/>
              </a:xfrm>
              <a:custGeom>
                <a:avLst/>
                <a:gdLst>
                  <a:gd name="T0" fmla="*/ 37 w 698"/>
                  <a:gd name="T1" fmla="*/ 66 h 329"/>
                  <a:gd name="T2" fmla="*/ 19 w 698"/>
                  <a:gd name="T3" fmla="*/ 94 h 329"/>
                  <a:gd name="T4" fmla="*/ 14 w 698"/>
                  <a:gd name="T5" fmla="*/ 116 h 329"/>
                  <a:gd name="T6" fmla="*/ 58 w 698"/>
                  <a:gd name="T7" fmla="*/ 121 h 329"/>
                  <a:gd name="T8" fmla="*/ 95 w 698"/>
                  <a:gd name="T9" fmla="*/ 103 h 329"/>
                  <a:gd name="T10" fmla="*/ 139 w 698"/>
                  <a:gd name="T11" fmla="*/ 109 h 329"/>
                  <a:gd name="T12" fmla="*/ 136 w 698"/>
                  <a:gd name="T13" fmla="*/ 124 h 329"/>
                  <a:gd name="T14" fmla="*/ 152 w 698"/>
                  <a:gd name="T15" fmla="*/ 153 h 329"/>
                  <a:gd name="T16" fmla="*/ 67 w 698"/>
                  <a:gd name="T17" fmla="*/ 158 h 329"/>
                  <a:gd name="T18" fmla="*/ 33 w 698"/>
                  <a:gd name="T19" fmla="*/ 174 h 329"/>
                  <a:gd name="T20" fmla="*/ 64 w 698"/>
                  <a:gd name="T21" fmla="*/ 186 h 329"/>
                  <a:gd name="T22" fmla="*/ 113 w 698"/>
                  <a:gd name="T23" fmla="*/ 186 h 329"/>
                  <a:gd name="T24" fmla="*/ 150 w 698"/>
                  <a:gd name="T25" fmla="*/ 218 h 329"/>
                  <a:gd name="T26" fmla="*/ 158 w 698"/>
                  <a:gd name="T27" fmla="*/ 247 h 329"/>
                  <a:gd name="T28" fmla="*/ 109 w 698"/>
                  <a:gd name="T29" fmla="*/ 261 h 329"/>
                  <a:gd name="T30" fmla="*/ 146 w 698"/>
                  <a:gd name="T31" fmla="*/ 278 h 329"/>
                  <a:gd name="T32" fmla="*/ 216 w 698"/>
                  <a:gd name="T33" fmla="*/ 277 h 329"/>
                  <a:gd name="T34" fmla="*/ 264 w 698"/>
                  <a:gd name="T35" fmla="*/ 304 h 329"/>
                  <a:gd name="T36" fmla="*/ 316 w 698"/>
                  <a:gd name="T37" fmla="*/ 318 h 329"/>
                  <a:gd name="T38" fmla="*/ 367 w 698"/>
                  <a:gd name="T39" fmla="*/ 324 h 329"/>
                  <a:gd name="T40" fmla="*/ 417 w 698"/>
                  <a:gd name="T41" fmla="*/ 303 h 329"/>
                  <a:gd name="T42" fmla="*/ 468 w 698"/>
                  <a:gd name="T43" fmla="*/ 284 h 329"/>
                  <a:gd name="T44" fmla="*/ 539 w 698"/>
                  <a:gd name="T45" fmla="*/ 255 h 329"/>
                  <a:gd name="T46" fmla="*/ 589 w 698"/>
                  <a:gd name="T47" fmla="*/ 233 h 329"/>
                  <a:gd name="T48" fmla="*/ 652 w 698"/>
                  <a:gd name="T49" fmla="*/ 193 h 329"/>
                  <a:gd name="T50" fmla="*/ 689 w 698"/>
                  <a:gd name="T51" fmla="*/ 165 h 329"/>
                  <a:gd name="T52" fmla="*/ 688 w 698"/>
                  <a:gd name="T53" fmla="*/ 124 h 329"/>
                  <a:gd name="T54" fmla="*/ 627 w 698"/>
                  <a:gd name="T55" fmla="*/ 83 h 329"/>
                  <a:gd name="T56" fmla="*/ 602 w 698"/>
                  <a:gd name="T57" fmla="*/ 42 h 329"/>
                  <a:gd name="T58" fmla="*/ 600 w 698"/>
                  <a:gd name="T59" fmla="*/ 18 h 329"/>
                  <a:gd name="T60" fmla="*/ 547 w 698"/>
                  <a:gd name="T61" fmla="*/ 7 h 329"/>
                  <a:gd name="T62" fmla="*/ 501 w 698"/>
                  <a:gd name="T63" fmla="*/ 14 h 329"/>
                  <a:gd name="T64" fmla="*/ 497 w 698"/>
                  <a:gd name="T65" fmla="*/ 45 h 329"/>
                  <a:gd name="T66" fmla="*/ 450 w 698"/>
                  <a:gd name="T67" fmla="*/ 43 h 329"/>
                  <a:gd name="T68" fmla="*/ 417 w 698"/>
                  <a:gd name="T69" fmla="*/ 38 h 329"/>
                  <a:gd name="T70" fmla="*/ 395 w 698"/>
                  <a:gd name="T71" fmla="*/ 56 h 329"/>
                  <a:gd name="T72" fmla="*/ 392 w 698"/>
                  <a:gd name="T73" fmla="*/ 71 h 329"/>
                  <a:gd name="T74" fmla="*/ 339 w 698"/>
                  <a:gd name="T75" fmla="*/ 38 h 329"/>
                  <a:gd name="T76" fmla="*/ 324 w 698"/>
                  <a:gd name="T77" fmla="*/ 66 h 329"/>
                  <a:gd name="T78" fmla="*/ 291 w 698"/>
                  <a:gd name="T79" fmla="*/ 55 h 329"/>
                  <a:gd name="T80" fmla="*/ 251 w 698"/>
                  <a:gd name="T81" fmla="*/ 51 h 329"/>
                  <a:gd name="T82" fmla="*/ 272 w 698"/>
                  <a:gd name="T83" fmla="*/ 84 h 329"/>
                  <a:gd name="T84" fmla="*/ 236 w 698"/>
                  <a:gd name="T85" fmla="*/ 91 h 329"/>
                  <a:gd name="T86" fmla="*/ 205 w 698"/>
                  <a:gd name="T87" fmla="*/ 117 h 329"/>
                  <a:gd name="T88" fmla="*/ 187 w 698"/>
                  <a:gd name="T89" fmla="*/ 84 h 329"/>
                  <a:gd name="T90" fmla="*/ 186 w 698"/>
                  <a:gd name="T91" fmla="*/ 48 h 329"/>
                  <a:gd name="T92" fmla="*/ 136 w 698"/>
                  <a:gd name="T93" fmla="*/ 12 h 329"/>
                  <a:gd name="T94" fmla="*/ 88 w 698"/>
                  <a:gd name="T95" fmla="*/ 20 h 329"/>
                  <a:gd name="T96" fmla="*/ 109 w 698"/>
                  <a:gd name="T97" fmla="*/ 40 h 329"/>
                  <a:gd name="T98" fmla="*/ 100 w 698"/>
                  <a:gd name="T99" fmla="*/ 51 h 329"/>
                  <a:gd name="T100" fmla="*/ 54 w 698"/>
                  <a:gd name="T101" fmla="*/ 4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8" h="329">
                    <a:moveTo>
                      <a:pt x="54" y="47"/>
                    </a:moveTo>
                    <a:cubicBezTo>
                      <a:pt x="54" y="47"/>
                      <a:pt x="47" y="65"/>
                      <a:pt x="37" y="66"/>
                    </a:cubicBezTo>
                    <a:cubicBezTo>
                      <a:pt x="27" y="68"/>
                      <a:pt x="13" y="79"/>
                      <a:pt x="22" y="83"/>
                    </a:cubicBezTo>
                    <a:cubicBezTo>
                      <a:pt x="30" y="87"/>
                      <a:pt x="28" y="94"/>
                      <a:pt x="19" y="94"/>
                    </a:cubicBezTo>
                    <a:cubicBezTo>
                      <a:pt x="10" y="94"/>
                      <a:pt x="1" y="90"/>
                      <a:pt x="1" y="99"/>
                    </a:cubicBezTo>
                    <a:cubicBezTo>
                      <a:pt x="1" y="107"/>
                      <a:pt x="0" y="116"/>
                      <a:pt x="14" y="116"/>
                    </a:cubicBezTo>
                    <a:cubicBezTo>
                      <a:pt x="28" y="116"/>
                      <a:pt x="30" y="112"/>
                      <a:pt x="37" y="119"/>
                    </a:cubicBezTo>
                    <a:cubicBezTo>
                      <a:pt x="44" y="126"/>
                      <a:pt x="55" y="127"/>
                      <a:pt x="58" y="121"/>
                    </a:cubicBezTo>
                    <a:cubicBezTo>
                      <a:pt x="61" y="114"/>
                      <a:pt x="70" y="110"/>
                      <a:pt x="76" y="110"/>
                    </a:cubicBezTo>
                    <a:cubicBezTo>
                      <a:pt x="83" y="110"/>
                      <a:pt x="83" y="103"/>
                      <a:pt x="95" y="103"/>
                    </a:cubicBezTo>
                    <a:cubicBezTo>
                      <a:pt x="106" y="103"/>
                      <a:pt x="120" y="89"/>
                      <a:pt x="126" y="97"/>
                    </a:cubicBezTo>
                    <a:cubicBezTo>
                      <a:pt x="133" y="106"/>
                      <a:pt x="132" y="109"/>
                      <a:pt x="139" y="109"/>
                    </a:cubicBezTo>
                    <a:cubicBezTo>
                      <a:pt x="147" y="110"/>
                      <a:pt x="153" y="112"/>
                      <a:pt x="152" y="119"/>
                    </a:cubicBezTo>
                    <a:cubicBezTo>
                      <a:pt x="152" y="126"/>
                      <a:pt x="137" y="117"/>
                      <a:pt x="136" y="124"/>
                    </a:cubicBezTo>
                    <a:cubicBezTo>
                      <a:pt x="134" y="131"/>
                      <a:pt x="126" y="140"/>
                      <a:pt x="138" y="142"/>
                    </a:cubicBezTo>
                    <a:cubicBezTo>
                      <a:pt x="149" y="145"/>
                      <a:pt x="159" y="147"/>
                      <a:pt x="152" y="153"/>
                    </a:cubicBezTo>
                    <a:cubicBezTo>
                      <a:pt x="144" y="160"/>
                      <a:pt x="134" y="160"/>
                      <a:pt x="113" y="157"/>
                    </a:cubicBezTo>
                    <a:cubicBezTo>
                      <a:pt x="92" y="155"/>
                      <a:pt x="70" y="152"/>
                      <a:pt x="67" y="158"/>
                    </a:cubicBezTo>
                    <a:cubicBezTo>
                      <a:pt x="64" y="165"/>
                      <a:pt x="54" y="165"/>
                      <a:pt x="45" y="165"/>
                    </a:cubicBezTo>
                    <a:cubicBezTo>
                      <a:pt x="35" y="165"/>
                      <a:pt x="42" y="172"/>
                      <a:pt x="33" y="174"/>
                    </a:cubicBezTo>
                    <a:cubicBezTo>
                      <a:pt x="23" y="175"/>
                      <a:pt x="28" y="183"/>
                      <a:pt x="36" y="185"/>
                    </a:cubicBezTo>
                    <a:cubicBezTo>
                      <a:pt x="45" y="188"/>
                      <a:pt x="61" y="193"/>
                      <a:pt x="64" y="186"/>
                    </a:cubicBezTo>
                    <a:cubicBezTo>
                      <a:pt x="68" y="180"/>
                      <a:pt x="80" y="175"/>
                      <a:pt x="91" y="180"/>
                    </a:cubicBezTo>
                    <a:cubicBezTo>
                      <a:pt x="101" y="185"/>
                      <a:pt x="100" y="186"/>
                      <a:pt x="113" y="186"/>
                    </a:cubicBezTo>
                    <a:cubicBezTo>
                      <a:pt x="126" y="186"/>
                      <a:pt x="136" y="191"/>
                      <a:pt x="136" y="200"/>
                    </a:cubicBezTo>
                    <a:cubicBezTo>
                      <a:pt x="136" y="208"/>
                      <a:pt x="145" y="218"/>
                      <a:pt x="150" y="218"/>
                    </a:cubicBezTo>
                    <a:cubicBezTo>
                      <a:pt x="155" y="217"/>
                      <a:pt x="164" y="220"/>
                      <a:pt x="167" y="231"/>
                    </a:cubicBezTo>
                    <a:cubicBezTo>
                      <a:pt x="169" y="241"/>
                      <a:pt x="168" y="245"/>
                      <a:pt x="158" y="247"/>
                    </a:cubicBezTo>
                    <a:cubicBezTo>
                      <a:pt x="148" y="249"/>
                      <a:pt x="156" y="258"/>
                      <a:pt x="140" y="256"/>
                    </a:cubicBezTo>
                    <a:cubicBezTo>
                      <a:pt x="124" y="255"/>
                      <a:pt x="109" y="251"/>
                      <a:pt x="109" y="261"/>
                    </a:cubicBezTo>
                    <a:cubicBezTo>
                      <a:pt x="109" y="270"/>
                      <a:pt x="111" y="284"/>
                      <a:pt x="121" y="281"/>
                    </a:cubicBezTo>
                    <a:cubicBezTo>
                      <a:pt x="131" y="277"/>
                      <a:pt x="139" y="276"/>
                      <a:pt x="146" y="278"/>
                    </a:cubicBezTo>
                    <a:cubicBezTo>
                      <a:pt x="153" y="279"/>
                      <a:pt x="169" y="282"/>
                      <a:pt x="180" y="279"/>
                    </a:cubicBezTo>
                    <a:cubicBezTo>
                      <a:pt x="192" y="275"/>
                      <a:pt x="208" y="268"/>
                      <a:pt x="216" y="277"/>
                    </a:cubicBezTo>
                    <a:cubicBezTo>
                      <a:pt x="224" y="286"/>
                      <a:pt x="233" y="288"/>
                      <a:pt x="243" y="290"/>
                    </a:cubicBezTo>
                    <a:cubicBezTo>
                      <a:pt x="252" y="292"/>
                      <a:pt x="259" y="298"/>
                      <a:pt x="264" y="304"/>
                    </a:cubicBezTo>
                    <a:cubicBezTo>
                      <a:pt x="269" y="309"/>
                      <a:pt x="273" y="311"/>
                      <a:pt x="286" y="311"/>
                    </a:cubicBezTo>
                    <a:cubicBezTo>
                      <a:pt x="299" y="311"/>
                      <a:pt x="303" y="315"/>
                      <a:pt x="316" y="318"/>
                    </a:cubicBezTo>
                    <a:cubicBezTo>
                      <a:pt x="329" y="321"/>
                      <a:pt x="334" y="314"/>
                      <a:pt x="337" y="322"/>
                    </a:cubicBezTo>
                    <a:cubicBezTo>
                      <a:pt x="341" y="329"/>
                      <a:pt x="360" y="327"/>
                      <a:pt x="367" y="324"/>
                    </a:cubicBezTo>
                    <a:cubicBezTo>
                      <a:pt x="373" y="322"/>
                      <a:pt x="375" y="316"/>
                      <a:pt x="385" y="314"/>
                    </a:cubicBezTo>
                    <a:cubicBezTo>
                      <a:pt x="395" y="312"/>
                      <a:pt x="412" y="312"/>
                      <a:pt x="417" y="303"/>
                    </a:cubicBezTo>
                    <a:cubicBezTo>
                      <a:pt x="423" y="294"/>
                      <a:pt x="432" y="294"/>
                      <a:pt x="445" y="292"/>
                    </a:cubicBezTo>
                    <a:cubicBezTo>
                      <a:pt x="458" y="291"/>
                      <a:pt x="448" y="286"/>
                      <a:pt x="468" y="284"/>
                    </a:cubicBezTo>
                    <a:cubicBezTo>
                      <a:pt x="489" y="281"/>
                      <a:pt x="496" y="286"/>
                      <a:pt x="504" y="276"/>
                    </a:cubicBezTo>
                    <a:cubicBezTo>
                      <a:pt x="512" y="266"/>
                      <a:pt x="526" y="258"/>
                      <a:pt x="539" y="255"/>
                    </a:cubicBezTo>
                    <a:cubicBezTo>
                      <a:pt x="553" y="252"/>
                      <a:pt x="566" y="248"/>
                      <a:pt x="569" y="239"/>
                    </a:cubicBezTo>
                    <a:cubicBezTo>
                      <a:pt x="572" y="230"/>
                      <a:pt x="579" y="231"/>
                      <a:pt x="589" y="233"/>
                    </a:cubicBezTo>
                    <a:cubicBezTo>
                      <a:pt x="598" y="235"/>
                      <a:pt x="628" y="231"/>
                      <a:pt x="630" y="218"/>
                    </a:cubicBezTo>
                    <a:cubicBezTo>
                      <a:pt x="631" y="206"/>
                      <a:pt x="642" y="194"/>
                      <a:pt x="652" y="193"/>
                    </a:cubicBezTo>
                    <a:cubicBezTo>
                      <a:pt x="662" y="193"/>
                      <a:pt x="677" y="190"/>
                      <a:pt x="677" y="181"/>
                    </a:cubicBezTo>
                    <a:cubicBezTo>
                      <a:pt x="677" y="172"/>
                      <a:pt x="683" y="170"/>
                      <a:pt x="689" y="165"/>
                    </a:cubicBezTo>
                    <a:cubicBezTo>
                      <a:pt x="696" y="161"/>
                      <a:pt x="698" y="156"/>
                      <a:pt x="698" y="150"/>
                    </a:cubicBezTo>
                    <a:cubicBezTo>
                      <a:pt x="698" y="143"/>
                      <a:pt x="688" y="137"/>
                      <a:pt x="688" y="124"/>
                    </a:cubicBezTo>
                    <a:cubicBezTo>
                      <a:pt x="688" y="110"/>
                      <a:pt x="674" y="98"/>
                      <a:pt x="663" y="95"/>
                    </a:cubicBezTo>
                    <a:cubicBezTo>
                      <a:pt x="653" y="92"/>
                      <a:pt x="639" y="81"/>
                      <a:pt x="627" y="83"/>
                    </a:cubicBezTo>
                    <a:cubicBezTo>
                      <a:pt x="615" y="85"/>
                      <a:pt x="633" y="71"/>
                      <a:pt x="624" y="58"/>
                    </a:cubicBezTo>
                    <a:cubicBezTo>
                      <a:pt x="615" y="45"/>
                      <a:pt x="599" y="54"/>
                      <a:pt x="602" y="42"/>
                    </a:cubicBezTo>
                    <a:cubicBezTo>
                      <a:pt x="605" y="30"/>
                      <a:pt x="623" y="28"/>
                      <a:pt x="620" y="21"/>
                    </a:cubicBezTo>
                    <a:cubicBezTo>
                      <a:pt x="616" y="13"/>
                      <a:pt x="612" y="10"/>
                      <a:pt x="600" y="18"/>
                    </a:cubicBezTo>
                    <a:cubicBezTo>
                      <a:pt x="588" y="26"/>
                      <a:pt x="584" y="39"/>
                      <a:pt x="569" y="33"/>
                    </a:cubicBezTo>
                    <a:cubicBezTo>
                      <a:pt x="555" y="26"/>
                      <a:pt x="556" y="13"/>
                      <a:pt x="547" y="7"/>
                    </a:cubicBezTo>
                    <a:cubicBezTo>
                      <a:pt x="538" y="0"/>
                      <a:pt x="531" y="4"/>
                      <a:pt x="516" y="3"/>
                    </a:cubicBezTo>
                    <a:cubicBezTo>
                      <a:pt x="502" y="1"/>
                      <a:pt x="495" y="9"/>
                      <a:pt x="501" y="14"/>
                    </a:cubicBezTo>
                    <a:cubicBezTo>
                      <a:pt x="506" y="19"/>
                      <a:pt x="515" y="25"/>
                      <a:pt x="511" y="31"/>
                    </a:cubicBezTo>
                    <a:cubicBezTo>
                      <a:pt x="506" y="38"/>
                      <a:pt x="514" y="51"/>
                      <a:pt x="497" y="45"/>
                    </a:cubicBezTo>
                    <a:cubicBezTo>
                      <a:pt x="480" y="38"/>
                      <a:pt x="491" y="28"/>
                      <a:pt x="477" y="30"/>
                    </a:cubicBezTo>
                    <a:cubicBezTo>
                      <a:pt x="463" y="31"/>
                      <a:pt x="453" y="36"/>
                      <a:pt x="450" y="43"/>
                    </a:cubicBezTo>
                    <a:cubicBezTo>
                      <a:pt x="446" y="51"/>
                      <a:pt x="450" y="67"/>
                      <a:pt x="438" y="61"/>
                    </a:cubicBezTo>
                    <a:cubicBezTo>
                      <a:pt x="425" y="54"/>
                      <a:pt x="427" y="44"/>
                      <a:pt x="417" y="38"/>
                    </a:cubicBezTo>
                    <a:cubicBezTo>
                      <a:pt x="407" y="33"/>
                      <a:pt x="400" y="33"/>
                      <a:pt x="392" y="33"/>
                    </a:cubicBezTo>
                    <a:cubicBezTo>
                      <a:pt x="383" y="34"/>
                      <a:pt x="385" y="48"/>
                      <a:pt x="395" y="56"/>
                    </a:cubicBezTo>
                    <a:cubicBezTo>
                      <a:pt x="405" y="65"/>
                      <a:pt x="413" y="71"/>
                      <a:pt x="409" y="80"/>
                    </a:cubicBezTo>
                    <a:cubicBezTo>
                      <a:pt x="405" y="89"/>
                      <a:pt x="401" y="81"/>
                      <a:pt x="392" y="71"/>
                    </a:cubicBezTo>
                    <a:cubicBezTo>
                      <a:pt x="382" y="61"/>
                      <a:pt x="379" y="41"/>
                      <a:pt x="367" y="38"/>
                    </a:cubicBezTo>
                    <a:cubicBezTo>
                      <a:pt x="354" y="36"/>
                      <a:pt x="344" y="33"/>
                      <a:pt x="339" y="38"/>
                    </a:cubicBezTo>
                    <a:cubicBezTo>
                      <a:pt x="334" y="43"/>
                      <a:pt x="320" y="51"/>
                      <a:pt x="317" y="54"/>
                    </a:cubicBezTo>
                    <a:cubicBezTo>
                      <a:pt x="314" y="58"/>
                      <a:pt x="324" y="56"/>
                      <a:pt x="324" y="66"/>
                    </a:cubicBezTo>
                    <a:cubicBezTo>
                      <a:pt x="324" y="76"/>
                      <a:pt x="313" y="82"/>
                      <a:pt x="306" y="77"/>
                    </a:cubicBezTo>
                    <a:cubicBezTo>
                      <a:pt x="298" y="72"/>
                      <a:pt x="299" y="65"/>
                      <a:pt x="291" y="55"/>
                    </a:cubicBezTo>
                    <a:cubicBezTo>
                      <a:pt x="283" y="45"/>
                      <a:pt x="286" y="41"/>
                      <a:pt x="275" y="41"/>
                    </a:cubicBezTo>
                    <a:cubicBezTo>
                      <a:pt x="264" y="41"/>
                      <a:pt x="255" y="44"/>
                      <a:pt x="251" y="51"/>
                    </a:cubicBezTo>
                    <a:cubicBezTo>
                      <a:pt x="247" y="59"/>
                      <a:pt x="252" y="63"/>
                      <a:pt x="260" y="66"/>
                    </a:cubicBezTo>
                    <a:cubicBezTo>
                      <a:pt x="268" y="70"/>
                      <a:pt x="272" y="77"/>
                      <a:pt x="272" y="84"/>
                    </a:cubicBezTo>
                    <a:cubicBezTo>
                      <a:pt x="272" y="90"/>
                      <a:pt x="266" y="98"/>
                      <a:pt x="256" y="98"/>
                    </a:cubicBezTo>
                    <a:cubicBezTo>
                      <a:pt x="247" y="98"/>
                      <a:pt x="245" y="86"/>
                      <a:pt x="236" y="91"/>
                    </a:cubicBezTo>
                    <a:cubicBezTo>
                      <a:pt x="228" y="96"/>
                      <a:pt x="223" y="99"/>
                      <a:pt x="220" y="109"/>
                    </a:cubicBezTo>
                    <a:cubicBezTo>
                      <a:pt x="217" y="118"/>
                      <a:pt x="216" y="127"/>
                      <a:pt x="205" y="117"/>
                    </a:cubicBezTo>
                    <a:cubicBezTo>
                      <a:pt x="195" y="108"/>
                      <a:pt x="190" y="96"/>
                      <a:pt x="185" y="95"/>
                    </a:cubicBezTo>
                    <a:cubicBezTo>
                      <a:pt x="180" y="94"/>
                      <a:pt x="175" y="89"/>
                      <a:pt x="187" y="84"/>
                    </a:cubicBezTo>
                    <a:cubicBezTo>
                      <a:pt x="200" y="80"/>
                      <a:pt x="205" y="80"/>
                      <a:pt x="201" y="70"/>
                    </a:cubicBezTo>
                    <a:cubicBezTo>
                      <a:pt x="197" y="60"/>
                      <a:pt x="202" y="53"/>
                      <a:pt x="186" y="48"/>
                    </a:cubicBezTo>
                    <a:cubicBezTo>
                      <a:pt x="169" y="43"/>
                      <a:pt x="169" y="25"/>
                      <a:pt x="157" y="23"/>
                    </a:cubicBezTo>
                    <a:cubicBezTo>
                      <a:pt x="144" y="22"/>
                      <a:pt x="146" y="20"/>
                      <a:pt x="136" y="12"/>
                    </a:cubicBezTo>
                    <a:cubicBezTo>
                      <a:pt x="126" y="4"/>
                      <a:pt x="117" y="5"/>
                      <a:pt x="108" y="6"/>
                    </a:cubicBezTo>
                    <a:cubicBezTo>
                      <a:pt x="99" y="6"/>
                      <a:pt x="74" y="16"/>
                      <a:pt x="88" y="20"/>
                    </a:cubicBezTo>
                    <a:cubicBezTo>
                      <a:pt x="101" y="23"/>
                      <a:pt x="116" y="21"/>
                      <a:pt x="116" y="28"/>
                    </a:cubicBezTo>
                    <a:cubicBezTo>
                      <a:pt x="116" y="35"/>
                      <a:pt x="101" y="35"/>
                      <a:pt x="109" y="40"/>
                    </a:cubicBezTo>
                    <a:cubicBezTo>
                      <a:pt x="117" y="45"/>
                      <a:pt x="131" y="53"/>
                      <a:pt x="123" y="58"/>
                    </a:cubicBezTo>
                    <a:cubicBezTo>
                      <a:pt x="114" y="63"/>
                      <a:pt x="109" y="64"/>
                      <a:pt x="100" y="51"/>
                    </a:cubicBezTo>
                    <a:cubicBezTo>
                      <a:pt x="91" y="39"/>
                      <a:pt x="90" y="35"/>
                      <a:pt x="80" y="33"/>
                    </a:cubicBezTo>
                    <a:cubicBezTo>
                      <a:pt x="70" y="31"/>
                      <a:pt x="58" y="25"/>
                      <a:pt x="54" y="4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1" name="Freeform 94">
                <a:extLst>
                  <a:ext uri="{FF2B5EF4-FFF2-40B4-BE49-F238E27FC236}">
                    <a16:creationId xmlns:a16="http://schemas.microsoft.com/office/drawing/2014/main" id="{775B18B4-6FF9-F843-9AC1-400D0434F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" y="1518"/>
                <a:ext cx="119" cy="56"/>
              </a:xfrm>
              <a:custGeom>
                <a:avLst/>
                <a:gdLst>
                  <a:gd name="T0" fmla="*/ 465 w 467"/>
                  <a:gd name="T1" fmla="*/ 171 h 222"/>
                  <a:gd name="T2" fmla="*/ 456 w 467"/>
                  <a:gd name="T3" fmla="*/ 135 h 222"/>
                  <a:gd name="T4" fmla="*/ 442 w 467"/>
                  <a:gd name="T5" fmla="*/ 108 h 222"/>
                  <a:gd name="T6" fmla="*/ 440 w 467"/>
                  <a:gd name="T7" fmla="*/ 85 h 222"/>
                  <a:gd name="T8" fmla="*/ 442 w 467"/>
                  <a:gd name="T9" fmla="*/ 66 h 222"/>
                  <a:gd name="T10" fmla="*/ 420 w 467"/>
                  <a:gd name="T11" fmla="*/ 45 h 222"/>
                  <a:gd name="T12" fmla="*/ 420 w 467"/>
                  <a:gd name="T13" fmla="*/ 41 h 222"/>
                  <a:gd name="T14" fmla="*/ 393 w 467"/>
                  <a:gd name="T15" fmla="*/ 44 h 222"/>
                  <a:gd name="T16" fmla="*/ 372 w 467"/>
                  <a:gd name="T17" fmla="*/ 49 h 222"/>
                  <a:gd name="T18" fmla="*/ 347 w 467"/>
                  <a:gd name="T19" fmla="*/ 39 h 222"/>
                  <a:gd name="T20" fmla="*/ 326 w 467"/>
                  <a:gd name="T21" fmla="*/ 25 h 222"/>
                  <a:gd name="T22" fmla="*/ 306 w 467"/>
                  <a:gd name="T23" fmla="*/ 12 h 222"/>
                  <a:gd name="T24" fmla="*/ 289 w 467"/>
                  <a:gd name="T25" fmla="*/ 5 h 222"/>
                  <a:gd name="T26" fmla="*/ 257 w 467"/>
                  <a:gd name="T27" fmla="*/ 3 h 222"/>
                  <a:gd name="T28" fmla="*/ 233 w 467"/>
                  <a:gd name="T29" fmla="*/ 15 h 222"/>
                  <a:gd name="T30" fmla="*/ 219 w 467"/>
                  <a:gd name="T31" fmla="*/ 18 h 222"/>
                  <a:gd name="T32" fmla="*/ 223 w 467"/>
                  <a:gd name="T33" fmla="*/ 29 h 222"/>
                  <a:gd name="T34" fmla="*/ 224 w 467"/>
                  <a:gd name="T35" fmla="*/ 81 h 222"/>
                  <a:gd name="T36" fmla="*/ 171 w 467"/>
                  <a:gd name="T37" fmla="*/ 92 h 222"/>
                  <a:gd name="T38" fmla="*/ 114 w 467"/>
                  <a:gd name="T39" fmla="*/ 41 h 222"/>
                  <a:gd name="T40" fmla="*/ 61 w 467"/>
                  <a:gd name="T41" fmla="*/ 36 h 222"/>
                  <a:gd name="T42" fmla="*/ 42 w 467"/>
                  <a:gd name="T43" fmla="*/ 78 h 222"/>
                  <a:gd name="T44" fmla="*/ 10 w 467"/>
                  <a:gd name="T45" fmla="*/ 122 h 222"/>
                  <a:gd name="T46" fmla="*/ 9 w 467"/>
                  <a:gd name="T47" fmla="*/ 177 h 222"/>
                  <a:gd name="T48" fmla="*/ 10 w 467"/>
                  <a:gd name="T49" fmla="*/ 184 h 222"/>
                  <a:gd name="T50" fmla="*/ 20 w 467"/>
                  <a:gd name="T51" fmla="*/ 176 h 222"/>
                  <a:gd name="T52" fmla="*/ 42 w 467"/>
                  <a:gd name="T53" fmla="*/ 163 h 222"/>
                  <a:gd name="T54" fmla="*/ 62 w 467"/>
                  <a:gd name="T55" fmla="*/ 155 h 222"/>
                  <a:gd name="T56" fmla="*/ 85 w 467"/>
                  <a:gd name="T57" fmla="*/ 150 h 222"/>
                  <a:gd name="T58" fmla="*/ 122 w 467"/>
                  <a:gd name="T59" fmla="*/ 153 h 222"/>
                  <a:gd name="T60" fmla="*/ 144 w 467"/>
                  <a:gd name="T61" fmla="*/ 157 h 222"/>
                  <a:gd name="T62" fmla="*/ 163 w 467"/>
                  <a:gd name="T63" fmla="*/ 157 h 222"/>
                  <a:gd name="T64" fmla="*/ 186 w 467"/>
                  <a:gd name="T65" fmla="*/ 161 h 222"/>
                  <a:gd name="T66" fmla="*/ 219 w 467"/>
                  <a:gd name="T67" fmla="*/ 161 h 222"/>
                  <a:gd name="T68" fmla="*/ 242 w 467"/>
                  <a:gd name="T69" fmla="*/ 157 h 222"/>
                  <a:gd name="T70" fmla="*/ 263 w 467"/>
                  <a:gd name="T71" fmla="*/ 155 h 222"/>
                  <a:gd name="T72" fmla="*/ 278 w 467"/>
                  <a:gd name="T73" fmla="*/ 172 h 222"/>
                  <a:gd name="T74" fmla="*/ 300 w 467"/>
                  <a:gd name="T75" fmla="*/ 175 h 222"/>
                  <a:gd name="T76" fmla="*/ 322 w 467"/>
                  <a:gd name="T77" fmla="*/ 188 h 222"/>
                  <a:gd name="T78" fmla="*/ 343 w 467"/>
                  <a:gd name="T79" fmla="*/ 204 h 222"/>
                  <a:gd name="T80" fmla="*/ 358 w 467"/>
                  <a:gd name="T81" fmla="*/ 218 h 222"/>
                  <a:gd name="T82" fmla="*/ 373 w 467"/>
                  <a:gd name="T83" fmla="*/ 222 h 222"/>
                  <a:gd name="T84" fmla="*/ 379 w 467"/>
                  <a:gd name="T85" fmla="*/ 215 h 222"/>
                  <a:gd name="T86" fmla="*/ 405 w 467"/>
                  <a:gd name="T87" fmla="*/ 202 h 222"/>
                  <a:gd name="T88" fmla="*/ 432 w 467"/>
                  <a:gd name="T89" fmla="*/ 204 h 222"/>
                  <a:gd name="T90" fmla="*/ 452 w 467"/>
                  <a:gd name="T91" fmla="*/ 180 h 222"/>
                  <a:gd name="T92" fmla="*/ 466 w 467"/>
                  <a:gd name="T93" fmla="*/ 174 h 222"/>
                  <a:gd name="T94" fmla="*/ 465 w 467"/>
                  <a:gd name="T95" fmla="*/ 171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7" h="222">
                    <a:moveTo>
                      <a:pt x="465" y="171"/>
                    </a:moveTo>
                    <a:cubicBezTo>
                      <a:pt x="464" y="158"/>
                      <a:pt x="467" y="147"/>
                      <a:pt x="456" y="135"/>
                    </a:cubicBezTo>
                    <a:cubicBezTo>
                      <a:pt x="445" y="122"/>
                      <a:pt x="447" y="114"/>
                      <a:pt x="442" y="108"/>
                    </a:cubicBezTo>
                    <a:cubicBezTo>
                      <a:pt x="436" y="103"/>
                      <a:pt x="436" y="93"/>
                      <a:pt x="440" y="85"/>
                    </a:cubicBezTo>
                    <a:cubicBezTo>
                      <a:pt x="445" y="77"/>
                      <a:pt x="452" y="73"/>
                      <a:pt x="442" y="66"/>
                    </a:cubicBezTo>
                    <a:cubicBezTo>
                      <a:pt x="432" y="58"/>
                      <a:pt x="420" y="55"/>
                      <a:pt x="420" y="45"/>
                    </a:cubicBezTo>
                    <a:cubicBezTo>
                      <a:pt x="420" y="44"/>
                      <a:pt x="420" y="43"/>
                      <a:pt x="420" y="41"/>
                    </a:cubicBezTo>
                    <a:cubicBezTo>
                      <a:pt x="411" y="42"/>
                      <a:pt x="399" y="44"/>
                      <a:pt x="393" y="44"/>
                    </a:cubicBezTo>
                    <a:cubicBezTo>
                      <a:pt x="384" y="43"/>
                      <a:pt x="381" y="43"/>
                      <a:pt x="372" y="49"/>
                    </a:cubicBezTo>
                    <a:cubicBezTo>
                      <a:pt x="363" y="55"/>
                      <a:pt x="352" y="44"/>
                      <a:pt x="347" y="39"/>
                    </a:cubicBezTo>
                    <a:cubicBezTo>
                      <a:pt x="342" y="35"/>
                      <a:pt x="334" y="29"/>
                      <a:pt x="326" y="25"/>
                    </a:cubicBezTo>
                    <a:cubicBezTo>
                      <a:pt x="319" y="21"/>
                      <a:pt x="315" y="13"/>
                      <a:pt x="306" y="12"/>
                    </a:cubicBezTo>
                    <a:cubicBezTo>
                      <a:pt x="296" y="12"/>
                      <a:pt x="296" y="10"/>
                      <a:pt x="289" y="5"/>
                    </a:cubicBezTo>
                    <a:cubicBezTo>
                      <a:pt x="283" y="0"/>
                      <a:pt x="268" y="1"/>
                      <a:pt x="257" y="3"/>
                    </a:cubicBezTo>
                    <a:cubicBezTo>
                      <a:pt x="246" y="5"/>
                      <a:pt x="241" y="10"/>
                      <a:pt x="233" y="15"/>
                    </a:cubicBezTo>
                    <a:cubicBezTo>
                      <a:pt x="229" y="17"/>
                      <a:pt x="223" y="17"/>
                      <a:pt x="219" y="18"/>
                    </a:cubicBezTo>
                    <a:cubicBezTo>
                      <a:pt x="219" y="21"/>
                      <a:pt x="221" y="23"/>
                      <a:pt x="223" y="29"/>
                    </a:cubicBezTo>
                    <a:cubicBezTo>
                      <a:pt x="227" y="42"/>
                      <a:pt x="230" y="61"/>
                      <a:pt x="224" y="81"/>
                    </a:cubicBezTo>
                    <a:cubicBezTo>
                      <a:pt x="218" y="101"/>
                      <a:pt x="187" y="95"/>
                      <a:pt x="171" y="92"/>
                    </a:cubicBezTo>
                    <a:cubicBezTo>
                      <a:pt x="155" y="89"/>
                      <a:pt x="131" y="66"/>
                      <a:pt x="114" y="41"/>
                    </a:cubicBezTo>
                    <a:cubicBezTo>
                      <a:pt x="96" y="15"/>
                      <a:pt x="75" y="29"/>
                      <a:pt x="61" y="36"/>
                    </a:cubicBezTo>
                    <a:cubicBezTo>
                      <a:pt x="46" y="43"/>
                      <a:pt x="42" y="53"/>
                      <a:pt x="42" y="78"/>
                    </a:cubicBezTo>
                    <a:cubicBezTo>
                      <a:pt x="42" y="102"/>
                      <a:pt x="20" y="107"/>
                      <a:pt x="10" y="122"/>
                    </a:cubicBezTo>
                    <a:cubicBezTo>
                      <a:pt x="0" y="138"/>
                      <a:pt x="6" y="151"/>
                      <a:pt x="9" y="177"/>
                    </a:cubicBezTo>
                    <a:cubicBezTo>
                      <a:pt x="9" y="180"/>
                      <a:pt x="10" y="182"/>
                      <a:pt x="10" y="184"/>
                    </a:cubicBezTo>
                    <a:cubicBezTo>
                      <a:pt x="13" y="182"/>
                      <a:pt x="18" y="179"/>
                      <a:pt x="20" y="176"/>
                    </a:cubicBezTo>
                    <a:cubicBezTo>
                      <a:pt x="23" y="170"/>
                      <a:pt x="34" y="164"/>
                      <a:pt x="42" y="163"/>
                    </a:cubicBezTo>
                    <a:cubicBezTo>
                      <a:pt x="51" y="161"/>
                      <a:pt x="55" y="159"/>
                      <a:pt x="62" y="155"/>
                    </a:cubicBezTo>
                    <a:cubicBezTo>
                      <a:pt x="69" y="151"/>
                      <a:pt x="74" y="149"/>
                      <a:pt x="85" y="150"/>
                    </a:cubicBezTo>
                    <a:cubicBezTo>
                      <a:pt x="96" y="150"/>
                      <a:pt x="114" y="146"/>
                      <a:pt x="122" y="153"/>
                    </a:cubicBezTo>
                    <a:cubicBezTo>
                      <a:pt x="130" y="160"/>
                      <a:pt x="142" y="159"/>
                      <a:pt x="144" y="157"/>
                    </a:cubicBezTo>
                    <a:cubicBezTo>
                      <a:pt x="146" y="155"/>
                      <a:pt x="156" y="155"/>
                      <a:pt x="163" y="157"/>
                    </a:cubicBezTo>
                    <a:cubicBezTo>
                      <a:pt x="169" y="160"/>
                      <a:pt x="182" y="162"/>
                      <a:pt x="186" y="161"/>
                    </a:cubicBezTo>
                    <a:cubicBezTo>
                      <a:pt x="190" y="160"/>
                      <a:pt x="211" y="161"/>
                      <a:pt x="219" y="161"/>
                    </a:cubicBezTo>
                    <a:cubicBezTo>
                      <a:pt x="227" y="161"/>
                      <a:pt x="239" y="162"/>
                      <a:pt x="242" y="157"/>
                    </a:cubicBezTo>
                    <a:cubicBezTo>
                      <a:pt x="245" y="151"/>
                      <a:pt x="256" y="143"/>
                      <a:pt x="263" y="155"/>
                    </a:cubicBezTo>
                    <a:cubicBezTo>
                      <a:pt x="269" y="167"/>
                      <a:pt x="271" y="170"/>
                      <a:pt x="278" y="172"/>
                    </a:cubicBezTo>
                    <a:cubicBezTo>
                      <a:pt x="285" y="173"/>
                      <a:pt x="292" y="175"/>
                      <a:pt x="300" y="175"/>
                    </a:cubicBezTo>
                    <a:cubicBezTo>
                      <a:pt x="308" y="176"/>
                      <a:pt x="313" y="179"/>
                      <a:pt x="322" y="188"/>
                    </a:cubicBezTo>
                    <a:cubicBezTo>
                      <a:pt x="331" y="197"/>
                      <a:pt x="340" y="199"/>
                      <a:pt x="343" y="204"/>
                    </a:cubicBezTo>
                    <a:cubicBezTo>
                      <a:pt x="347" y="208"/>
                      <a:pt x="356" y="216"/>
                      <a:pt x="358" y="218"/>
                    </a:cubicBezTo>
                    <a:cubicBezTo>
                      <a:pt x="361" y="219"/>
                      <a:pt x="366" y="221"/>
                      <a:pt x="373" y="222"/>
                    </a:cubicBezTo>
                    <a:cubicBezTo>
                      <a:pt x="376" y="220"/>
                      <a:pt x="378" y="218"/>
                      <a:pt x="379" y="215"/>
                    </a:cubicBezTo>
                    <a:cubicBezTo>
                      <a:pt x="381" y="208"/>
                      <a:pt x="394" y="200"/>
                      <a:pt x="405" y="202"/>
                    </a:cubicBezTo>
                    <a:cubicBezTo>
                      <a:pt x="417" y="203"/>
                      <a:pt x="415" y="220"/>
                      <a:pt x="432" y="204"/>
                    </a:cubicBezTo>
                    <a:cubicBezTo>
                      <a:pt x="449" y="187"/>
                      <a:pt x="444" y="183"/>
                      <a:pt x="452" y="180"/>
                    </a:cubicBezTo>
                    <a:cubicBezTo>
                      <a:pt x="457" y="178"/>
                      <a:pt x="462" y="176"/>
                      <a:pt x="466" y="174"/>
                    </a:cubicBezTo>
                    <a:cubicBezTo>
                      <a:pt x="466" y="173"/>
                      <a:pt x="465" y="172"/>
                      <a:pt x="465" y="17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2" name="Freeform 95">
                <a:extLst>
                  <a:ext uri="{FF2B5EF4-FFF2-40B4-BE49-F238E27FC236}">
                    <a16:creationId xmlns:a16="http://schemas.microsoft.com/office/drawing/2014/main" id="{579CBA60-FF24-EF4A-A792-A74828D63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" y="1554"/>
                <a:ext cx="94" cy="60"/>
              </a:xfrm>
              <a:custGeom>
                <a:avLst/>
                <a:gdLst>
                  <a:gd name="T0" fmla="*/ 364 w 373"/>
                  <a:gd name="T1" fmla="*/ 102 h 235"/>
                  <a:gd name="T2" fmla="*/ 362 w 373"/>
                  <a:gd name="T3" fmla="*/ 85 h 235"/>
                  <a:gd name="T4" fmla="*/ 371 w 373"/>
                  <a:gd name="T5" fmla="*/ 79 h 235"/>
                  <a:gd name="T6" fmla="*/ 356 w 373"/>
                  <a:gd name="T7" fmla="*/ 75 h 235"/>
                  <a:gd name="T8" fmla="*/ 341 w 373"/>
                  <a:gd name="T9" fmla="*/ 61 h 235"/>
                  <a:gd name="T10" fmla="*/ 320 w 373"/>
                  <a:gd name="T11" fmla="*/ 45 h 235"/>
                  <a:gd name="T12" fmla="*/ 298 w 373"/>
                  <a:gd name="T13" fmla="*/ 32 h 235"/>
                  <a:gd name="T14" fmla="*/ 276 w 373"/>
                  <a:gd name="T15" fmla="*/ 29 h 235"/>
                  <a:gd name="T16" fmla="*/ 261 w 373"/>
                  <a:gd name="T17" fmla="*/ 12 h 235"/>
                  <a:gd name="T18" fmla="*/ 240 w 373"/>
                  <a:gd name="T19" fmla="*/ 14 h 235"/>
                  <a:gd name="T20" fmla="*/ 217 w 373"/>
                  <a:gd name="T21" fmla="*/ 18 h 235"/>
                  <a:gd name="T22" fmla="*/ 184 w 373"/>
                  <a:gd name="T23" fmla="*/ 18 h 235"/>
                  <a:gd name="T24" fmla="*/ 161 w 373"/>
                  <a:gd name="T25" fmla="*/ 14 h 235"/>
                  <a:gd name="T26" fmla="*/ 142 w 373"/>
                  <a:gd name="T27" fmla="*/ 14 h 235"/>
                  <a:gd name="T28" fmla="*/ 120 w 373"/>
                  <a:gd name="T29" fmla="*/ 10 h 235"/>
                  <a:gd name="T30" fmla="*/ 83 w 373"/>
                  <a:gd name="T31" fmla="*/ 7 h 235"/>
                  <a:gd name="T32" fmla="*/ 60 w 373"/>
                  <a:gd name="T33" fmla="*/ 12 h 235"/>
                  <a:gd name="T34" fmla="*/ 40 w 373"/>
                  <a:gd name="T35" fmla="*/ 20 h 235"/>
                  <a:gd name="T36" fmla="*/ 18 w 373"/>
                  <a:gd name="T37" fmla="*/ 33 h 235"/>
                  <a:gd name="T38" fmla="*/ 8 w 373"/>
                  <a:gd name="T39" fmla="*/ 41 h 235"/>
                  <a:gd name="T40" fmla="*/ 13 w 373"/>
                  <a:gd name="T41" fmla="*/ 75 h 235"/>
                  <a:gd name="T42" fmla="*/ 0 w 373"/>
                  <a:gd name="T43" fmla="*/ 108 h 235"/>
                  <a:gd name="T44" fmla="*/ 0 w 373"/>
                  <a:gd name="T45" fmla="*/ 108 h 235"/>
                  <a:gd name="T46" fmla="*/ 14 w 373"/>
                  <a:gd name="T47" fmla="*/ 109 h 235"/>
                  <a:gd name="T48" fmla="*/ 27 w 373"/>
                  <a:gd name="T49" fmla="*/ 114 h 235"/>
                  <a:gd name="T50" fmla="*/ 42 w 373"/>
                  <a:gd name="T51" fmla="*/ 116 h 235"/>
                  <a:gd name="T52" fmla="*/ 63 w 373"/>
                  <a:gd name="T53" fmla="*/ 129 h 235"/>
                  <a:gd name="T54" fmla="*/ 86 w 373"/>
                  <a:gd name="T55" fmla="*/ 130 h 235"/>
                  <a:gd name="T56" fmla="*/ 114 w 373"/>
                  <a:gd name="T57" fmla="*/ 138 h 235"/>
                  <a:gd name="T58" fmla="*/ 121 w 373"/>
                  <a:gd name="T59" fmla="*/ 160 h 235"/>
                  <a:gd name="T60" fmla="*/ 118 w 373"/>
                  <a:gd name="T61" fmla="*/ 188 h 235"/>
                  <a:gd name="T62" fmla="*/ 145 w 373"/>
                  <a:gd name="T63" fmla="*/ 195 h 235"/>
                  <a:gd name="T64" fmla="*/ 161 w 373"/>
                  <a:gd name="T65" fmla="*/ 210 h 235"/>
                  <a:gd name="T66" fmla="*/ 174 w 373"/>
                  <a:gd name="T67" fmla="*/ 234 h 235"/>
                  <a:gd name="T68" fmla="*/ 189 w 373"/>
                  <a:gd name="T69" fmla="*/ 231 h 235"/>
                  <a:gd name="T70" fmla="*/ 241 w 373"/>
                  <a:gd name="T71" fmla="*/ 227 h 235"/>
                  <a:gd name="T72" fmla="*/ 271 w 373"/>
                  <a:gd name="T73" fmla="*/ 208 h 235"/>
                  <a:gd name="T74" fmla="*/ 294 w 373"/>
                  <a:gd name="T75" fmla="*/ 211 h 235"/>
                  <a:gd name="T76" fmla="*/ 311 w 373"/>
                  <a:gd name="T77" fmla="*/ 208 h 235"/>
                  <a:gd name="T78" fmla="*/ 303 w 373"/>
                  <a:gd name="T79" fmla="*/ 191 h 235"/>
                  <a:gd name="T80" fmla="*/ 307 w 373"/>
                  <a:gd name="T81" fmla="*/ 161 h 235"/>
                  <a:gd name="T82" fmla="*/ 323 w 373"/>
                  <a:gd name="T83" fmla="*/ 140 h 235"/>
                  <a:gd name="T84" fmla="*/ 346 w 373"/>
                  <a:gd name="T85" fmla="*/ 127 h 235"/>
                  <a:gd name="T86" fmla="*/ 372 w 373"/>
                  <a:gd name="T87" fmla="*/ 115 h 235"/>
                  <a:gd name="T88" fmla="*/ 364 w 373"/>
                  <a:gd name="T89" fmla="*/ 10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73" h="235">
                    <a:moveTo>
                      <a:pt x="364" y="102"/>
                    </a:moveTo>
                    <a:cubicBezTo>
                      <a:pt x="358" y="100"/>
                      <a:pt x="355" y="90"/>
                      <a:pt x="362" y="85"/>
                    </a:cubicBezTo>
                    <a:cubicBezTo>
                      <a:pt x="366" y="83"/>
                      <a:pt x="369" y="81"/>
                      <a:pt x="371" y="79"/>
                    </a:cubicBezTo>
                    <a:cubicBezTo>
                      <a:pt x="364" y="78"/>
                      <a:pt x="359" y="76"/>
                      <a:pt x="356" y="75"/>
                    </a:cubicBezTo>
                    <a:cubicBezTo>
                      <a:pt x="354" y="73"/>
                      <a:pt x="345" y="65"/>
                      <a:pt x="341" y="61"/>
                    </a:cubicBezTo>
                    <a:cubicBezTo>
                      <a:pt x="338" y="56"/>
                      <a:pt x="329" y="54"/>
                      <a:pt x="320" y="45"/>
                    </a:cubicBezTo>
                    <a:cubicBezTo>
                      <a:pt x="311" y="36"/>
                      <a:pt x="306" y="33"/>
                      <a:pt x="298" y="32"/>
                    </a:cubicBezTo>
                    <a:cubicBezTo>
                      <a:pt x="290" y="32"/>
                      <a:pt x="283" y="30"/>
                      <a:pt x="276" y="29"/>
                    </a:cubicBezTo>
                    <a:cubicBezTo>
                      <a:pt x="269" y="27"/>
                      <a:pt x="267" y="24"/>
                      <a:pt x="261" y="12"/>
                    </a:cubicBezTo>
                    <a:cubicBezTo>
                      <a:pt x="254" y="0"/>
                      <a:pt x="243" y="8"/>
                      <a:pt x="240" y="14"/>
                    </a:cubicBezTo>
                    <a:cubicBezTo>
                      <a:pt x="237" y="19"/>
                      <a:pt x="225" y="18"/>
                      <a:pt x="217" y="18"/>
                    </a:cubicBezTo>
                    <a:cubicBezTo>
                      <a:pt x="209" y="18"/>
                      <a:pt x="188" y="17"/>
                      <a:pt x="184" y="18"/>
                    </a:cubicBezTo>
                    <a:cubicBezTo>
                      <a:pt x="180" y="19"/>
                      <a:pt x="167" y="17"/>
                      <a:pt x="161" y="14"/>
                    </a:cubicBezTo>
                    <a:cubicBezTo>
                      <a:pt x="154" y="12"/>
                      <a:pt x="144" y="12"/>
                      <a:pt x="142" y="14"/>
                    </a:cubicBezTo>
                    <a:cubicBezTo>
                      <a:pt x="140" y="16"/>
                      <a:pt x="128" y="17"/>
                      <a:pt x="120" y="10"/>
                    </a:cubicBezTo>
                    <a:cubicBezTo>
                      <a:pt x="112" y="3"/>
                      <a:pt x="94" y="7"/>
                      <a:pt x="83" y="7"/>
                    </a:cubicBezTo>
                    <a:cubicBezTo>
                      <a:pt x="72" y="6"/>
                      <a:pt x="67" y="8"/>
                      <a:pt x="60" y="12"/>
                    </a:cubicBezTo>
                    <a:cubicBezTo>
                      <a:pt x="53" y="16"/>
                      <a:pt x="49" y="18"/>
                      <a:pt x="40" y="20"/>
                    </a:cubicBezTo>
                    <a:cubicBezTo>
                      <a:pt x="32" y="21"/>
                      <a:pt x="21" y="27"/>
                      <a:pt x="18" y="33"/>
                    </a:cubicBezTo>
                    <a:cubicBezTo>
                      <a:pt x="16" y="36"/>
                      <a:pt x="11" y="39"/>
                      <a:pt x="8" y="41"/>
                    </a:cubicBezTo>
                    <a:cubicBezTo>
                      <a:pt x="10" y="58"/>
                      <a:pt x="11" y="54"/>
                      <a:pt x="13" y="75"/>
                    </a:cubicBezTo>
                    <a:cubicBezTo>
                      <a:pt x="14" y="100"/>
                      <a:pt x="4" y="91"/>
                      <a:pt x="0" y="10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5" y="107"/>
                      <a:pt x="11" y="107"/>
                      <a:pt x="14" y="109"/>
                    </a:cubicBezTo>
                    <a:cubicBezTo>
                      <a:pt x="19" y="113"/>
                      <a:pt x="24" y="117"/>
                      <a:pt x="27" y="114"/>
                    </a:cubicBezTo>
                    <a:cubicBezTo>
                      <a:pt x="30" y="111"/>
                      <a:pt x="39" y="111"/>
                      <a:pt x="42" y="116"/>
                    </a:cubicBezTo>
                    <a:cubicBezTo>
                      <a:pt x="45" y="122"/>
                      <a:pt x="55" y="131"/>
                      <a:pt x="63" y="129"/>
                    </a:cubicBezTo>
                    <a:cubicBezTo>
                      <a:pt x="72" y="128"/>
                      <a:pt x="79" y="130"/>
                      <a:pt x="86" y="130"/>
                    </a:cubicBezTo>
                    <a:cubicBezTo>
                      <a:pt x="93" y="130"/>
                      <a:pt x="109" y="131"/>
                      <a:pt x="114" y="138"/>
                    </a:cubicBezTo>
                    <a:cubicBezTo>
                      <a:pt x="120" y="145"/>
                      <a:pt x="125" y="149"/>
                      <a:pt x="121" y="160"/>
                    </a:cubicBezTo>
                    <a:cubicBezTo>
                      <a:pt x="117" y="171"/>
                      <a:pt x="110" y="184"/>
                      <a:pt x="118" y="188"/>
                    </a:cubicBezTo>
                    <a:cubicBezTo>
                      <a:pt x="127" y="192"/>
                      <a:pt x="137" y="188"/>
                      <a:pt x="145" y="195"/>
                    </a:cubicBezTo>
                    <a:cubicBezTo>
                      <a:pt x="152" y="202"/>
                      <a:pt x="159" y="204"/>
                      <a:pt x="161" y="210"/>
                    </a:cubicBezTo>
                    <a:cubicBezTo>
                      <a:pt x="162" y="216"/>
                      <a:pt x="165" y="227"/>
                      <a:pt x="174" y="234"/>
                    </a:cubicBezTo>
                    <a:cubicBezTo>
                      <a:pt x="176" y="232"/>
                      <a:pt x="180" y="231"/>
                      <a:pt x="189" y="231"/>
                    </a:cubicBezTo>
                    <a:cubicBezTo>
                      <a:pt x="210" y="231"/>
                      <a:pt x="231" y="235"/>
                      <a:pt x="241" y="227"/>
                    </a:cubicBezTo>
                    <a:cubicBezTo>
                      <a:pt x="252" y="220"/>
                      <a:pt x="261" y="208"/>
                      <a:pt x="271" y="208"/>
                    </a:cubicBezTo>
                    <a:cubicBezTo>
                      <a:pt x="281" y="207"/>
                      <a:pt x="287" y="209"/>
                      <a:pt x="294" y="211"/>
                    </a:cubicBezTo>
                    <a:cubicBezTo>
                      <a:pt x="301" y="214"/>
                      <a:pt x="308" y="212"/>
                      <a:pt x="311" y="208"/>
                    </a:cubicBezTo>
                    <a:cubicBezTo>
                      <a:pt x="313" y="204"/>
                      <a:pt x="303" y="201"/>
                      <a:pt x="303" y="191"/>
                    </a:cubicBezTo>
                    <a:cubicBezTo>
                      <a:pt x="303" y="181"/>
                      <a:pt x="303" y="173"/>
                      <a:pt x="307" y="161"/>
                    </a:cubicBezTo>
                    <a:cubicBezTo>
                      <a:pt x="311" y="150"/>
                      <a:pt x="314" y="141"/>
                      <a:pt x="323" y="140"/>
                    </a:cubicBezTo>
                    <a:cubicBezTo>
                      <a:pt x="332" y="140"/>
                      <a:pt x="337" y="126"/>
                      <a:pt x="346" y="127"/>
                    </a:cubicBezTo>
                    <a:cubicBezTo>
                      <a:pt x="354" y="128"/>
                      <a:pt x="371" y="122"/>
                      <a:pt x="372" y="115"/>
                    </a:cubicBezTo>
                    <a:cubicBezTo>
                      <a:pt x="373" y="107"/>
                      <a:pt x="370" y="104"/>
                      <a:pt x="364" y="10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3" name="Freeform 96">
                <a:extLst>
                  <a:ext uri="{FF2B5EF4-FFF2-40B4-BE49-F238E27FC236}">
                    <a16:creationId xmlns:a16="http://schemas.microsoft.com/office/drawing/2014/main" id="{A4AEDFF4-ECBF-C44D-A0C8-D7F75A58F5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2" y="1562"/>
                <a:ext cx="156" cy="111"/>
              </a:xfrm>
              <a:custGeom>
                <a:avLst/>
                <a:gdLst>
                  <a:gd name="T0" fmla="*/ 96 w 615"/>
                  <a:gd name="T1" fmla="*/ 372 h 438"/>
                  <a:gd name="T2" fmla="*/ 183 w 615"/>
                  <a:gd name="T3" fmla="*/ 374 h 438"/>
                  <a:gd name="T4" fmla="*/ 254 w 615"/>
                  <a:gd name="T5" fmla="*/ 389 h 438"/>
                  <a:gd name="T6" fmla="*/ 315 w 615"/>
                  <a:gd name="T7" fmla="*/ 397 h 438"/>
                  <a:gd name="T8" fmla="*/ 357 w 615"/>
                  <a:gd name="T9" fmla="*/ 414 h 438"/>
                  <a:gd name="T10" fmla="*/ 392 w 615"/>
                  <a:gd name="T11" fmla="*/ 406 h 438"/>
                  <a:gd name="T12" fmla="*/ 432 w 615"/>
                  <a:gd name="T13" fmla="*/ 414 h 438"/>
                  <a:gd name="T14" fmla="*/ 477 w 615"/>
                  <a:gd name="T15" fmla="*/ 431 h 438"/>
                  <a:gd name="T16" fmla="*/ 503 w 615"/>
                  <a:gd name="T17" fmla="*/ 357 h 438"/>
                  <a:gd name="T18" fmla="*/ 536 w 615"/>
                  <a:gd name="T19" fmla="*/ 331 h 438"/>
                  <a:gd name="T20" fmla="*/ 529 w 615"/>
                  <a:gd name="T21" fmla="*/ 292 h 438"/>
                  <a:gd name="T22" fmla="*/ 540 w 615"/>
                  <a:gd name="T23" fmla="*/ 264 h 438"/>
                  <a:gd name="T24" fmla="*/ 585 w 615"/>
                  <a:gd name="T25" fmla="*/ 265 h 438"/>
                  <a:gd name="T26" fmla="*/ 604 w 615"/>
                  <a:gd name="T27" fmla="*/ 235 h 438"/>
                  <a:gd name="T28" fmla="*/ 556 w 615"/>
                  <a:gd name="T29" fmla="*/ 206 h 438"/>
                  <a:gd name="T30" fmla="*/ 505 w 615"/>
                  <a:gd name="T31" fmla="*/ 140 h 438"/>
                  <a:gd name="T32" fmla="*/ 493 w 615"/>
                  <a:gd name="T33" fmla="*/ 85 h 438"/>
                  <a:gd name="T34" fmla="*/ 442 w 615"/>
                  <a:gd name="T35" fmla="*/ 27 h 438"/>
                  <a:gd name="T36" fmla="*/ 396 w 615"/>
                  <a:gd name="T37" fmla="*/ 33 h 438"/>
                  <a:gd name="T38" fmla="*/ 355 w 615"/>
                  <a:gd name="T39" fmla="*/ 10 h 438"/>
                  <a:gd name="T40" fmla="*/ 306 w 615"/>
                  <a:gd name="T41" fmla="*/ 6 h 438"/>
                  <a:gd name="T42" fmla="*/ 259 w 615"/>
                  <a:gd name="T43" fmla="*/ 28 h 438"/>
                  <a:gd name="T44" fmla="*/ 218 w 615"/>
                  <a:gd name="T45" fmla="*/ 54 h 438"/>
                  <a:gd name="T46" fmla="*/ 228 w 615"/>
                  <a:gd name="T47" fmla="*/ 84 h 438"/>
                  <a:gd name="T48" fmla="*/ 179 w 615"/>
                  <a:gd name="T49" fmla="*/ 109 h 438"/>
                  <a:gd name="T50" fmla="*/ 159 w 615"/>
                  <a:gd name="T51" fmla="*/ 160 h 438"/>
                  <a:gd name="T52" fmla="*/ 150 w 615"/>
                  <a:gd name="T53" fmla="*/ 180 h 438"/>
                  <a:gd name="T54" fmla="*/ 97 w 615"/>
                  <a:gd name="T55" fmla="*/ 196 h 438"/>
                  <a:gd name="T56" fmla="*/ 29 w 615"/>
                  <a:gd name="T57" fmla="*/ 218 h 438"/>
                  <a:gd name="T58" fmla="*/ 46 w 615"/>
                  <a:gd name="T59" fmla="*/ 298 h 438"/>
                  <a:gd name="T60" fmla="*/ 0 w 615"/>
                  <a:gd name="T61" fmla="*/ 341 h 438"/>
                  <a:gd name="T62" fmla="*/ 31 w 615"/>
                  <a:gd name="T63" fmla="*/ 370 h 438"/>
                  <a:gd name="T64" fmla="*/ 25 w 615"/>
                  <a:gd name="T65" fmla="*/ 398 h 438"/>
                  <a:gd name="T66" fmla="*/ 71 w 615"/>
                  <a:gd name="T67" fmla="*/ 386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15" h="438">
                    <a:moveTo>
                      <a:pt x="71" y="386"/>
                    </a:moveTo>
                    <a:cubicBezTo>
                      <a:pt x="75" y="377"/>
                      <a:pt x="76" y="372"/>
                      <a:pt x="96" y="372"/>
                    </a:cubicBezTo>
                    <a:cubicBezTo>
                      <a:pt x="116" y="372"/>
                      <a:pt x="118" y="368"/>
                      <a:pt x="131" y="368"/>
                    </a:cubicBezTo>
                    <a:cubicBezTo>
                      <a:pt x="144" y="368"/>
                      <a:pt x="170" y="372"/>
                      <a:pt x="183" y="374"/>
                    </a:cubicBezTo>
                    <a:cubicBezTo>
                      <a:pt x="196" y="376"/>
                      <a:pt x="204" y="381"/>
                      <a:pt x="215" y="382"/>
                    </a:cubicBezTo>
                    <a:cubicBezTo>
                      <a:pt x="226" y="383"/>
                      <a:pt x="238" y="381"/>
                      <a:pt x="254" y="389"/>
                    </a:cubicBezTo>
                    <a:cubicBezTo>
                      <a:pt x="270" y="397"/>
                      <a:pt x="290" y="410"/>
                      <a:pt x="298" y="408"/>
                    </a:cubicBezTo>
                    <a:cubicBezTo>
                      <a:pt x="306" y="406"/>
                      <a:pt x="306" y="397"/>
                      <a:pt x="315" y="397"/>
                    </a:cubicBezTo>
                    <a:cubicBezTo>
                      <a:pt x="324" y="397"/>
                      <a:pt x="338" y="395"/>
                      <a:pt x="341" y="401"/>
                    </a:cubicBezTo>
                    <a:cubicBezTo>
                      <a:pt x="344" y="407"/>
                      <a:pt x="351" y="414"/>
                      <a:pt x="357" y="414"/>
                    </a:cubicBezTo>
                    <a:cubicBezTo>
                      <a:pt x="363" y="414"/>
                      <a:pt x="363" y="398"/>
                      <a:pt x="370" y="398"/>
                    </a:cubicBezTo>
                    <a:cubicBezTo>
                      <a:pt x="377" y="398"/>
                      <a:pt x="392" y="401"/>
                      <a:pt x="392" y="406"/>
                    </a:cubicBezTo>
                    <a:cubicBezTo>
                      <a:pt x="392" y="411"/>
                      <a:pt x="394" y="423"/>
                      <a:pt x="405" y="419"/>
                    </a:cubicBezTo>
                    <a:cubicBezTo>
                      <a:pt x="416" y="415"/>
                      <a:pt x="420" y="414"/>
                      <a:pt x="432" y="414"/>
                    </a:cubicBezTo>
                    <a:cubicBezTo>
                      <a:pt x="444" y="414"/>
                      <a:pt x="452" y="412"/>
                      <a:pt x="457" y="422"/>
                    </a:cubicBezTo>
                    <a:cubicBezTo>
                      <a:pt x="462" y="432"/>
                      <a:pt x="477" y="438"/>
                      <a:pt x="477" y="431"/>
                    </a:cubicBezTo>
                    <a:cubicBezTo>
                      <a:pt x="477" y="424"/>
                      <a:pt x="471" y="402"/>
                      <a:pt x="477" y="391"/>
                    </a:cubicBezTo>
                    <a:cubicBezTo>
                      <a:pt x="483" y="380"/>
                      <a:pt x="490" y="357"/>
                      <a:pt x="503" y="357"/>
                    </a:cubicBezTo>
                    <a:cubicBezTo>
                      <a:pt x="514" y="357"/>
                      <a:pt x="538" y="361"/>
                      <a:pt x="552" y="355"/>
                    </a:cubicBezTo>
                    <a:cubicBezTo>
                      <a:pt x="546" y="348"/>
                      <a:pt x="540" y="341"/>
                      <a:pt x="536" y="331"/>
                    </a:cubicBezTo>
                    <a:cubicBezTo>
                      <a:pt x="532" y="321"/>
                      <a:pt x="544" y="323"/>
                      <a:pt x="539" y="314"/>
                    </a:cubicBezTo>
                    <a:cubicBezTo>
                      <a:pt x="533" y="304"/>
                      <a:pt x="536" y="295"/>
                      <a:pt x="529" y="292"/>
                    </a:cubicBezTo>
                    <a:cubicBezTo>
                      <a:pt x="522" y="288"/>
                      <a:pt x="518" y="286"/>
                      <a:pt x="523" y="277"/>
                    </a:cubicBezTo>
                    <a:cubicBezTo>
                      <a:pt x="527" y="268"/>
                      <a:pt x="526" y="258"/>
                      <a:pt x="540" y="264"/>
                    </a:cubicBezTo>
                    <a:cubicBezTo>
                      <a:pt x="554" y="271"/>
                      <a:pt x="558" y="277"/>
                      <a:pt x="566" y="277"/>
                    </a:cubicBezTo>
                    <a:cubicBezTo>
                      <a:pt x="573" y="276"/>
                      <a:pt x="574" y="266"/>
                      <a:pt x="585" y="265"/>
                    </a:cubicBezTo>
                    <a:cubicBezTo>
                      <a:pt x="596" y="265"/>
                      <a:pt x="604" y="257"/>
                      <a:pt x="606" y="251"/>
                    </a:cubicBezTo>
                    <a:cubicBezTo>
                      <a:pt x="608" y="246"/>
                      <a:pt x="615" y="245"/>
                      <a:pt x="604" y="235"/>
                    </a:cubicBezTo>
                    <a:cubicBezTo>
                      <a:pt x="593" y="225"/>
                      <a:pt x="590" y="211"/>
                      <a:pt x="581" y="211"/>
                    </a:cubicBezTo>
                    <a:cubicBezTo>
                      <a:pt x="571" y="211"/>
                      <a:pt x="558" y="217"/>
                      <a:pt x="556" y="206"/>
                    </a:cubicBezTo>
                    <a:cubicBezTo>
                      <a:pt x="555" y="196"/>
                      <a:pt x="553" y="186"/>
                      <a:pt x="542" y="185"/>
                    </a:cubicBezTo>
                    <a:cubicBezTo>
                      <a:pt x="531" y="183"/>
                      <a:pt x="512" y="152"/>
                      <a:pt x="505" y="140"/>
                    </a:cubicBezTo>
                    <a:cubicBezTo>
                      <a:pt x="498" y="128"/>
                      <a:pt x="488" y="125"/>
                      <a:pt x="495" y="112"/>
                    </a:cubicBezTo>
                    <a:cubicBezTo>
                      <a:pt x="502" y="99"/>
                      <a:pt x="500" y="92"/>
                      <a:pt x="493" y="85"/>
                    </a:cubicBezTo>
                    <a:cubicBezTo>
                      <a:pt x="486" y="77"/>
                      <a:pt x="506" y="59"/>
                      <a:pt x="488" y="49"/>
                    </a:cubicBezTo>
                    <a:cubicBezTo>
                      <a:pt x="469" y="39"/>
                      <a:pt x="456" y="28"/>
                      <a:pt x="442" y="27"/>
                    </a:cubicBezTo>
                    <a:cubicBezTo>
                      <a:pt x="429" y="26"/>
                      <a:pt x="430" y="32"/>
                      <a:pt x="419" y="38"/>
                    </a:cubicBezTo>
                    <a:cubicBezTo>
                      <a:pt x="407" y="44"/>
                      <a:pt x="398" y="44"/>
                      <a:pt x="396" y="33"/>
                    </a:cubicBezTo>
                    <a:cubicBezTo>
                      <a:pt x="393" y="22"/>
                      <a:pt x="396" y="13"/>
                      <a:pt x="382" y="13"/>
                    </a:cubicBezTo>
                    <a:cubicBezTo>
                      <a:pt x="369" y="13"/>
                      <a:pt x="367" y="12"/>
                      <a:pt x="355" y="10"/>
                    </a:cubicBezTo>
                    <a:cubicBezTo>
                      <a:pt x="344" y="9"/>
                      <a:pt x="324" y="10"/>
                      <a:pt x="320" y="0"/>
                    </a:cubicBezTo>
                    <a:cubicBezTo>
                      <a:pt x="316" y="2"/>
                      <a:pt x="311" y="4"/>
                      <a:pt x="306" y="6"/>
                    </a:cubicBezTo>
                    <a:cubicBezTo>
                      <a:pt x="298" y="9"/>
                      <a:pt x="303" y="13"/>
                      <a:pt x="286" y="30"/>
                    </a:cubicBezTo>
                    <a:cubicBezTo>
                      <a:pt x="269" y="46"/>
                      <a:pt x="271" y="29"/>
                      <a:pt x="259" y="28"/>
                    </a:cubicBezTo>
                    <a:cubicBezTo>
                      <a:pt x="248" y="26"/>
                      <a:pt x="235" y="34"/>
                      <a:pt x="233" y="41"/>
                    </a:cubicBezTo>
                    <a:cubicBezTo>
                      <a:pt x="231" y="48"/>
                      <a:pt x="225" y="49"/>
                      <a:pt x="218" y="54"/>
                    </a:cubicBezTo>
                    <a:cubicBezTo>
                      <a:pt x="211" y="59"/>
                      <a:pt x="214" y="69"/>
                      <a:pt x="220" y="71"/>
                    </a:cubicBezTo>
                    <a:cubicBezTo>
                      <a:pt x="226" y="73"/>
                      <a:pt x="229" y="76"/>
                      <a:pt x="228" y="84"/>
                    </a:cubicBezTo>
                    <a:cubicBezTo>
                      <a:pt x="227" y="91"/>
                      <a:pt x="210" y="97"/>
                      <a:pt x="202" y="96"/>
                    </a:cubicBezTo>
                    <a:cubicBezTo>
                      <a:pt x="193" y="95"/>
                      <a:pt x="188" y="109"/>
                      <a:pt x="179" y="109"/>
                    </a:cubicBezTo>
                    <a:cubicBezTo>
                      <a:pt x="170" y="110"/>
                      <a:pt x="167" y="119"/>
                      <a:pt x="163" y="130"/>
                    </a:cubicBezTo>
                    <a:cubicBezTo>
                      <a:pt x="159" y="142"/>
                      <a:pt x="159" y="150"/>
                      <a:pt x="159" y="160"/>
                    </a:cubicBezTo>
                    <a:cubicBezTo>
                      <a:pt x="159" y="170"/>
                      <a:pt x="169" y="173"/>
                      <a:pt x="167" y="177"/>
                    </a:cubicBezTo>
                    <a:cubicBezTo>
                      <a:pt x="164" y="181"/>
                      <a:pt x="157" y="183"/>
                      <a:pt x="150" y="180"/>
                    </a:cubicBezTo>
                    <a:cubicBezTo>
                      <a:pt x="143" y="178"/>
                      <a:pt x="137" y="176"/>
                      <a:pt x="127" y="177"/>
                    </a:cubicBezTo>
                    <a:cubicBezTo>
                      <a:pt x="117" y="177"/>
                      <a:pt x="108" y="189"/>
                      <a:pt x="97" y="196"/>
                    </a:cubicBezTo>
                    <a:cubicBezTo>
                      <a:pt x="87" y="204"/>
                      <a:pt x="66" y="200"/>
                      <a:pt x="45" y="200"/>
                    </a:cubicBezTo>
                    <a:cubicBezTo>
                      <a:pt x="23" y="200"/>
                      <a:pt x="30" y="206"/>
                      <a:pt x="29" y="218"/>
                    </a:cubicBezTo>
                    <a:cubicBezTo>
                      <a:pt x="29" y="229"/>
                      <a:pt x="30" y="241"/>
                      <a:pt x="41" y="254"/>
                    </a:cubicBezTo>
                    <a:cubicBezTo>
                      <a:pt x="51" y="267"/>
                      <a:pt x="48" y="280"/>
                      <a:pt x="46" y="298"/>
                    </a:cubicBezTo>
                    <a:cubicBezTo>
                      <a:pt x="45" y="315"/>
                      <a:pt x="28" y="315"/>
                      <a:pt x="17" y="321"/>
                    </a:cubicBezTo>
                    <a:cubicBezTo>
                      <a:pt x="6" y="327"/>
                      <a:pt x="0" y="335"/>
                      <a:pt x="0" y="341"/>
                    </a:cubicBezTo>
                    <a:cubicBezTo>
                      <a:pt x="0" y="348"/>
                      <a:pt x="13" y="350"/>
                      <a:pt x="20" y="353"/>
                    </a:cubicBezTo>
                    <a:cubicBezTo>
                      <a:pt x="26" y="355"/>
                      <a:pt x="34" y="364"/>
                      <a:pt x="31" y="370"/>
                    </a:cubicBezTo>
                    <a:cubicBezTo>
                      <a:pt x="27" y="377"/>
                      <a:pt x="28" y="385"/>
                      <a:pt x="25" y="398"/>
                    </a:cubicBezTo>
                    <a:cubicBezTo>
                      <a:pt x="25" y="398"/>
                      <a:pt x="25" y="398"/>
                      <a:pt x="25" y="398"/>
                    </a:cubicBezTo>
                    <a:cubicBezTo>
                      <a:pt x="28" y="397"/>
                      <a:pt x="31" y="397"/>
                      <a:pt x="36" y="397"/>
                    </a:cubicBezTo>
                    <a:cubicBezTo>
                      <a:pt x="52" y="397"/>
                      <a:pt x="67" y="395"/>
                      <a:pt x="71" y="38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4" name="Freeform 97">
                <a:extLst>
                  <a:ext uri="{FF2B5EF4-FFF2-40B4-BE49-F238E27FC236}">
                    <a16:creationId xmlns:a16="http://schemas.microsoft.com/office/drawing/2014/main" id="{B6B6EE6C-33B1-634C-898E-F0DB4DF2A1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4" y="1644"/>
                <a:ext cx="293" cy="168"/>
              </a:xfrm>
              <a:custGeom>
                <a:avLst/>
                <a:gdLst>
                  <a:gd name="T0" fmla="*/ 1147 w 1159"/>
                  <a:gd name="T1" fmla="*/ 284 h 667"/>
                  <a:gd name="T2" fmla="*/ 1123 w 1159"/>
                  <a:gd name="T3" fmla="*/ 243 h 667"/>
                  <a:gd name="T4" fmla="*/ 1036 w 1159"/>
                  <a:gd name="T5" fmla="*/ 211 h 667"/>
                  <a:gd name="T6" fmla="*/ 945 w 1159"/>
                  <a:gd name="T7" fmla="*/ 186 h 667"/>
                  <a:gd name="T8" fmla="*/ 882 w 1159"/>
                  <a:gd name="T9" fmla="*/ 180 h 667"/>
                  <a:gd name="T10" fmla="*/ 832 w 1159"/>
                  <a:gd name="T11" fmla="*/ 110 h 667"/>
                  <a:gd name="T12" fmla="*/ 773 w 1159"/>
                  <a:gd name="T13" fmla="*/ 74 h 667"/>
                  <a:gd name="T14" fmla="*/ 759 w 1159"/>
                  <a:gd name="T15" fmla="*/ 17 h 667"/>
                  <a:gd name="T16" fmla="*/ 694 w 1159"/>
                  <a:gd name="T17" fmla="*/ 25 h 667"/>
                  <a:gd name="T18" fmla="*/ 628 w 1159"/>
                  <a:gd name="T19" fmla="*/ 35 h 667"/>
                  <a:gd name="T20" fmla="*/ 550 w 1159"/>
                  <a:gd name="T21" fmla="*/ 68 h 667"/>
                  <a:gd name="T22" fmla="*/ 505 w 1159"/>
                  <a:gd name="T23" fmla="*/ 91 h 667"/>
                  <a:gd name="T24" fmla="*/ 443 w 1159"/>
                  <a:gd name="T25" fmla="*/ 75 h 667"/>
                  <a:gd name="T26" fmla="*/ 388 w 1159"/>
                  <a:gd name="T27" fmla="*/ 74 h 667"/>
                  <a:gd name="T28" fmla="*/ 288 w 1159"/>
                  <a:gd name="T29" fmla="*/ 59 h 667"/>
                  <a:gd name="T30" fmla="*/ 169 w 1159"/>
                  <a:gd name="T31" fmla="*/ 49 h 667"/>
                  <a:gd name="T32" fmla="*/ 98 w 1159"/>
                  <a:gd name="T33" fmla="*/ 75 h 667"/>
                  <a:gd name="T34" fmla="*/ 130 w 1159"/>
                  <a:gd name="T35" fmla="*/ 162 h 667"/>
                  <a:gd name="T36" fmla="*/ 46 w 1159"/>
                  <a:gd name="T37" fmla="*/ 271 h 667"/>
                  <a:gd name="T38" fmla="*/ 10 w 1159"/>
                  <a:gd name="T39" fmla="*/ 328 h 667"/>
                  <a:gd name="T40" fmla="*/ 57 w 1159"/>
                  <a:gd name="T41" fmla="*/ 374 h 667"/>
                  <a:gd name="T42" fmla="*/ 165 w 1159"/>
                  <a:gd name="T43" fmla="*/ 382 h 667"/>
                  <a:gd name="T44" fmla="*/ 238 w 1159"/>
                  <a:gd name="T45" fmla="*/ 382 h 667"/>
                  <a:gd name="T46" fmla="*/ 335 w 1159"/>
                  <a:gd name="T47" fmla="*/ 347 h 667"/>
                  <a:gd name="T48" fmla="*/ 438 w 1159"/>
                  <a:gd name="T49" fmla="*/ 374 h 667"/>
                  <a:gd name="T50" fmla="*/ 495 w 1159"/>
                  <a:gd name="T51" fmla="*/ 472 h 667"/>
                  <a:gd name="T52" fmla="*/ 452 w 1159"/>
                  <a:gd name="T53" fmla="*/ 498 h 667"/>
                  <a:gd name="T54" fmla="*/ 415 w 1159"/>
                  <a:gd name="T55" fmla="*/ 568 h 667"/>
                  <a:gd name="T56" fmla="*/ 464 w 1159"/>
                  <a:gd name="T57" fmla="*/ 583 h 667"/>
                  <a:gd name="T58" fmla="*/ 485 w 1159"/>
                  <a:gd name="T59" fmla="*/ 576 h 667"/>
                  <a:gd name="T60" fmla="*/ 611 w 1159"/>
                  <a:gd name="T61" fmla="*/ 485 h 667"/>
                  <a:gd name="T62" fmla="*/ 621 w 1159"/>
                  <a:gd name="T63" fmla="*/ 511 h 667"/>
                  <a:gd name="T64" fmla="*/ 696 w 1159"/>
                  <a:gd name="T65" fmla="*/ 538 h 667"/>
                  <a:gd name="T66" fmla="*/ 710 w 1159"/>
                  <a:gd name="T67" fmla="*/ 556 h 667"/>
                  <a:gd name="T68" fmla="*/ 727 w 1159"/>
                  <a:gd name="T69" fmla="*/ 606 h 667"/>
                  <a:gd name="T70" fmla="*/ 793 w 1159"/>
                  <a:gd name="T71" fmla="*/ 646 h 667"/>
                  <a:gd name="T72" fmla="*/ 896 w 1159"/>
                  <a:gd name="T73" fmla="*/ 617 h 667"/>
                  <a:gd name="T74" fmla="*/ 872 w 1159"/>
                  <a:gd name="T75" fmla="*/ 584 h 667"/>
                  <a:gd name="T76" fmla="*/ 878 w 1159"/>
                  <a:gd name="T77" fmla="*/ 497 h 667"/>
                  <a:gd name="T78" fmla="*/ 1008 w 1159"/>
                  <a:gd name="T79" fmla="*/ 452 h 667"/>
                  <a:gd name="T80" fmla="*/ 1057 w 1159"/>
                  <a:gd name="T81" fmla="*/ 406 h 667"/>
                  <a:gd name="T82" fmla="*/ 1149 w 1159"/>
                  <a:gd name="T83" fmla="*/ 366 h 667"/>
                  <a:gd name="T84" fmla="*/ 1135 w 1159"/>
                  <a:gd name="T85" fmla="*/ 314 h 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59" h="667">
                    <a:moveTo>
                      <a:pt x="1135" y="314"/>
                    </a:moveTo>
                    <a:cubicBezTo>
                      <a:pt x="1145" y="313"/>
                      <a:pt x="1153" y="312"/>
                      <a:pt x="1149" y="305"/>
                    </a:cubicBezTo>
                    <a:cubicBezTo>
                      <a:pt x="1145" y="299"/>
                      <a:pt x="1136" y="294"/>
                      <a:pt x="1147" y="284"/>
                    </a:cubicBezTo>
                    <a:cubicBezTo>
                      <a:pt x="1158" y="273"/>
                      <a:pt x="1158" y="270"/>
                      <a:pt x="1159" y="262"/>
                    </a:cubicBezTo>
                    <a:cubicBezTo>
                      <a:pt x="1159" y="254"/>
                      <a:pt x="1156" y="246"/>
                      <a:pt x="1147" y="247"/>
                    </a:cubicBezTo>
                    <a:cubicBezTo>
                      <a:pt x="1139" y="249"/>
                      <a:pt x="1134" y="255"/>
                      <a:pt x="1123" y="243"/>
                    </a:cubicBezTo>
                    <a:cubicBezTo>
                      <a:pt x="1111" y="232"/>
                      <a:pt x="1101" y="220"/>
                      <a:pt x="1093" y="224"/>
                    </a:cubicBezTo>
                    <a:cubicBezTo>
                      <a:pt x="1086" y="228"/>
                      <a:pt x="1075" y="237"/>
                      <a:pt x="1067" y="227"/>
                    </a:cubicBezTo>
                    <a:cubicBezTo>
                      <a:pt x="1059" y="216"/>
                      <a:pt x="1045" y="210"/>
                      <a:pt x="1036" y="211"/>
                    </a:cubicBezTo>
                    <a:cubicBezTo>
                      <a:pt x="1026" y="212"/>
                      <a:pt x="1022" y="223"/>
                      <a:pt x="1008" y="209"/>
                    </a:cubicBezTo>
                    <a:cubicBezTo>
                      <a:pt x="994" y="195"/>
                      <a:pt x="977" y="171"/>
                      <a:pt x="971" y="176"/>
                    </a:cubicBezTo>
                    <a:cubicBezTo>
                      <a:pt x="965" y="182"/>
                      <a:pt x="948" y="178"/>
                      <a:pt x="945" y="186"/>
                    </a:cubicBezTo>
                    <a:cubicBezTo>
                      <a:pt x="942" y="193"/>
                      <a:pt x="933" y="197"/>
                      <a:pt x="924" y="195"/>
                    </a:cubicBezTo>
                    <a:cubicBezTo>
                      <a:pt x="915" y="192"/>
                      <a:pt x="908" y="181"/>
                      <a:pt x="900" y="180"/>
                    </a:cubicBezTo>
                    <a:cubicBezTo>
                      <a:pt x="891" y="179"/>
                      <a:pt x="885" y="175"/>
                      <a:pt x="882" y="180"/>
                    </a:cubicBezTo>
                    <a:cubicBezTo>
                      <a:pt x="879" y="185"/>
                      <a:pt x="869" y="185"/>
                      <a:pt x="864" y="180"/>
                    </a:cubicBezTo>
                    <a:cubicBezTo>
                      <a:pt x="860" y="176"/>
                      <a:pt x="859" y="153"/>
                      <a:pt x="853" y="141"/>
                    </a:cubicBezTo>
                    <a:cubicBezTo>
                      <a:pt x="847" y="129"/>
                      <a:pt x="841" y="112"/>
                      <a:pt x="832" y="110"/>
                    </a:cubicBezTo>
                    <a:cubicBezTo>
                      <a:pt x="823" y="109"/>
                      <a:pt x="815" y="120"/>
                      <a:pt x="804" y="113"/>
                    </a:cubicBezTo>
                    <a:cubicBezTo>
                      <a:pt x="792" y="107"/>
                      <a:pt x="781" y="113"/>
                      <a:pt x="780" y="100"/>
                    </a:cubicBezTo>
                    <a:cubicBezTo>
                      <a:pt x="779" y="88"/>
                      <a:pt x="776" y="78"/>
                      <a:pt x="773" y="74"/>
                    </a:cubicBezTo>
                    <a:cubicBezTo>
                      <a:pt x="770" y="70"/>
                      <a:pt x="773" y="64"/>
                      <a:pt x="779" y="63"/>
                    </a:cubicBezTo>
                    <a:cubicBezTo>
                      <a:pt x="785" y="62"/>
                      <a:pt x="793" y="60"/>
                      <a:pt x="782" y="50"/>
                    </a:cubicBezTo>
                    <a:cubicBezTo>
                      <a:pt x="772" y="41"/>
                      <a:pt x="769" y="19"/>
                      <a:pt x="759" y="17"/>
                    </a:cubicBezTo>
                    <a:cubicBezTo>
                      <a:pt x="748" y="14"/>
                      <a:pt x="746" y="6"/>
                      <a:pt x="742" y="12"/>
                    </a:cubicBezTo>
                    <a:cubicBezTo>
                      <a:pt x="737" y="18"/>
                      <a:pt x="726" y="0"/>
                      <a:pt x="719" y="7"/>
                    </a:cubicBezTo>
                    <a:cubicBezTo>
                      <a:pt x="711" y="14"/>
                      <a:pt x="708" y="27"/>
                      <a:pt x="694" y="25"/>
                    </a:cubicBezTo>
                    <a:cubicBezTo>
                      <a:pt x="681" y="22"/>
                      <a:pt x="676" y="13"/>
                      <a:pt x="670" y="16"/>
                    </a:cubicBezTo>
                    <a:cubicBezTo>
                      <a:pt x="664" y="20"/>
                      <a:pt x="659" y="20"/>
                      <a:pt x="655" y="29"/>
                    </a:cubicBezTo>
                    <a:cubicBezTo>
                      <a:pt x="651" y="37"/>
                      <a:pt x="636" y="43"/>
                      <a:pt x="628" y="35"/>
                    </a:cubicBezTo>
                    <a:cubicBezTo>
                      <a:pt x="627" y="34"/>
                      <a:pt x="626" y="33"/>
                      <a:pt x="625" y="32"/>
                    </a:cubicBezTo>
                    <a:cubicBezTo>
                      <a:pt x="611" y="38"/>
                      <a:pt x="587" y="34"/>
                      <a:pt x="576" y="34"/>
                    </a:cubicBezTo>
                    <a:cubicBezTo>
                      <a:pt x="563" y="34"/>
                      <a:pt x="556" y="57"/>
                      <a:pt x="550" y="68"/>
                    </a:cubicBezTo>
                    <a:cubicBezTo>
                      <a:pt x="544" y="79"/>
                      <a:pt x="550" y="101"/>
                      <a:pt x="550" y="108"/>
                    </a:cubicBezTo>
                    <a:cubicBezTo>
                      <a:pt x="550" y="115"/>
                      <a:pt x="535" y="109"/>
                      <a:pt x="530" y="99"/>
                    </a:cubicBezTo>
                    <a:cubicBezTo>
                      <a:pt x="525" y="89"/>
                      <a:pt x="517" y="91"/>
                      <a:pt x="505" y="91"/>
                    </a:cubicBezTo>
                    <a:cubicBezTo>
                      <a:pt x="493" y="91"/>
                      <a:pt x="489" y="92"/>
                      <a:pt x="478" y="96"/>
                    </a:cubicBezTo>
                    <a:cubicBezTo>
                      <a:pt x="467" y="100"/>
                      <a:pt x="465" y="88"/>
                      <a:pt x="465" y="83"/>
                    </a:cubicBezTo>
                    <a:cubicBezTo>
                      <a:pt x="465" y="78"/>
                      <a:pt x="450" y="75"/>
                      <a:pt x="443" y="75"/>
                    </a:cubicBezTo>
                    <a:cubicBezTo>
                      <a:pt x="436" y="75"/>
                      <a:pt x="436" y="91"/>
                      <a:pt x="430" y="91"/>
                    </a:cubicBezTo>
                    <a:cubicBezTo>
                      <a:pt x="424" y="91"/>
                      <a:pt x="417" y="84"/>
                      <a:pt x="414" y="78"/>
                    </a:cubicBezTo>
                    <a:cubicBezTo>
                      <a:pt x="411" y="72"/>
                      <a:pt x="397" y="74"/>
                      <a:pt x="388" y="74"/>
                    </a:cubicBezTo>
                    <a:cubicBezTo>
                      <a:pt x="379" y="74"/>
                      <a:pt x="379" y="83"/>
                      <a:pt x="371" y="85"/>
                    </a:cubicBezTo>
                    <a:cubicBezTo>
                      <a:pt x="363" y="87"/>
                      <a:pt x="343" y="74"/>
                      <a:pt x="327" y="66"/>
                    </a:cubicBezTo>
                    <a:cubicBezTo>
                      <a:pt x="311" y="58"/>
                      <a:pt x="299" y="60"/>
                      <a:pt x="288" y="59"/>
                    </a:cubicBezTo>
                    <a:cubicBezTo>
                      <a:pt x="277" y="58"/>
                      <a:pt x="269" y="53"/>
                      <a:pt x="256" y="51"/>
                    </a:cubicBezTo>
                    <a:cubicBezTo>
                      <a:pt x="243" y="49"/>
                      <a:pt x="217" y="45"/>
                      <a:pt x="204" y="45"/>
                    </a:cubicBezTo>
                    <a:cubicBezTo>
                      <a:pt x="191" y="45"/>
                      <a:pt x="189" y="49"/>
                      <a:pt x="169" y="49"/>
                    </a:cubicBezTo>
                    <a:cubicBezTo>
                      <a:pt x="149" y="49"/>
                      <a:pt x="148" y="54"/>
                      <a:pt x="144" y="63"/>
                    </a:cubicBezTo>
                    <a:cubicBezTo>
                      <a:pt x="140" y="72"/>
                      <a:pt x="125" y="74"/>
                      <a:pt x="109" y="74"/>
                    </a:cubicBezTo>
                    <a:cubicBezTo>
                      <a:pt x="104" y="74"/>
                      <a:pt x="101" y="74"/>
                      <a:pt x="98" y="75"/>
                    </a:cubicBezTo>
                    <a:cubicBezTo>
                      <a:pt x="96" y="88"/>
                      <a:pt x="107" y="92"/>
                      <a:pt x="108" y="102"/>
                    </a:cubicBezTo>
                    <a:cubicBezTo>
                      <a:pt x="109" y="112"/>
                      <a:pt x="116" y="120"/>
                      <a:pt x="125" y="127"/>
                    </a:cubicBezTo>
                    <a:cubicBezTo>
                      <a:pt x="134" y="134"/>
                      <a:pt x="132" y="149"/>
                      <a:pt x="130" y="162"/>
                    </a:cubicBezTo>
                    <a:cubicBezTo>
                      <a:pt x="128" y="175"/>
                      <a:pt x="117" y="181"/>
                      <a:pt x="104" y="187"/>
                    </a:cubicBezTo>
                    <a:cubicBezTo>
                      <a:pt x="92" y="193"/>
                      <a:pt x="76" y="219"/>
                      <a:pt x="59" y="230"/>
                    </a:cubicBezTo>
                    <a:cubicBezTo>
                      <a:pt x="42" y="240"/>
                      <a:pt x="45" y="254"/>
                      <a:pt x="46" y="271"/>
                    </a:cubicBezTo>
                    <a:cubicBezTo>
                      <a:pt x="48" y="287"/>
                      <a:pt x="50" y="285"/>
                      <a:pt x="42" y="287"/>
                    </a:cubicBezTo>
                    <a:cubicBezTo>
                      <a:pt x="34" y="289"/>
                      <a:pt x="30" y="290"/>
                      <a:pt x="28" y="300"/>
                    </a:cubicBezTo>
                    <a:cubicBezTo>
                      <a:pt x="26" y="311"/>
                      <a:pt x="21" y="314"/>
                      <a:pt x="10" y="328"/>
                    </a:cubicBezTo>
                    <a:cubicBezTo>
                      <a:pt x="0" y="341"/>
                      <a:pt x="13" y="349"/>
                      <a:pt x="19" y="354"/>
                    </a:cubicBezTo>
                    <a:cubicBezTo>
                      <a:pt x="24" y="359"/>
                      <a:pt x="40" y="367"/>
                      <a:pt x="50" y="370"/>
                    </a:cubicBezTo>
                    <a:cubicBezTo>
                      <a:pt x="53" y="371"/>
                      <a:pt x="55" y="372"/>
                      <a:pt x="57" y="374"/>
                    </a:cubicBezTo>
                    <a:cubicBezTo>
                      <a:pt x="62" y="372"/>
                      <a:pt x="69" y="371"/>
                      <a:pt x="77" y="372"/>
                    </a:cubicBezTo>
                    <a:cubicBezTo>
                      <a:pt x="92" y="374"/>
                      <a:pt x="102" y="383"/>
                      <a:pt x="114" y="383"/>
                    </a:cubicBezTo>
                    <a:cubicBezTo>
                      <a:pt x="126" y="383"/>
                      <a:pt x="156" y="377"/>
                      <a:pt x="165" y="382"/>
                    </a:cubicBezTo>
                    <a:cubicBezTo>
                      <a:pt x="174" y="387"/>
                      <a:pt x="180" y="412"/>
                      <a:pt x="190" y="402"/>
                    </a:cubicBezTo>
                    <a:cubicBezTo>
                      <a:pt x="200" y="392"/>
                      <a:pt x="207" y="385"/>
                      <a:pt x="214" y="385"/>
                    </a:cubicBezTo>
                    <a:cubicBezTo>
                      <a:pt x="221" y="385"/>
                      <a:pt x="230" y="382"/>
                      <a:pt x="238" y="382"/>
                    </a:cubicBezTo>
                    <a:cubicBezTo>
                      <a:pt x="246" y="382"/>
                      <a:pt x="259" y="385"/>
                      <a:pt x="265" y="374"/>
                    </a:cubicBezTo>
                    <a:cubicBezTo>
                      <a:pt x="271" y="363"/>
                      <a:pt x="283" y="362"/>
                      <a:pt x="293" y="358"/>
                    </a:cubicBezTo>
                    <a:cubicBezTo>
                      <a:pt x="303" y="354"/>
                      <a:pt x="320" y="353"/>
                      <a:pt x="335" y="347"/>
                    </a:cubicBezTo>
                    <a:cubicBezTo>
                      <a:pt x="350" y="341"/>
                      <a:pt x="368" y="337"/>
                      <a:pt x="374" y="345"/>
                    </a:cubicBezTo>
                    <a:cubicBezTo>
                      <a:pt x="380" y="353"/>
                      <a:pt x="386" y="366"/>
                      <a:pt x="401" y="366"/>
                    </a:cubicBezTo>
                    <a:cubicBezTo>
                      <a:pt x="416" y="366"/>
                      <a:pt x="433" y="368"/>
                      <a:pt x="438" y="374"/>
                    </a:cubicBezTo>
                    <a:cubicBezTo>
                      <a:pt x="443" y="380"/>
                      <a:pt x="455" y="389"/>
                      <a:pt x="460" y="403"/>
                    </a:cubicBezTo>
                    <a:cubicBezTo>
                      <a:pt x="465" y="417"/>
                      <a:pt x="482" y="423"/>
                      <a:pt x="482" y="435"/>
                    </a:cubicBezTo>
                    <a:cubicBezTo>
                      <a:pt x="482" y="447"/>
                      <a:pt x="484" y="468"/>
                      <a:pt x="495" y="472"/>
                    </a:cubicBezTo>
                    <a:cubicBezTo>
                      <a:pt x="506" y="476"/>
                      <a:pt x="511" y="481"/>
                      <a:pt x="509" y="492"/>
                    </a:cubicBezTo>
                    <a:cubicBezTo>
                      <a:pt x="507" y="503"/>
                      <a:pt x="498" y="517"/>
                      <a:pt x="487" y="510"/>
                    </a:cubicBezTo>
                    <a:cubicBezTo>
                      <a:pt x="476" y="503"/>
                      <a:pt x="458" y="494"/>
                      <a:pt x="452" y="498"/>
                    </a:cubicBezTo>
                    <a:cubicBezTo>
                      <a:pt x="446" y="502"/>
                      <a:pt x="439" y="508"/>
                      <a:pt x="442" y="515"/>
                    </a:cubicBezTo>
                    <a:cubicBezTo>
                      <a:pt x="445" y="522"/>
                      <a:pt x="451" y="536"/>
                      <a:pt x="435" y="544"/>
                    </a:cubicBezTo>
                    <a:cubicBezTo>
                      <a:pt x="419" y="552"/>
                      <a:pt x="415" y="562"/>
                      <a:pt x="415" y="568"/>
                    </a:cubicBezTo>
                    <a:cubicBezTo>
                      <a:pt x="415" y="574"/>
                      <a:pt x="393" y="585"/>
                      <a:pt x="404" y="593"/>
                    </a:cubicBezTo>
                    <a:cubicBezTo>
                      <a:pt x="415" y="601"/>
                      <a:pt x="428" y="601"/>
                      <a:pt x="437" y="597"/>
                    </a:cubicBezTo>
                    <a:cubicBezTo>
                      <a:pt x="446" y="593"/>
                      <a:pt x="457" y="583"/>
                      <a:pt x="464" y="583"/>
                    </a:cubicBezTo>
                    <a:cubicBezTo>
                      <a:pt x="471" y="583"/>
                      <a:pt x="476" y="579"/>
                      <a:pt x="483" y="591"/>
                    </a:cubicBezTo>
                    <a:cubicBezTo>
                      <a:pt x="487" y="598"/>
                      <a:pt x="489" y="596"/>
                      <a:pt x="492" y="594"/>
                    </a:cubicBezTo>
                    <a:cubicBezTo>
                      <a:pt x="490" y="587"/>
                      <a:pt x="487" y="581"/>
                      <a:pt x="485" y="576"/>
                    </a:cubicBezTo>
                    <a:cubicBezTo>
                      <a:pt x="481" y="564"/>
                      <a:pt x="505" y="561"/>
                      <a:pt x="521" y="551"/>
                    </a:cubicBezTo>
                    <a:cubicBezTo>
                      <a:pt x="537" y="541"/>
                      <a:pt x="552" y="527"/>
                      <a:pt x="564" y="504"/>
                    </a:cubicBezTo>
                    <a:cubicBezTo>
                      <a:pt x="575" y="481"/>
                      <a:pt x="598" y="488"/>
                      <a:pt x="611" y="485"/>
                    </a:cubicBezTo>
                    <a:cubicBezTo>
                      <a:pt x="624" y="482"/>
                      <a:pt x="633" y="472"/>
                      <a:pt x="641" y="480"/>
                    </a:cubicBezTo>
                    <a:cubicBezTo>
                      <a:pt x="650" y="487"/>
                      <a:pt x="640" y="490"/>
                      <a:pt x="627" y="491"/>
                    </a:cubicBezTo>
                    <a:cubicBezTo>
                      <a:pt x="614" y="492"/>
                      <a:pt x="628" y="504"/>
                      <a:pt x="621" y="511"/>
                    </a:cubicBezTo>
                    <a:cubicBezTo>
                      <a:pt x="614" y="518"/>
                      <a:pt x="628" y="525"/>
                      <a:pt x="640" y="525"/>
                    </a:cubicBezTo>
                    <a:cubicBezTo>
                      <a:pt x="651" y="525"/>
                      <a:pt x="651" y="531"/>
                      <a:pt x="663" y="535"/>
                    </a:cubicBezTo>
                    <a:cubicBezTo>
                      <a:pt x="674" y="540"/>
                      <a:pt x="683" y="531"/>
                      <a:pt x="696" y="538"/>
                    </a:cubicBezTo>
                    <a:cubicBezTo>
                      <a:pt x="709" y="545"/>
                      <a:pt x="711" y="534"/>
                      <a:pt x="723" y="530"/>
                    </a:cubicBezTo>
                    <a:cubicBezTo>
                      <a:pt x="734" y="525"/>
                      <a:pt x="749" y="538"/>
                      <a:pt x="743" y="547"/>
                    </a:cubicBezTo>
                    <a:cubicBezTo>
                      <a:pt x="737" y="556"/>
                      <a:pt x="721" y="556"/>
                      <a:pt x="710" y="556"/>
                    </a:cubicBezTo>
                    <a:cubicBezTo>
                      <a:pt x="699" y="556"/>
                      <a:pt x="694" y="563"/>
                      <a:pt x="678" y="574"/>
                    </a:cubicBezTo>
                    <a:cubicBezTo>
                      <a:pt x="663" y="586"/>
                      <a:pt x="674" y="591"/>
                      <a:pt x="691" y="591"/>
                    </a:cubicBezTo>
                    <a:cubicBezTo>
                      <a:pt x="709" y="591"/>
                      <a:pt x="700" y="600"/>
                      <a:pt x="727" y="606"/>
                    </a:cubicBezTo>
                    <a:cubicBezTo>
                      <a:pt x="754" y="611"/>
                      <a:pt x="736" y="633"/>
                      <a:pt x="731" y="646"/>
                    </a:cubicBezTo>
                    <a:cubicBezTo>
                      <a:pt x="727" y="659"/>
                      <a:pt x="741" y="667"/>
                      <a:pt x="756" y="666"/>
                    </a:cubicBezTo>
                    <a:cubicBezTo>
                      <a:pt x="770" y="664"/>
                      <a:pt x="786" y="659"/>
                      <a:pt x="793" y="646"/>
                    </a:cubicBezTo>
                    <a:cubicBezTo>
                      <a:pt x="800" y="633"/>
                      <a:pt x="803" y="633"/>
                      <a:pt x="822" y="633"/>
                    </a:cubicBezTo>
                    <a:cubicBezTo>
                      <a:pt x="840" y="633"/>
                      <a:pt x="842" y="631"/>
                      <a:pt x="849" y="623"/>
                    </a:cubicBezTo>
                    <a:cubicBezTo>
                      <a:pt x="856" y="614"/>
                      <a:pt x="878" y="617"/>
                      <a:pt x="896" y="617"/>
                    </a:cubicBezTo>
                    <a:cubicBezTo>
                      <a:pt x="915" y="617"/>
                      <a:pt x="924" y="620"/>
                      <a:pt x="931" y="597"/>
                    </a:cubicBezTo>
                    <a:cubicBezTo>
                      <a:pt x="938" y="574"/>
                      <a:pt x="929" y="577"/>
                      <a:pt x="922" y="577"/>
                    </a:cubicBezTo>
                    <a:cubicBezTo>
                      <a:pt x="915" y="577"/>
                      <a:pt x="895" y="586"/>
                      <a:pt x="872" y="584"/>
                    </a:cubicBezTo>
                    <a:cubicBezTo>
                      <a:pt x="849" y="583"/>
                      <a:pt x="840" y="573"/>
                      <a:pt x="833" y="558"/>
                    </a:cubicBezTo>
                    <a:cubicBezTo>
                      <a:pt x="826" y="544"/>
                      <a:pt x="816" y="530"/>
                      <a:pt x="830" y="524"/>
                    </a:cubicBezTo>
                    <a:cubicBezTo>
                      <a:pt x="845" y="518"/>
                      <a:pt x="868" y="511"/>
                      <a:pt x="878" y="497"/>
                    </a:cubicBezTo>
                    <a:cubicBezTo>
                      <a:pt x="888" y="482"/>
                      <a:pt x="903" y="484"/>
                      <a:pt x="921" y="481"/>
                    </a:cubicBezTo>
                    <a:cubicBezTo>
                      <a:pt x="938" y="478"/>
                      <a:pt x="949" y="484"/>
                      <a:pt x="961" y="475"/>
                    </a:cubicBezTo>
                    <a:cubicBezTo>
                      <a:pt x="972" y="467"/>
                      <a:pt x="989" y="452"/>
                      <a:pt x="1008" y="452"/>
                    </a:cubicBezTo>
                    <a:cubicBezTo>
                      <a:pt x="1018" y="452"/>
                      <a:pt x="1024" y="450"/>
                      <a:pt x="1031" y="448"/>
                    </a:cubicBezTo>
                    <a:cubicBezTo>
                      <a:pt x="1030" y="441"/>
                      <a:pt x="1029" y="427"/>
                      <a:pt x="1036" y="423"/>
                    </a:cubicBezTo>
                    <a:cubicBezTo>
                      <a:pt x="1044" y="418"/>
                      <a:pt x="1046" y="410"/>
                      <a:pt x="1057" y="406"/>
                    </a:cubicBezTo>
                    <a:cubicBezTo>
                      <a:pt x="1068" y="402"/>
                      <a:pt x="1069" y="389"/>
                      <a:pt x="1087" y="389"/>
                    </a:cubicBezTo>
                    <a:cubicBezTo>
                      <a:pt x="1106" y="389"/>
                      <a:pt x="1136" y="395"/>
                      <a:pt x="1139" y="384"/>
                    </a:cubicBezTo>
                    <a:cubicBezTo>
                      <a:pt x="1141" y="373"/>
                      <a:pt x="1147" y="374"/>
                      <a:pt x="1149" y="366"/>
                    </a:cubicBezTo>
                    <a:cubicBezTo>
                      <a:pt x="1152" y="358"/>
                      <a:pt x="1149" y="357"/>
                      <a:pt x="1144" y="349"/>
                    </a:cubicBezTo>
                    <a:cubicBezTo>
                      <a:pt x="1139" y="341"/>
                      <a:pt x="1138" y="338"/>
                      <a:pt x="1134" y="333"/>
                    </a:cubicBezTo>
                    <a:cubicBezTo>
                      <a:pt x="1129" y="328"/>
                      <a:pt x="1126" y="316"/>
                      <a:pt x="1135" y="3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5" name="Freeform 98">
                <a:extLst>
                  <a:ext uri="{FF2B5EF4-FFF2-40B4-BE49-F238E27FC236}">
                    <a16:creationId xmlns:a16="http://schemas.microsoft.com/office/drawing/2014/main" id="{FED66FA3-D7F1-EE4C-821E-118300A45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" y="1729"/>
                <a:ext cx="51" cy="64"/>
              </a:xfrm>
              <a:custGeom>
                <a:avLst/>
                <a:gdLst>
                  <a:gd name="T0" fmla="*/ 188 w 204"/>
                  <a:gd name="T1" fmla="*/ 135 h 251"/>
                  <a:gd name="T2" fmla="*/ 175 w 204"/>
                  <a:gd name="T3" fmla="*/ 98 h 251"/>
                  <a:gd name="T4" fmla="*/ 153 w 204"/>
                  <a:gd name="T5" fmla="*/ 66 h 251"/>
                  <a:gd name="T6" fmla="*/ 131 w 204"/>
                  <a:gd name="T7" fmla="*/ 37 h 251"/>
                  <a:gd name="T8" fmla="*/ 94 w 204"/>
                  <a:gd name="T9" fmla="*/ 29 h 251"/>
                  <a:gd name="T10" fmla="*/ 67 w 204"/>
                  <a:gd name="T11" fmla="*/ 8 h 251"/>
                  <a:gd name="T12" fmla="*/ 28 w 204"/>
                  <a:gd name="T13" fmla="*/ 10 h 251"/>
                  <a:gd name="T14" fmla="*/ 0 w 204"/>
                  <a:gd name="T15" fmla="*/ 17 h 251"/>
                  <a:gd name="T16" fmla="*/ 17 w 204"/>
                  <a:gd name="T17" fmla="*/ 37 h 251"/>
                  <a:gd name="T18" fmla="*/ 57 w 204"/>
                  <a:gd name="T19" fmla="*/ 102 h 251"/>
                  <a:gd name="T20" fmla="*/ 83 w 204"/>
                  <a:gd name="T21" fmla="*/ 130 h 251"/>
                  <a:gd name="T22" fmla="*/ 93 w 204"/>
                  <a:gd name="T23" fmla="*/ 159 h 251"/>
                  <a:gd name="T24" fmla="*/ 85 w 204"/>
                  <a:gd name="T25" fmla="*/ 187 h 251"/>
                  <a:gd name="T26" fmla="*/ 81 w 204"/>
                  <a:gd name="T27" fmla="*/ 209 h 251"/>
                  <a:gd name="T28" fmla="*/ 86 w 204"/>
                  <a:gd name="T29" fmla="*/ 242 h 251"/>
                  <a:gd name="T30" fmla="*/ 94 w 204"/>
                  <a:gd name="T31" fmla="*/ 251 h 251"/>
                  <a:gd name="T32" fmla="*/ 108 w 204"/>
                  <a:gd name="T33" fmla="*/ 231 h 251"/>
                  <a:gd name="T34" fmla="*/ 128 w 204"/>
                  <a:gd name="T35" fmla="*/ 207 h 251"/>
                  <a:gd name="T36" fmla="*/ 135 w 204"/>
                  <a:gd name="T37" fmla="*/ 178 h 251"/>
                  <a:gd name="T38" fmla="*/ 145 w 204"/>
                  <a:gd name="T39" fmla="*/ 161 h 251"/>
                  <a:gd name="T40" fmla="*/ 180 w 204"/>
                  <a:gd name="T41" fmla="*/ 173 h 251"/>
                  <a:gd name="T42" fmla="*/ 202 w 204"/>
                  <a:gd name="T43" fmla="*/ 155 h 251"/>
                  <a:gd name="T44" fmla="*/ 188 w 204"/>
                  <a:gd name="T45" fmla="*/ 135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4" h="251">
                    <a:moveTo>
                      <a:pt x="188" y="135"/>
                    </a:moveTo>
                    <a:cubicBezTo>
                      <a:pt x="177" y="131"/>
                      <a:pt x="175" y="110"/>
                      <a:pt x="175" y="98"/>
                    </a:cubicBezTo>
                    <a:cubicBezTo>
                      <a:pt x="175" y="86"/>
                      <a:pt x="158" y="80"/>
                      <a:pt x="153" y="66"/>
                    </a:cubicBezTo>
                    <a:cubicBezTo>
                      <a:pt x="148" y="52"/>
                      <a:pt x="136" y="43"/>
                      <a:pt x="131" y="37"/>
                    </a:cubicBezTo>
                    <a:cubicBezTo>
                      <a:pt x="126" y="31"/>
                      <a:pt x="109" y="29"/>
                      <a:pt x="94" y="29"/>
                    </a:cubicBezTo>
                    <a:cubicBezTo>
                      <a:pt x="79" y="29"/>
                      <a:pt x="73" y="16"/>
                      <a:pt x="67" y="8"/>
                    </a:cubicBezTo>
                    <a:cubicBezTo>
                      <a:pt x="61" y="0"/>
                      <a:pt x="43" y="4"/>
                      <a:pt x="28" y="10"/>
                    </a:cubicBezTo>
                    <a:cubicBezTo>
                      <a:pt x="19" y="13"/>
                      <a:pt x="9" y="15"/>
                      <a:pt x="0" y="17"/>
                    </a:cubicBezTo>
                    <a:cubicBezTo>
                      <a:pt x="6" y="21"/>
                      <a:pt x="12" y="27"/>
                      <a:pt x="17" y="37"/>
                    </a:cubicBezTo>
                    <a:cubicBezTo>
                      <a:pt x="29" y="62"/>
                      <a:pt x="42" y="92"/>
                      <a:pt x="57" y="102"/>
                    </a:cubicBezTo>
                    <a:cubicBezTo>
                      <a:pt x="72" y="112"/>
                      <a:pt x="80" y="124"/>
                      <a:pt x="83" y="130"/>
                    </a:cubicBezTo>
                    <a:cubicBezTo>
                      <a:pt x="86" y="136"/>
                      <a:pt x="93" y="146"/>
                      <a:pt x="93" y="159"/>
                    </a:cubicBezTo>
                    <a:cubicBezTo>
                      <a:pt x="93" y="172"/>
                      <a:pt x="90" y="181"/>
                      <a:pt x="85" y="187"/>
                    </a:cubicBezTo>
                    <a:cubicBezTo>
                      <a:pt x="80" y="193"/>
                      <a:pt x="77" y="201"/>
                      <a:pt x="81" y="209"/>
                    </a:cubicBezTo>
                    <a:cubicBezTo>
                      <a:pt x="85" y="217"/>
                      <a:pt x="81" y="236"/>
                      <a:pt x="86" y="242"/>
                    </a:cubicBezTo>
                    <a:cubicBezTo>
                      <a:pt x="89" y="245"/>
                      <a:pt x="90" y="249"/>
                      <a:pt x="94" y="251"/>
                    </a:cubicBezTo>
                    <a:cubicBezTo>
                      <a:pt x="94" y="244"/>
                      <a:pt x="108" y="236"/>
                      <a:pt x="108" y="231"/>
                    </a:cubicBezTo>
                    <a:cubicBezTo>
                      <a:pt x="108" y="225"/>
                      <a:pt x="112" y="215"/>
                      <a:pt x="128" y="207"/>
                    </a:cubicBezTo>
                    <a:cubicBezTo>
                      <a:pt x="144" y="199"/>
                      <a:pt x="138" y="185"/>
                      <a:pt x="135" y="178"/>
                    </a:cubicBezTo>
                    <a:cubicBezTo>
                      <a:pt x="132" y="171"/>
                      <a:pt x="139" y="165"/>
                      <a:pt x="145" y="161"/>
                    </a:cubicBezTo>
                    <a:cubicBezTo>
                      <a:pt x="151" y="157"/>
                      <a:pt x="169" y="166"/>
                      <a:pt x="180" y="173"/>
                    </a:cubicBezTo>
                    <a:cubicBezTo>
                      <a:pt x="191" y="180"/>
                      <a:pt x="200" y="166"/>
                      <a:pt x="202" y="155"/>
                    </a:cubicBezTo>
                    <a:cubicBezTo>
                      <a:pt x="204" y="144"/>
                      <a:pt x="199" y="139"/>
                      <a:pt x="188" y="13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6" name="Freeform 99">
                <a:extLst>
                  <a:ext uri="{FF2B5EF4-FFF2-40B4-BE49-F238E27FC236}">
                    <a16:creationId xmlns:a16="http://schemas.microsoft.com/office/drawing/2014/main" id="{97620EFA-E7B8-8A45-A0C0-2E37FB927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5" y="1733"/>
                <a:ext cx="154" cy="96"/>
              </a:xfrm>
              <a:custGeom>
                <a:avLst/>
                <a:gdLst>
                  <a:gd name="T0" fmla="*/ 606 w 608"/>
                  <a:gd name="T1" fmla="*/ 240 h 378"/>
                  <a:gd name="T2" fmla="*/ 597 w 608"/>
                  <a:gd name="T3" fmla="*/ 237 h 378"/>
                  <a:gd name="T4" fmla="*/ 578 w 608"/>
                  <a:gd name="T5" fmla="*/ 229 h 378"/>
                  <a:gd name="T6" fmla="*/ 551 w 608"/>
                  <a:gd name="T7" fmla="*/ 243 h 378"/>
                  <a:gd name="T8" fmla="*/ 518 w 608"/>
                  <a:gd name="T9" fmla="*/ 239 h 378"/>
                  <a:gd name="T10" fmla="*/ 515 w 608"/>
                  <a:gd name="T11" fmla="*/ 234 h 378"/>
                  <a:gd name="T12" fmla="*/ 507 w 608"/>
                  <a:gd name="T13" fmla="*/ 225 h 378"/>
                  <a:gd name="T14" fmla="*/ 502 w 608"/>
                  <a:gd name="T15" fmla="*/ 192 h 378"/>
                  <a:gd name="T16" fmla="*/ 506 w 608"/>
                  <a:gd name="T17" fmla="*/ 170 h 378"/>
                  <a:gd name="T18" fmla="*/ 514 w 608"/>
                  <a:gd name="T19" fmla="*/ 142 h 378"/>
                  <a:gd name="T20" fmla="*/ 504 w 608"/>
                  <a:gd name="T21" fmla="*/ 113 h 378"/>
                  <a:gd name="T22" fmla="*/ 478 w 608"/>
                  <a:gd name="T23" fmla="*/ 85 h 378"/>
                  <a:gd name="T24" fmla="*/ 438 w 608"/>
                  <a:gd name="T25" fmla="*/ 20 h 378"/>
                  <a:gd name="T26" fmla="*/ 421 w 608"/>
                  <a:gd name="T27" fmla="*/ 0 h 378"/>
                  <a:gd name="T28" fmla="*/ 407 w 608"/>
                  <a:gd name="T29" fmla="*/ 4 h 378"/>
                  <a:gd name="T30" fmla="*/ 379 w 608"/>
                  <a:gd name="T31" fmla="*/ 20 h 378"/>
                  <a:gd name="T32" fmla="*/ 352 w 608"/>
                  <a:gd name="T33" fmla="*/ 28 h 378"/>
                  <a:gd name="T34" fmla="*/ 328 w 608"/>
                  <a:gd name="T35" fmla="*/ 31 h 378"/>
                  <a:gd name="T36" fmla="*/ 304 w 608"/>
                  <a:gd name="T37" fmla="*/ 48 h 378"/>
                  <a:gd name="T38" fmla="*/ 279 w 608"/>
                  <a:gd name="T39" fmla="*/ 28 h 378"/>
                  <a:gd name="T40" fmla="*/ 228 w 608"/>
                  <a:gd name="T41" fmla="*/ 29 h 378"/>
                  <a:gd name="T42" fmla="*/ 191 w 608"/>
                  <a:gd name="T43" fmla="*/ 18 h 378"/>
                  <a:gd name="T44" fmla="*/ 171 w 608"/>
                  <a:gd name="T45" fmla="*/ 20 h 378"/>
                  <a:gd name="T46" fmla="*/ 169 w 608"/>
                  <a:gd name="T47" fmla="*/ 32 h 378"/>
                  <a:gd name="T48" fmla="*/ 138 w 608"/>
                  <a:gd name="T49" fmla="*/ 44 h 378"/>
                  <a:gd name="T50" fmla="*/ 105 w 608"/>
                  <a:gd name="T51" fmla="*/ 76 h 378"/>
                  <a:gd name="T52" fmla="*/ 73 w 608"/>
                  <a:gd name="T53" fmla="*/ 142 h 378"/>
                  <a:gd name="T54" fmla="*/ 41 w 608"/>
                  <a:gd name="T55" fmla="*/ 160 h 378"/>
                  <a:gd name="T56" fmla="*/ 16 w 608"/>
                  <a:gd name="T57" fmla="*/ 170 h 378"/>
                  <a:gd name="T58" fmla="*/ 6 w 608"/>
                  <a:gd name="T59" fmla="*/ 180 h 378"/>
                  <a:gd name="T60" fmla="*/ 23 w 608"/>
                  <a:gd name="T61" fmla="*/ 198 h 378"/>
                  <a:gd name="T62" fmla="*/ 36 w 608"/>
                  <a:gd name="T63" fmla="*/ 224 h 378"/>
                  <a:gd name="T64" fmla="*/ 63 w 608"/>
                  <a:gd name="T65" fmla="*/ 242 h 378"/>
                  <a:gd name="T66" fmla="*/ 79 w 608"/>
                  <a:gd name="T67" fmla="*/ 252 h 378"/>
                  <a:gd name="T68" fmla="*/ 73 w 608"/>
                  <a:gd name="T69" fmla="*/ 269 h 378"/>
                  <a:gd name="T70" fmla="*/ 85 w 608"/>
                  <a:gd name="T71" fmla="*/ 285 h 378"/>
                  <a:gd name="T72" fmla="*/ 114 w 608"/>
                  <a:gd name="T73" fmla="*/ 297 h 378"/>
                  <a:gd name="T74" fmla="*/ 139 w 608"/>
                  <a:gd name="T75" fmla="*/ 286 h 378"/>
                  <a:gd name="T76" fmla="*/ 157 w 608"/>
                  <a:gd name="T77" fmla="*/ 291 h 378"/>
                  <a:gd name="T78" fmla="*/ 157 w 608"/>
                  <a:gd name="T79" fmla="*/ 303 h 378"/>
                  <a:gd name="T80" fmla="*/ 156 w 608"/>
                  <a:gd name="T81" fmla="*/ 323 h 378"/>
                  <a:gd name="T82" fmla="*/ 155 w 608"/>
                  <a:gd name="T83" fmla="*/ 331 h 378"/>
                  <a:gd name="T84" fmla="*/ 159 w 608"/>
                  <a:gd name="T85" fmla="*/ 333 h 378"/>
                  <a:gd name="T86" fmla="*/ 169 w 608"/>
                  <a:gd name="T87" fmla="*/ 343 h 378"/>
                  <a:gd name="T88" fmla="*/ 189 w 608"/>
                  <a:gd name="T89" fmla="*/ 359 h 378"/>
                  <a:gd name="T90" fmla="*/ 219 w 608"/>
                  <a:gd name="T91" fmla="*/ 357 h 378"/>
                  <a:gd name="T92" fmla="*/ 247 w 608"/>
                  <a:gd name="T93" fmla="*/ 365 h 378"/>
                  <a:gd name="T94" fmla="*/ 275 w 608"/>
                  <a:gd name="T95" fmla="*/ 363 h 378"/>
                  <a:gd name="T96" fmla="*/ 305 w 608"/>
                  <a:gd name="T97" fmla="*/ 368 h 378"/>
                  <a:gd name="T98" fmla="*/ 324 w 608"/>
                  <a:gd name="T99" fmla="*/ 369 h 378"/>
                  <a:gd name="T100" fmla="*/ 343 w 608"/>
                  <a:gd name="T101" fmla="*/ 371 h 378"/>
                  <a:gd name="T102" fmla="*/ 370 w 608"/>
                  <a:gd name="T103" fmla="*/ 351 h 378"/>
                  <a:gd name="T104" fmla="*/ 401 w 608"/>
                  <a:gd name="T105" fmla="*/ 338 h 378"/>
                  <a:gd name="T106" fmla="*/ 434 w 608"/>
                  <a:gd name="T107" fmla="*/ 329 h 378"/>
                  <a:gd name="T108" fmla="*/ 464 w 608"/>
                  <a:gd name="T109" fmla="*/ 338 h 378"/>
                  <a:gd name="T110" fmla="*/ 490 w 608"/>
                  <a:gd name="T111" fmla="*/ 346 h 378"/>
                  <a:gd name="T112" fmla="*/ 505 w 608"/>
                  <a:gd name="T113" fmla="*/ 359 h 378"/>
                  <a:gd name="T114" fmla="*/ 543 w 608"/>
                  <a:gd name="T115" fmla="*/ 365 h 378"/>
                  <a:gd name="T116" fmla="*/ 537 w 608"/>
                  <a:gd name="T117" fmla="*/ 322 h 378"/>
                  <a:gd name="T118" fmla="*/ 557 w 608"/>
                  <a:gd name="T119" fmla="*/ 290 h 378"/>
                  <a:gd name="T120" fmla="*/ 575 w 608"/>
                  <a:gd name="T121" fmla="*/ 279 h 378"/>
                  <a:gd name="T122" fmla="*/ 605 w 608"/>
                  <a:gd name="T123" fmla="*/ 263 h 378"/>
                  <a:gd name="T124" fmla="*/ 606 w 608"/>
                  <a:gd name="T125" fmla="*/ 24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08" h="378">
                    <a:moveTo>
                      <a:pt x="606" y="240"/>
                    </a:moveTo>
                    <a:cubicBezTo>
                      <a:pt x="603" y="242"/>
                      <a:pt x="601" y="244"/>
                      <a:pt x="597" y="237"/>
                    </a:cubicBezTo>
                    <a:cubicBezTo>
                      <a:pt x="590" y="225"/>
                      <a:pt x="585" y="229"/>
                      <a:pt x="578" y="229"/>
                    </a:cubicBezTo>
                    <a:cubicBezTo>
                      <a:pt x="571" y="229"/>
                      <a:pt x="560" y="239"/>
                      <a:pt x="551" y="243"/>
                    </a:cubicBezTo>
                    <a:cubicBezTo>
                      <a:pt x="542" y="247"/>
                      <a:pt x="529" y="247"/>
                      <a:pt x="518" y="239"/>
                    </a:cubicBezTo>
                    <a:cubicBezTo>
                      <a:pt x="516" y="237"/>
                      <a:pt x="515" y="235"/>
                      <a:pt x="515" y="234"/>
                    </a:cubicBezTo>
                    <a:cubicBezTo>
                      <a:pt x="511" y="232"/>
                      <a:pt x="510" y="228"/>
                      <a:pt x="507" y="225"/>
                    </a:cubicBezTo>
                    <a:cubicBezTo>
                      <a:pt x="502" y="219"/>
                      <a:pt x="506" y="200"/>
                      <a:pt x="502" y="192"/>
                    </a:cubicBezTo>
                    <a:cubicBezTo>
                      <a:pt x="498" y="184"/>
                      <a:pt x="501" y="176"/>
                      <a:pt x="506" y="170"/>
                    </a:cubicBezTo>
                    <a:cubicBezTo>
                      <a:pt x="511" y="164"/>
                      <a:pt x="514" y="155"/>
                      <a:pt x="514" y="142"/>
                    </a:cubicBezTo>
                    <a:cubicBezTo>
                      <a:pt x="514" y="129"/>
                      <a:pt x="507" y="119"/>
                      <a:pt x="504" y="113"/>
                    </a:cubicBezTo>
                    <a:cubicBezTo>
                      <a:pt x="501" y="107"/>
                      <a:pt x="493" y="95"/>
                      <a:pt x="478" y="85"/>
                    </a:cubicBezTo>
                    <a:cubicBezTo>
                      <a:pt x="463" y="75"/>
                      <a:pt x="450" y="45"/>
                      <a:pt x="438" y="20"/>
                    </a:cubicBezTo>
                    <a:cubicBezTo>
                      <a:pt x="433" y="10"/>
                      <a:pt x="427" y="4"/>
                      <a:pt x="421" y="0"/>
                    </a:cubicBezTo>
                    <a:cubicBezTo>
                      <a:pt x="416" y="1"/>
                      <a:pt x="411" y="2"/>
                      <a:pt x="407" y="4"/>
                    </a:cubicBezTo>
                    <a:cubicBezTo>
                      <a:pt x="397" y="8"/>
                      <a:pt x="385" y="9"/>
                      <a:pt x="379" y="20"/>
                    </a:cubicBezTo>
                    <a:cubicBezTo>
                      <a:pt x="373" y="31"/>
                      <a:pt x="360" y="28"/>
                      <a:pt x="352" y="28"/>
                    </a:cubicBezTo>
                    <a:cubicBezTo>
                      <a:pt x="344" y="28"/>
                      <a:pt x="335" y="31"/>
                      <a:pt x="328" y="31"/>
                    </a:cubicBezTo>
                    <a:cubicBezTo>
                      <a:pt x="321" y="31"/>
                      <a:pt x="314" y="38"/>
                      <a:pt x="304" y="48"/>
                    </a:cubicBezTo>
                    <a:cubicBezTo>
                      <a:pt x="294" y="58"/>
                      <a:pt x="288" y="33"/>
                      <a:pt x="279" y="28"/>
                    </a:cubicBezTo>
                    <a:cubicBezTo>
                      <a:pt x="270" y="23"/>
                      <a:pt x="240" y="29"/>
                      <a:pt x="228" y="29"/>
                    </a:cubicBezTo>
                    <a:cubicBezTo>
                      <a:pt x="216" y="29"/>
                      <a:pt x="206" y="20"/>
                      <a:pt x="191" y="18"/>
                    </a:cubicBezTo>
                    <a:cubicBezTo>
                      <a:pt x="183" y="17"/>
                      <a:pt x="176" y="18"/>
                      <a:pt x="171" y="20"/>
                    </a:cubicBezTo>
                    <a:cubicBezTo>
                      <a:pt x="173" y="24"/>
                      <a:pt x="173" y="29"/>
                      <a:pt x="169" y="32"/>
                    </a:cubicBezTo>
                    <a:cubicBezTo>
                      <a:pt x="163" y="38"/>
                      <a:pt x="149" y="40"/>
                      <a:pt x="138" y="44"/>
                    </a:cubicBezTo>
                    <a:cubicBezTo>
                      <a:pt x="128" y="48"/>
                      <a:pt x="117" y="65"/>
                      <a:pt x="105" y="76"/>
                    </a:cubicBezTo>
                    <a:cubicBezTo>
                      <a:pt x="92" y="86"/>
                      <a:pt x="82" y="121"/>
                      <a:pt x="73" y="142"/>
                    </a:cubicBezTo>
                    <a:cubicBezTo>
                      <a:pt x="64" y="163"/>
                      <a:pt x="53" y="159"/>
                      <a:pt x="41" y="160"/>
                    </a:cubicBezTo>
                    <a:cubicBezTo>
                      <a:pt x="30" y="161"/>
                      <a:pt x="29" y="170"/>
                      <a:pt x="16" y="170"/>
                    </a:cubicBezTo>
                    <a:cubicBezTo>
                      <a:pt x="3" y="169"/>
                      <a:pt x="0" y="175"/>
                      <a:pt x="6" y="180"/>
                    </a:cubicBezTo>
                    <a:cubicBezTo>
                      <a:pt x="11" y="185"/>
                      <a:pt x="16" y="190"/>
                      <a:pt x="23" y="198"/>
                    </a:cubicBezTo>
                    <a:cubicBezTo>
                      <a:pt x="30" y="206"/>
                      <a:pt x="33" y="211"/>
                      <a:pt x="36" y="224"/>
                    </a:cubicBezTo>
                    <a:cubicBezTo>
                      <a:pt x="40" y="238"/>
                      <a:pt x="54" y="244"/>
                      <a:pt x="63" y="242"/>
                    </a:cubicBezTo>
                    <a:cubicBezTo>
                      <a:pt x="71" y="241"/>
                      <a:pt x="77" y="245"/>
                      <a:pt x="79" y="252"/>
                    </a:cubicBezTo>
                    <a:cubicBezTo>
                      <a:pt x="81" y="259"/>
                      <a:pt x="81" y="259"/>
                      <a:pt x="73" y="269"/>
                    </a:cubicBezTo>
                    <a:cubicBezTo>
                      <a:pt x="64" y="278"/>
                      <a:pt x="82" y="281"/>
                      <a:pt x="85" y="285"/>
                    </a:cubicBezTo>
                    <a:cubicBezTo>
                      <a:pt x="87" y="290"/>
                      <a:pt x="105" y="290"/>
                      <a:pt x="114" y="297"/>
                    </a:cubicBezTo>
                    <a:cubicBezTo>
                      <a:pt x="122" y="305"/>
                      <a:pt x="136" y="294"/>
                      <a:pt x="139" y="286"/>
                    </a:cubicBezTo>
                    <a:cubicBezTo>
                      <a:pt x="142" y="278"/>
                      <a:pt x="150" y="287"/>
                      <a:pt x="157" y="291"/>
                    </a:cubicBezTo>
                    <a:cubicBezTo>
                      <a:pt x="163" y="295"/>
                      <a:pt x="161" y="297"/>
                      <a:pt x="157" y="303"/>
                    </a:cubicBezTo>
                    <a:cubicBezTo>
                      <a:pt x="153" y="310"/>
                      <a:pt x="156" y="313"/>
                      <a:pt x="156" y="323"/>
                    </a:cubicBezTo>
                    <a:cubicBezTo>
                      <a:pt x="156" y="328"/>
                      <a:pt x="156" y="330"/>
                      <a:pt x="155" y="331"/>
                    </a:cubicBezTo>
                    <a:cubicBezTo>
                      <a:pt x="156" y="332"/>
                      <a:pt x="157" y="333"/>
                      <a:pt x="159" y="333"/>
                    </a:cubicBezTo>
                    <a:cubicBezTo>
                      <a:pt x="164" y="334"/>
                      <a:pt x="169" y="338"/>
                      <a:pt x="169" y="343"/>
                    </a:cubicBezTo>
                    <a:cubicBezTo>
                      <a:pt x="170" y="348"/>
                      <a:pt x="170" y="363"/>
                      <a:pt x="189" y="359"/>
                    </a:cubicBezTo>
                    <a:cubicBezTo>
                      <a:pt x="208" y="354"/>
                      <a:pt x="214" y="353"/>
                      <a:pt x="219" y="357"/>
                    </a:cubicBezTo>
                    <a:cubicBezTo>
                      <a:pt x="225" y="361"/>
                      <a:pt x="235" y="364"/>
                      <a:pt x="247" y="365"/>
                    </a:cubicBezTo>
                    <a:cubicBezTo>
                      <a:pt x="259" y="366"/>
                      <a:pt x="268" y="359"/>
                      <a:pt x="275" y="363"/>
                    </a:cubicBezTo>
                    <a:cubicBezTo>
                      <a:pt x="283" y="367"/>
                      <a:pt x="299" y="368"/>
                      <a:pt x="305" y="368"/>
                    </a:cubicBezTo>
                    <a:cubicBezTo>
                      <a:pt x="310" y="368"/>
                      <a:pt x="321" y="365"/>
                      <a:pt x="324" y="369"/>
                    </a:cubicBezTo>
                    <a:cubicBezTo>
                      <a:pt x="327" y="373"/>
                      <a:pt x="336" y="378"/>
                      <a:pt x="343" y="371"/>
                    </a:cubicBezTo>
                    <a:cubicBezTo>
                      <a:pt x="350" y="365"/>
                      <a:pt x="365" y="359"/>
                      <a:pt x="370" y="351"/>
                    </a:cubicBezTo>
                    <a:cubicBezTo>
                      <a:pt x="375" y="342"/>
                      <a:pt x="392" y="338"/>
                      <a:pt x="401" y="338"/>
                    </a:cubicBezTo>
                    <a:cubicBezTo>
                      <a:pt x="410" y="338"/>
                      <a:pt x="423" y="329"/>
                      <a:pt x="434" y="329"/>
                    </a:cubicBezTo>
                    <a:cubicBezTo>
                      <a:pt x="445" y="330"/>
                      <a:pt x="451" y="332"/>
                      <a:pt x="464" y="338"/>
                    </a:cubicBezTo>
                    <a:cubicBezTo>
                      <a:pt x="477" y="344"/>
                      <a:pt x="487" y="341"/>
                      <a:pt x="490" y="346"/>
                    </a:cubicBezTo>
                    <a:cubicBezTo>
                      <a:pt x="493" y="352"/>
                      <a:pt x="497" y="358"/>
                      <a:pt x="505" y="359"/>
                    </a:cubicBezTo>
                    <a:cubicBezTo>
                      <a:pt x="513" y="360"/>
                      <a:pt x="529" y="363"/>
                      <a:pt x="543" y="365"/>
                    </a:cubicBezTo>
                    <a:cubicBezTo>
                      <a:pt x="543" y="351"/>
                      <a:pt x="536" y="335"/>
                      <a:pt x="537" y="322"/>
                    </a:cubicBezTo>
                    <a:cubicBezTo>
                      <a:pt x="540" y="300"/>
                      <a:pt x="554" y="306"/>
                      <a:pt x="557" y="290"/>
                    </a:cubicBezTo>
                    <a:cubicBezTo>
                      <a:pt x="560" y="275"/>
                      <a:pt x="563" y="282"/>
                      <a:pt x="575" y="279"/>
                    </a:cubicBezTo>
                    <a:cubicBezTo>
                      <a:pt x="586" y="276"/>
                      <a:pt x="597" y="279"/>
                      <a:pt x="605" y="263"/>
                    </a:cubicBezTo>
                    <a:cubicBezTo>
                      <a:pt x="608" y="255"/>
                      <a:pt x="608" y="247"/>
                      <a:pt x="606" y="24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7" name="Freeform 100">
                <a:extLst>
                  <a:ext uri="{FF2B5EF4-FFF2-40B4-BE49-F238E27FC236}">
                    <a16:creationId xmlns:a16="http://schemas.microsoft.com/office/drawing/2014/main" id="{9F199BED-4F7C-4D43-A4B5-25CBA0ACEA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8" y="1817"/>
                <a:ext cx="104" cy="57"/>
              </a:xfrm>
              <a:custGeom>
                <a:avLst/>
                <a:gdLst>
                  <a:gd name="T0" fmla="*/ 13 w 411"/>
                  <a:gd name="T1" fmla="*/ 154 h 227"/>
                  <a:gd name="T2" fmla="*/ 33 w 411"/>
                  <a:gd name="T3" fmla="*/ 168 h 227"/>
                  <a:gd name="T4" fmla="*/ 57 w 411"/>
                  <a:gd name="T5" fmla="*/ 186 h 227"/>
                  <a:gd name="T6" fmla="*/ 98 w 411"/>
                  <a:gd name="T7" fmla="*/ 205 h 227"/>
                  <a:gd name="T8" fmla="*/ 137 w 411"/>
                  <a:gd name="T9" fmla="*/ 202 h 227"/>
                  <a:gd name="T10" fmla="*/ 174 w 411"/>
                  <a:gd name="T11" fmla="*/ 218 h 227"/>
                  <a:gd name="T12" fmla="*/ 215 w 411"/>
                  <a:gd name="T13" fmla="*/ 224 h 227"/>
                  <a:gd name="T14" fmla="*/ 239 w 411"/>
                  <a:gd name="T15" fmla="*/ 210 h 227"/>
                  <a:gd name="T16" fmla="*/ 250 w 411"/>
                  <a:gd name="T17" fmla="*/ 187 h 227"/>
                  <a:gd name="T18" fmla="*/ 264 w 411"/>
                  <a:gd name="T19" fmla="*/ 181 h 227"/>
                  <a:gd name="T20" fmla="*/ 282 w 411"/>
                  <a:gd name="T21" fmla="*/ 167 h 227"/>
                  <a:gd name="T22" fmla="*/ 300 w 411"/>
                  <a:gd name="T23" fmla="*/ 164 h 227"/>
                  <a:gd name="T24" fmla="*/ 325 w 411"/>
                  <a:gd name="T25" fmla="*/ 165 h 227"/>
                  <a:gd name="T26" fmla="*/ 351 w 411"/>
                  <a:gd name="T27" fmla="*/ 171 h 227"/>
                  <a:gd name="T28" fmla="*/ 365 w 411"/>
                  <a:gd name="T29" fmla="*/ 170 h 227"/>
                  <a:gd name="T30" fmla="*/ 355 w 411"/>
                  <a:gd name="T31" fmla="*/ 143 h 227"/>
                  <a:gd name="T32" fmla="*/ 365 w 411"/>
                  <a:gd name="T33" fmla="*/ 75 h 227"/>
                  <a:gd name="T34" fmla="*/ 401 w 411"/>
                  <a:gd name="T35" fmla="*/ 56 h 227"/>
                  <a:gd name="T36" fmla="*/ 411 w 411"/>
                  <a:gd name="T37" fmla="*/ 36 h 227"/>
                  <a:gd name="T38" fmla="*/ 373 w 411"/>
                  <a:gd name="T39" fmla="*/ 30 h 227"/>
                  <a:gd name="T40" fmla="*/ 358 w 411"/>
                  <a:gd name="T41" fmla="*/ 17 h 227"/>
                  <a:gd name="T42" fmla="*/ 332 w 411"/>
                  <a:gd name="T43" fmla="*/ 9 h 227"/>
                  <a:gd name="T44" fmla="*/ 302 w 411"/>
                  <a:gd name="T45" fmla="*/ 0 h 227"/>
                  <a:gd name="T46" fmla="*/ 269 w 411"/>
                  <a:gd name="T47" fmla="*/ 9 h 227"/>
                  <a:gd name="T48" fmla="*/ 238 w 411"/>
                  <a:gd name="T49" fmla="*/ 22 h 227"/>
                  <a:gd name="T50" fmla="*/ 211 w 411"/>
                  <a:gd name="T51" fmla="*/ 42 h 227"/>
                  <a:gd name="T52" fmla="*/ 192 w 411"/>
                  <a:gd name="T53" fmla="*/ 40 h 227"/>
                  <a:gd name="T54" fmla="*/ 173 w 411"/>
                  <a:gd name="T55" fmla="*/ 39 h 227"/>
                  <a:gd name="T56" fmla="*/ 143 w 411"/>
                  <a:gd name="T57" fmla="*/ 34 h 227"/>
                  <a:gd name="T58" fmla="*/ 115 w 411"/>
                  <a:gd name="T59" fmla="*/ 36 h 227"/>
                  <a:gd name="T60" fmla="*/ 87 w 411"/>
                  <a:gd name="T61" fmla="*/ 28 h 227"/>
                  <a:gd name="T62" fmla="*/ 57 w 411"/>
                  <a:gd name="T63" fmla="*/ 30 h 227"/>
                  <a:gd name="T64" fmla="*/ 37 w 411"/>
                  <a:gd name="T65" fmla="*/ 14 h 227"/>
                  <a:gd name="T66" fmla="*/ 27 w 411"/>
                  <a:gd name="T67" fmla="*/ 4 h 227"/>
                  <a:gd name="T68" fmla="*/ 23 w 411"/>
                  <a:gd name="T69" fmla="*/ 2 h 227"/>
                  <a:gd name="T70" fmla="*/ 15 w 411"/>
                  <a:gd name="T71" fmla="*/ 6 h 227"/>
                  <a:gd name="T72" fmla="*/ 5 w 411"/>
                  <a:gd name="T73" fmla="*/ 24 h 227"/>
                  <a:gd name="T74" fmla="*/ 11 w 411"/>
                  <a:gd name="T75" fmla="*/ 39 h 227"/>
                  <a:gd name="T76" fmla="*/ 19 w 411"/>
                  <a:gd name="T77" fmla="*/ 54 h 227"/>
                  <a:gd name="T78" fmla="*/ 42 w 411"/>
                  <a:gd name="T79" fmla="*/ 75 h 227"/>
                  <a:gd name="T80" fmla="*/ 34 w 411"/>
                  <a:gd name="T81" fmla="*/ 94 h 227"/>
                  <a:gd name="T82" fmla="*/ 11 w 411"/>
                  <a:gd name="T83" fmla="*/ 103 h 227"/>
                  <a:gd name="T84" fmla="*/ 5 w 411"/>
                  <a:gd name="T85" fmla="*/ 112 h 227"/>
                  <a:gd name="T86" fmla="*/ 9 w 411"/>
                  <a:gd name="T87" fmla="*/ 132 h 227"/>
                  <a:gd name="T88" fmla="*/ 4 w 411"/>
                  <a:gd name="T89" fmla="*/ 139 h 227"/>
                  <a:gd name="T90" fmla="*/ 13 w 411"/>
                  <a:gd name="T91" fmla="*/ 154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1" h="227">
                    <a:moveTo>
                      <a:pt x="13" y="154"/>
                    </a:moveTo>
                    <a:cubicBezTo>
                      <a:pt x="20" y="159"/>
                      <a:pt x="29" y="166"/>
                      <a:pt x="33" y="168"/>
                    </a:cubicBezTo>
                    <a:cubicBezTo>
                      <a:pt x="36" y="171"/>
                      <a:pt x="51" y="179"/>
                      <a:pt x="57" y="186"/>
                    </a:cubicBezTo>
                    <a:cubicBezTo>
                      <a:pt x="63" y="192"/>
                      <a:pt x="85" y="206"/>
                      <a:pt x="98" y="205"/>
                    </a:cubicBezTo>
                    <a:cubicBezTo>
                      <a:pt x="111" y="204"/>
                      <a:pt x="127" y="200"/>
                      <a:pt x="137" y="202"/>
                    </a:cubicBezTo>
                    <a:cubicBezTo>
                      <a:pt x="146" y="204"/>
                      <a:pt x="168" y="213"/>
                      <a:pt x="174" y="218"/>
                    </a:cubicBezTo>
                    <a:cubicBezTo>
                      <a:pt x="180" y="223"/>
                      <a:pt x="205" y="227"/>
                      <a:pt x="215" y="224"/>
                    </a:cubicBezTo>
                    <a:cubicBezTo>
                      <a:pt x="226" y="221"/>
                      <a:pt x="238" y="221"/>
                      <a:pt x="239" y="210"/>
                    </a:cubicBezTo>
                    <a:cubicBezTo>
                      <a:pt x="239" y="200"/>
                      <a:pt x="243" y="188"/>
                      <a:pt x="250" y="187"/>
                    </a:cubicBezTo>
                    <a:cubicBezTo>
                      <a:pt x="257" y="185"/>
                      <a:pt x="259" y="190"/>
                      <a:pt x="264" y="181"/>
                    </a:cubicBezTo>
                    <a:cubicBezTo>
                      <a:pt x="269" y="171"/>
                      <a:pt x="273" y="167"/>
                      <a:pt x="282" y="167"/>
                    </a:cubicBezTo>
                    <a:cubicBezTo>
                      <a:pt x="292" y="167"/>
                      <a:pt x="295" y="171"/>
                      <a:pt x="300" y="164"/>
                    </a:cubicBezTo>
                    <a:cubicBezTo>
                      <a:pt x="306" y="157"/>
                      <a:pt x="313" y="157"/>
                      <a:pt x="325" y="165"/>
                    </a:cubicBezTo>
                    <a:cubicBezTo>
                      <a:pt x="337" y="173"/>
                      <a:pt x="343" y="171"/>
                      <a:pt x="351" y="171"/>
                    </a:cubicBezTo>
                    <a:cubicBezTo>
                      <a:pt x="355" y="171"/>
                      <a:pt x="360" y="171"/>
                      <a:pt x="365" y="170"/>
                    </a:cubicBezTo>
                    <a:cubicBezTo>
                      <a:pt x="361" y="160"/>
                      <a:pt x="358" y="151"/>
                      <a:pt x="355" y="143"/>
                    </a:cubicBezTo>
                    <a:cubicBezTo>
                      <a:pt x="349" y="126"/>
                      <a:pt x="362" y="93"/>
                      <a:pt x="365" y="75"/>
                    </a:cubicBezTo>
                    <a:cubicBezTo>
                      <a:pt x="368" y="56"/>
                      <a:pt x="379" y="69"/>
                      <a:pt x="401" y="56"/>
                    </a:cubicBezTo>
                    <a:cubicBezTo>
                      <a:pt x="409" y="51"/>
                      <a:pt x="411" y="44"/>
                      <a:pt x="411" y="36"/>
                    </a:cubicBezTo>
                    <a:cubicBezTo>
                      <a:pt x="397" y="34"/>
                      <a:pt x="381" y="31"/>
                      <a:pt x="373" y="30"/>
                    </a:cubicBezTo>
                    <a:cubicBezTo>
                      <a:pt x="365" y="29"/>
                      <a:pt x="361" y="23"/>
                      <a:pt x="358" y="17"/>
                    </a:cubicBezTo>
                    <a:cubicBezTo>
                      <a:pt x="355" y="12"/>
                      <a:pt x="345" y="15"/>
                      <a:pt x="332" y="9"/>
                    </a:cubicBezTo>
                    <a:cubicBezTo>
                      <a:pt x="319" y="3"/>
                      <a:pt x="313" y="1"/>
                      <a:pt x="302" y="0"/>
                    </a:cubicBezTo>
                    <a:cubicBezTo>
                      <a:pt x="291" y="0"/>
                      <a:pt x="278" y="9"/>
                      <a:pt x="269" y="9"/>
                    </a:cubicBezTo>
                    <a:cubicBezTo>
                      <a:pt x="260" y="9"/>
                      <a:pt x="243" y="13"/>
                      <a:pt x="238" y="22"/>
                    </a:cubicBezTo>
                    <a:cubicBezTo>
                      <a:pt x="233" y="30"/>
                      <a:pt x="218" y="36"/>
                      <a:pt x="211" y="42"/>
                    </a:cubicBezTo>
                    <a:cubicBezTo>
                      <a:pt x="204" y="49"/>
                      <a:pt x="195" y="44"/>
                      <a:pt x="192" y="40"/>
                    </a:cubicBezTo>
                    <a:cubicBezTo>
                      <a:pt x="189" y="36"/>
                      <a:pt x="178" y="39"/>
                      <a:pt x="173" y="39"/>
                    </a:cubicBezTo>
                    <a:cubicBezTo>
                      <a:pt x="167" y="39"/>
                      <a:pt x="151" y="38"/>
                      <a:pt x="143" y="34"/>
                    </a:cubicBezTo>
                    <a:cubicBezTo>
                      <a:pt x="136" y="30"/>
                      <a:pt x="127" y="37"/>
                      <a:pt x="115" y="36"/>
                    </a:cubicBezTo>
                    <a:cubicBezTo>
                      <a:pt x="103" y="35"/>
                      <a:pt x="93" y="32"/>
                      <a:pt x="87" y="28"/>
                    </a:cubicBezTo>
                    <a:cubicBezTo>
                      <a:pt x="82" y="24"/>
                      <a:pt x="76" y="25"/>
                      <a:pt x="57" y="30"/>
                    </a:cubicBezTo>
                    <a:cubicBezTo>
                      <a:pt x="38" y="34"/>
                      <a:pt x="38" y="19"/>
                      <a:pt x="37" y="14"/>
                    </a:cubicBezTo>
                    <a:cubicBezTo>
                      <a:pt x="37" y="9"/>
                      <a:pt x="32" y="5"/>
                      <a:pt x="27" y="4"/>
                    </a:cubicBezTo>
                    <a:cubicBezTo>
                      <a:pt x="25" y="4"/>
                      <a:pt x="24" y="3"/>
                      <a:pt x="23" y="2"/>
                    </a:cubicBezTo>
                    <a:cubicBezTo>
                      <a:pt x="21" y="3"/>
                      <a:pt x="19" y="4"/>
                      <a:pt x="15" y="6"/>
                    </a:cubicBezTo>
                    <a:cubicBezTo>
                      <a:pt x="8" y="10"/>
                      <a:pt x="10" y="11"/>
                      <a:pt x="5" y="24"/>
                    </a:cubicBezTo>
                    <a:cubicBezTo>
                      <a:pt x="1" y="36"/>
                      <a:pt x="7" y="37"/>
                      <a:pt x="11" y="39"/>
                    </a:cubicBezTo>
                    <a:cubicBezTo>
                      <a:pt x="15" y="42"/>
                      <a:pt x="18" y="47"/>
                      <a:pt x="19" y="54"/>
                    </a:cubicBezTo>
                    <a:cubicBezTo>
                      <a:pt x="20" y="62"/>
                      <a:pt x="37" y="66"/>
                      <a:pt x="42" y="75"/>
                    </a:cubicBezTo>
                    <a:cubicBezTo>
                      <a:pt x="47" y="84"/>
                      <a:pt x="39" y="87"/>
                      <a:pt x="34" y="94"/>
                    </a:cubicBezTo>
                    <a:cubicBezTo>
                      <a:pt x="30" y="102"/>
                      <a:pt x="20" y="103"/>
                      <a:pt x="11" y="103"/>
                    </a:cubicBezTo>
                    <a:cubicBezTo>
                      <a:pt x="2" y="103"/>
                      <a:pt x="0" y="106"/>
                      <a:pt x="5" y="112"/>
                    </a:cubicBezTo>
                    <a:cubicBezTo>
                      <a:pt x="10" y="118"/>
                      <a:pt x="9" y="123"/>
                      <a:pt x="9" y="132"/>
                    </a:cubicBezTo>
                    <a:cubicBezTo>
                      <a:pt x="9" y="136"/>
                      <a:pt x="7" y="138"/>
                      <a:pt x="4" y="139"/>
                    </a:cubicBezTo>
                    <a:cubicBezTo>
                      <a:pt x="5" y="144"/>
                      <a:pt x="8" y="151"/>
                      <a:pt x="13" y="15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8" name="Freeform 101">
                <a:extLst>
                  <a:ext uri="{FF2B5EF4-FFF2-40B4-BE49-F238E27FC236}">
                    <a16:creationId xmlns:a16="http://schemas.microsoft.com/office/drawing/2014/main" id="{8F8C8E00-54AD-364C-AB6E-3D8697AB0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8" y="1851"/>
                <a:ext cx="40" cy="30"/>
              </a:xfrm>
              <a:custGeom>
                <a:avLst/>
                <a:gdLst>
                  <a:gd name="T0" fmla="*/ 53 w 157"/>
                  <a:gd name="T1" fmla="*/ 114 h 118"/>
                  <a:gd name="T2" fmla="*/ 88 w 157"/>
                  <a:gd name="T3" fmla="*/ 111 h 118"/>
                  <a:gd name="T4" fmla="*/ 103 w 157"/>
                  <a:gd name="T5" fmla="*/ 98 h 118"/>
                  <a:gd name="T6" fmla="*/ 147 w 157"/>
                  <a:gd name="T7" fmla="*/ 96 h 118"/>
                  <a:gd name="T8" fmla="*/ 154 w 157"/>
                  <a:gd name="T9" fmla="*/ 78 h 118"/>
                  <a:gd name="T10" fmla="*/ 151 w 157"/>
                  <a:gd name="T11" fmla="*/ 49 h 118"/>
                  <a:gd name="T12" fmla="*/ 156 w 157"/>
                  <a:gd name="T13" fmla="*/ 33 h 118"/>
                  <a:gd name="T14" fmla="*/ 152 w 157"/>
                  <a:gd name="T15" fmla="*/ 30 h 118"/>
                  <a:gd name="T16" fmla="*/ 132 w 157"/>
                  <a:gd name="T17" fmla="*/ 16 h 118"/>
                  <a:gd name="T18" fmla="*/ 123 w 157"/>
                  <a:gd name="T19" fmla="*/ 1 h 118"/>
                  <a:gd name="T20" fmla="*/ 108 w 157"/>
                  <a:gd name="T21" fmla="*/ 2 h 118"/>
                  <a:gd name="T22" fmla="*/ 82 w 157"/>
                  <a:gd name="T23" fmla="*/ 5 h 118"/>
                  <a:gd name="T24" fmla="*/ 60 w 157"/>
                  <a:gd name="T25" fmla="*/ 14 h 118"/>
                  <a:gd name="T26" fmla="*/ 27 w 157"/>
                  <a:gd name="T27" fmla="*/ 21 h 118"/>
                  <a:gd name="T28" fmla="*/ 6 w 157"/>
                  <a:gd name="T29" fmla="*/ 48 h 118"/>
                  <a:gd name="T30" fmla="*/ 5 w 157"/>
                  <a:gd name="T31" fmla="*/ 91 h 118"/>
                  <a:gd name="T32" fmla="*/ 33 w 157"/>
                  <a:gd name="T33" fmla="*/ 118 h 118"/>
                  <a:gd name="T34" fmla="*/ 53 w 157"/>
                  <a:gd name="T35" fmla="*/ 11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118">
                    <a:moveTo>
                      <a:pt x="53" y="114"/>
                    </a:moveTo>
                    <a:cubicBezTo>
                      <a:pt x="70" y="117"/>
                      <a:pt x="86" y="116"/>
                      <a:pt x="88" y="111"/>
                    </a:cubicBezTo>
                    <a:cubicBezTo>
                      <a:pt x="90" y="105"/>
                      <a:pt x="94" y="98"/>
                      <a:pt x="103" y="98"/>
                    </a:cubicBezTo>
                    <a:cubicBezTo>
                      <a:pt x="113" y="98"/>
                      <a:pt x="143" y="101"/>
                      <a:pt x="147" y="96"/>
                    </a:cubicBezTo>
                    <a:cubicBezTo>
                      <a:pt x="152" y="90"/>
                      <a:pt x="157" y="89"/>
                      <a:pt x="154" y="78"/>
                    </a:cubicBezTo>
                    <a:cubicBezTo>
                      <a:pt x="152" y="68"/>
                      <a:pt x="148" y="57"/>
                      <a:pt x="151" y="49"/>
                    </a:cubicBezTo>
                    <a:cubicBezTo>
                      <a:pt x="152" y="44"/>
                      <a:pt x="154" y="38"/>
                      <a:pt x="156" y="33"/>
                    </a:cubicBezTo>
                    <a:cubicBezTo>
                      <a:pt x="154" y="32"/>
                      <a:pt x="153" y="31"/>
                      <a:pt x="152" y="30"/>
                    </a:cubicBezTo>
                    <a:cubicBezTo>
                      <a:pt x="148" y="28"/>
                      <a:pt x="139" y="21"/>
                      <a:pt x="132" y="16"/>
                    </a:cubicBezTo>
                    <a:cubicBezTo>
                      <a:pt x="127" y="13"/>
                      <a:pt x="124" y="6"/>
                      <a:pt x="123" y="1"/>
                    </a:cubicBezTo>
                    <a:cubicBezTo>
                      <a:pt x="119" y="3"/>
                      <a:pt x="114" y="3"/>
                      <a:pt x="108" y="2"/>
                    </a:cubicBezTo>
                    <a:cubicBezTo>
                      <a:pt x="97" y="0"/>
                      <a:pt x="90" y="5"/>
                      <a:pt x="82" y="5"/>
                    </a:cubicBezTo>
                    <a:cubicBezTo>
                      <a:pt x="74" y="5"/>
                      <a:pt x="70" y="7"/>
                      <a:pt x="60" y="14"/>
                    </a:cubicBezTo>
                    <a:cubicBezTo>
                      <a:pt x="51" y="20"/>
                      <a:pt x="43" y="21"/>
                      <a:pt x="27" y="21"/>
                    </a:cubicBezTo>
                    <a:cubicBezTo>
                      <a:pt x="10" y="21"/>
                      <a:pt x="12" y="38"/>
                      <a:pt x="6" y="48"/>
                    </a:cubicBezTo>
                    <a:cubicBezTo>
                      <a:pt x="0" y="58"/>
                      <a:pt x="5" y="76"/>
                      <a:pt x="5" y="91"/>
                    </a:cubicBezTo>
                    <a:cubicBezTo>
                      <a:pt x="5" y="105"/>
                      <a:pt x="25" y="111"/>
                      <a:pt x="33" y="118"/>
                    </a:cubicBezTo>
                    <a:cubicBezTo>
                      <a:pt x="37" y="115"/>
                      <a:pt x="44" y="113"/>
                      <a:pt x="53" y="1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49" name="Freeform 102">
                <a:extLst>
                  <a:ext uri="{FF2B5EF4-FFF2-40B4-BE49-F238E27FC236}">
                    <a16:creationId xmlns:a16="http://schemas.microsoft.com/office/drawing/2014/main" id="{C647C2FD-1BC7-2642-AE89-CAA97F42A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" y="1693"/>
                <a:ext cx="13" cy="15"/>
              </a:xfrm>
              <a:custGeom>
                <a:avLst/>
                <a:gdLst>
                  <a:gd name="T0" fmla="*/ 12 w 51"/>
                  <a:gd name="T1" fmla="*/ 4 h 57"/>
                  <a:gd name="T2" fmla="*/ 3 w 51"/>
                  <a:gd name="T3" fmla="*/ 25 h 57"/>
                  <a:gd name="T4" fmla="*/ 12 w 51"/>
                  <a:gd name="T5" fmla="*/ 42 h 57"/>
                  <a:gd name="T6" fmla="*/ 12 w 51"/>
                  <a:gd name="T7" fmla="*/ 54 h 57"/>
                  <a:gd name="T8" fmla="*/ 21 w 51"/>
                  <a:gd name="T9" fmla="*/ 55 h 57"/>
                  <a:gd name="T10" fmla="*/ 48 w 51"/>
                  <a:gd name="T11" fmla="*/ 57 h 57"/>
                  <a:gd name="T12" fmla="*/ 50 w 51"/>
                  <a:gd name="T13" fmla="*/ 43 h 57"/>
                  <a:gd name="T14" fmla="*/ 40 w 51"/>
                  <a:gd name="T15" fmla="*/ 23 h 57"/>
                  <a:gd name="T16" fmla="*/ 25 w 51"/>
                  <a:gd name="T17" fmla="*/ 10 h 57"/>
                  <a:gd name="T18" fmla="*/ 25 w 51"/>
                  <a:gd name="T19" fmla="*/ 0 h 57"/>
                  <a:gd name="T20" fmla="*/ 12 w 51"/>
                  <a:gd name="T21" fmla="*/ 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7">
                    <a:moveTo>
                      <a:pt x="12" y="4"/>
                    </a:moveTo>
                    <a:cubicBezTo>
                      <a:pt x="4" y="11"/>
                      <a:pt x="0" y="22"/>
                      <a:pt x="3" y="25"/>
                    </a:cubicBezTo>
                    <a:cubicBezTo>
                      <a:pt x="6" y="29"/>
                      <a:pt x="12" y="35"/>
                      <a:pt x="12" y="42"/>
                    </a:cubicBezTo>
                    <a:cubicBezTo>
                      <a:pt x="12" y="46"/>
                      <a:pt x="12" y="50"/>
                      <a:pt x="12" y="54"/>
                    </a:cubicBezTo>
                    <a:cubicBezTo>
                      <a:pt x="15" y="54"/>
                      <a:pt x="18" y="55"/>
                      <a:pt x="21" y="55"/>
                    </a:cubicBezTo>
                    <a:cubicBezTo>
                      <a:pt x="28" y="55"/>
                      <a:pt x="39" y="54"/>
                      <a:pt x="48" y="57"/>
                    </a:cubicBezTo>
                    <a:cubicBezTo>
                      <a:pt x="49" y="51"/>
                      <a:pt x="51" y="48"/>
                      <a:pt x="50" y="43"/>
                    </a:cubicBezTo>
                    <a:cubicBezTo>
                      <a:pt x="48" y="36"/>
                      <a:pt x="47" y="25"/>
                      <a:pt x="40" y="23"/>
                    </a:cubicBezTo>
                    <a:cubicBezTo>
                      <a:pt x="32" y="21"/>
                      <a:pt x="30" y="18"/>
                      <a:pt x="25" y="10"/>
                    </a:cubicBezTo>
                    <a:cubicBezTo>
                      <a:pt x="23" y="7"/>
                      <a:pt x="23" y="3"/>
                      <a:pt x="25" y="0"/>
                    </a:cubicBezTo>
                    <a:cubicBezTo>
                      <a:pt x="21" y="0"/>
                      <a:pt x="17" y="0"/>
                      <a:pt x="12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0" name="Freeform 103">
                <a:extLst>
                  <a:ext uri="{FF2B5EF4-FFF2-40B4-BE49-F238E27FC236}">
                    <a16:creationId xmlns:a16="http://schemas.microsoft.com/office/drawing/2014/main" id="{B1981656-4CEA-3849-8C1D-4D3C5A0C4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8" y="1663"/>
                <a:ext cx="64" cy="44"/>
              </a:xfrm>
              <a:custGeom>
                <a:avLst/>
                <a:gdLst>
                  <a:gd name="T0" fmla="*/ 195 w 252"/>
                  <a:gd name="T1" fmla="*/ 29 h 173"/>
                  <a:gd name="T2" fmla="*/ 172 w 252"/>
                  <a:gd name="T3" fmla="*/ 9 h 173"/>
                  <a:gd name="T4" fmla="*/ 141 w 252"/>
                  <a:gd name="T5" fmla="*/ 8 h 173"/>
                  <a:gd name="T6" fmla="*/ 114 w 252"/>
                  <a:gd name="T7" fmla="*/ 24 h 173"/>
                  <a:gd name="T8" fmla="*/ 92 w 252"/>
                  <a:gd name="T9" fmla="*/ 26 h 173"/>
                  <a:gd name="T10" fmla="*/ 65 w 252"/>
                  <a:gd name="T11" fmla="*/ 24 h 173"/>
                  <a:gd name="T12" fmla="*/ 57 w 252"/>
                  <a:gd name="T13" fmla="*/ 16 h 173"/>
                  <a:gd name="T14" fmla="*/ 0 w 252"/>
                  <a:gd name="T15" fmla="*/ 34 h 173"/>
                  <a:gd name="T16" fmla="*/ 9 w 252"/>
                  <a:gd name="T17" fmla="*/ 50 h 173"/>
                  <a:gd name="T18" fmla="*/ 27 w 252"/>
                  <a:gd name="T19" fmla="*/ 66 h 173"/>
                  <a:gd name="T20" fmla="*/ 51 w 252"/>
                  <a:gd name="T21" fmla="*/ 74 h 173"/>
                  <a:gd name="T22" fmla="*/ 61 w 252"/>
                  <a:gd name="T23" fmla="*/ 88 h 173"/>
                  <a:gd name="T24" fmla="*/ 85 w 252"/>
                  <a:gd name="T25" fmla="*/ 100 h 173"/>
                  <a:gd name="T26" fmla="*/ 108 w 252"/>
                  <a:gd name="T27" fmla="*/ 112 h 173"/>
                  <a:gd name="T28" fmla="*/ 117 w 252"/>
                  <a:gd name="T29" fmla="*/ 137 h 173"/>
                  <a:gd name="T30" fmla="*/ 135 w 252"/>
                  <a:gd name="T31" fmla="*/ 133 h 173"/>
                  <a:gd name="T32" fmla="*/ 156 w 252"/>
                  <a:gd name="T33" fmla="*/ 132 h 173"/>
                  <a:gd name="T34" fmla="*/ 171 w 252"/>
                  <a:gd name="T35" fmla="*/ 154 h 173"/>
                  <a:gd name="T36" fmla="*/ 189 w 252"/>
                  <a:gd name="T37" fmla="*/ 165 h 173"/>
                  <a:gd name="T38" fmla="*/ 202 w 252"/>
                  <a:gd name="T39" fmla="*/ 172 h 173"/>
                  <a:gd name="T40" fmla="*/ 221 w 252"/>
                  <a:gd name="T41" fmla="*/ 173 h 173"/>
                  <a:gd name="T42" fmla="*/ 221 w 252"/>
                  <a:gd name="T43" fmla="*/ 161 h 173"/>
                  <a:gd name="T44" fmla="*/ 212 w 252"/>
                  <a:gd name="T45" fmla="*/ 144 h 173"/>
                  <a:gd name="T46" fmla="*/ 221 w 252"/>
                  <a:gd name="T47" fmla="*/ 123 h 173"/>
                  <a:gd name="T48" fmla="*/ 234 w 252"/>
                  <a:gd name="T49" fmla="*/ 119 h 173"/>
                  <a:gd name="T50" fmla="*/ 243 w 252"/>
                  <a:gd name="T51" fmla="*/ 110 h 173"/>
                  <a:gd name="T52" fmla="*/ 251 w 252"/>
                  <a:gd name="T53" fmla="*/ 99 h 173"/>
                  <a:gd name="T54" fmla="*/ 242 w 252"/>
                  <a:gd name="T55" fmla="*/ 82 h 173"/>
                  <a:gd name="T56" fmla="*/ 235 w 252"/>
                  <a:gd name="T57" fmla="*/ 60 h 173"/>
                  <a:gd name="T58" fmla="*/ 233 w 252"/>
                  <a:gd name="T59" fmla="*/ 42 h 173"/>
                  <a:gd name="T60" fmla="*/ 220 w 252"/>
                  <a:gd name="T61" fmla="*/ 33 h 173"/>
                  <a:gd name="T62" fmla="*/ 195 w 252"/>
                  <a:gd name="T63" fmla="*/ 2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2" h="173">
                    <a:moveTo>
                      <a:pt x="195" y="29"/>
                    </a:moveTo>
                    <a:cubicBezTo>
                      <a:pt x="182" y="29"/>
                      <a:pt x="179" y="18"/>
                      <a:pt x="172" y="9"/>
                    </a:cubicBezTo>
                    <a:cubicBezTo>
                      <a:pt x="165" y="0"/>
                      <a:pt x="155" y="8"/>
                      <a:pt x="141" y="8"/>
                    </a:cubicBezTo>
                    <a:cubicBezTo>
                      <a:pt x="127" y="8"/>
                      <a:pt x="120" y="20"/>
                      <a:pt x="114" y="24"/>
                    </a:cubicBezTo>
                    <a:cubicBezTo>
                      <a:pt x="108" y="28"/>
                      <a:pt x="100" y="30"/>
                      <a:pt x="92" y="26"/>
                    </a:cubicBezTo>
                    <a:cubicBezTo>
                      <a:pt x="84" y="22"/>
                      <a:pt x="75" y="26"/>
                      <a:pt x="65" y="24"/>
                    </a:cubicBezTo>
                    <a:cubicBezTo>
                      <a:pt x="60" y="23"/>
                      <a:pt x="58" y="19"/>
                      <a:pt x="57" y="16"/>
                    </a:cubicBezTo>
                    <a:cubicBezTo>
                      <a:pt x="41" y="24"/>
                      <a:pt x="20" y="30"/>
                      <a:pt x="0" y="34"/>
                    </a:cubicBezTo>
                    <a:cubicBezTo>
                      <a:pt x="4" y="39"/>
                      <a:pt x="8" y="45"/>
                      <a:pt x="9" y="50"/>
                    </a:cubicBezTo>
                    <a:cubicBezTo>
                      <a:pt x="11" y="58"/>
                      <a:pt x="16" y="64"/>
                      <a:pt x="27" y="66"/>
                    </a:cubicBezTo>
                    <a:cubicBezTo>
                      <a:pt x="39" y="67"/>
                      <a:pt x="49" y="66"/>
                      <a:pt x="51" y="74"/>
                    </a:cubicBezTo>
                    <a:cubicBezTo>
                      <a:pt x="54" y="82"/>
                      <a:pt x="51" y="86"/>
                      <a:pt x="61" y="88"/>
                    </a:cubicBezTo>
                    <a:cubicBezTo>
                      <a:pt x="72" y="90"/>
                      <a:pt x="77" y="96"/>
                      <a:pt x="85" y="100"/>
                    </a:cubicBezTo>
                    <a:cubicBezTo>
                      <a:pt x="93" y="103"/>
                      <a:pt x="108" y="106"/>
                      <a:pt x="108" y="112"/>
                    </a:cubicBezTo>
                    <a:cubicBezTo>
                      <a:pt x="108" y="118"/>
                      <a:pt x="109" y="136"/>
                      <a:pt x="117" y="137"/>
                    </a:cubicBezTo>
                    <a:cubicBezTo>
                      <a:pt x="125" y="138"/>
                      <a:pt x="125" y="133"/>
                      <a:pt x="135" y="133"/>
                    </a:cubicBezTo>
                    <a:cubicBezTo>
                      <a:pt x="146" y="133"/>
                      <a:pt x="149" y="117"/>
                      <a:pt x="156" y="132"/>
                    </a:cubicBezTo>
                    <a:cubicBezTo>
                      <a:pt x="163" y="148"/>
                      <a:pt x="161" y="151"/>
                      <a:pt x="171" y="154"/>
                    </a:cubicBezTo>
                    <a:cubicBezTo>
                      <a:pt x="180" y="158"/>
                      <a:pt x="187" y="159"/>
                      <a:pt x="189" y="165"/>
                    </a:cubicBezTo>
                    <a:cubicBezTo>
                      <a:pt x="192" y="171"/>
                      <a:pt x="193" y="172"/>
                      <a:pt x="202" y="172"/>
                    </a:cubicBezTo>
                    <a:cubicBezTo>
                      <a:pt x="208" y="173"/>
                      <a:pt x="215" y="173"/>
                      <a:pt x="221" y="173"/>
                    </a:cubicBezTo>
                    <a:cubicBezTo>
                      <a:pt x="221" y="169"/>
                      <a:pt x="221" y="165"/>
                      <a:pt x="221" y="161"/>
                    </a:cubicBezTo>
                    <a:cubicBezTo>
                      <a:pt x="221" y="154"/>
                      <a:pt x="215" y="148"/>
                      <a:pt x="212" y="144"/>
                    </a:cubicBezTo>
                    <a:cubicBezTo>
                      <a:pt x="209" y="141"/>
                      <a:pt x="213" y="130"/>
                      <a:pt x="221" y="123"/>
                    </a:cubicBezTo>
                    <a:cubicBezTo>
                      <a:pt x="226" y="119"/>
                      <a:pt x="230" y="119"/>
                      <a:pt x="234" y="119"/>
                    </a:cubicBezTo>
                    <a:cubicBezTo>
                      <a:pt x="236" y="114"/>
                      <a:pt x="240" y="111"/>
                      <a:pt x="243" y="110"/>
                    </a:cubicBezTo>
                    <a:cubicBezTo>
                      <a:pt x="247" y="108"/>
                      <a:pt x="252" y="105"/>
                      <a:pt x="251" y="99"/>
                    </a:cubicBezTo>
                    <a:cubicBezTo>
                      <a:pt x="249" y="93"/>
                      <a:pt x="247" y="89"/>
                      <a:pt x="242" y="82"/>
                    </a:cubicBezTo>
                    <a:cubicBezTo>
                      <a:pt x="237" y="74"/>
                      <a:pt x="235" y="70"/>
                      <a:pt x="235" y="60"/>
                    </a:cubicBezTo>
                    <a:cubicBezTo>
                      <a:pt x="235" y="54"/>
                      <a:pt x="233" y="48"/>
                      <a:pt x="233" y="42"/>
                    </a:cubicBezTo>
                    <a:cubicBezTo>
                      <a:pt x="227" y="40"/>
                      <a:pt x="224" y="36"/>
                      <a:pt x="220" y="33"/>
                    </a:cubicBezTo>
                    <a:cubicBezTo>
                      <a:pt x="214" y="30"/>
                      <a:pt x="209" y="29"/>
                      <a:pt x="195" y="2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1" name="Freeform 104">
                <a:extLst>
                  <a:ext uri="{FF2B5EF4-FFF2-40B4-BE49-F238E27FC236}">
                    <a16:creationId xmlns:a16="http://schemas.microsoft.com/office/drawing/2014/main" id="{43F33918-B027-1A4B-964A-933B25076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3" y="1622"/>
                <a:ext cx="64" cy="52"/>
              </a:xfrm>
              <a:custGeom>
                <a:avLst/>
                <a:gdLst>
                  <a:gd name="T0" fmla="*/ 230 w 255"/>
                  <a:gd name="T1" fmla="*/ 70 h 207"/>
                  <a:gd name="T2" fmla="*/ 240 w 255"/>
                  <a:gd name="T3" fmla="*/ 59 h 207"/>
                  <a:gd name="T4" fmla="*/ 252 w 255"/>
                  <a:gd name="T5" fmla="*/ 37 h 207"/>
                  <a:gd name="T6" fmla="*/ 246 w 255"/>
                  <a:gd name="T7" fmla="*/ 14 h 207"/>
                  <a:gd name="T8" fmla="*/ 238 w 255"/>
                  <a:gd name="T9" fmla="*/ 1 h 207"/>
                  <a:gd name="T10" fmla="*/ 221 w 255"/>
                  <a:gd name="T11" fmla="*/ 1 h 207"/>
                  <a:gd name="T12" fmla="*/ 168 w 255"/>
                  <a:gd name="T13" fmla="*/ 3 h 207"/>
                  <a:gd name="T14" fmla="*/ 132 w 255"/>
                  <a:gd name="T15" fmla="*/ 29 h 207"/>
                  <a:gd name="T16" fmla="*/ 94 w 255"/>
                  <a:gd name="T17" fmla="*/ 50 h 207"/>
                  <a:gd name="T18" fmla="*/ 56 w 255"/>
                  <a:gd name="T19" fmla="*/ 120 h 207"/>
                  <a:gd name="T20" fmla="*/ 13 w 255"/>
                  <a:gd name="T21" fmla="*/ 172 h 207"/>
                  <a:gd name="T22" fmla="*/ 0 w 255"/>
                  <a:gd name="T23" fmla="*/ 181 h 207"/>
                  <a:gd name="T24" fmla="*/ 8 w 255"/>
                  <a:gd name="T25" fmla="*/ 189 h 207"/>
                  <a:gd name="T26" fmla="*/ 35 w 255"/>
                  <a:gd name="T27" fmla="*/ 191 h 207"/>
                  <a:gd name="T28" fmla="*/ 57 w 255"/>
                  <a:gd name="T29" fmla="*/ 189 h 207"/>
                  <a:gd name="T30" fmla="*/ 84 w 255"/>
                  <a:gd name="T31" fmla="*/ 173 h 207"/>
                  <a:gd name="T32" fmla="*/ 115 w 255"/>
                  <a:gd name="T33" fmla="*/ 174 h 207"/>
                  <a:gd name="T34" fmla="*/ 138 w 255"/>
                  <a:gd name="T35" fmla="*/ 194 h 207"/>
                  <a:gd name="T36" fmla="*/ 163 w 255"/>
                  <a:gd name="T37" fmla="*/ 198 h 207"/>
                  <a:gd name="T38" fmla="*/ 176 w 255"/>
                  <a:gd name="T39" fmla="*/ 207 h 207"/>
                  <a:gd name="T40" fmla="*/ 177 w 255"/>
                  <a:gd name="T41" fmla="*/ 198 h 207"/>
                  <a:gd name="T42" fmla="*/ 184 w 255"/>
                  <a:gd name="T43" fmla="*/ 179 h 207"/>
                  <a:gd name="T44" fmla="*/ 174 w 255"/>
                  <a:gd name="T45" fmla="*/ 163 h 207"/>
                  <a:gd name="T46" fmla="*/ 169 w 255"/>
                  <a:gd name="T47" fmla="*/ 148 h 207"/>
                  <a:gd name="T48" fmla="*/ 185 w 255"/>
                  <a:gd name="T49" fmla="*/ 141 h 207"/>
                  <a:gd name="T50" fmla="*/ 208 w 255"/>
                  <a:gd name="T51" fmla="*/ 137 h 207"/>
                  <a:gd name="T52" fmla="*/ 226 w 255"/>
                  <a:gd name="T53" fmla="*/ 116 h 207"/>
                  <a:gd name="T54" fmla="*/ 242 w 255"/>
                  <a:gd name="T55" fmla="*/ 101 h 207"/>
                  <a:gd name="T56" fmla="*/ 226 w 255"/>
                  <a:gd name="T57" fmla="*/ 91 h 207"/>
                  <a:gd name="T58" fmla="*/ 218 w 255"/>
                  <a:gd name="T59" fmla="*/ 82 h 207"/>
                  <a:gd name="T60" fmla="*/ 230 w 255"/>
                  <a:gd name="T61" fmla="*/ 7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55" h="207">
                    <a:moveTo>
                      <a:pt x="230" y="70"/>
                    </a:moveTo>
                    <a:cubicBezTo>
                      <a:pt x="238" y="68"/>
                      <a:pt x="240" y="63"/>
                      <a:pt x="240" y="59"/>
                    </a:cubicBezTo>
                    <a:cubicBezTo>
                      <a:pt x="240" y="55"/>
                      <a:pt x="248" y="44"/>
                      <a:pt x="252" y="37"/>
                    </a:cubicBezTo>
                    <a:cubicBezTo>
                      <a:pt x="255" y="31"/>
                      <a:pt x="248" y="22"/>
                      <a:pt x="246" y="14"/>
                    </a:cubicBezTo>
                    <a:cubicBezTo>
                      <a:pt x="245" y="10"/>
                      <a:pt x="241" y="5"/>
                      <a:pt x="238" y="1"/>
                    </a:cubicBezTo>
                    <a:cubicBezTo>
                      <a:pt x="235" y="3"/>
                      <a:pt x="227" y="2"/>
                      <a:pt x="221" y="1"/>
                    </a:cubicBezTo>
                    <a:cubicBezTo>
                      <a:pt x="211" y="0"/>
                      <a:pt x="191" y="3"/>
                      <a:pt x="168" y="3"/>
                    </a:cubicBezTo>
                    <a:cubicBezTo>
                      <a:pt x="145" y="3"/>
                      <a:pt x="144" y="11"/>
                      <a:pt x="132" y="29"/>
                    </a:cubicBezTo>
                    <a:cubicBezTo>
                      <a:pt x="121" y="46"/>
                      <a:pt x="116" y="44"/>
                      <a:pt x="94" y="50"/>
                    </a:cubicBezTo>
                    <a:cubicBezTo>
                      <a:pt x="71" y="56"/>
                      <a:pt x="59" y="96"/>
                      <a:pt x="56" y="120"/>
                    </a:cubicBezTo>
                    <a:cubicBezTo>
                      <a:pt x="53" y="145"/>
                      <a:pt x="35" y="155"/>
                      <a:pt x="13" y="172"/>
                    </a:cubicBezTo>
                    <a:cubicBezTo>
                      <a:pt x="9" y="175"/>
                      <a:pt x="5" y="178"/>
                      <a:pt x="0" y="181"/>
                    </a:cubicBezTo>
                    <a:cubicBezTo>
                      <a:pt x="1" y="184"/>
                      <a:pt x="3" y="188"/>
                      <a:pt x="8" y="189"/>
                    </a:cubicBezTo>
                    <a:cubicBezTo>
                      <a:pt x="18" y="191"/>
                      <a:pt x="27" y="187"/>
                      <a:pt x="35" y="191"/>
                    </a:cubicBezTo>
                    <a:cubicBezTo>
                      <a:pt x="43" y="195"/>
                      <a:pt x="51" y="193"/>
                      <a:pt x="57" y="189"/>
                    </a:cubicBezTo>
                    <a:cubicBezTo>
                      <a:pt x="63" y="185"/>
                      <a:pt x="70" y="173"/>
                      <a:pt x="84" y="173"/>
                    </a:cubicBezTo>
                    <a:cubicBezTo>
                      <a:pt x="98" y="173"/>
                      <a:pt x="108" y="165"/>
                      <a:pt x="115" y="174"/>
                    </a:cubicBezTo>
                    <a:cubicBezTo>
                      <a:pt x="122" y="183"/>
                      <a:pt x="125" y="194"/>
                      <a:pt x="138" y="194"/>
                    </a:cubicBezTo>
                    <a:cubicBezTo>
                      <a:pt x="152" y="194"/>
                      <a:pt x="157" y="195"/>
                      <a:pt x="163" y="198"/>
                    </a:cubicBezTo>
                    <a:cubicBezTo>
                      <a:pt x="167" y="201"/>
                      <a:pt x="170" y="205"/>
                      <a:pt x="176" y="207"/>
                    </a:cubicBezTo>
                    <a:cubicBezTo>
                      <a:pt x="176" y="204"/>
                      <a:pt x="176" y="201"/>
                      <a:pt x="177" y="198"/>
                    </a:cubicBezTo>
                    <a:cubicBezTo>
                      <a:pt x="180" y="189"/>
                      <a:pt x="176" y="187"/>
                      <a:pt x="184" y="179"/>
                    </a:cubicBezTo>
                    <a:cubicBezTo>
                      <a:pt x="191" y="171"/>
                      <a:pt x="179" y="167"/>
                      <a:pt x="174" y="163"/>
                    </a:cubicBezTo>
                    <a:cubicBezTo>
                      <a:pt x="168" y="159"/>
                      <a:pt x="169" y="155"/>
                      <a:pt x="169" y="148"/>
                    </a:cubicBezTo>
                    <a:cubicBezTo>
                      <a:pt x="169" y="141"/>
                      <a:pt x="175" y="140"/>
                      <a:pt x="185" y="141"/>
                    </a:cubicBezTo>
                    <a:cubicBezTo>
                      <a:pt x="195" y="143"/>
                      <a:pt x="199" y="140"/>
                      <a:pt x="208" y="137"/>
                    </a:cubicBezTo>
                    <a:cubicBezTo>
                      <a:pt x="216" y="135"/>
                      <a:pt x="223" y="124"/>
                      <a:pt x="226" y="116"/>
                    </a:cubicBezTo>
                    <a:cubicBezTo>
                      <a:pt x="228" y="108"/>
                      <a:pt x="241" y="105"/>
                      <a:pt x="242" y="101"/>
                    </a:cubicBezTo>
                    <a:cubicBezTo>
                      <a:pt x="242" y="97"/>
                      <a:pt x="235" y="91"/>
                      <a:pt x="226" y="91"/>
                    </a:cubicBezTo>
                    <a:cubicBezTo>
                      <a:pt x="218" y="91"/>
                      <a:pt x="219" y="88"/>
                      <a:pt x="218" y="82"/>
                    </a:cubicBezTo>
                    <a:cubicBezTo>
                      <a:pt x="218" y="76"/>
                      <a:pt x="223" y="72"/>
                      <a:pt x="230" y="7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2" name="Freeform 105">
                <a:extLst>
                  <a:ext uri="{FF2B5EF4-FFF2-40B4-BE49-F238E27FC236}">
                    <a16:creationId xmlns:a16="http://schemas.microsoft.com/office/drawing/2014/main" id="{888E42ED-B376-154D-920B-BC7922C18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" y="1674"/>
                <a:ext cx="110" cy="54"/>
              </a:xfrm>
              <a:custGeom>
                <a:avLst/>
                <a:gdLst>
                  <a:gd name="T0" fmla="*/ 415 w 436"/>
                  <a:gd name="T1" fmla="*/ 100 h 213"/>
                  <a:gd name="T2" fmla="*/ 385 w 436"/>
                  <a:gd name="T3" fmla="*/ 93 h 213"/>
                  <a:gd name="T4" fmla="*/ 366 w 436"/>
                  <a:gd name="T5" fmla="*/ 80 h 213"/>
                  <a:gd name="T6" fmla="*/ 349 w 436"/>
                  <a:gd name="T7" fmla="*/ 67 h 213"/>
                  <a:gd name="T8" fmla="*/ 336 w 436"/>
                  <a:gd name="T9" fmla="*/ 63 h 213"/>
                  <a:gd name="T10" fmla="*/ 324 w 436"/>
                  <a:gd name="T11" fmla="*/ 56 h 213"/>
                  <a:gd name="T12" fmla="*/ 320 w 436"/>
                  <a:gd name="T13" fmla="*/ 67 h 213"/>
                  <a:gd name="T14" fmla="*/ 314 w 436"/>
                  <a:gd name="T15" fmla="*/ 77 h 213"/>
                  <a:gd name="T16" fmla="*/ 292 w 436"/>
                  <a:gd name="T17" fmla="*/ 73 h 213"/>
                  <a:gd name="T18" fmla="*/ 282 w 436"/>
                  <a:gd name="T19" fmla="*/ 59 h 213"/>
                  <a:gd name="T20" fmla="*/ 269 w 436"/>
                  <a:gd name="T21" fmla="*/ 43 h 213"/>
                  <a:gd name="T22" fmla="*/ 251 w 436"/>
                  <a:gd name="T23" fmla="*/ 34 h 213"/>
                  <a:gd name="T24" fmla="*/ 227 w 436"/>
                  <a:gd name="T25" fmla="*/ 29 h 213"/>
                  <a:gd name="T26" fmla="*/ 213 w 436"/>
                  <a:gd name="T27" fmla="*/ 17 h 213"/>
                  <a:gd name="T28" fmla="*/ 198 w 436"/>
                  <a:gd name="T29" fmla="*/ 9 h 213"/>
                  <a:gd name="T30" fmla="*/ 195 w 436"/>
                  <a:gd name="T31" fmla="*/ 8 h 213"/>
                  <a:gd name="T32" fmla="*/ 182 w 436"/>
                  <a:gd name="T33" fmla="*/ 18 h 213"/>
                  <a:gd name="T34" fmla="*/ 163 w 436"/>
                  <a:gd name="T35" fmla="*/ 7 h 213"/>
                  <a:gd name="T36" fmla="*/ 150 w 436"/>
                  <a:gd name="T37" fmla="*/ 4 h 213"/>
                  <a:gd name="T38" fmla="*/ 140 w 436"/>
                  <a:gd name="T39" fmla="*/ 19 h 213"/>
                  <a:gd name="T40" fmla="*/ 124 w 436"/>
                  <a:gd name="T41" fmla="*/ 25 h 213"/>
                  <a:gd name="T42" fmla="*/ 102 w 436"/>
                  <a:gd name="T43" fmla="*/ 32 h 213"/>
                  <a:gd name="T44" fmla="*/ 87 w 436"/>
                  <a:gd name="T45" fmla="*/ 40 h 213"/>
                  <a:gd name="T46" fmla="*/ 72 w 436"/>
                  <a:gd name="T47" fmla="*/ 48 h 213"/>
                  <a:gd name="T48" fmla="*/ 52 w 436"/>
                  <a:gd name="T49" fmla="*/ 55 h 213"/>
                  <a:gd name="T50" fmla="*/ 30 w 436"/>
                  <a:gd name="T51" fmla="*/ 57 h 213"/>
                  <a:gd name="T52" fmla="*/ 19 w 436"/>
                  <a:gd name="T53" fmla="*/ 65 h 213"/>
                  <a:gd name="T54" fmla="*/ 12 w 436"/>
                  <a:gd name="T55" fmla="*/ 75 h 213"/>
                  <a:gd name="T56" fmla="*/ 26 w 436"/>
                  <a:gd name="T57" fmla="*/ 89 h 213"/>
                  <a:gd name="T58" fmla="*/ 34 w 436"/>
                  <a:gd name="T59" fmla="*/ 105 h 213"/>
                  <a:gd name="T60" fmla="*/ 36 w 436"/>
                  <a:gd name="T61" fmla="*/ 127 h 213"/>
                  <a:gd name="T62" fmla="*/ 60 w 436"/>
                  <a:gd name="T63" fmla="*/ 149 h 213"/>
                  <a:gd name="T64" fmla="*/ 78 w 436"/>
                  <a:gd name="T65" fmla="*/ 162 h 213"/>
                  <a:gd name="T66" fmla="*/ 98 w 436"/>
                  <a:gd name="T67" fmla="*/ 173 h 213"/>
                  <a:gd name="T68" fmla="*/ 111 w 436"/>
                  <a:gd name="T69" fmla="*/ 185 h 213"/>
                  <a:gd name="T70" fmla="*/ 131 w 436"/>
                  <a:gd name="T71" fmla="*/ 204 h 213"/>
                  <a:gd name="T72" fmla="*/ 133 w 436"/>
                  <a:gd name="T73" fmla="*/ 204 h 213"/>
                  <a:gd name="T74" fmla="*/ 156 w 436"/>
                  <a:gd name="T75" fmla="*/ 211 h 213"/>
                  <a:gd name="T76" fmla="*/ 179 w 436"/>
                  <a:gd name="T77" fmla="*/ 206 h 213"/>
                  <a:gd name="T78" fmla="*/ 193 w 436"/>
                  <a:gd name="T79" fmla="*/ 187 h 213"/>
                  <a:gd name="T80" fmla="*/ 209 w 436"/>
                  <a:gd name="T81" fmla="*/ 174 h 213"/>
                  <a:gd name="T82" fmla="*/ 229 w 436"/>
                  <a:gd name="T83" fmla="*/ 183 h 213"/>
                  <a:gd name="T84" fmla="*/ 249 w 436"/>
                  <a:gd name="T85" fmla="*/ 190 h 213"/>
                  <a:gd name="T86" fmla="*/ 268 w 436"/>
                  <a:gd name="T87" fmla="*/ 199 h 213"/>
                  <a:gd name="T88" fmla="*/ 288 w 436"/>
                  <a:gd name="T89" fmla="*/ 190 h 213"/>
                  <a:gd name="T90" fmla="*/ 296 w 436"/>
                  <a:gd name="T91" fmla="*/ 196 h 213"/>
                  <a:gd name="T92" fmla="*/ 312 w 436"/>
                  <a:gd name="T93" fmla="*/ 200 h 213"/>
                  <a:gd name="T94" fmla="*/ 328 w 436"/>
                  <a:gd name="T95" fmla="*/ 196 h 213"/>
                  <a:gd name="T96" fmla="*/ 336 w 436"/>
                  <a:gd name="T97" fmla="*/ 181 h 213"/>
                  <a:gd name="T98" fmla="*/ 347 w 436"/>
                  <a:gd name="T99" fmla="*/ 186 h 213"/>
                  <a:gd name="T100" fmla="*/ 359 w 436"/>
                  <a:gd name="T101" fmla="*/ 190 h 213"/>
                  <a:gd name="T102" fmla="*/ 373 w 436"/>
                  <a:gd name="T103" fmla="*/ 184 h 213"/>
                  <a:gd name="T104" fmla="*/ 383 w 436"/>
                  <a:gd name="T105" fmla="*/ 173 h 213"/>
                  <a:gd name="T106" fmla="*/ 396 w 436"/>
                  <a:gd name="T107" fmla="*/ 167 h 213"/>
                  <a:gd name="T108" fmla="*/ 405 w 436"/>
                  <a:gd name="T109" fmla="*/ 147 h 213"/>
                  <a:gd name="T110" fmla="*/ 421 w 436"/>
                  <a:gd name="T111" fmla="*/ 137 h 213"/>
                  <a:gd name="T112" fmla="*/ 436 w 436"/>
                  <a:gd name="T113" fmla="*/ 129 h 213"/>
                  <a:gd name="T114" fmla="*/ 415 w 436"/>
                  <a:gd name="T115" fmla="*/ 10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36" h="213">
                    <a:moveTo>
                      <a:pt x="415" y="100"/>
                    </a:moveTo>
                    <a:cubicBezTo>
                      <a:pt x="410" y="92"/>
                      <a:pt x="394" y="93"/>
                      <a:pt x="385" y="93"/>
                    </a:cubicBezTo>
                    <a:cubicBezTo>
                      <a:pt x="376" y="93"/>
                      <a:pt x="369" y="88"/>
                      <a:pt x="366" y="80"/>
                    </a:cubicBezTo>
                    <a:cubicBezTo>
                      <a:pt x="364" y="72"/>
                      <a:pt x="358" y="69"/>
                      <a:pt x="349" y="67"/>
                    </a:cubicBezTo>
                    <a:cubicBezTo>
                      <a:pt x="340" y="66"/>
                      <a:pt x="338" y="66"/>
                      <a:pt x="336" y="63"/>
                    </a:cubicBezTo>
                    <a:cubicBezTo>
                      <a:pt x="333" y="59"/>
                      <a:pt x="332" y="56"/>
                      <a:pt x="324" y="56"/>
                    </a:cubicBezTo>
                    <a:cubicBezTo>
                      <a:pt x="317" y="56"/>
                      <a:pt x="316" y="61"/>
                      <a:pt x="320" y="67"/>
                    </a:cubicBezTo>
                    <a:cubicBezTo>
                      <a:pt x="323" y="72"/>
                      <a:pt x="317" y="70"/>
                      <a:pt x="314" y="77"/>
                    </a:cubicBezTo>
                    <a:cubicBezTo>
                      <a:pt x="310" y="83"/>
                      <a:pt x="302" y="77"/>
                      <a:pt x="292" y="73"/>
                    </a:cubicBezTo>
                    <a:cubicBezTo>
                      <a:pt x="283" y="68"/>
                      <a:pt x="285" y="65"/>
                      <a:pt x="282" y="59"/>
                    </a:cubicBezTo>
                    <a:cubicBezTo>
                      <a:pt x="280" y="53"/>
                      <a:pt x="274" y="49"/>
                      <a:pt x="269" y="43"/>
                    </a:cubicBezTo>
                    <a:cubicBezTo>
                      <a:pt x="264" y="38"/>
                      <a:pt x="260" y="37"/>
                      <a:pt x="251" y="34"/>
                    </a:cubicBezTo>
                    <a:cubicBezTo>
                      <a:pt x="242" y="31"/>
                      <a:pt x="233" y="29"/>
                      <a:pt x="227" y="29"/>
                    </a:cubicBezTo>
                    <a:cubicBezTo>
                      <a:pt x="221" y="29"/>
                      <a:pt x="215" y="25"/>
                      <a:pt x="213" y="17"/>
                    </a:cubicBezTo>
                    <a:cubicBezTo>
                      <a:pt x="211" y="9"/>
                      <a:pt x="206" y="10"/>
                      <a:pt x="198" y="9"/>
                    </a:cubicBezTo>
                    <a:cubicBezTo>
                      <a:pt x="197" y="9"/>
                      <a:pt x="196" y="9"/>
                      <a:pt x="195" y="8"/>
                    </a:cubicBezTo>
                    <a:cubicBezTo>
                      <a:pt x="193" y="13"/>
                      <a:pt x="189" y="18"/>
                      <a:pt x="182" y="18"/>
                    </a:cubicBezTo>
                    <a:cubicBezTo>
                      <a:pt x="172" y="17"/>
                      <a:pt x="165" y="13"/>
                      <a:pt x="163" y="7"/>
                    </a:cubicBezTo>
                    <a:cubicBezTo>
                      <a:pt x="161" y="2"/>
                      <a:pt x="151" y="0"/>
                      <a:pt x="150" y="4"/>
                    </a:cubicBezTo>
                    <a:cubicBezTo>
                      <a:pt x="150" y="8"/>
                      <a:pt x="148" y="19"/>
                      <a:pt x="140" y="19"/>
                    </a:cubicBezTo>
                    <a:cubicBezTo>
                      <a:pt x="133" y="19"/>
                      <a:pt x="129" y="20"/>
                      <a:pt x="124" y="25"/>
                    </a:cubicBezTo>
                    <a:cubicBezTo>
                      <a:pt x="118" y="31"/>
                      <a:pt x="105" y="26"/>
                      <a:pt x="102" y="32"/>
                    </a:cubicBezTo>
                    <a:cubicBezTo>
                      <a:pt x="100" y="38"/>
                      <a:pt x="94" y="40"/>
                      <a:pt x="87" y="40"/>
                    </a:cubicBezTo>
                    <a:cubicBezTo>
                      <a:pt x="80" y="40"/>
                      <a:pt x="78" y="43"/>
                      <a:pt x="72" y="48"/>
                    </a:cubicBezTo>
                    <a:cubicBezTo>
                      <a:pt x="66" y="53"/>
                      <a:pt x="56" y="55"/>
                      <a:pt x="52" y="55"/>
                    </a:cubicBezTo>
                    <a:cubicBezTo>
                      <a:pt x="48" y="55"/>
                      <a:pt x="36" y="55"/>
                      <a:pt x="30" y="57"/>
                    </a:cubicBezTo>
                    <a:cubicBezTo>
                      <a:pt x="23" y="60"/>
                      <a:pt x="30" y="65"/>
                      <a:pt x="19" y="65"/>
                    </a:cubicBezTo>
                    <a:cubicBezTo>
                      <a:pt x="8" y="64"/>
                      <a:pt x="0" y="67"/>
                      <a:pt x="12" y="75"/>
                    </a:cubicBezTo>
                    <a:cubicBezTo>
                      <a:pt x="24" y="82"/>
                      <a:pt x="19" y="89"/>
                      <a:pt x="26" y="89"/>
                    </a:cubicBezTo>
                    <a:cubicBezTo>
                      <a:pt x="34" y="90"/>
                      <a:pt x="34" y="98"/>
                      <a:pt x="34" y="105"/>
                    </a:cubicBezTo>
                    <a:cubicBezTo>
                      <a:pt x="34" y="111"/>
                      <a:pt x="32" y="123"/>
                      <a:pt x="36" y="127"/>
                    </a:cubicBezTo>
                    <a:cubicBezTo>
                      <a:pt x="41" y="132"/>
                      <a:pt x="54" y="143"/>
                      <a:pt x="60" y="149"/>
                    </a:cubicBezTo>
                    <a:cubicBezTo>
                      <a:pt x="65" y="154"/>
                      <a:pt x="72" y="159"/>
                      <a:pt x="78" y="162"/>
                    </a:cubicBezTo>
                    <a:cubicBezTo>
                      <a:pt x="85" y="165"/>
                      <a:pt x="92" y="170"/>
                      <a:pt x="98" y="173"/>
                    </a:cubicBezTo>
                    <a:cubicBezTo>
                      <a:pt x="103" y="177"/>
                      <a:pt x="104" y="182"/>
                      <a:pt x="111" y="185"/>
                    </a:cubicBezTo>
                    <a:cubicBezTo>
                      <a:pt x="117" y="187"/>
                      <a:pt x="126" y="194"/>
                      <a:pt x="131" y="204"/>
                    </a:cubicBezTo>
                    <a:cubicBezTo>
                      <a:pt x="132" y="204"/>
                      <a:pt x="132" y="204"/>
                      <a:pt x="133" y="204"/>
                    </a:cubicBezTo>
                    <a:cubicBezTo>
                      <a:pt x="144" y="205"/>
                      <a:pt x="149" y="213"/>
                      <a:pt x="156" y="211"/>
                    </a:cubicBezTo>
                    <a:cubicBezTo>
                      <a:pt x="162" y="208"/>
                      <a:pt x="172" y="213"/>
                      <a:pt x="179" y="206"/>
                    </a:cubicBezTo>
                    <a:cubicBezTo>
                      <a:pt x="186" y="199"/>
                      <a:pt x="191" y="196"/>
                      <a:pt x="193" y="187"/>
                    </a:cubicBezTo>
                    <a:cubicBezTo>
                      <a:pt x="195" y="179"/>
                      <a:pt x="199" y="173"/>
                      <a:pt x="209" y="174"/>
                    </a:cubicBezTo>
                    <a:cubicBezTo>
                      <a:pt x="219" y="175"/>
                      <a:pt x="226" y="178"/>
                      <a:pt x="229" y="183"/>
                    </a:cubicBezTo>
                    <a:cubicBezTo>
                      <a:pt x="232" y="188"/>
                      <a:pt x="243" y="189"/>
                      <a:pt x="249" y="190"/>
                    </a:cubicBezTo>
                    <a:cubicBezTo>
                      <a:pt x="255" y="191"/>
                      <a:pt x="255" y="199"/>
                      <a:pt x="268" y="199"/>
                    </a:cubicBezTo>
                    <a:cubicBezTo>
                      <a:pt x="281" y="199"/>
                      <a:pt x="284" y="194"/>
                      <a:pt x="288" y="190"/>
                    </a:cubicBezTo>
                    <a:cubicBezTo>
                      <a:pt x="292" y="186"/>
                      <a:pt x="295" y="190"/>
                      <a:pt x="296" y="196"/>
                    </a:cubicBezTo>
                    <a:cubicBezTo>
                      <a:pt x="298" y="201"/>
                      <a:pt x="306" y="199"/>
                      <a:pt x="312" y="200"/>
                    </a:cubicBezTo>
                    <a:cubicBezTo>
                      <a:pt x="319" y="200"/>
                      <a:pt x="323" y="202"/>
                      <a:pt x="328" y="196"/>
                    </a:cubicBezTo>
                    <a:cubicBezTo>
                      <a:pt x="332" y="191"/>
                      <a:pt x="332" y="181"/>
                      <a:pt x="336" y="181"/>
                    </a:cubicBezTo>
                    <a:cubicBezTo>
                      <a:pt x="339" y="181"/>
                      <a:pt x="346" y="182"/>
                      <a:pt x="347" y="186"/>
                    </a:cubicBezTo>
                    <a:cubicBezTo>
                      <a:pt x="348" y="191"/>
                      <a:pt x="353" y="191"/>
                      <a:pt x="359" y="190"/>
                    </a:cubicBezTo>
                    <a:cubicBezTo>
                      <a:pt x="366" y="190"/>
                      <a:pt x="369" y="190"/>
                      <a:pt x="373" y="184"/>
                    </a:cubicBezTo>
                    <a:cubicBezTo>
                      <a:pt x="376" y="178"/>
                      <a:pt x="378" y="174"/>
                      <a:pt x="383" y="173"/>
                    </a:cubicBezTo>
                    <a:cubicBezTo>
                      <a:pt x="389" y="172"/>
                      <a:pt x="393" y="173"/>
                      <a:pt x="396" y="167"/>
                    </a:cubicBezTo>
                    <a:cubicBezTo>
                      <a:pt x="399" y="160"/>
                      <a:pt x="400" y="150"/>
                      <a:pt x="405" y="147"/>
                    </a:cubicBezTo>
                    <a:cubicBezTo>
                      <a:pt x="410" y="144"/>
                      <a:pt x="413" y="137"/>
                      <a:pt x="421" y="137"/>
                    </a:cubicBezTo>
                    <a:cubicBezTo>
                      <a:pt x="426" y="137"/>
                      <a:pt x="431" y="130"/>
                      <a:pt x="436" y="129"/>
                    </a:cubicBezTo>
                    <a:cubicBezTo>
                      <a:pt x="431" y="114"/>
                      <a:pt x="419" y="107"/>
                      <a:pt x="415" y="10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3" name="Freeform 106">
                <a:extLst>
                  <a:ext uri="{FF2B5EF4-FFF2-40B4-BE49-F238E27FC236}">
                    <a16:creationId xmlns:a16="http://schemas.microsoft.com/office/drawing/2014/main" id="{50513E8F-BD00-1D42-AEE1-0684A939F2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1" y="1705"/>
                <a:ext cx="91" cy="40"/>
              </a:xfrm>
              <a:custGeom>
                <a:avLst/>
                <a:gdLst>
                  <a:gd name="T0" fmla="*/ 27 w 358"/>
                  <a:gd name="T1" fmla="*/ 135 h 160"/>
                  <a:gd name="T2" fmla="*/ 48 w 358"/>
                  <a:gd name="T3" fmla="*/ 149 h 160"/>
                  <a:gd name="T4" fmla="*/ 64 w 358"/>
                  <a:gd name="T5" fmla="*/ 158 h 160"/>
                  <a:gd name="T6" fmla="*/ 104 w 358"/>
                  <a:gd name="T7" fmla="*/ 153 h 160"/>
                  <a:gd name="T8" fmla="*/ 123 w 358"/>
                  <a:gd name="T9" fmla="*/ 147 h 160"/>
                  <a:gd name="T10" fmla="*/ 133 w 358"/>
                  <a:gd name="T11" fmla="*/ 131 h 160"/>
                  <a:gd name="T12" fmla="*/ 150 w 358"/>
                  <a:gd name="T13" fmla="*/ 127 h 160"/>
                  <a:gd name="T14" fmla="*/ 166 w 358"/>
                  <a:gd name="T15" fmla="*/ 121 h 160"/>
                  <a:gd name="T16" fmla="*/ 182 w 358"/>
                  <a:gd name="T17" fmla="*/ 117 h 160"/>
                  <a:gd name="T18" fmla="*/ 198 w 358"/>
                  <a:gd name="T19" fmla="*/ 124 h 160"/>
                  <a:gd name="T20" fmla="*/ 222 w 358"/>
                  <a:gd name="T21" fmla="*/ 107 h 160"/>
                  <a:gd name="T22" fmla="*/ 238 w 358"/>
                  <a:gd name="T23" fmla="*/ 82 h 160"/>
                  <a:gd name="T24" fmla="*/ 260 w 358"/>
                  <a:gd name="T25" fmla="*/ 82 h 160"/>
                  <a:gd name="T26" fmla="*/ 280 w 358"/>
                  <a:gd name="T27" fmla="*/ 88 h 160"/>
                  <a:gd name="T28" fmla="*/ 302 w 358"/>
                  <a:gd name="T29" fmla="*/ 97 h 160"/>
                  <a:gd name="T30" fmla="*/ 320 w 358"/>
                  <a:gd name="T31" fmla="*/ 107 h 160"/>
                  <a:gd name="T32" fmla="*/ 337 w 358"/>
                  <a:gd name="T33" fmla="*/ 104 h 160"/>
                  <a:gd name="T34" fmla="*/ 337 w 358"/>
                  <a:gd name="T35" fmla="*/ 86 h 160"/>
                  <a:gd name="T36" fmla="*/ 355 w 358"/>
                  <a:gd name="T37" fmla="*/ 58 h 160"/>
                  <a:gd name="T38" fmla="*/ 358 w 358"/>
                  <a:gd name="T39" fmla="*/ 51 h 160"/>
                  <a:gd name="T40" fmla="*/ 351 w 358"/>
                  <a:gd name="T41" fmla="*/ 43 h 160"/>
                  <a:gd name="T42" fmla="*/ 333 w 358"/>
                  <a:gd name="T43" fmla="*/ 34 h 160"/>
                  <a:gd name="T44" fmla="*/ 316 w 358"/>
                  <a:gd name="T45" fmla="*/ 19 h 160"/>
                  <a:gd name="T46" fmla="*/ 278 w 358"/>
                  <a:gd name="T47" fmla="*/ 14 h 160"/>
                  <a:gd name="T48" fmla="*/ 261 w 358"/>
                  <a:gd name="T49" fmla="*/ 24 h 160"/>
                  <a:gd name="T50" fmla="*/ 239 w 358"/>
                  <a:gd name="T51" fmla="*/ 16 h 160"/>
                  <a:gd name="T52" fmla="*/ 213 w 358"/>
                  <a:gd name="T53" fmla="*/ 22 h 160"/>
                  <a:gd name="T54" fmla="*/ 184 w 358"/>
                  <a:gd name="T55" fmla="*/ 20 h 160"/>
                  <a:gd name="T56" fmla="*/ 174 w 358"/>
                  <a:gd name="T57" fmla="*/ 8 h 160"/>
                  <a:gd name="T58" fmla="*/ 161 w 358"/>
                  <a:gd name="T59" fmla="*/ 4 h 160"/>
                  <a:gd name="T60" fmla="*/ 148 w 358"/>
                  <a:gd name="T61" fmla="*/ 14 h 160"/>
                  <a:gd name="T62" fmla="*/ 128 w 358"/>
                  <a:gd name="T63" fmla="*/ 7 h 160"/>
                  <a:gd name="T64" fmla="*/ 107 w 358"/>
                  <a:gd name="T65" fmla="*/ 13 h 160"/>
                  <a:gd name="T66" fmla="*/ 91 w 358"/>
                  <a:gd name="T67" fmla="*/ 23 h 160"/>
                  <a:gd name="T68" fmla="*/ 82 w 358"/>
                  <a:gd name="T69" fmla="*/ 43 h 160"/>
                  <a:gd name="T70" fmla="*/ 69 w 358"/>
                  <a:gd name="T71" fmla="*/ 49 h 160"/>
                  <a:gd name="T72" fmla="*/ 59 w 358"/>
                  <a:gd name="T73" fmla="*/ 60 h 160"/>
                  <a:gd name="T74" fmla="*/ 45 w 358"/>
                  <a:gd name="T75" fmla="*/ 66 h 160"/>
                  <a:gd name="T76" fmla="*/ 33 w 358"/>
                  <a:gd name="T77" fmla="*/ 62 h 160"/>
                  <a:gd name="T78" fmla="*/ 22 w 358"/>
                  <a:gd name="T79" fmla="*/ 57 h 160"/>
                  <a:gd name="T80" fmla="*/ 14 w 358"/>
                  <a:gd name="T81" fmla="*/ 72 h 160"/>
                  <a:gd name="T82" fmla="*/ 2 w 358"/>
                  <a:gd name="T83" fmla="*/ 76 h 160"/>
                  <a:gd name="T84" fmla="*/ 0 w 358"/>
                  <a:gd name="T85" fmla="*/ 107 h 160"/>
                  <a:gd name="T86" fmla="*/ 13 w 358"/>
                  <a:gd name="T87" fmla="*/ 127 h 160"/>
                  <a:gd name="T88" fmla="*/ 15 w 358"/>
                  <a:gd name="T89" fmla="*/ 132 h 160"/>
                  <a:gd name="T90" fmla="*/ 27 w 358"/>
                  <a:gd name="T91" fmla="*/ 135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8" h="160">
                    <a:moveTo>
                      <a:pt x="27" y="135"/>
                    </a:moveTo>
                    <a:cubicBezTo>
                      <a:pt x="38" y="140"/>
                      <a:pt x="41" y="149"/>
                      <a:pt x="48" y="149"/>
                    </a:cubicBezTo>
                    <a:cubicBezTo>
                      <a:pt x="54" y="150"/>
                      <a:pt x="51" y="158"/>
                      <a:pt x="64" y="158"/>
                    </a:cubicBezTo>
                    <a:cubicBezTo>
                      <a:pt x="76" y="158"/>
                      <a:pt x="99" y="160"/>
                      <a:pt x="104" y="153"/>
                    </a:cubicBezTo>
                    <a:cubicBezTo>
                      <a:pt x="110" y="147"/>
                      <a:pt x="122" y="152"/>
                      <a:pt x="123" y="147"/>
                    </a:cubicBezTo>
                    <a:cubicBezTo>
                      <a:pt x="124" y="141"/>
                      <a:pt x="126" y="131"/>
                      <a:pt x="133" y="131"/>
                    </a:cubicBezTo>
                    <a:cubicBezTo>
                      <a:pt x="140" y="131"/>
                      <a:pt x="145" y="131"/>
                      <a:pt x="150" y="127"/>
                    </a:cubicBezTo>
                    <a:cubicBezTo>
                      <a:pt x="156" y="123"/>
                      <a:pt x="164" y="126"/>
                      <a:pt x="166" y="121"/>
                    </a:cubicBezTo>
                    <a:cubicBezTo>
                      <a:pt x="168" y="117"/>
                      <a:pt x="177" y="111"/>
                      <a:pt x="182" y="117"/>
                    </a:cubicBezTo>
                    <a:cubicBezTo>
                      <a:pt x="186" y="123"/>
                      <a:pt x="192" y="124"/>
                      <a:pt x="198" y="124"/>
                    </a:cubicBezTo>
                    <a:cubicBezTo>
                      <a:pt x="204" y="124"/>
                      <a:pt x="217" y="117"/>
                      <a:pt x="222" y="107"/>
                    </a:cubicBezTo>
                    <a:cubicBezTo>
                      <a:pt x="228" y="98"/>
                      <a:pt x="228" y="83"/>
                      <a:pt x="238" y="82"/>
                    </a:cubicBezTo>
                    <a:cubicBezTo>
                      <a:pt x="248" y="81"/>
                      <a:pt x="250" y="78"/>
                      <a:pt x="260" y="82"/>
                    </a:cubicBezTo>
                    <a:cubicBezTo>
                      <a:pt x="270" y="86"/>
                      <a:pt x="271" y="88"/>
                      <a:pt x="280" y="88"/>
                    </a:cubicBezTo>
                    <a:cubicBezTo>
                      <a:pt x="290" y="88"/>
                      <a:pt x="301" y="92"/>
                      <a:pt x="302" y="97"/>
                    </a:cubicBezTo>
                    <a:cubicBezTo>
                      <a:pt x="302" y="101"/>
                      <a:pt x="311" y="107"/>
                      <a:pt x="320" y="107"/>
                    </a:cubicBezTo>
                    <a:cubicBezTo>
                      <a:pt x="326" y="107"/>
                      <a:pt x="332" y="105"/>
                      <a:pt x="337" y="104"/>
                    </a:cubicBezTo>
                    <a:cubicBezTo>
                      <a:pt x="333" y="99"/>
                      <a:pt x="331" y="93"/>
                      <a:pt x="337" y="86"/>
                    </a:cubicBezTo>
                    <a:cubicBezTo>
                      <a:pt x="348" y="72"/>
                      <a:pt x="353" y="69"/>
                      <a:pt x="355" y="58"/>
                    </a:cubicBezTo>
                    <a:cubicBezTo>
                      <a:pt x="356" y="55"/>
                      <a:pt x="357" y="53"/>
                      <a:pt x="358" y="51"/>
                    </a:cubicBezTo>
                    <a:cubicBezTo>
                      <a:pt x="356" y="47"/>
                      <a:pt x="353" y="45"/>
                      <a:pt x="351" y="43"/>
                    </a:cubicBezTo>
                    <a:cubicBezTo>
                      <a:pt x="349" y="41"/>
                      <a:pt x="342" y="36"/>
                      <a:pt x="333" y="34"/>
                    </a:cubicBezTo>
                    <a:cubicBezTo>
                      <a:pt x="323" y="32"/>
                      <a:pt x="321" y="28"/>
                      <a:pt x="316" y="19"/>
                    </a:cubicBezTo>
                    <a:cubicBezTo>
                      <a:pt x="310" y="11"/>
                      <a:pt x="284" y="14"/>
                      <a:pt x="278" y="14"/>
                    </a:cubicBezTo>
                    <a:cubicBezTo>
                      <a:pt x="272" y="14"/>
                      <a:pt x="266" y="21"/>
                      <a:pt x="261" y="24"/>
                    </a:cubicBezTo>
                    <a:cubicBezTo>
                      <a:pt x="256" y="27"/>
                      <a:pt x="245" y="17"/>
                      <a:pt x="239" y="16"/>
                    </a:cubicBezTo>
                    <a:cubicBezTo>
                      <a:pt x="234" y="14"/>
                      <a:pt x="223" y="17"/>
                      <a:pt x="213" y="22"/>
                    </a:cubicBezTo>
                    <a:cubicBezTo>
                      <a:pt x="204" y="28"/>
                      <a:pt x="187" y="21"/>
                      <a:pt x="184" y="20"/>
                    </a:cubicBezTo>
                    <a:cubicBezTo>
                      <a:pt x="180" y="19"/>
                      <a:pt x="176" y="16"/>
                      <a:pt x="174" y="8"/>
                    </a:cubicBezTo>
                    <a:cubicBezTo>
                      <a:pt x="173" y="0"/>
                      <a:pt x="167" y="4"/>
                      <a:pt x="161" y="4"/>
                    </a:cubicBezTo>
                    <a:cubicBezTo>
                      <a:pt x="156" y="5"/>
                      <a:pt x="156" y="12"/>
                      <a:pt x="148" y="14"/>
                    </a:cubicBezTo>
                    <a:cubicBezTo>
                      <a:pt x="139" y="16"/>
                      <a:pt x="136" y="14"/>
                      <a:pt x="128" y="7"/>
                    </a:cubicBezTo>
                    <a:cubicBezTo>
                      <a:pt x="120" y="0"/>
                      <a:pt x="114" y="13"/>
                      <a:pt x="107" y="13"/>
                    </a:cubicBezTo>
                    <a:cubicBezTo>
                      <a:pt x="99" y="13"/>
                      <a:pt x="96" y="20"/>
                      <a:pt x="91" y="23"/>
                    </a:cubicBezTo>
                    <a:cubicBezTo>
                      <a:pt x="86" y="26"/>
                      <a:pt x="85" y="36"/>
                      <a:pt x="82" y="43"/>
                    </a:cubicBezTo>
                    <a:cubicBezTo>
                      <a:pt x="79" y="49"/>
                      <a:pt x="75" y="48"/>
                      <a:pt x="69" y="49"/>
                    </a:cubicBezTo>
                    <a:cubicBezTo>
                      <a:pt x="64" y="50"/>
                      <a:pt x="62" y="54"/>
                      <a:pt x="59" y="60"/>
                    </a:cubicBezTo>
                    <a:cubicBezTo>
                      <a:pt x="55" y="66"/>
                      <a:pt x="52" y="66"/>
                      <a:pt x="45" y="66"/>
                    </a:cubicBezTo>
                    <a:cubicBezTo>
                      <a:pt x="39" y="67"/>
                      <a:pt x="34" y="67"/>
                      <a:pt x="33" y="62"/>
                    </a:cubicBezTo>
                    <a:cubicBezTo>
                      <a:pt x="32" y="58"/>
                      <a:pt x="25" y="57"/>
                      <a:pt x="22" y="57"/>
                    </a:cubicBezTo>
                    <a:cubicBezTo>
                      <a:pt x="18" y="57"/>
                      <a:pt x="18" y="67"/>
                      <a:pt x="14" y="72"/>
                    </a:cubicBezTo>
                    <a:cubicBezTo>
                      <a:pt x="10" y="77"/>
                      <a:pt x="7" y="77"/>
                      <a:pt x="2" y="76"/>
                    </a:cubicBezTo>
                    <a:cubicBezTo>
                      <a:pt x="2" y="89"/>
                      <a:pt x="0" y="103"/>
                      <a:pt x="0" y="107"/>
                    </a:cubicBezTo>
                    <a:cubicBezTo>
                      <a:pt x="0" y="113"/>
                      <a:pt x="6" y="119"/>
                      <a:pt x="13" y="127"/>
                    </a:cubicBezTo>
                    <a:cubicBezTo>
                      <a:pt x="14" y="129"/>
                      <a:pt x="15" y="131"/>
                      <a:pt x="15" y="132"/>
                    </a:cubicBezTo>
                    <a:cubicBezTo>
                      <a:pt x="18" y="132"/>
                      <a:pt x="22" y="132"/>
                      <a:pt x="27" y="13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4" name="Freeform 107">
                <a:extLst>
                  <a:ext uri="{FF2B5EF4-FFF2-40B4-BE49-F238E27FC236}">
                    <a16:creationId xmlns:a16="http://schemas.microsoft.com/office/drawing/2014/main" id="{0C1B36AF-B724-EA47-9787-76C8D2CD62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3" y="1744"/>
                <a:ext cx="75" cy="40"/>
              </a:xfrm>
              <a:custGeom>
                <a:avLst/>
                <a:gdLst>
                  <a:gd name="T0" fmla="*/ 284 w 298"/>
                  <a:gd name="T1" fmla="*/ 70 h 159"/>
                  <a:gd name="T2" fmla="*/ 270 w 298"/>
                  <a:gd name="T3" fmla="*/ 68 h 159"/>
                  <a:gd name="T4" fmla="*/ 253 w 298"/>
                  <a:gd name="T5" fmla="*/ 61 h 159"/>
                  <a:gd name="T6" fmla="*/ 242 w 298"/>
                  <a:gd name="T7" fmla="*/ 55 h 159"/>
                  <a:gd name="T8" fmla="*/ 235 w 298"/>
                  <a:gd name="T9" fmla="*/ 46 h 159"/>
                  <a:gd name="T10" fmla="*/ 240 w 298"/>
                  <a:gd name="T11" fmla="*/ 30 h 159"/>
                  <a:gd name="T12" fmla="*/ 240 w 298"/>
                  <a:gd name="T13" fmla="*/ 16 h 159"/>
                  <a:gd name="T14" fmla="*/ 240 w 298"/>
                  <a:gd name="T15" fmla="*/ 16 h 159"/>
                  <a:gd name="T16" fmla="*/ 216 w 298"/>
                  <a:gd name="T17" fmla="*/ 11 h 159"/>
                  <a:gd name="T18" fmla="*/ 198 w 298"/>
                  <a:gd name="T19" fmla="*/ 11 h 159"/>
                  <a:gd name="T20" fmla="*/ 180 w 298"/>
                  <a:gd name="T21" fmla="*/ 0 h 159"/>
                  <a:gd name="T22" fmla="*/ 175 w 298"/>
                  <a:gd name="T23" fmla="*/ 19 h 159"/>
                  <a:gd name="T24" fmla="*/ 153 w 298"/>
                  <a:gd name="T25" fmla="*/ 14 h 159"/>
                  <a:gd name="T26" fmla="*/ 128 w 298"/>
                  <a:gd name="T27" fmla="*/ 11 h 159"/>
                  <a:gd name="T28" fmla="*/ 110 w 298"/>
                  <a:gd name="T29" fmla="*/ 13 h 159"/>
                  <a:gd name="T30" fmla="*/ 106 w 298"/>
                  <a:gd name="T31" fmla="*/ 20 h 159"/>
                  <a:gd name="T32" fmla="*/ 88 w 298"/>
                  <a:gd name="T33" fmla="*/ 23 h 159"/>
                  <a:gd name="T34" fmla="*/ 76 w 298"/>
                  <a:gd name="T35" fmla="*/ 29 h 159"/>
                  <a:gd name="T36" fmla="*/ 68 w 298"/>
                  <a:gd name="T37" fmla="*/ 45 h 159"/>
                  <a:gd name="T38" fmla="*/ 40 w 298"/>
                  <a:gd name="T39" fmla="*/ 68 h 159"/>
                  <a:gd name="T40" fmla="*/ 22 w 298"/>
                  <a:gd name="T41" fmla="*/ 94 h 159"/>
                  <a:gd name="T42" fmla="*/ 13 w 298"/>
                  <a:gd name="T43" fmla="*/ 112 h 159"/>
                  <a:gd name="T44" fmla="*/ 10 w 298"/>
                  <a:gd name="T45" fmla="*/ 132 h 159"/>
                  <a:gd name="T46" fmla="*/ 30 w 298"/>
                  <a:gd name="T47" fmla="*/ 116 h 159"/>
                  <a:gd name="T48" fmla="*/ 46 w 298"/>
                  <a:gd name="T49" fmla="*/ 106 h 159"/>
                  <a:gd name="T50" fmla="*/ 60 w 298"/>
                  <a:gd name="T51" fmla="*/ 114 h 159"/>
                  <a:gd name="T52" fmla="*/ 64 w 298"/>
                  <a:gd name="T53" fmla="*/ 129 h 159"/>
                  <a:gd name="T54" fmla="*/ 77 w 298"/>
                  <a:gd name="T55" fmla="*/ 143 h 159"/>
                  <a:gd name="T56" fmla="*/ 88 w 298"/>
                  <a:gd name="T57" fmla="*/ 144 h 159"/>
                  <a:gd name="T58" fmla="*/ 115 w 298"/>
                  <a:gd name="T59" fmla="*/ 145 h 159"/>
                  <a:gd name="T60" fmla="*/ 135 w 298"/>
                  <a:gd name="T61" fmla="*/ 138 h 159"/>
                  <a:gd name="T62" fmla="*/ 146 w 298"/>
                  <a:gd name="T63" fmla="*/ 121 h 159"/>
                  <a:gd name="T64" fmla="*/ 163 w 298"/>
                  <a:gd name="T65" fmla="*/ 114 h 159"/>
                  <a:gd name="T66" fmla="*/ 179 w 298"/>
                  <a:gd name="T67" fmla="*/ 130 h 159"/>
                  <a:gd name="T68" fmla="*/ 190 w 298"/>
                  <a:gd name="T69" fmla="*/ 142 h 159"/>
                  <a:gd name="T70" fmla="*/ 202 w 298"/>
                  <a:gd name="T71" fmla="*/ 148 h 159"/>
                  <a:gd name="T72" fmla="*/ 208 w 298"/>
                  <a:gd name="T73" fmla="*/ 128 h 159"/>
                  <a:gd name="T74" fmla="*/ 215 w 298"/>
                  <a:gd name="T75" fmla="*/ 119 h 159"/>
                  <a:gd name="T76" fmla="*/ 222 w 298"/>
                  <a:gd name="T77" fmla="*/ 104 h 159"/>
                  <a:gd name="T78" fmla="*/ 234 w 298"/>
                  <a:gd name="T79" fmla="*/ 111 h 159"/>
                  <a:gd name="T80" fmla="*/ 252 w 298"/>
                  <a:gd name="T81" fmla="*/ 116 h 159"/>
                  <a:gd name="T82" fmla="*/ 276 w 298"/>
                  <a:gd name="T83" fmla="*/ 100 h 159"/>
                  <a:gd name="T84" fmla="*/ 293 w 298"/>
                  <a:gd name="T85" fmla="*/ 91 h 159"/>
                  <a:gd name="T86" fmla="*/ 298 w 298"/>
                  <a:gd name="T87" fmla="*/ 73 h 159"/>
                  <a:gd name="T88" fmla="*/ 284 w 298"/>
                  <a:gd name="T89" fmla="*/ 7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98" h="159">
                    <a:moveTo>
                      <a:pt x="284" y="70"/>
                    </a:moveTo>
                    <a:cubicBezTo>
                      <a:pt x="279" y="71"/>
                      <a:pt x="271" y="70"/>
                      <a:pt x="270" y="68"/>
                    </a:cubicBezTo>
                    <a:cubicBezTo>
                      <a:pt x="268" y="65"/>
                      <a:pt x="262" y="65"/>
                      <a:pt x="253" y="61"/>
                    </a:cubicBezTo>
                    <a:cubicBezTo>
                      <a:pt x="244" y="57"/>
                      <a:pt x="247" y="56"/>
                      <a:pt x="242" y="55"/>
                    </a:cubicBezTo>
                    <a:cubicBezTo>
                      <a:pt x="237" y="54"/>
                      <a:pt x="237" y="51"/>
                      <a:pt x="235" y="46"/>
                    </a:cubicBezTo>
                    <a:cubicBezTo>
                      <a:pt x="232" y="41"/>
                      <a:pt x="237" y="34"/>
                      <a:pt x="240" y="30"/>
                    </a:cubicBezTo>
                    <a:cubicBezTo>
                      <a:pt x="241" y="27"/>
                      <a:pt x="241" y="21"/>
                      <a:pt x="240" y="16"/>
                    </a:cubicBezTo>
                    <a:cubicBezTo>
                      <a:pt x="240" y="16"/>
                      <a:pt x="240" y="16"/>
                      <a:pt x="240" y="16"/>
                    </a:cubicBezTo>
                    <a:cubicBezTo>
                      <a:pt x="231" y="15"/>
                      <a:pt x="222" y="16"/>
                      <a:pt x="216" y="11"/>
                    </a:cubicBezTo>
                    <a:cubicBezTo>
                      <a:pt x="211" y="5"/>
                      <a:pt x="203" y="9"/>
                      <a:pt x="198" y="11"/>
                    </a:cubicBezTo>
                    <a:cubicBezTo>
                      <a:pt x="193" y="14"/>
                      <a:pt x="187" y="1"/>
                      <a:pt x="180" y="0"/>
                    </a:cubicBezTo>
                    <a:cubicBezTo>
                      <a:pt x="174" y="0"/>
                      <a:pt x="176" y="8"/>
                      <a:pt x="175" y="19"/>
                    </a:cubicBezTo>
                    <a:cubicBezTo>
                      <a:pt x="174" y="30"/>
                      <a:pt x="159" y="17"/>
                      <a:pt x="153" y="14"/>
                    </a:cubicBezTo>
                    <a:cubicBezTo>
                      <a:pt x="148" y="11"/>
                      <a:pt x="142" y="12"/>
                      <a:pt x="128" y="11"/>
                    </a:cubicBezTo>
                    <a:cubicBezTo>
                      <a:pt x="121" y="11"/>
                      <a:pt x="114" y="12"/>
                      <a:pt x="110" y="13"/>
                    </a:cubicBezTo>
                    <a:cubicBezTo>
                      <a:pt x="110" y="16"/>
                      <a:pt x="109" y="19"/>
                      <a:pt x="106" y="20"/>
                    </a:cubicBezTo>
                    <a:cubicBezTo>
                      <a:pt x="100" y="26"/>
                      <a:pt x="98" y="24"/>
                      <a:pt x="88" y="23"/>
                    </a:cubicBezTo>
                    <a:cubicBezTo>
                      <a:pt x="78" y="22"/>
                      <a:pt x="76" y="24"/>
                      <a:pt x="76" y="29"/>
                    </a:cubicBezTo>
                    <a:cubicBezTo>
                      <a:pt x="76" y="34"/>
                      <a:pt x="75" y="42"/>
                      <a:pt x="68" y="45"/>
                    </a:cubicBezTo>
                    <a:cubicBezTo>
                      <a:pt x="60" y="48"/>
                      <a:pt x="44" y="59"/>
                      <a:pt x="40" y="68"/>
                    </a:cubicBezTo>
                    <a:cubicBezTo>
                      <a:pt x="36" y="78"/>
                      <a:pt x="27" y="88"/>
                      <a:pt x="22" y="94"/>
                    </a:cubicBezTo>
                    <a:cubicBezTo>
                      <a:pt x="18" y="99"/>
                      <a:pt x="14" y="103"/>
                      <a:pt x="13" y="112"/>
                    </a:cubicBezTo>
                    <a:cubicBezTo>
                      <a:pt x="12" y="122"/>
                      <a:pt x="0" y="133"/>
                      <a:pt x="10" y="132"/>
                    </a:cubicBezTo>
                    <a:cubicBezTo>
                      <a:pt x="20" y="130"/>
                      <a:pt x="26" y="124"/>
                      <a:pt x="30" y="116"/>
                    </a:cubicBezTo>
                    <a:cubicBezTo>
                      <a:pt x="34" y="108"/>
                      <a:pt x="38" y="108"/>
                      <a:pt x="46" y="106"/>
                    </a:cubicBezTo>
                    <a:cubicBezTo>
                      <a:pt x="54" y="105"/>
                      <a:pt x="60" y="110"/>
                      <a:pt x="60" y="114"/>
                    </a:cubicBezTo>
                    <a:cubicBezTo>
                      <a:pt x="60" y="119"/>
                      <a:pt x="58" y="126"/>
                      <a:pt x="64" y="129"/>
                    </a:cubicBezTo>
                    <a:cubicBezTo>
                      <a:pt x="69" y="131"/>
                      <a:pt x="77" y="137"/>
                      <a:pt x="77" y="143"/>
                    </a:cubicBezTo>
                    <a:cubicBezTo>
                      <a:pt x="81" y="143"/>
                      <a:pt x="85" y="144"/>
                      <a:pt x="88" y="144"/>
                    </a:cubicBezTo>
                    <a:cubicBezTo>
                      <a:pt x="96" y="146"/>
                      <a:pt x="108" y="142"/>
                      <a:pt x="115" y="145"/>
                    </a:cubicBezTo>
                    <a:cubicBezTo>
                      <a:pt x="122" y="148"/>
                      <a:pt x="130" y="148"/>
                      <a:pt x="135" y="138"/>
                    </a:cubicBezTo>
                    <a:cubicBezTo>
                      <a:pt x="140" y="129"/>
                      <a:pt x="142" y="128"/>
                      <a:pt x="146" y="121"/>
                    </a:cubicBezTo>
                    <a:cubicBezTo>
                      <a:pt x="151" y="114"/>
                      <a:pt x="156" y="103"/>
                      <a:pt x="163" y="114"/>
                    </a:cubicBezTo>
                    <a:cubicBezTo>
                      <a:pt x="170" y="124"/>
                      <a:pt x="174" y="126"/>
                      <a:pt x="179" y="130"/>
                    </a:cubicBezTo>
                    <a:cubicBezTo>
                      <a:pt x="184" y="133"/>
                      <a:pt x="188" y="136"/>
                      <a:pt x="190" y="142"/>
                    </a:cubicBezTo>
                    <a:cubicBezTo>
                      <a:pt x="192" y="147"/>
                      <a:pt x="201" y="159"/>
                      <a:pt x="202" y="148"/>
                    </a:cubicBezTo>
                    <a:cubicBezTo>
                      <a:pt x="204" y="136"/>
                      <a:pt x="203" y="130"/>
                      <a:pt x="208" y="128"/>
                    </a:cubicBezTo>
                    <a:cubicBezTo>
                      <a:pt x="212" y="126"/>
                      <a:pt x="214" y="126"/>
                      <a:pt x="215" y="119"/>
                    </a:cubicBezTo>
                    <a:cubicBezTo>
                      <a:pt x="216" y="112"/>
                      <a:pt x="210" y="102"/>
                      <a:pt x="222" y="104"/>
                    </a:cubicBezTo>
                    <a:cubicBezTo>
                      <a:pt x="233" y="105"/>
                      <a:pt x="229" y="110"/>
                      <a:pt x="234" y="111"/>
                    </a:cubicBezTo>
                    <a:cubicBezTo>
                      <a:pt x="240" y="112"/>
                      <a:pt x="236" y="121"/>
                      <a:pt x="252" y="116"/>
                    </a:cubicBezTo>
                    <a:cubicBezTo>
                      <a:pt x="269" y="112"/>
                      <a:pt x="273" y="108"/>
                      <a:pt x="276" y="100"/>
                    </a:cubicBezTo>
                    <a:cubicBezTo>
                      <a:pt x="278" y="92"/>
                      <a:pt x="292" y="99"/>
                      <a:pt x="293" y="91"/>
                    </a:cubicBezTo>
                    <a:cubicBezTo>
                      <a:pt x="293" y="86"/>
                      <a:pt x="294" y="78"/>
                      <a:pt x="298" y="73"/>
                    </a:cubicBezTo>
                    <a:cubicBezTo>
                      <a:pt x="293" y="71"/>
                      <a:pt x="287" y="70"/>
                      <a:pt x="284" y="7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5" name="Freeform 108">
                <a:extLst>
                  <a:ext uri="{FF2B5EF4-FFF2-40B4-BE49-F238E27FC236}">
                    <a16:creationId xmlns:a16="http://schemas.microsoft.com/office/drawing/2014/main" id="{2A2A1FD9-D5B2-984E-80FD-2CCB2CD0F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2" y="1717"/>
                <a:ext cx="124" cy="55"/>
              </a:xfrm>
              <a:custGeom>
                <a:avLst/>
                <a:gdLst>
                  <a:gd name="T0" fmla="*/ 485 w 492"/>
                  <a:gd name="T1" fmla="*/ 78 h 214"/>
                  <a:gd name="T2" fmla="*/ 472 w 492"/>
                  <a:gd name="T3" fmla="*/ 58 h 214"/>
                  <a:gd name="T4" fmla="*/ 474 w 492"/>
                  <a:gd name="T5" fmla="*/ 27 h 214"/>
                  <a:gd name="T6" fmla="*/ 470 w 492"/>
                  <a:gd name="T7" fmla="*/ 27 h 214"/>
                  <a:gd name="T8" fmla="*/ 454 w 492"/>
                  <a:gd name="T9" fmla="*/ 23 h 214"/>
                  <a:gd name="T10" fmla="*/ 446 w 492"/>
                  <a:gd name="T11" fmla="*/ 17 h 214"/>
                  <a:gd name="T12" fmla="*/ 426 w 492"/>
                  <a:gd name="T13" fmla="*/ 26 h 214"/>
                  <a:gd name="T14" fmla="*/ 407 w 492"/>
                  <a:gd name="T15" fmla="*/ 17 h 214"/>
                  <a:gd name="T16" fmla="*/ 387 w 492"/>
                  <a:gd name="T17" fmla="*/ 10 h 214"/>
                  <a:gd name="T18" fmla="*/ 367 w 492"/>
                  <a:gd name="T19" fmla="*/ 1 h 214"/>
                  <a:gd name="T20" fmla="*/ 351 w 492"/>
                  <a:gd name="T21" fmla="*/ 14 h 214"/>
                  <a:gd name="T22" fmla="*/ 337 w 492"/>
                  <a:gd name="T23" fmla="*/ 33 h 214"/>
                  <a:gd name="T24" fmla="*/ 314 w 492"/>
                  <a:gd name="T25" fmla="*/ 38 h 214"/>
                  <a:gd name="T26" fmla="*/ 291 w 492"/>
                  <a:gd name="T27" fmla="*/ 31 h 214"/>
                  <a:gd name="T28" fmla="*/ 260 w 492"/>
                  <a:gd name="T29" fmla="*/ 32 h 214"/>
                  <a:gd name="T30" fmla="*/ 248 w 492"/>
                  <a:gd name="T31" fmla="*/ 49 h 214"/>
                  <a:gd name="T32" fmla="*/ 229 w 492"/>
                  <a:gd name="T33" fmla="*/ 61 h 214"/>
                  <a:gd name="T34" fmla="*/ 213 w 492"/>
                  <a:gd name="T35" fmla="*/ 76 h 214"/>
                  <a:gd name="T36" fmla="*/ 219 w 492"/>
                  <a:gd name="T37" fmla="*/ 90 h 214"/>
                  <a:gd name="T38" fmla="*/ 227 w 492"/>
                  <a:gd name="T39" fmla="*/ 105 h 214"/>
                  <a:gd name="T40" fmla="*/ 223 w 492"/>
                  <a:gd name="T41" fmla="*/ 119 h 214"/>
                  <a:gd name="T42" fmla="*/ 204 w 492"/>
                  <a:gd name="T43" fmla="*/ 114 h 214"/>
                  <a:gd name="T44" fmla="*/ 183 w 492"/>
                  <a:gd name="T45" fmla="*/ 113 h 214"/>
                  <a:gd name="T46" fmla="*/ 168 w 492"/>
                  <a:gd name="T47" fmla="*/ 118 h 214"/>
                  <a:gd name="T48" fmla="*/ 143 w 492"/>
                  <a:gd name="T49" fmla="*/ 113 h 214"/>
                  <a:gd name="T50" fmla="*/ 126 w 492"/>
                  <a:gd name="T51" fmla="*/ 125 h 214"/>
                  <a:gd name="T52" fmla="*/ 111 w 492"/>
                  <a:gd name="T53" fmla="*/ 134 h 214"/>
                  <a:gd name="T54" fmla="*/ 96 w 492"/>
                  <a:gd name="T55" fmla="*/ 128 h 214"/>
                  <a:gd name="T56" fmla="*/ 84 w 492"/>
                  <a:gd name="T57" fmla="*/ 120 h 214"/>
                  <a:gd name="T58" fmla="*/ 69 w 492"/>
                  <a:gd name="T59" fmla="*/ 121 h 214"/>
                  <a:gd name="T60" fmla="*/ 58 w 492"/>
                  <a:gd name="T61" fmla="*/ 128 h 214"/>
                  <a:gd name="T62" fmla="*/ 48 w 492"/>
                  <a:gd name="T63" fmla="*/ 138 h 214"/>
                  <a:gd name="T64" fmla="*/ 36 w 492"/>
                  <a:gd name="T65" fmla="*/ 127 h 214"/>
                  <a:gd name="T66" fmla="*/ 8 w 492"/>
                  <a:gd name="T67" fmla="*/ 120 h 214"/>
                  <a:gd name="T68" fmla="*/ 8 w 492"/>
                  <a:gd name="T69" fmla="*/ 134 h 214"/>
                  <a:gd name="T70" fmla="*/ 3 w 492"/>
                  <a:gd name="T71" fmla="*/ 150 h 214"/>
                  <a:gd name="T72" fmla="*/ 10 w 492"/>
                  <a:gd name="T73" fmla="*/ 159 h 214"/>
                  <a:gd name="T74" fmla="*/ 21 w 492"/>
                  <a:gd name="T75" fmla="*/ 165 h 214"/>
                  <a:gd name="T76" fmla="*/ 38 w 492"/>
                  <a:gd name="T77" fmla="*/ 172 h 214"/>
                  <a:gd name="T78" fmla="*/ 52 w 492"/>
                  <a:gd name="T79" fmla="*/ 174 h 214"/>
                  <a:gd name="T80" fmla="*/ 66 w 492"/>
                  <a:gd name="T81" fmla="*/ 177 h 214"/>
                  <a:gd name="T82" fmla="*/ 77 w 492"/>
                  <a:gd name="T83" fmla="*/ 174 h 214"/>
                  <a:gd name="T84" fmla="*/ 100 w 492"/>
                  <a:gd name="T85" fmla="*/ 176 h 214"/>
                  <a:gd name="T86" fmla="*/ 124 w 492"/>
                  <a:gd name="T87" fmla="*/ 166 h 214"/>
                  <a:gd name="T88" fmla="*/ 164 w 492"/>
                  <a:gd name="T89" fmla="*/ 162 h 214"/>
                  <a:gd name="T90" fmla="*/ 176 w 492"/>
                  <a:gd name="T91" fmla="*/ 168 h 214"/>
                  <a:gd name="T92" fmla="*/ 184 w 492"/>
                  <a:gd name="T93" fmla="*/ 188 h 214"/>
                  <a:gd name="T94" fmla="*/ 216 w 492"/>
                  <a:gd name="T95" fmla="*/ 197 h 214"/>
                  <a:gd name="T96" fmla="*/ 260 w 492"/>
                  <a:gd name="T97" fmla="*/ 204 h 214"/>
                  <a:gd name="T98" fmla="*/ 288 w 492"/>
                  <a:gd name="T99" fmla="*/ 208 h 214"/>
                  <a:gd name="T100" fmla="*/ 314 w 492"/>
                  <a:gd name="T101" fmla="*/ 210 h 214"/>
                  <a:gd name="T102" fmla="*/ 336 w 492"/>
                  <a:gd name="T103" fmla="*/ 207 h 214"/>
                  <a:gd name="T104" fmla="*/ 357 w 492"/>
                  <a:gd name="T105" fmla="*/ 193 h 214"/>
                  <a:gd name="T106" fmla="*/ 388 w 492"/>
                  <a:gd name="T107" fmla="*/ 192 h 214"/>
                  <a:gd name="T108" fmla="*/ 420 w 492"/>
                  <a:gd name="T109" fmla="*/ 185 h 214"/>
                  <a:gd name="T110" fmla="*/ 433 w 492"/>
                  <a:gd name="T111" fmla="*/ 166 h 214"/>
                  <a:gd name="T112" fmla="*/ 447 w 492"/>
                  <a:gd name="T113" fmla="*/ 154 h 214"/>
                  <a:gd name="T114" fmla="*/ 454 w 492"/>
                  <a:gd name="T115" fmla="*/ 130 h 214"/>
                  <a:gd name="T116" fmla="*/ 458 w 492"/>
                  <a:gd name="T117" fmla="*/ 117 h 214"/>
                  <a:gd name="T118" fmla="*/ 465 w 492"/>
                  <a:gd name="T119" fmla="*/ 107 h 214"/>
                  <a:gd name="T120" fmla="*/ 483 w 492"/>
                  <a:gd name="T121" fmla="*/ 98 h 214"/>
                  <a:gd name="T122" fmla="*/ 485 w 492"/>
                  <a:gd name="T123" fmla="*/ 78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92" h="214">
                    <a:moveTo>
                      <a:pt x="485" y="78"/>
                    </a:moveTo>
                    <a:cubicBezTo>
                      <a:pt x="478" y="70"/>
                      <a:pt x="472" y="64"/>
                      <a:pt x="472" y="58"/>
                    </a:cubicBezTo>
                    <a:cubicBezTo>
                      <a:pt x="472" y="54"/>
                      <a:pt x="474" y="40"/>
                      <a:pt x="474" y="27"/>
                    </a:cubicBezTo>
                    <a:cubicBezTo>
                      <a:pt x="473" y="27"/>
                      <a:pt x="472" y="27"/>
                      <a:pt x="470" y="27"/>
                    </a:cubicBezTo>
                    <a:cubicBezTo>
                      <a:pt x="464" y="26"/>
                      <a:pt x="456" y="28"/>
                      <a:pt x="454" y="23"/>
                    </a:cubicBezTo>
                    <a:cubicBezTo>
                      <a:pt x="453" y="17"/>
                      <a:pt x="450" y="13"/>
                      <a:pt x="446" y="17"/>
                    </a:cubicBezTo>
                    <a:cubicBezTo>
                      <a:pt x="442" y="21"/>
                      <a:pt x="439" y="26"/>
                      <a:pt x="426" y="26"/>
                    </a:cubicBezTo>
                    <a:cubicBezTo>
                      <a:pt x="413" y="26"/>
                      <a:pt x="413" y="18"/>
                      <a:pt x="407" y="17"/>
                    </a:cubicBezTo>
                    <a:cubicBezTo>
                      <a:pt x="401" y="16"/>
                      <a:pt x="390" y="15"/>
                      <a:pt x="387" y="10"/>
                    </a:cubicBezTo>
                    <a:cubicBezTo>
                      <a:pt x="384" y="5"/>
                      <a:pt x="377" y="2"/>
                      <a:pt x="367" y="1"/>
                    </a:cubicBezTo>
                    <a:cubicBezTo>
                      <a:pt x="357" y="0"/>
                      <a:pt x="353" y="6"/>
                      <a:pt x="351" y="14"/>
                    </a:cubicBezTo>
                    <a:cubicBezTo>
                      <a:pt x="349" y="23"/>
                      <a:pt x="344" y="26"/>
                      <a:pt x="337" y="33"/>
                    </a:cubicBezTo>
                    <a:cubicBezTo>
                      <a:pt x="330" y="40"/>
                      <a:pt x="320" y="35"/>
                      <a:pt x="314" y="38"/>
                    </a:cubicBezTo>
                    <a:cubicBezTo>
                      <a:pt x="307" y="40"/>
                      <a:pt x="302" y="32"/>
                      <a:pt x="291" y="31"/>
                    </a:cubicBezTo>
                    <a:cubicBezTo>
                      <a:pt x="279" y="29"/>
                      <a:pt x="267" y="32"/>
                      <a:pt x="260" y="32"/>
                    </a:cubicBezTo>
                    <a:cubicBezTo>
                      <a:pt x="252" y="33"/>
                      <a:pt x="250" y="38"/>
                      <a:pt x="248" y="49"/>
                    </a:cubicBezTo>
                    <a:cubicBezTo>
                      <a:pt x="246" y="60"/>
                      <a:pt x="239" y="61"/>
                      <a:pt x="229" y="61"/>
                    </a:cubicBezTo>
                    <a:cubicBezTo>
                      <a:pt x="218" y="61"/>
                      <a:pt x="216" y="66"/>
                      <a:pt x="213" y="76"/>
                    </a:cubicBezTo>
                    <a:cubicBezTo>
                      <a:pt x="211" y="85"/>
                      <a:pt x="213" y="85"/>
                      <a:pt x="219" y="90"/>
                    </a:cubicBezTo>
                    <a:cubicBezTo>
                      <a:pt x="225" y="95"/>
                      <a:pt x="221" y="100"/>
                      <a:pt x="227" y="105"/>
                    </a:cubicBezTo>
                    <a:cubicBezTo>
                      <a:pt x="233" y="109"/>
                      <a:pt x="227" y="111"/>
                      <a:pt x="223" y="119"/>
                    </a:cubicBezTo>
                    <a:cubicBezTo>
                      <a:pt x="219" y="127"/>
                      <a:pt x="209" y="117"/>
                      <a:pt x="204" y="114"/>
                    </a:cubicBezTo>
                    <a:cubicBezTo>
                      <a:pt x="199" y="111"/>
                      <a:pt x="184" y="101"/>
                      <a:pt x="183" y="113"/>
                    </a:cubicBezTo>
                    <a:cubicBezTo>
                      <a:pt x="182" y="124"/>
                      <a:pt x="179" y="121"/>
                      <a:pt x="168" y="118"/>
                    </a:cubicBezTo>
                    <a:cubicBezTo>
                      <a:pt x="157" y="115"/>
                      <a:pt x="150" y="113"/>
                      <a:pt x="143" y="113"/>
                    </a:cubicBezTo>
                    <a:cubicBezTo>
                      <a:pt x="135" y="113"/>
                      <a:pt x="128" y="119"/>
                      <a:pt x="126" y="125"/>
                    </a:cubicBezTo>
                    <a:cubicBezTo>
                      <a:pt x="123" y="130"/>
                      <a:pt x="118" y="132"/>
                      <a:pt x="111" y="134"/>
                    </a:cubicBezTo>
                    <a:cubicBezTo>
                      <a:pt x="105" y="136"/>
                      <a:pt x="96" y="128"/>
                      <a:pt x="96" y="128"/>
                    </a:cubicBezTo>
                    <a:cubicBezTo>
                      <a:pt x="96" y="128"/>
                      <a:pt x="90" y="124"/>
                      <a:pt x="84" y="120"/>
                    </a:cubicBezTo>
                    <a:cubicBezTo>
                      <a:pt x="78" y="115"/>
                      <a:pt x="74" y="120"/>
                      <a:pt x="69" y="121"/>
                    </a:cubicBezTo>
                    <a:cubicBezTo>
                      <a:pt x="63" y="122"/>
                      <a:pt x="60" y="122"/>
                      <a:pt x="58" y="128"/>
                    </a:cubicBezTo>
                    <a:cubicBezTo>
                      <a:pt x="55" y="135"/>
                      <a:pt x="53" y="137"/>
                      <a:pt x="48" y="138"/>
                    </a:cubicBezTo>
                    <a:cubicBezTo>
                      <a:pt x="42" y="138"/>
                      <a:pt x="40" y="134"/>
                      <a:pt x="36" y="127"/>
                    </a:cubicBezTo>
                    <a:cubicBezTo>
                      <a:pt x="32" y="121"/>
                      <a:pt x="16" y="121"/>
                      <a:pt x="8" y="120"/>
                    </a:cubicBezTo>
                    <a:cubicBezTo>
                      <a:pt x="9" y="125"/>
                      <a:pt x="9" y="131"/>
                      <a:pt x="8" y="134"/>
                    </a:cubicBezTo>
                    <a:cubicBezTo>
                      <a:pt x="5" y="138"/>
                      <a:pt x="0" y="145"/>
                      <a:pt x="3" y="150"/>
                    </a:cubicBezTo>
                    <a:cubicBezTo>
                      <a:pt x="5" y="155"/>
                      <a:pt x="5" y="158"/>
                      <a:pt x="10" y="159"/>
                    </a:cubicBezTo>
                    <a:cubicBezTo>
                      <a:pt x="15" y="160"/>
                      <a:pt x="12" y="161"/>
                      <a:pt x="21" y="165"/>
                    </a:cubicBezTo>
                    <a:cubicBezTo>
                      <a:pt x="30" y="169"/>
                      <a:pt x="36" y="169"/>
                      <a:pt x="38" y="172"/>
                    </a:cubicBezTo>
                    <a:cubicBezTo>
                      <a:pt x="39" y="174"/>
                      <a:pt x="47" y="175"/>
                      <a:pt x="52" y="174"/>
                    </a:cubicBezTo>
                    <a:cubicBezTo>
                      <a:pt x="55" y="174"/>
                      <a:pt x="61" y="175"/>
                      <a:pt x="66" y="177"/>
                    </a:cubicBezTo>
                    <a:cubicBezTo>
                      <a:pt x="69" y="175"/>
                      <a:pt x="72" y="173"/>
                      <a:pt x="77" y="174"/>
                    </a:cubicBezTo>
                    <a:cubicBezTo>
                      <a:pt x="91" y="176"/>
                      <a:pt x="88" y="184"/>
                      <a:pt x="100" y="176"/>
                    </a:cubicBezTo>
                    <a:cubicBezTo>
                      <a:pt x="113" y="168"/>
                      <a:pt x="98" y="166"/>
                      <a:pt x="124" y="166"/>
                    </a:cubicBezTo>
                    <a:cubicBezTo>
                      <a:pt x="149" y="165"/>
                      <a:pt x="159" y="164"/>
                      <a:pt x="164" y="162"/>
                    </a:cubicBezTo>
                    <a:cubicBezTo>
                      <a:pt x="168" y="160"/>
                      <a:pt x="176" y="161"/>
                      <a:pt x="176" y="168"/>
                    </a:cubicBezTo>
                    <a:cubicBezTo>
                      <a:pt x="176" y="176"/>
                      <a:pt x="178" y="183"/>
                      <a:pt x="184" y="188"/>
                    </a:cubicBezTo>
                    <a:cubicBezTo>
                      <a:pt x="190" y="194"/>
                      <a:pt x="206" y="191"/>
                      <a:pt x="216" y="197"/>
                    </a:cubicBezTo>
                    <a:cubicBezTo>
                      <a:pt x="225" y="203"/>
                      <a:pt x="248" y="197"/>
                      <a:pt x="260" y="204"/>
                    </a:cubicBezTo>
                    <a:cubicBezTo>
                      <a:pt x="273" y="212"/>
                      <a:pt x="280" y="208"/>
                      <a:pt x="288" y="208"/>
                    </a:cubicBezTo>
                    <a:cubicBezTo>
                      <a:pt x="296" y="208"/>
                      <a:pt x="304" y="205"/>
                      <a:pt x="314" y="210"/>
                    </a:cubicBezTo>
                    <a:cubicBezTo>
                      <a:pt x="323" y="214"/>
                      <a:pt x="331" y="213"/>
                      <a:pt x="336" y="207"/>
                    </a:cubicBezTo>
                    <a:cubicBezTo>
                      <a:pt x="340" y="201"/>
                      <a:pt x="346" y="193"/>
                      <a:pt x="357" y="193"/>
                    </a:cubicBezTo>
                    <a:cubicBezTo>
                      <a:pt x="368" y="193"/>
                      <a:pt x="378" y="197"/>
                      <a:pt x="388" y="192"/>
                    </a:cubicBezTo>
                    <a:cubicBezTo>
                      <a:pt x="398" y="186"/>
                      <a:pt x="416" y="196"/>
                      <a:pt x="420" y="185"/>
                    </a:cubicBezTo>
                    <a:cubicBezTo>
                      <a:pt x="425" y="174"/>
                      <a:pt x="426" y="168"/>
                      <a:pt x="433" y="166"/>
                    </a:cubicBezTo>
                    <a:cubicBezTo>
                      <a:pt x="440" y="164"/>
                      <a:pt x="446" y="167"/>
                      <a:pt x="447" y="154"/>
                    </a:cubicBezTo>
                    <a:cubicBezTo>
                      <a:pt x="448" y="142"/>
                      <a:pt x="446" y="132"/>
                      <a:pt x="454" y="130"/>
                    </a:cubicBezTo>
                    <a:cubicBezTo>
                      <a:pt x="462" y="128"/>
                      <a:pt x="460" y="125"/>
                      <a:pt x="458" y="117"/>
                    </a:cubicBezTo>
                    <a:cubicBezTo>
                      <a:pt x="455" y="109"/>
                      <a:pt x="452" y="107"/>
                      <a:pt x="465" y="107"/>
                    </a:cubicBezTo>
                    <a:cubicBezTo>
                      <a:pt x="478" y="107"/>
                      <a:pt x="483" y="104"/>
                      <a:pt x="483" y="98"/>
                    </a:cubicBezTo>
                    <a:cubicBezTo>
                      <a:pt x="483" y="91"/>
                      <a:pt x="492" y="87"/>
                      <a:pt x="485" y="7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6" name="Freeform 109">
                <a:extLst>
                  <a:ext uri="{FF2B5EF4-FFF2-40B4-BE49-F238E27FC236}">
                    <a16:creationId xmlns:a16="http://schemas.microsoft.com/office/drawing/2014/main" id="{51F68D5F-C8B9-BF42-B7A3-8E97457D2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2" y="1725"/>
                <a:ext cx="107" cy="60"/>
              </a:xfrm>
              <a:custGeom>
                <a:avLst/>
                <a:gdLst>
                  <a:gd name="T0" fmla="*/ 6 w 425"/>
                  <a:gd name="T1" fmla="*/ 173 h 239"/>
                  <a:gd name="T2" fmla="*/ 20 w 425"/>
                  <a:gd name="T3" fmla="*/ 179 h 239"/>
                  <a:gd name="T4" fmla="*/ 35 w 425"/>
                  <a:gd name="T5" fmla="*/ 188 h 239"/>
                  <a:gd name="T6" fmla="*/ 44 w 425"/>
                  <a:gd name="T7" fmla="*/ 203 h 239"/>
                  <a:gd name="T8" fmla="*/ 61 w 425"/>
                  <a:gd name="T9" fmla="*/ 209 h 239"/>
                  <a:gd name="T10" fmla="*/ 74 w 425"/>
                  <a:gd name="T11" fmla="*/ 220 h 239"/>
                  <a:gd name="T12" fmla="*/ 88 w 425"/>
                  <a:gd name="T13" fmla="*/ 233 h 239"/>
                  <a:gd name="T14" fmla="*/ 108 w 425"/>
                  <a:gd name="T15" fmla="*/ 237 h 239"/>
                  <a:gd name="T16" fmla="*/ 141 w 425"/>
                  <a:gd name="T17" fmla="*/ 234 h 239"/>
                  <a:gd name="T18" fmla="*/ 161 w 425"/>
                  <a:gd name="T19" fmla="*/ 221 h 239"/>
                  <a:gd name="T20" fmla="*/ 197 w 425"/>
                  <a:gd name="T21" fmla="*/ 217 h 239"/>
                  <a:gd name="T22" fmla="*/ 213 w 425"/>
                  <a:gd name="T23" fmla="*/ 204 h 239"/>
                  <a:gd name="T24" fmla="*/ 239 w 425"/>
                  <a:gd name="T25" fmla="*/ 204 h 239"/>
                  <a:gd name="T26" fmla="*/ 254 w 425"/>
                  <a:gd name="T27" fmla="*/ 206 h 239"/>
                  <a:gd name="T28" fmla="*/ 266 w 425"/>
                  <a:gd name="T29" fmla="*/ 204 h 239"/>
                  <a:gd name="T30" fmla="*/ 291 w 425"/>
                  <a:gd name="T31" fmla="*/ 194 h 239"/>
                  <a:gd name="T32" fmla="*/ 323 w 425"/>
                  <a:gd name="T33" fmla="*/ 176 h 239"/>
                  <a:gd name="T34" fmla="*/ 355 w 425"/>
                  <a:gd name="T35" fmla="*/ 110 h 239"/>
                  <a:gd name="T36" fmla="*/ 388 w 425"/>
                  <a:gd name="T37" fmla="*/ 78 h 239"/>
                  <a:gd name="T38" fmla="*/ 419 w 425"/>
                  <a:gd name="T39" fmla="*/ 66 h 239"/>
                  <a:gd name="T40" fmla="*/ 414 w 425"/>
                  <a:gd name="T41" fmla="*/ 50 h 239"/>
                  <a:gd name="T42" fmla="*/ 383 w 425"/>
                  <a:gd name="T43" fmla="*/ 34 h 239"/>
                  <a:gd name="T44" fmla="*/ 374 w 425"/>
                  <a:gd name="T45" fmla="*/ 26 h 239"/>
                  <a:gd name="T46" fmla="*/ 357 w 425"/>
                  <a:gd name="T47" fmla="*/ 29 h 239"/>
                  <a:gd name="T48" fmla="*/ 339 w 425"/>
                  <a:gd name="T49" fmla="*/ 19 h 239"/>
                  <a:gd name="T50" fmla="*/ 317 w 425"/>
                  <a:gd name="T51" fmla="*/ 10 h 239"/>
                  <a:gd name="T52" fmla="*/ 297 w 425"/>
                  <a:gd name="T53" fmla="*/ 4 h 239"/>
                  <a:gd name="T54" fmla="*/ 275 w 425"/>
                  <a:gd name="T55" fmla="*/ 4 h 239"/>
                  <a:gd name="T56" fmla="*/ 259 w 425"/>
                  <a:gd name="T57" fmla="*/ 29 h 239"/>
                  <a:gd name="T58" fmla="*/ 235 w 425"/>
                  <a:gd name="T59" fmla="*/ 46 h 239"/>
                  <a:gd name="T60" fmla="*/ 219 w 425"/>
                  <a:gd name="T61" fmla="*/ 39 h 239"/>
                  <a:gd name="T62" fmla="*/ 203 w 425"/>
                  <a:gd name="T63" fmla="*/ 43 h 239"/>
                  <a:gd name="T64" fmla="*/ 187 w 425"/>
                  <a:gd name="T65" fmla="*/ 49 h 239"/>
                  <a:gd name="T66" fmla="*/ 170 w 425"/>
                  <a:gd name="T67" fmla="*/ 53 h 239"/>
                  <a:gd name="T68" fmla="*/ 160 w 425"/>
                  <a:gd name="T69" fmla="*/ 69 h 239"/>
                  <a:gd name="T70" fmla="*/ 141 w 425"/>
                  <a:gd name="T71" fmla="*/ 75 h 239"/>
                  <a:gd name="T72" fmla="*/ 101 w 425"/>
                  <a:gd name="T73" fmla="*/ 80 h 239"/>
                  <a:gd name="T74" fmla="*/ 85 w 425"/>
                  <a:gd name="T75" fmla="*/ 71 h 239"/>
                  <a:gd name="T76" fmla="*/ 64 w 425"/>
                  <a:gd name="T77" fmla="*/ 57 h 239"/>
                  <a:gd name="T78" fmla="*/ 52 w 425"/>
                  <a:gd name="T79" fmla="*/ 54 h 239"/>
                  <a:gd name="T80" fmla="*/ 48 w 425"/>
                  <a:gd name="T81" fmla="*/ 69 h 239"/>
                  <a:gd name="T82" fmla="*/ 30 w 425"/>
                  <a:gd name="T83" fmla="*/ 78 h 239"/>
                  <a:gd name="T84" fmla="*/ 23 w 425"/>
                  <a:gd name="T85" fmla="*/ 88 h 239"/>
                  <a:gd name="T86" fmla="*/ 19 w 425"/>
                  <a:gd name="T87" fmla="*/ 101 h 239"/>
                  <a:gd name="T88" fmla="*/ 12 w 425"/>
                  <a:gd name="T89" fmla="*/ 125 h 239"/>
                  <a:gd name="T90" fmla="*/ 0 w 425"/>
                  <a:gd name="T91" fmla="*/ 137 h 239"/>
                  <a:gd name="T92" fmla="*/ 1 w 425"/>
                  <a:gd name="T93" fmla="*/ 151 h 239"/>
                  <a:gd name="T94" fmla="*/ 6 w 425"/>
                  <a:gd name="T95" fmla="*/ 173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5" h="239">
                    <a:moveTo>
                      <a:pt x="6" y="173"/>
                    </a:moveTo>
                    <a:cubicBezTo>
                      <a:pt x="12" y="176"/>
                      <a:pt x="15" y="174"/>
                      <a:pt x="20" y="179"/>
                    </a:cubicBezTo>
                    <a:cubicBezTo>
                      <a:pt x="25" y="185"/>
                      <a:pt x="34" y="184"/>
                      <a:pt x="35" y="188"/>
                    </a:cubicBezTo>
                    <a:cubicBezTo>
                      <a:pt x="36" y="193"/>
                      <a:pt x="37" y="202"/>
                      <a:pt x="44" y="203"/>
                    </a:cubicBezTo>
                    <a:cubicBezTo>
                      <a:pt x="51" y="203"/>
                      <a:pt x="58" y="205"/>
                      <a:pt x="61" y="209"/>
                    </a:cubicBezTo>
                    <a:cubicBezTo>
                      <a:pt x="64" y="214"/>
                      <a:pt x="68" y="219"/>
                      <a:pt x="74" y="220"/>
                    </a:cubicBezTo>
                    <a:cubicBezTo>
                      <a:pt x="80" y="222"/>
                      <a:pt x="85" y="231"/>
                      <a:pt x="88" y="233"/>
                    </a:cubicBezTo>
                    <a:cubicBezTo>
                      <a:pt x="92" y="235"/>
                      <a:pt x="97" y="237"/>
                      <a:pt x="108" y="237"/>
                    </a:cubicBezTo>
                    <a:cubicBezTo>
                      <a:pt x="119" y="237"/>
                      <a:pt x="135" y="239"/>
                      <a:pt x="141" y="234"/>
                    </a:cubicBezTo>
                    <a:cubicBezTo>
                      <a:pt x="147" y="229"/>
                      <a:pt x="152" y="221"/>
                      <a:pt x="161" y="221"/>
                    </a:cubicBezTo>
                    <a:cubicBezTo>
                      <a:pt x="171" y="221"/>
                      <a:pt x="194" y="222"/>
                      <a:pt x="197" y="217"/>
                    </a:cubicBezTo>
                    <a:cubicBezTo>
                      <a:pt x="200" y="212"/>
                      <a:pt x="205" y="204"/>
                      <a:pt x="213" y="204"/>
                    </a:cubicBezTo>
                    <a:cubicBezTo>
                      <a:pt x="221" y="204"/>
                      <a:pt x="232" y="203"/>
                      <a:pt x="239" y="204"/>
                    </a:cubicBezTo>
                    <a:cubicBezTo>
                      <a:pt x="244" y="204"/>
                      <a:pt x="249" y="205"/>
                      <a:pt x="254" y="206"/>
                    </a:cubicBezTo>
                    <a:cubicBezTo>
                      <a:pt x="256" y="205"/>
                      <a:pt x="259" y="204"/>
                      <a:pt x="266" y="204"/>
                    </a:cubicBezTo>
                    <a:cubicBezTo>
                      <a:pt x="279" y="204"/>
                      <a:pt x="280" y="195"/>
                      <a:pt x="291" y="194"/>
                    </a:cubicBezTo>
                    <a:cubicBezTo>
                      <a:pt x="303" y="193"/>
                      <a:pt x="314" y="197"/>
                      <a:pt x="323" y="176"/>
                    </a:cubicBezTo>
                    <a:cubicBezTo>
                      <a:pt x="332" y="155"/>
                      <a:pt x="342" y="120"/>
                      <a:pt x="355" y="110"/>
                    </a:cubicBezTo>
                    <a:cubicBezTo>
                      <a:pt x="367" y="99"/>
                      <a:pt x="378" y="82"/>
                      <a:pt x="388" y="78"/>
                    </a:cubicBezTo>
                    <a:cubicBezTo>
                      <a:pt x="399" y="74"/>
                      <a:pt x="413" y="72"/>
                      <a:pt x="419" y="66"/>
                    </a:cubicBezTo>
                    <a:cubicBezTo>
                      <a:pt x="425" y="61"/>
                      <a:pt x="423" y="53"/>
                      <a:pt x="414" y="50"/>
                    </a:cubicBezTo>
                    <a:cubicBezTo>
                      <a:pt x="404" y="47"/>
                      <a:pt x="388" y="39"/>
                      <a:pt x="383" y="34"/>
                    </a:cubicBezTo>
                    <a:cubicBezTo>
                      <a:pt x="380" y="32"/>
                      <a:pt x="376" y="29"/>
                      <a:pt x="374" y="26"/>
                    </a:cubicBezTo>
                    <a:cubicBezTo>
                      <a:pt x="369" y="27"/>
                      <a:pt x="363" y="29"/>
                      <a:pt x="357" y="29"/>
                    </a:cubicBezTo>
                    <a:cubicBezTo>
                      <a:pt x="348" y="29"/>
                      <a:pt x="339" y="23"/>
                      <a:pt x="339" y="19"/>
                    </a:cubicBezTo>
                    <a:cubicBezTo>
                      <a:pt x="338" y="14"/>
                      <a:pt x="327" y="10"/>
                      <a:pt x="317" y="10"/>
                    </a:cubicBezTo>
                    <a:cubicBezTo>
                      <a:pt x="308" y="10"/>
                      <a:pt x="307" y="8"/>
                      <a:pt x="297" y="4"/>
                    </a:cubicBezTo>
                    <a:cubicBezTo>
                      <a:pt x="287" y="0"/>
                      <a:pt x="285" y="3"/>
                      <a:pt x="275" y="4"/>
                    </a:cubicBezTo>
                    <a:cubicBezTo>
                      <a:pt x="265" y="5"/>
                      <a:pt x="265" y="20"/>
                      <a:pt x="259" y="29"/>
                    </a:cubicBezTo>
                    <a:cubicBezTo>
                      <a:pt x="254" y="39"/>
                      <a:pt x="241" y="46"/>
                      <a:pt x="235" y="46"/>
                    </a:cubicBezTo>
                    <a:cubicBezTo>
                      <a:pt x="229" y="46"/>
                      <a:pt x="223" y="45"/>
                      <a:pt x="219" y="39"/>
                    </a:cubicBezTo>
                    <a:cubicBezTo>
                      <a:pt x="214" y="33"/>
                      <a:pt x="205" y="39"/>
                      <a:pt x="203" y="43"/>
                    </a:cubicBezTo>
                    <a:cubicBezTo>
                      <a:pt x="201" y="48"/>
                      <a:pt x="193" y="45"/>
                      <a:pt x="187" y="49"/>
                    </a:cubicBezTo>
                    <a:cubicBezTo>
                      <a:pt x="182" y="53"/>
                      <a:pt x="177" y="53"/>
                      <a:pt x="170" y="53"/>
                    </a:cubicBezTo>
                    <a:cubicBezTo>
                      <a:pt x="163" y="53"/>
                      <a:pt x="161" y="63"/>
                      <a:pt x="160" y="69"/>
                    </a:cubicBezTo>
                    <a:cubicBezTo>
                      <a:pt x="159" y="74"/>
                      <a:pt x="147" y="69"/>
                      <a:pt x="141" y="75"/>
                    </a:cubicBezTo>
                    <a:cubicBezTo>
                      <a:pt x="136" y="82"/>
                      <a:pt x="113" y="80"/>
                      <a:pt x="101" y="80"/>
                    </a:cubicBezTo>
                    <a:cubicBezTo>
                      <a:pt x="88" y="80"/>
                      <a:pt x="91" y="72"/>
                      <a:pt x="85" y="71"/>
                    </a:cubicBezTo>
                    <a:cubicBezTo>
                      <a:pt x="78" y="71"/>
                      <a:pt x="75" y="62"/>
                      <a:pt x="64" y="57"/>
                    </a:cubicBezTo>
                    <a:cubicBezTo>
                      <a:pt x="59" y="54"/>
                      <a:pt x="55" y="54"/>
                      <a:pt x="52" y="54"/>
                    </a:cubicBezTo>
                    <a:cubicBezTo>
                      <a:pt x="53" y="60"/>
                      <a:pt x="48" y="63"/>
                      <a:pt x="48" y="69"/>
                    </a:cubicBezTo>
                    <a:cubicBezTo>
                      <a:pt x="48" y="75"/>
                      <a:pt x="43" y="78"/>
                      <a:pt x="30" y="78"/>
                    </a:cubicBezTo>
                    <a:cubicBezTo>
                      <a:pt x="17" y="78"/>
                      <a:pt x="20" y="80"/>
                      <a:pt x="23" y="88"/>
                    </a:cubicBezTo>
                    <a:cubicBezTo>
                      <a:pt x="25" y="96"/>
                      <a:pt x="27" y="99"/>
                      <a:pt x="19" y="101"/>
                    </a:cubicBezTo>
                    <a:cubicBezTo>
                      <a:pt x="11" y="103"/>
                      <a:pt x="13" y="113"/>
                      <a:pt x="12" y="125"/>
                    </a:cubicBezTo>
                    <a:cubicBezTo>
                      <a:pt x="11" y="137"/>
                      <a:pt x="6" y="136"/>
                      <a:pt x="0" y="137"/>
                    </a:cubicBezTo>
                    <a:cubicBezTo>
                      <a:pt x="1" y="141"/>
                      <a:pt x="1" y="147"/>
                      <a:pt x="1" y="151"/>
                    </a:cubicBezTo>
                    <a:cubicBezTo>
                      <a:pt x="1" y="160"/>
                      <a:pt x="0" y="171"/>
                      <a:pt x="6" y="17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7" name="Freeform 110">
                <a:extLst>
                  <a:ext uri="{FF2B5EF4-FFF2-40B4-BE49-F238E27FC236}">
                    <a16:creationId xmlns:a16="http://schemas.microsoft.com/office/drawing/2014/main" id="{4CDCAC79-C273-3B46-8EFF-66B0660385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0" y="1776"/>
                <a:ext cx="70" cy="82"/>
              </a:xfrm>
              <a:custGeom>
                <a:avLst/>
                <a:gdLst>
                  <a:gd name="T0" fmla="*/ 272 w 277"/>
                  <a:gd name="T1" fmla="*/ 235 h 324"/>
                  <a:gd name="T2" fmla="*/ 249 w 277"/>
                  <a:gd name="T3" fmla="*/ 214 h 324"/>
                  <a:gd name="T4" fmla="*/ 241 w 277"/>
                  <a:gd name="T5" fmla="*/ 199 h 324"/>
                  <a:gd name="T6" fmla="*/ 235 w 277"/>
                  <a:gd name="T7" fmla="*/ 184 h 324"/>
                  <a:gd name="T8" fmla="*/ 245 w 277"/>
                  <a:gd name="T9" fmla="*/ 166 h 324"/>
                  <a:gd name="T10" fmla="*/ 254 w 277"/>
                  <a:gd name="T11" fmla="*/ 154 h 324"/>
                  <a:gd name="T12" fmla="*/ 255 w 277"/>
                  <a:gd name="T13" fmla="*/ 134 h 324"/>
                  <a:gd name="T14" fmla="*/ 255 w 277"/>
                  <a:gd name="T15" fmla="*/ 122 h 324"/>
                  <a:gd name="T16" fmla="*/ 237 w 277"/>
                  <a:gd name="T17" fmla="*/ 117 h 324"/>
                  <a:gd name="T18" fmla="*/ 212 w 277"/>
                  <a:gd name="T19" fmla="*/ 128 h 324"/>
                  <a:gd name="T20" fmla="*/ 183 w 277"/>
                  <a:gd name="T21" fmla="*/ 116 h 324"/>
                  <a:gd name="T22" fmla="*/ 171 w 277"/>
                  <a:gd name="T23" fmla="*/ 100 h 324"/>
                  <a:gd name="T24" fmla="*/ 177 w 277"/>
                  <a:gd name="T25" fmla="*/ 83 h 324"/>
                  <a:gd name="T26" fmla="*/ 161 w 277"/>
                  <a:gd name="T27" fmla="*/ 73 h 324"/>
                  <a:gd name="T28" fmla="*/ 134 w 277"/>
                  <a:gd name="T29" fmla="*/ 55 h 324"/>
                  <a:gd name="T30" fmla="*/ 121 w 277"/>
                  <a:gd name="T31" fmla="*/ 29 h 324"/>
                  <a:gd name="T32" fmla="*/ 104 w 277"/>
                  <a:gd name="T33" fmla="*/ 11 h 324"/>
                  <a:gd name="T34" fmla="*/ 102 w 277"/>
                  <a:gd name="T35" fmla="*/ 3 h 324"/>
                  <a:gd name="T36" fmla="*/ 87 w 277"/>
                  <a:gd name="T37" fmla="*/ 1 h 324"/>
                  <a:gd name="T38" fmla="*/ 61 w 277"/>
                  <a:gd name="T39" fmla="*/ 1 h 324"/>
                  <a:gd name="T40" fmla="*/ 45 w 277"/>
                  <a:gd name="T41" fmla="*/ 14 h 324"/>
                  <a:gd name="T42" fmla="*/ 9 w 277"/>
                  <a:gd name="T43" fmla="*/ 18 h 324"/>
                  <a:gd name="T44" fmla="*/ 0 w 277"/>
                  <a:gd name="T45" fmla="*/ 20 h 324"/>
                  <a:gd name="T46" fmla="*/ 6 w 277"/>
                  <a:gd name="T47" fmla="*/ 28 h 324"/>
                  <a:gd name="T48" fmla="*/ 14 w 277"/>
                  <a:gd name="T49" fmla="*/ 41 h 324"/>
                  <a:gd name="T50" fmla="*/ 21 w 277"/>
                  <a:gd name="T51" fmla="*/ 57 h 324"/>
                  <a:gd name="T52" fmla="*/ 25 w 277"/>
                  <a:gd name="T53" fmla="*/ 68 h 324"/>
                  <a:gd name="T54" fmla="*/ 31 w 277"/>
                  <a:gd name="T55" fmla="*/ 81 h 324"/>
                  <a:gd name="T56" fmla="*/ 29 w 277"/>
                  <a:gd name="T57" fmla="*/ 99 h 324"/>
                  <a:gd name="T58" fmla="*/ 40 w 277"/>
                  <a:gd name="T59" fmla="*/ 118 h 324"/>
                  <a:gd name="T60" fmla="*/ 24 w 277"/>
                  <a:gd name="T61" fmla="*/ 141 h 324"/>
                  <a:gd name="T62" fmla="*/ 38 w 277"/>
                  <a:gd name="T63" fmla="*/ 156 h 324"/>
                  <a:gd name="T64" fmla="*/ 52 w 277"/>
                  <a:gd name="T65" fmla="*/ 166 h 324"/>
                  <a:gd name="T66" fmla="*/ 34 w 277"/>
                  <a:gd name="T67" fmla="*/ 177 h 324"/>
                  <a:gd name="T68" fmla="*/ 44 w 277"/>
                  <a:gd name="T69" fmla="*/ 185 h 324"/>
                  <a:gd name="T70" fmla="*/ 48 w 277"/>
                  <a:gd name="T71" fmla="*/ 201 h 324"/>
                  <a:gd name="T72" fmla="*/ 41 w 277"/>
                  <a:gd name="T73" fmla="*/ 215 h 324"/>
                  <a:gd name="T74" fmla="*/ 53 w 277"/>
                  <a:gd name="T75" fmla="*/ 229 h 324"/>
                  <a:gd name="T76" fmla="*/ 83 w 277"/>
                  <a:gd name="T77" fmla="*/ 244 h 324"/>
                  <a:gd name="T78" fmla="*/ 100 w 277"/>
                  <a:gd name="T79" fmla="*/ 263 h 324"/>
                  <a:gd name="T80" fmla="*/ 95 w 277"/>
                  <a:gd name="T81" fmla="*/ 290 h 324"/>
                  <a:gd name="T82" fmla="*/ 117 w 277"/>
                  <a:gd name="T83" fmla="*/ 309 h 324"/>
                  <a:gd name="T84" fmla="*/ 127 w 277"/>
                  <a:gd name="T85" fmla="*/ 324 h 324"/>
                  <a:gd name="T86" fmla="*/ 138 w 277"/>
                  <a:gd name="T87" fmla="*/ 319 h 324"/>
                  <a:gd name="T88" fmla="*/ 171 w 277"/>
                  <a:gd name="T89" fmla="*/ 312 h 324"/>
                  <a:gd name="T90" fmla="*/ 193 w 277"/>
                  <a:gd name="T91" fmla="*/ 303 h 324"/>
                  <a:gd name="T92" fmla="*/ 219 w 277"/>
                  <a:gd name="T93" fmla="*/ 300 h 324"/>
                  <a:gd name="T94" fmla="*/ 239 w 277"/>
                  <a:gd name="T95" fmla="*/ 292 h 324"/>
                  <a:gd name="T96" fmla="*/ 235 w 277"/>
                  <a:gd name="T97" fmla="*/ 272 h 324"/>
                  <a:gd name="T98" fmla="*/ 241 w 277"/>
                  <a:gd name="T99" fmla="*/ 263 h 324"/>
                  <a:gd name="T100" fmla="*/ 264 w 277"/>
                  <a:gd name="T101" fmla="*/ 254 h 324"/>
                  <a:gd name="T102" fmla="*/ 272 w 277"/>
                  <a:gd name="T103" fmla="*/ 235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77" h="324">
                    <a:moveTo>
                      <a:pt x="272" y="235"/>
                    </a:moveTo>
                    <a:cubicBezTo>
                      <a:pt x="267" y="226"/>
                      <a:pt x="250" y="222"/>
                      <a:pt x="249" y="214"/>
                    </a:cubicBezTo>
                    <a:cubicBezTo>
                      <a:pt x="248" y="207"/>
                      <a:pt x="245" y="202"/>
                      <a:pt x="241" y="199"/>
                    </a:cubicBezTo>
                    <a:cubicBezTo>
                      <a:pt x="237" y="197"/>
                      <a:pt x="231" y="196"/>
                      <a:pt x="235" y="184"/>
                    </a:cubicBezTo>
                    <a:cubicBezTo>
                      <a:pt x="240" y="171"/>
                      <a:pt x="238" y="170"/>
                      <a:pt x="245" y="166"/>
                    </a:cubicBezTo>
                    <a:cubicBezTo>
                      <a:pt x="253" y="162"/>
                      <a:pt x="254" y="164"/>
                      <a:pt x="254" y="154"/>
                    </a:cubicBezTo>
                    <a:cubicBezTo>
                      <a:pt x="254" y="144"/>
                      <a:pt x="251" y="141"/>
                      <a:pt x="255" y="134"/>
                    </a:cubicBezTo>
                    <a:cubicBezTo>
                      <a:pt x="259" y="128"/>
                      <a:pt x="261" y="126"/>
                      <a:pt x="255" y="122"/>
                    </a:cubicBezTo>
                    <a:cubicBezTo>
                      <a:pt x="248" y="118"/>
                      <a:pt x="240" y="109"/>
                      <a:pt x="237" y="117"/>
                    </a:cubicBezTo>
                    <a:cubicBezTo>
                      <a:pt x="234" y="125"/>
                      <a:pt x="220" y="136"/>
                      <a:pt x="212" y="128"/>
                    </a:cubicBezTo>
                    <a:cubicBezTo>
                      <a:pt x="203" y="121"/>
                      <a:pt x="185" y="121"/>
                      <a:pt x="183" y="116"/>
                    </a:cubicBezTo>
                    <a:cubicBezTo>
                      <a:pt x="180" y="112"/>
                      <a:pt x="162" y="109"/>
                      <a:pt x="171" y="100"/>
                    </a:cubicBezTo>
                    <a:cubicBezTo>
                      <a:pt x="179" y="90"/>
                      <a:pt x="179" y="90"/>
                      <a:pt x="177" y="83"/>
                    </a:cubicBezTo>
                    <a:cubicBezTo>
                      <a:pt x="175" y="76"/>
                      <a:pt x="169" y="72"/>
                      <a:pt x="161" y="73"/>
                    </a:cubicBezTo>
                    <a:cubicBezTo>
                      <a:pt x="152" y="75"/>
                      <a:pt x="138" y="69"/>
                      <a:pt x="134" y="55"/>
                    </a:cubicBezTo>
                    <a:cubicBezTo>
                      <a:pt x="131" y="42"/>
                      <a:pt x="128" y="37"/>
                      <a:pt x="121" y="29"/>
                    </a:cubicBezTo>
                    <a:cubicBezTo>
                      <a:pt x="114" y="21"/>
                      <a:pt x="109" y="16"/>
                      <a:pt x="104" y="11"/>
                    </a:cubicBezTo>
                    <a:cubicBezTo>
                      <a:pt x="101" y="8"/>
                      <a:pt x="100" y="5"/>
                      <a:pt x="102" y="3"/>
                    </a:cubicBezTo>
                    <a:cubicBezTo>
                      <a:pt x="97" y="2"/>
                      <a:pt x="92" y="1"/>
                      <a:pt x="87" y="1"/>
                    </a:cubicBezTo>
                    <a:cubicBezTo>
                      <a:pt x="80" y="0"/>
                      <a:pt x="69" y="1"/>
                      <a:pt x="61" y="1"/>
                    </a:cubicBezTo>
                    <a:cubicBezTo>
                      <a:pt x="53" y="1"/>
                      <a:pt x="48" y="9"/>
                      <a:pt x="45" y="14"/>
                    </a:cubicBezTo>
                    <a:cubicBezTo>
                      <a:pt x="42" y="19"/>
                      <a:pt x="19" y="18"/>
                      <a:pt x="9" y="18"/>
                    </a:cubicBezTo>
                    <a:cubicBezTo>
                      <a:pt x="6" y="18"/>
                      <a:pt x="3" y="19"/>
                      <a:pt x="0" y="20"/>
                    </a:cubicBezTo>
                    <a:cubicBezTo>
                      <a:pt x="1" y="24"/>
                      <a:pt x="3" y="27"/>
                      <a:pt x="6" y="28"/>
                    </a:cubicBezTo>
                    <a:cubicBezTo>
                      <a:pt x="13" y="30"/>
                      <a:pt x="14" y="38"/>
                      <a:pt x="14" y="41"/>
                    </a:cubicBezTo>
                    <a:cubicBezTo>
                      <a:pt x="14" y="44"/>
                      <a:pt x="16" y="55"/>
                      <a:pt x="21" y="57"/>
                    </a:cubicBezTo>
                    <a:cubicBezTo>
                      <a:pt x="26" y="59"/>
                      <a:pt x="25" y="65"/>
                      <a:pt x="25" y="68"/>
                    </a:cubicBezTo>
                    <a:cubicBezTo>
                      <a:pt x="25" y="71"/>
                      <a:pt x="28" y="79"/>
                      <a:pt x="31" y="81"/>
                    </a:cubicBezTo>
                    <a:cubicBezTo>
                      <a:pt x="35" y="84"/>
                      <a:pt x="23" y="95"/>
                      <a:pt x="29" y="99"/>
                    </a:cubicBezTo>
                    <a:cubicBezTo>
                      <a:pt x="35" y="102"/>
                      <a:pt x="43" y="112"/>
                      <a:pt x="40" y="118"/>
                    </a:cubicBezTo>
                    <a:cubicBezTo>
                      <a:pt x="38" y="124"/>
                      <a:pt x="25" y="134"/>
                      <a:pt x="24" y="141"/>
                    </a:cubicBezTo>
                    <a:cubicBezTo>
                      <a:pt x="24" y="149"/>
                      <a:pt x="31" y="154"/>
                      <a:pt x="38" y="156"/>
                    </a:cubicBezTo>
                    <a:cubicBezTo>
                      <a:pt x="45" y="158"/>
                      <a:pt x="54" y="160"/>
                      <a:pt x="52" y="166"/>
                    </a:cubicBezTo>
                    <a:cubicBezTo>
                      <a:pt x="49" y="172"/>
                      <a:pt x="32" y="170"/>
                      <a:pt x="34" y="177"/>
                    </a:cubicBezTo>
                    <a:cubicBezTo>
                      <a:pt x="36" y="183"/>
                      <a:pt x="41" y="179"/>
                      <a:pt x="44" y="185"/>
                    </a:cubicBezTo>
                    <a:cubicBezTo>
                      <a:pt x="47" y="192"/>
                      <a:pt x="52" y="196"/>
                      <a:pt x="48" y="201"/>
                    </a:cubicBezTo>
                    <a:cubicBezTo>
                      <a:pt x="44" y="206"/>
                      <a:pt x="40" y="211"/>
                      <a:pt x="41" y="215"/>
                    </a:cubicBezTo>
                    <a:cubicBezTo>
                      <a:pt x="43" y="220"/>
                      <a:pt x="42" y="223"/>
                      <a:pt x="53" y="229"/>
                    </a:cubicBezTo>
                    <a:cubicBezTo>
                      <a:pt x="64" y="236"/>
                      <a:pt x="74" y="238"/>
                      <a:pt x="83" y="244"/>
                    </a:cubicBezTo>
                    <a:cubicBezTo>
                      <a:pt x="93" y="249"/>
                      <a:pt x="106" y="253"/>
                      <a:pt x="100" y="263"/>
                    </a:cubicBezTo>
                    <a:cubicBezTo>
                      <a:pt x="93" y="273"/>
                      <a:pt x="83" y="284"/>
                      <a:pt x="95" y="290"/>
                    </a:cubicBezTo>
                    <a:cubicBezTo>
                      <a:pt x="106" y="297"/>
                      <a:pt x="111" y="302"/>
                      <a:pt x="117" y="309"/>
                    </a:cubicBezTo>
                    <a:cubicBezTo>
                      <a:pt x="120" y="313"/>
                      <a:pt x="124" y="319"/>
                      <a:pt x="127" y="324"/>
                    </a:cubicBezTo>
                    <a:cubicBezTo>
                      <a:pt x="129" y="321"/>
                      <a:pt x="132" y="319"/>
                      <a:pt x="138" y="319"/>
                    </a:cubicBezTo>
                    <a:cubicBezTo>
                      <a:pt x="154" y="319"/>
                      <a:pt x="162" y="318"/>
                      <a:pt x="171" y="312"/>
                    </a:cubicBezTo>
                    <a:cubicBezTo>
                      <a:pt x="181" y="305"/>
                      <a:pt x="185" y="303"/>
                      <a:pt x="193" y="303"/>
                    </a:cubicBezTo>
                    <a:cubicBezTo>
                      <a:pt x="201" y="303"/>
                      <a:pt x="208" y="298"/>
                      <a:pt x="219" y="300"/>
                    </a:cubicBezTo>
                    <a:cubicBezTo>
                      <a:pt x="231" y="302"/>
                      <a:pt x="239" y="300"/>
                      <a:pt x="239" y="292"/>
                    </a:cubicBezTo>
                    <a:cubicBezTo>
                      <a:pt x="239" y="283"/>
                      <a:pt x="240" y="278"/>
                      <a:pt x="235" y="272"/>
                    </a:cubicBezTo>
                    <a:cubicBezTo>
                      <a:pt x="230" y="266"/>
                      <a:pt x="232" y="263"/>
                      <a:pt x="241" y="263"/>
                    </a:cubicBezTo>
                    <a:cubicBezTo>
                      <a:pt x="250" y="263"/>
                      <a:pt x="260" y="262"/>
                      <a:pt x="264" y="254"/>
                    </a:cubicBezTo>
                    <a:cubicBezTo>
                      <a:pt x="269" y="247"/>
                      <a:pt x="277" y="244"/>
                      <a:pt x="272" y="23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8" name="Freeform 111">
                <a:extLst>
                  <a:ext uri="{FF2B5EF4-FFF2-40B4-BE49-F238E27FC236}">
                    <a16:creationId xmlns:a16="http://schemas.microsoft.com/office/drawing/2014/main" id="{FACA895C-5D30-2340-B3A7-5C0DA5B81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0" y="1846"/>
                <a:ext cx="29" cy="58"/>
              </a:xfrm>
              <a:custGeom>
                <a:avLst/>
                <a:gdLst>
                  <a:gd name="T0" fmla="*/ 107 w 113"/>
                  <a:gd name="T1" fmla="*/ 140 h 227"/>
                  <a:gd name="T2" fmla="*/ 77 w 113"/>
                  <a:gd name="T3" fmla="*/ 111 h 227"/>
                  <a:gd name="T4" fmla="*/ 78 w 113"/>
                  <a:gd name="T5" fmla="*/ 68 h 227"/>
                  <a:gd name="T6" fmla="*/ 88 w 113"/>
                  <a:gd name="T7" fmla="*/ 46 h 227"/>
                  <a:gd name="T8" fmla="*/ 78 w 113"/>
                  <a:gd name="T9" fmla="*/ 31 h 227"/>
                  <a:gd name="T10" fmla="*/ 56 w 113"/>
                  <a:gd name="T11" fmla="*/ 12 h 227"/>
                  <a:gd name="T12" fmla="*/ 50 w 113"/>
                  <a:gd name="T13" fmla="*/ 5 h 227"/>
                  <a:gd name="T14" fmla="*/ 39 w 113"/>
                  <a:gd name="T15" fmla="*/ 8 h 227"/>
                  <a:gd name="T16" fmla="*/ 24 w 113"/>
                  <a:gd name="T17" fmla="*/ 3 h 227"/>
                  <a:gd name="T18" fmla="*/ 10 w 113"/>
                  <a:gd name="T19" fmla="*/ 17 h 227"/>
                  <a:gd name="T20" fmla="*/ 4 w 113"/>
                  <a:gd name="T21" fmla="*/ 38 h 227"/>
                  <a:gd name="T22" fmla="*/ 2 w 113"/>
                  <a:gd name="T23" fmla="*/ 53 h 227"/>
                  <a:gd name="T24" fmla="*/ 14 w 113"/>
                  <a:gd name="T25" fmla="*/ 64 h 227"/>
                  <a:gd name="T26" fmla="*/ 14 w 113"/>
                  <a:gd name="T27" fmla="*/ 136 h 227"/>
                  <a:gd name="T28" fmla="*/ 19 w 113"/>
                  <a:gd name="T29" fmla="*/ 182 h 227"/>
                  <a:gd name="T30" fmla="*/ 29 w 113"/>
                  <a:gd name="T31" fmla="*/ 209 h 227"/>
                  <a:gd name="T32" fmla="*/ 27 w 113"/>
                  <a:gd name="T33" fmla="*/ 227 h 227"/>
                  <a:gd name="T34" fmla="*/ 46 w 113"/>
                  <a:gd name="T35" fmla="*/ 223 h 227"/>
                  <a:gd name="T36" fmla="*/ 73 w 113"/>
                  <a:gd name="T37" fmla="*/ 209 h 227"/>
                  <a:gd name="T38" fmla="*/ 90 w 113"/>
                  <a:gd name="T39" fmla="*/ 180 h 227"/>
                  <a:gd name="T40" fmla="*/ 105 w 113"/>
                  <a:gd name="T41" fmla="*/ 161 h 227"/>
                  <a:gd name="T42" fmla="*/ 107 w 113"/>
                  <a:gd name="T43" fmla="*/ 14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3" h="227">
                    <a:moveTo>
                      <a:pt x="107" y="140"/>
                    </a:moveTo>
                    <a:cubicBezTo>
                      <a:pt x="101" y="132"/>
                      <a:pt x="77" y="126"/>
                      <a:pt x="77" y="111"/>
                    </a:cubicBezTo>
                    <a:cubicBezTo>
                      <a:pt x="77" y="96"/>
                      <a:pt x="72" y="78"/>
                      <a:pt x="78" y="68"/>
                    </a:cubicBezTo>
                    <a:cubicBezTo>
                      <a:pt x="82" y="61"/>
                      <a:pt x="83" y="51"/>
                      <a:pt x="88" y="46"/>
                    </a:cubicBezTo>
                    <a:cubicBezTo>
                      <a:pt x="85" y="41"/>
                      <a:pt x="81" y="35"/>
                      <a:pt x="78" y="31"/>
                    </a:cubicBezTo>
                    <a:cubicBezTo>
                      <a:pt x="72" y="24"/>
                      <a:pt x="67" y="19"/>
                      <a:pt x="56" y="12"/>
                    </a:cubicBezTo>
                    <a:cubicBezTo>
                      <a:pt x="52" y="10"/>
                      <a:pt x="51" y="8"/>
                      <a:pt x="50" y="5"/>
                    </a:cubicBezTo>
                    <a:cubicBezTo>
                      <a:pt x="46" y="6"/>
                      <a:pt x="42" y="7"/>
                      <a:pt x="39" y="8"/>
                    </a:cubicBezTo>
                    <a:cubicBezTo>
                      <a:pt x="34" y="8"/>
                      <a:pt x="31" y="6"/>
                      <a:pt x="24" y="3"/>
                    </a:cubicBezTo>
                    <a:cubicBezTo>
                      <a:pt x="16" y="0"/>
                      <a:pt x="16" y="12"/>
                      <a:pt x="10" y="17"/>
                    </a:cubicBezTo>
                    <a:cubicBezTo>
                      <a:pt x="3" y="22"/>
                      <a:pt x="3" y="29"/>
                      <a:pt x="4" y="38"/>
                    </a:cubicBezTo>
                    <a:cubicBezTo>
                      <a:pt x="5" y="42"/>
                      <a:pt x="3" y="48"/>
                      <a:pt x="2" y="53"/>
                    </a:cubicBezTo>
                    <a:cubicBezTo>
                      <a:pt x="7" y="58"/>
                      <a:pt x="11" y="62"/>
                      <a:pt x="14" y="64"/>
                    </a:cubicBezTo>
                    <a:cubicBezTo>
                      <a:pt x="30" y="76"/>
                      <a:pt x="14" y="106"/>
                      <a:pt x="14" y="136"/>
                    </a:cubicBezTo>
                    <a:cubicBezTo>
                      <a:pt x="14" y="166"/>
                      <a:pt x="0" y="173"/>
                      <a:pt x="19" y="182"/>
                    </a:cubicBezTo>
                    <a:cubicBezTo>
                      <a:pt x="37" y="190"/>
                      <a:pt x="32" y="197"/>
                      <a:pt x="29" y="209"/>
                    </a:cubicBezTo>
                    <a:cubicBezTo>
                      <a:pt x="27" y="215"/>
                      <a:pt x="26" y="221"/>
                      <a:pt x="27" y="227"/>
                    </a:cubicBezTo>
                    <a:cubicBezTo>
                      <a:pt x="31" y="226"/>
                      <a:pt x="37" y="224"/>
                      <a:pt x="46" y="223"/>
                    </a:cubicBezTo>
                    <a:cubicBezTo>
                      <a:pt x="61" y="223"/>
                      <a:pt x="70" y="219"/>
                      <a:pt x="73" y="209"/>
                    </a:cubicBezTo>
                    <a:cubicBezTo>
                      <a:pt x="77" y="199"/>
                      <a:pt x="81" y="187"/>
                      <a:pt x="90" y="180"/>
                    </a:cubicBezTo>
                    <a:cubicBezTo>
                      <a:pt x="99" y="172"/>
                      <a:pt x="101" y="165"/>
                      <a:pt x="105" y="161"/>
                    </a:cubicBezTo>
                    <a:cubicBezTo>
                      <a:pt x="108" y="158"/>
                      <a:pt x="113" y="148"/>
                      <a:pt x="107" y="14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59" name="Freeform 112">
                <a:extLst>
                  <a:ext uri="{FF2B5EF4-FFF2-40B4-BE49-F238E27FC236}">
                    <a16:creationId xmlns:a16="http://schemas.microsoft.com/office/drawing/2014/main" id="{1BA224F5-0509-334C-9A3F-1AA18C60A2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1795"/>
                <a:ext cx="62" cy="51"/>
              </a:xfrm>
              <a:custGeom>
                <a:avLst/>
                <a:gdLst>
                  <a:gd name="T0" fmla="*/ 172 w 244"/>
                  <a:gd name="T1" fmla="*/ 198 h 205"/>
                  <a:gd name="T2" fmla="*/ 177 w 244"/>
                  <a:gd name="T3" fmla="*/ 187 h 205"/>
                  <a:gd name="T4" fmla="*/ 173 w 244"/>
                  <a:gd name="T5" fmla="*/ 173 h 205"/>
                  <a:gd name="T6" fmla="*/ 187 w 244"/>
                  <a:gd name="T7" fmla="*/ 164 h 205"/>
                  <a:gd name="T8" fmla="*/ 195 w 244"/>
                  <a:gd name="T9" fmla="*/ 153 h 205"/>
                  <a:gd name="T10" fmla="*/ 206 w 244"/>
                  <a:gd name="T11" fmla="*/ 149 h 205"/>
                  <a:gd name="T12" fmla="*/ 214 w 244"/>
                  <a:gd name="T13" fmla="*/ 136 h 205"/>
                  <a:gd name="T14" fmla="*/ 234 w 244"/>
                  <a:gd name="T15" fmla="*/ 133 h 205"/>
                  <a:gd name="T16" fmla="*/ 238 w 244"/>
                  <a:gd name="T17" fmla="*/ 128 h 205"/>
                  <a:gd name="T18" fmla="*/ 234 w 244"/>
                  <a:gd name="T19" fmla="*/ 112 h 205"/>
                  <a:gd name="T20" fmla="*/ 224 w 244"/>
                  <a:gd name="T21" fmla="*/ 104 h 205"/>
                  <a:gd name="T22" fmla="*/ 242 w 244"/>
                  <a:gd name="T23" fmla="*/ 93 h 205"/>
                  <a:gd name="T24" fmla="*/ 228 w 244"/>
                  <a:gd name="T25" fmla="*/ 83 h 205"/>
                  <a:gd name="T26" fmla="*/ 214 w 244"/>
                  <a:gd name="T27" fmla="*/ 68 h 205"/>
                  <a:gd name="T28" fmla="*/ 230 w 244"/>
                  <a:gd name="T29" fmla="*/ 45 h 205"/>
                  <a:gd name="T30" fmla="*/ 219 w 244"/>
                  <a:gd name="T31" fmla="*/ 26 h 205"/>
                  <a:gd name="T32" fmla="*/ 217 w 244"/>
                  <a:gd name="T33" fmla="*/ 23 h 205"/>
                  <a:gd name="T34" fmla="*/ 209 w 244"/>
                  <a:gd name="T35" fmla="*/ 22 h 205"/>
                  <a:gd name="T36" fmla="*/ 183 w 244"/>
                  <a:gd name="T37" fmla="*/ 15 h 205"/>
                  <a:gd name="T38" fmla="*/ 146 w 244"/>
                  <a:gd name="T39" fmla="*/ 14 h 205"/>
                  <a:gd name="T40" fmla="*/ 116 w 244"/>
                  <a:gd name="T41" fmla="*/ 9 h 205"/>
                  <a:gd name="T42" fmla="*/ 84 w 244"/>
                  <a:gd name="T43" fmla="*/ 8 h 205"/>
                  <a:gd name="T44" fmla="*/ 68 w 244"/>
                  <a:gd name="T45" fmla="*/ 3 h 205"/>
                  <a:gd name="T46" fmla="*/ 54 w 244"/>
                  <a:gd name="T47" fmla="*/ 6 h 205"/>
                  <a:gd name="T48" fmla="*/ 40 w 244"/>
                  <a:gd name="T49" fmla="*/ 18 h 205"/>
                  <a:gd name="T50" fmla="*/ 24 w 244"/>
                  <a:gd name="T51" fmla="*/ 10 h 205"/>
                  <a:gd name="T52" fmla="*/ 6 w 244"/>
                  <a:gd name="T53" fmla="*/ 9 h 205"/>
                  <a:gd name="T54" fmla="*/ 1 w 244"/>
                  <a:gd name="T55" fmla="*/ 25 h 205"/>
                  <a:gd name="T56" fmla="*/ 13 w 244"/>
                  <a:gd name="T57" fmla="*/ 45 h 205"/>
                  <a:gd name="T58" fmla="*/ 26 w 244"/>
                  <a:gd name="T59" fmla="*/ 61 h 205"/>
                  <a:gd name="T60" fmla="*/ 38 w 244"/>
                  <a:gd name="T61" fmla="*/ 84 h 205"/>
                  <a:gd name="T62" fmla="*/ 57 w 244"/>
                  <a:gd name="T63" fmla="*/ 104 h 205"/>
                  <a:gd name="T64" fmla="*/ 81 w 244"/>
                  <a:gd name="T65" fmla="*/ 131 h 205"/>
                  <a:gd name="T66" fmla="*/ 101 w 244"/>
                  <a:gd name="T67" fmla="*/ 147 h 205"/>
                  <a:gd name="T68" fmla="*/ 116 w 244"/>
                  <a:gd name="T69" fmla="*/ 166 h 205"/>
                  <a:gd name="T70" fmla="*/ 149 w 244"/>
                  <a:gd name="T71" fmla="*/ 186 h 205"/>
                  <a:gd name="T72" fmla="*/ 161 w 244"/>
                  <a:gd name="T73" fmla="*/ 203 h 205"/>
                  <a:gd name="T74" fmla="*/ 170 w 244"/>
                  <a:gd name="T75" fmla="*/ 205 h 205"/>
                  <a:gd name="T76" fmla="*/ 172 w 244"/>
                  <a:gd name="T77" fmla="*/ 198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44" h="205">
                    <a:moveTo>
                      <a:pt x="172" y="198"/>
                    </a:moveTo>
                    <a:cubicBezTo>
                      <a:pt x="177" y="195"/>
                      <a:pt x="182" y="193"/>
                      <a:pt x="177" y="187"/>
                    </a:cubicBezTo>
                    <a:cubicBezTo>
                      <a:pt x="172" y="182"/>
                      <a:pt x="166" y="174"/>
                      <a:pt x="173" y="173"/>
                    </a:cubicBezTo>
                    <a:cubicBezTo>
                      <a:pt x="180" y="172"/>
                      <a:pt x="185" y="172"/>
                      <a:pt x="187" y="164"/>
                    </a:cubicBezTo>
                    <a:cubicBezTo>
                      <a:pt x="190" y="156"/>
                      <a:pt x="188" y="153"/>
                      <a:pt x="195" y="153"/>
                    </a:cubicBezTo>
                    <a:cubicBezTo>
                      <a:pt x="203" y="153"/>
                      <a:pt x="206" y="156"/>
                      <a:pt x="206" y="149"/>
                    </a:cubicBezTo>
                    <a:cubicBezTo>
                      <a:pt x="207" y="141"/>
                      <a:pt x="205" y="137"/>
                      <a:pt x="214" y="136"/>
                    </a:cubicBezTo>
                    <a:cubicBezTo>
                      <a:pt x="221" y="135"/>
                      <a:pt x="224" y="130"/>
                      <a:pt x="234" y="133"/>
                    </a:cubicBezTo>
                    <a:cubicBezTo>
                      <a:pt x="235" y="131"/>
                      <a:pt x="237" y="130"/>
                      <a:pt x="238" y="128"/>
                    </a:cubicBezTo>
                    <a:cubicBezTo>
                      <a:pt x="242" y="123"/>
                      <a:pt x="237" y="119"/>
                      <a:pt x="234" y="112"/>
                    </a:cubicBezTo>
                    <a:cubicBezTo>
                      <a:pt x="231" y="106"/>
                      <a:pt x="226" y="110"/>
                      <a:pt x="224" y="104"/>
                    </a:cubicBezTo>
                    <a:cubicBezTo>
                      <a:pt x="222" y="97"/>
                      <a:pt x="239" y="99"/>
                      <a:pt x="242" y="93"/>
                    </a:cubicBezTo>
                    <a:cubicBezTo>
                      <a:pt x="244" y="87"/>
                      <a:pt x="235" y="85"/>
                      <a:pt x="228" y="83"/>
                    </a:cubicBezTo>
                    <a:cubicBezTo>
                      <a:pt x="221" y="81"/>
                      <a:pt x="214" y="76"/>
                      <a:pt x="214" y="68"/>
                    </a:cubicBezTo>
                    <a:cubicBezTo>
                      <a:pt x="215" y="61"/>
                      <a:pt x="228" y="51"/>
                      <a:pt x="230" y="45"/>
                    </a:cubicBezTo>
                    <a:cubicBezTo>
                      <a:pt x="233" y="39"/>
                      <a:pt x="225" y="29"/>
                      <a:pt x="219" y="26"/>
                    </a:cubicBezTo>
                    <a:cubicBezTo>
                      <a:pt x="218" y="25"/>
                      <a:pt x="218" y="24"/>
                      <a:pt x="217" y="23"/>
                    </a:cubicBezTo>
                    <a:cubicBezTo>
                      <a:pt x="215" y="22"/>
                      <a:pt x="213" y="22"/>
                      <a:pt x="209" y="22"/>
                    </a:cubicBezTo>
                    <a:cubicBezTo>
                      <a:pt x="201" y="22"/>
                      <a:pt x="188" y="18"/>
                      <a:pt x="183" y="15"/>
                    </a:cubicBezTo>
                    <a:cubicBezTo>
                      <a:pt x="177" y="12"/>
                      <a:pt x="162" y="11"/>
                      <a:pt x="146" y="14"/>
                    </a:cubicBezTo>
                    <a:cubicBezTo>
                      <a:pt x="131" y="17"/>
                      <a:pt x="129" y="15"/>
                      <a:pt x="116" y="9"/>
                    </a:cubicBezTo>
                    <a:cubicBezTo>
                      <a:pt x="102" y="3"/>
                      <a:pt x="95" y="8"/>
                      <a:pt x="84" y="8"/>
                    </a:cubicBezTo>
                    <a:cubicBezTo>
                      <a:pt x="74" y="8"/>
                      <a:pt x="74" y="7"/>
                      <a:pt x="68" y="3"/>
                    </a:cubicBezTo>
                    <a:cubicBezTo>
                      <a:pt x="63" y="0"/>
                      <a:pt x="60" y="4"/>
                      <a:pt x="54" y="6"/>
                    </a:cubicBezTo>
                    <a:cubicBezTo>
                      <a:pt x="48" y="7"/>
                      <a:pt x="48" y="19"/>
                      <a:pt x="40" y="18"/>
                    </a:cubicBezTo>
                    <a:cubicBezTo>
                      <a:pt x="32" y="18"/>
                      <a:pt x="29" y="15"/>
                      <a:pt x="24" y="10"/>
                    </a:cubicBezTo>
                    <a:cubicBezTo>
                      <a:pt x="21" y="7"/>
                      <a:pt x="12" y="8"/>
                      <a:pt x="6" y="9"/>
                    </a:cubicBezTo>
                    <a:cubicBezTo>
                      <a:pt x="4" y="14"/>
                      <a:pt x="0" y="19"/>
                      <a:pt x="1" y="25"/>
                    </a:cubicBezTo>
                    <a:cubicBezTo>
                      <a:pt x="2" y="31"/>
                      <a:pt x="5" y="40"/>
                      <a:pt x="13" y="45"/>
                    </a:cubicBezTo>
                    <a:cubicBezTo>
                      <a:pt x="22" y="50"/>
                      <a:pt x="23" y="54"/>
                      <a:pt x="26" y="61"/>
                    </a:cubicBezTo>
                    <a:cubicBezTo>
                      <a:pt x="28" y="68"/>
                      <a:pt x="37" y="75"/>
                      <a:pt x="38" y="84"/>
                    </a:cubicBezTo>
                    <a:cubicBezTo>
                      <a:pt x="39" y="94"/>
                      <a:pt x="43" y="100"/>
                      <a:pt x="57" y="104"/>
                    </a:cubicBezTo>
                    <a:cubicBezTo>
                      <a:pt x="71" y="109"/>
                      <a:pt x="77" y="123"/>
                      <a:pt x="81" y="131"/>
                    </a:cubicBezTo>
                    <a:cubicBezTo>
                      <a:pt x="85" y="139"/>
                      <a:pt x="92" y="141"/>
                      <a:pt x="101" y="147"/>
                    </a:cubicBezTo>
                    <a:cubicBezTo>
                      <a:pt x="109" y="153"/>
                      <a:pt x="112" y="158"/>
                      <a:pt x="116" y="166"/>
                    </a:cubicBezTo>
                    <a:cubicBezTo>
                      <a:pt x="120" y="173"/>
                      <a:pt x="136" y="177"/>
                      <a:pt x="149" y="186"/>
                    </a:cubicBezTo>
                    <a:cubicBezTo>
                      <a:pt x="156" y="190"/>
                      <a:pt x="160" y="197"/>
                      <a:pt x="161" y="203"/>
                    </a:cubicBezTo>
                    <a:cubicBezTo>
                      <a:pt x="164" y="204"/>
                      <a:pt x="167" y="205"/>
                      <a:pt x="170" y="205"/>
                    </a:cubicBezTo>
                    <a:cubicBezTo>
                      <a:pt x="170" y="202"/>
                      <a:pt x="171" y="199"/>
                      <a:pt x="172" y="19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0" name="Freeform 113">
                <a:extLst>
                  <a:ext uri="{FF2B5EF4-FFF2-40B4-BE49-F238E27FC236}">
                    <a16:creationId xmlns:a16="http://schemas.microsoft.com/office/drawing/2014/main" id="{F90A0EC2-F197-3C4B-922E-57A98293C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4" y="1827"/>
                <a:ext cx="33" cy="33"/>
              </a:xfrm>
              <a:custGeom>
                <a:avLst/>
                <a:gdLst>
                  <a:gd name="T0" fmla="*/ 107 w 130"/>
                  <a:gd name="T1" fmla="*/ 41 h 128"/>
                  <a:gd name="T2" fmla="*/ 77 w 130"/>
                  <a:gd name="T3" fmla="*/ 26 h 128"/>
                  <a:gd name="T4" fmla="*/ 65 w 130"/>
                  <a:gd name="T5" fmla="*/ 12 h 128"/>
                  <a:gd name="T6" fmla="*/ 68 w 130"/>
                  <a:gd name="T7" fmla="*/ 3 h 128"/>
                  <a:gd name="T8" fmla="*/ 48 w 130"/>
                  <a:gd name="T9" fmla="*/ 6 h 128"/>
                  <a:gd name="T10" fmla="*/ 40 w 130"/>
                  <a:gd name="T11" fmla="*/ 19 h 128"/>
                  <a:gd name="T12" fmla="*/ 29 w 130"/>
                  <a:gd name="T13" fmla="*/ 23 h 128"/>
                  <a:gd name="T14" fmla="*/ 21 w 130"/>
                  <a:gd name="T15" fmla="*/ 34 h 128"/>
                  <a:gd name="T16" fmla="*/ 7 w 130"/>
                  <a:gd name="T17" fmla="*/ 43 h 128"/>
                  <a:gd name="T18" fmla="*/ 11 w 130"/>
                  <a:gd name="T19" fmla="*/ 57 h 128"/>
                  <a:gd name="T20" fmla="*/ 6 w 130"/>
                  <a:gd name="T21" fmla="*/ 68 h 128"/>
                  <a:gd name="T22" fmla="*/ 4 w 130"/>
                  <a:gd name="T23" fmla="*/ 75 h 128"/>
                  <a:gd name="T24" fmla="*/ 7 w 130"/>
                  <a:gd name="T25" fmla="*/ 76 h 128"/>
                  <a:gd name="T26" fmla="*/ 65 w 130"/>
                  <a:gd name="T27" fmla="*/ 128 h 128"/>
                  <a:gd name="T28" fmla="*/ 67 w 130"/>
                  <a:gd name="T29" fmla="*/ 113 h 128"/>
                  <a:gd name="T30" fmla="*/ 73 w 130"/>
                  <a:gd name="T31" fmla="*/ 92 h 128"/>
                  <a:gd name="T32" fmla="*/ 87 w 130"/>
                  <a:gd name="T33" fmla="*/ 78 h 128"/>
                  <a:gd name="T34" fmla="*/ 102 w 130"/>
                  <a:gd name="T35" fmla="*/ 83 h 128"/>
                  <a:gd name="T36" fmla="*/ 113 w 130"/>
                  <a:gd name="T37" fmla="*/ 80 h 128"/>
                  <a:gd name="T38" fmla="*/ 124 w 130"/>
                  <a:gd name="T39" fmla="*/ 60 h 128"/>
                  <a:gd name="T40" fmla="*/ 107 w 130"/>
                  <a:gd name="T41" fmla="*/ 41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28">
                    <a:moveTo>
                      <a:pt x="107" y="41"/>
                    </a:moveTo>
                    <a:cubicBezTo>
                      <a:pt x="98" y="35"/>
                      <a:pt x="88" y="33"/>
                      <a:pt x="77" y="26"/>
                    </a:cubicBezTo>
                    <a:cubicBezTo>
                      <a:pt x="66" y="20"/>
                      <a:pt x="67" y="17"/>
                      <a:pt x="65" y="12"/>
                    </a:cubicBezTo>
                    <a:cubicBezTo>
                      <a:pt x="64" y="9"/>
                      <a:pt x="66" y="6"/>
                      <a:pt x="68" y="3"/>
                    </a:cubicBezTo>
                    <a:cubicBezTo>
                      <a:pt x="58" y="0"/>
                      <a:pt x="55" y="5"/>
                      <a:pt x="48" y="6"/>
                    </a:cubicBezTo>
                    <a:cubicBezTo>
                      <a:pt x="39" y="7"/>
                      <a:pt x="41" y="11"/>
                      <a:pt x="40" y="19"/>
                    </a:cubicBezTo>
                    <a:cubicBezTo>
                      <a:pt x="40" y="26"/>
                      <a:pt x="37" y="23"/>
                      <a:pt x="29" y="23"/>
                    </a:cubicBezTo>
                    <a:cubicBezTo>
                      <a:pt x="22" y="23"/>
                      <a:pt x="24" y="26"/>
                      <a:pt x="21" y="34"/>
                    </a:cubicBezTo>
                    <a:cubicBezTo>
                      <a:pt x="19" y="42"/>
                      <a:pt x="14" y="42"/>
                      <a:pt x="7" y="43"/>
                    </a:cubicBezTo>
                    <a:cubicBezTo>
                      <a:pt x="0" y="44"/>
                      <a:pt x="6" y="52"/>
                      <a:pt x="11" y="57"/>
                    </a:cubicBezTo>
                    <a:cubicBezTo>
                      <a:pt x="16" y="63"/>
                      <a:pt x="11" y="65"/>
                      <a:pt x="6" y="68"/>
                    </a:cubicBezTo>
                    <a:cubicBezTo>
                      <a:pt x="5" y="69"/>
                      <a:pt x="4" y="72"/>
                      <a:pt x="4" y="75"/>
                    </a:cubicBezTo>
                    <a:cubicBezTo>
                      <a:pt x="5" y="76"/>
                      <a:pt x="6" y="76"/>
                      <a:pt x="7" y="76"/>
                    </a:cubicBezTo>
                    <a:cubicBezTo>
                      <a:pt x="22" y="79"/>
                      <a:pt x="47" y="109"/>
                      <a:pt x="65" y="128"/>
                    </a:cubicBezTo>
                    <a:cubicBezTo>
                      <a:pt x="66" y="123"/>
                      <a:pt x="68" y="117"/>
                      <a:pt x="67" y="113"/>
                    </a:cubicBezTo>
                    <a:cubicBezTo>
                      <a:pt x="66" y="104"/>
                      <a:pt x="66" y="97"/>
                      <a:pt x="73" y="92"/>
                    </a:cubicBezTo>
                    <a:cubicBezTo>
                      <a:pt x="79" y="87"/>
                      <a:pt x="79" y="75"/>
                      <a:pt x="87" y="78"/>
                    </a:cubicBezTo>
                    <a:cubicBezTo>
                      <a:pt x="94" y="81"/>
                      <a:pt x="97" y="83"/>
                      <a:pt x="102" y="83"/>
                    </a:cubicBezTo>
                    <a:cubicBezTo>
                      <a:pt x="105" y="82"/>
                      <a:pt x="109" y="81"/>
                      <a:pt x="113" y="80"/>
                    </a:cubicBezTo>
                    <a:cubicBezTo>
                      <a:pt x="113" y="74"/>
                      <a:pt x="119" y="67"/>
                      <a:pt x="124" y="60"/>
                    </a:cubicBezTo>
                    <a:cubicBezTo>
                      <a:pt x="130" y="50"/>
                      <a:pt x="117" y="46"/>
                      <a:pt x="107" y="4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1" name="Freeform 114">
                <a:extLst>
                  <a:ext uri="{FF2B5EF4-FFF2-40B4-BE49-F238E27FC236}">
                    <a16:creationId xmlns:a16="http://schemas.microsoft.com/office/drawing/2014/main" id="{7BA1A8FA-43ED-C543-9598-1D9400349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" y="1768"/>
                <a:ext cx="92" cy="78"/>
              </a:xfrm>
              <a:custGeom>
                <a:avLst/>
                <a:gdLst>
                  <a:gd name="T0" fmla="*/ 354 w 363"/>
                  <a:gd name="T1" fmla="*/ 100 h 308"/>
                  <a:gd name="T2" fmla="*/ 343 w 363"/>
                  <a:gd name="T3" fmla="*/ 73 h 308"/>
                  <a:gd name="T4" fmla="*/ 329 w 363"/>
                  <a:gd name="T5" fmla="*/ 52 h 308"/>
                  <a:gd name="T6" fmla="*/ 285 w 363"/>
                  <a:gd name="T7" fmla="*/ 66 h 308"/>
                  <a:gd name="T8" fmla="*/ 251 w 363"/>
                  <a:gd name="T9" fmla="*/ 49 h 308"/>
                  <a:gd name="T10" fmla="*/ 221 w 363"/>
                  <a:gd name="T11" fmla="*/ 32 h 308"/>
                  <a:gd name="T12" fmla="*/ 197 w 363"/>
                  <a:gd name="T13" fmla="*/ 8 h 308"/>
                  <a:gd name="T14" fmla="*/ 180 w 363"/>
                  <a:gd name="T15" fmla="*/ 0 h 308"/>
                  <a:gd name="T16" fmla="*/ 150 w 363"/>
                  <a:gd name="T17" fmla="*/ 25 h 308"/>
                  <a:gd name="T18" fmla="*/ 136 w 363"/>
                  <a:gd name="T19" fmla="*/ 44 h 308"/>
                  <a:gd name="T20" fmla="*/ 114 w 363"/>
                  <a:gd name="T21" fmla="*/ 68 h 308"/>
                  <a:gd name="T22" fmla="*/ 91 w 363"/>
                  <a:gd name="T23" fmla="*/ 88 h 308"/>
                  <a:gd name="T24" fmla="*/ 56 w 363"/>
                  <a:gd name="T25" fmla="*/ 82 h 308"/>
                  <a:gd name="T26" fmla="*/ 0 w 363"/>
                  <a:gd name="T27" fmla="*/ 88 h 308"/>
                  <a:gd name="T28" fmla="*/ 24 w 363"/>
                  <a:gd name="T29" fmla="*/ 136 h 308"/>
                  <a:gd name="T30" fmla="*/ 50 w 363"/>
                  <a:gd name="T31" fmla="*/ 146 h 308"/>
                  <a:gd name="T32" fmla="*/ 68 w 363"/>
                  <a:gd name="T33" fmla="*/ 123 h 308"/>
                  <a:gd name="T34" fmla="*/ 107 w 363"/>
                  <a:gd name="T35" fmla="*/ 191 h 308"/>
                  <a:gd name="T36" fmla="*/ 146 w 363"/>
                  <a:gd name="T37" fmla="*/ 225 h 308"/>
                  <a:gd name="T38" fmla="*/ 189 w 363"/>
                  <a:gd name="T39" fmla="*/ 267 h 308"/>
                  <a:gd name="T40" fmla="*/ 205 w 363"/>
                  <a:gd name="T41" fmla="*/ 271 h 308"/>
                  <a:gd name="T42" fmla="*/ 256 w 363"/>
                  <a:gd name="T43" fmla="*/ 291 h 308"/>
                  <a:gd name="T44" fmla="*/ 288 w 363"/>
                  <a:gd name="T45" fmla="*/ 291 h 308"/>
                  <a:gd name="T46" fmla="*/ 240 w 363"/>
                  <a:gd name="T47" fmla="*/ 252 h 308"/>
                  <a:gd name="T48" fmla="*/ 196 w 363"/>
                  <a:gd name="T49" fmla="*/ 209 h 308"/>
                  <a:gd name="T50" fmla="*/ 165 w 363"/>
                  <a:gd name="T51" fmla="*/ 166 h 308"/>
                  <a:gd name="T52" fmla="*/ 140 w 363"/>
                  <a:gd name="T53" fmla="*/ 130 h 308"/>
                  <a:gd name="T54" fmla="*/ 145 w 363"/>
                  <a:gd name="T55" fmla="*/ 114 h 308"/>
                  <a:gd name="T56" fmla="*/ 179 w 363"/>
                  <a:gd name="T57" fmla="*/ 123 h 308"/>
                  <a:gd name="T58" fmla="*/ 207 w 363"/>
                  <a:gd name="T59" fmla="*/ 108 h 308"/>
                  <a:gd name="T60" fmla="*/ 255 w 363"/>
                  <a:gd name="T61" fmla="*/ 114 h 308"/>
                  <a:gd name="T62" fmla="*/ 322 w 363"/>
                  <a:gd name="T63" fmla="*/ 120 h 308"/>
                  <a:gd name="T64" fmla="*/ 356 w 363"/>
                  <a:gd name="T65" fmla="*/ 12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3" h="308">
                    <a:moveTo>
                      <a:pt x="360" y="113"/>
                    </a:moveTo>
                    <a:cubicBezTo>
                      <a:pt x="357" y="111"/>
                      <a:pt x="354" y="103"/>
                      <a:pt x="354" y="100"/>
                    </a:cubicBezTo>
                    <a:cubicBezTo>
                      <a:pt x="354" y="97"/>
                      <a:pt x="355" y="91"/>
                      <a:pt x="350" y="89"/>
                    </a:cubicBezTo>
                    <a:cubicBezTo>
                      <a:pt x="345" y="87"/>
                      <a:pt x="343" y="76"/>
                      <a:pt x="343" y="73"/>
                    </a:cubicBezTo>
                    <a:cubicBezTo>
                      <a:pt x="343" y="70"/>
                      <a:pt x="342" y="62"/>
                      <a:pt x="335" y="60"/>
                    </a:cubicBezTo>
                    <a:cubicBezTo>
                      <a:pt x="332" y="59"/>
                      <a:pt x="330" y="56"/>
                      <a:pt x="329" y="52"/>
                    </a:cubicBezTo>
                    <a:cubicBezTo>
                      <a:pt x="325" y="55"/>
                      <a:pt x="322" y="60"/>
                      <a:pt x="318" y="63"/>
                    </a:cubicBezTo>
                    <a:cubicBezTo>
                      <a:pt x="312" y="68"/>
                      <a:pt x="296" y="66"/>
                      <a:pt x="285" y="66"/>
                    </a:cubicBezTo>
                    <a:cubicBezTo>
                      <a:pt x="274" y="66"/>
                      <a:pt x="269" y="64"/>
                      <a:pt x="265" y="62"/>
                    </a:cubicBezTo>
                    <a:cubicBezTo>
                      <a:pt x="262" y="60"/>
                      <a:pt x="257" y="51"/>
                      <a:pt x="251" y="49"/>
                    </a:cubicBezTo>
                    <a:cubicBezTo>
                      <a:pt x="245" y="48"/>
                      <a:pt x="241" y="43"/>
                      <a:pt x="238" y="38"/>
                    </a:cubicBezTo>
                    <a:cubicBezTo>
                      <a:pt x="235" y="34"/>
                      <a:pt x="228" y="32"/>
                      <a:pt x="221" y="32"/>
                    </a:cubicBezTo>
                    <a:cubicBezTo>
                      <a:pt x="214" y="31"/>
                      <a:pt x="213" y="22"/>
                      <a:pt x="212" y="17"/>
                    </a:cubicBezTo>
                    <a:cubicBezTo>
                      <a:pt x="211" y="13"/>
                      <a:pt x="202" y="14"/>
                      <a:pt x="197" y="8"/>
                    </a:cubicBezTo>
                    <a:cubicBezTo>
                      <a:pt x="192" y="3"/>
                      <a:pt x="189" y="5"/>
                      <a:pt x="183" y="2"/>
                    </a:cubicBezTo>
                    <a:cubicBezTo>
                      <a:pt x="181" y="2"/>
                      <a:pt x="181" y="1"/>
                      <a:pt x="180" y="0"/>
                    </a:cubicBezTo>
                    <a:cubicBezTo>
                      <a:pt x="174" y="5"/>
                      <a:pt x="169" y="13"/>
                      <a:pt x="166" y="18"/>
                    </a:cubicBezTo>
                    <a:cubicBezTo>
                      <a:pt x="162" y="24"/>
                      <a:pt x="161" y="24"/>
                      <a:pt x="150" y="25"/>
                    </a:cubicBezTo>
                    <a:cubicBezTo>
                      <a:pt x="140" y="26"/>
                      <a:pt x="138" y="28"/>
                      <a:pt x="133" y="32"/>
                    </a:cubicBezTo>
                    <a:cubicBezTo>
                      <a:pt x="129" y="37"/>
                      <a:pt x="129" y="40"/>
                      <a:pt x="136" y="44"/>
                    </a:cubicBezTo>
                    <a:cubicBezTo>
                      <a:pt x="143" y="49"/>
                      <a:pt x="139" y="49"/>
                      <a:pt x="137" y="55"/>
                    </a:cubicBezTo>
                    <a:cubicBezTo>
                      <a:pt x="135" y="60"/>
                      <a:pt x="124" y="64"/>
                      <a:pt x="114" y="68"/>
                    </a:cubicBezTo>
                    <a:cubicBezTo>
                      <a:pt x="108" y="70"/>
                      <a:pt x="106" y="80"/>
                      <a:pt x="106" y="87"/>
                    </a:cubicBezTo>
                    <a:cubicBezTo>
                      <a:pt x="100" y="89"/>
                      <a:pt x="95" y="91"/>
                      <a:pt x="91" y="88"/>
                    </a:cubicBezTo>
                    <a:cubicBezTo>
                      <a:pt x="82" y="84"/>
                      <a:pt x="77" y="76"/>
                      <a:pt x="70" y="76"/>
                    </a:cubicBezTo>
                    <a:cubicBezTo>
                      <a:pt x="63" y="75"/>
                      <a:pt x="60" y="77"/>
                      <a:pt x="56" y="82"/>
                    </a:cubicBezTo>
                    <a:cubicBezTo>
                      <a:pt x="52" y="87"/>
                      <a:pt x="41" y="90"/>
                      <a:pt x="33" y="87"/>
                    </a:cubicBezTo>
                    <a:cubicBezTo>
                      <a:pt x="27" y="85"/>
                      <a:pt x="14" y="86"/>
                      <a:pt x="0" y="88"/>
                    </a:cubicBezTo>
                    <a:cubicBezTo>
                      <a:pt x="1" y="94"/>
                      <a:pt x="6" y="102"/>
                      <a:pt x="8" y="106"/>
                    </a:cubicBezTo>
                    <a:cubicBezTo>
                      <a:pt x="13" y="113"/>
                      <a:pt x="14" y="132"/>
                      <a:pt x="24" y="136"/>
                    </a:cubicBezTo>
                    <a:cubicBezTo>
                      <a:pt x="34" y="140"/>
                      <a:pt x="31" y="133"/>
                      <a:pt x="37" y="125"/>
                    </a:cubicBezTo>
                    <a:cubicBezTo>
                      <a:pt x="43" y="116"/>
                      <a:pt x="48" y="130"/>
                      <a:pt x="50" y="146"/>
                    </a:cubicBezTo>
                    <a:cubicBezTo>
                      <a:pt x="51" y="162"/>
                      <a:pt x="64" y="168"/>
                      <a:pt x="64" y="159"/>
                    </a:cubicBezTo>
                    <a:cubicBezTo>
                      <a:pt x="64" y="151"/>
                      <a:pt x="63" y="123"/>
                      <a:pt x="68" y="123"/>
                    </a:cubicBezTo>
                    <a:cubicBezTo>
                      <a:pt x="74" y="123"/>
                      <a:pt x="89" y="135"/>
                      <a:pt x="90" y="149"/>
                    </a:cubicBezTo>
                    <a:cubicBezTo>
                      <a:pt x="91" y="163"/>
                      <a:pt x="106" y="168"/>
                      <a:pt x="107" y="191"/>
                    </a:cubicBezTo>
                    <a:cubicBezTo>
                      <a:pt x="109" y="214"/>
                      <a:pt x="111" y="209"/>
                      <a:pt x="120" y="209"/>
                    </a:cubicBezTo>
                    <a:cubicBezTo>
                      <a:pt x="129" y="209"/>
                      <a:pt x="144" y="216"/>
                      <a:pt x="146" y="225"/>
                    </a:cubicBezTo>
                    <a:cubicBezTo>
                      <a:pt x="147" y="234"/>
                      <a:pt x="170" y="238"/>
                      <a:pt x="192" y="238"/>
                    </a:cubicBezTo>
                    <a:cubicBezTo>
                      <a:pt x="213" y="238"/>
                      <a:pt x="172" y="261"/>
                      <a:pt x="189" y="267"/>
                    </a:cubicBezTo>
                    <a:cubicBezTo>
                      <a:pt x="206" y="272"/>
                      <a:pt x="209" y="255"/>
                      <a:pt x="212" y="259"/>
                    </a:cubicBezTo>
                    <a:cubicBezTo>
                      <a:pt x="215" y="264"/>
                      <a:pt x="212" y="265"/>
                      <a:pt x="205" y="271"/>
                    </a:cubicBezTo>
                    <a:cubicBezTo>
                      <a:pt x="197" y="277"/>
                      <a:pt x="210" y="284"/>
                      <a:pt x="222" y="281"/>
                    </a:cubicBezTo>
                    <a:cubicBezTo>
                      <a:pt x="233" y="278"/>
                      <a:pt x="236" y="281"/>
                      <a:pt x="256" y="291"/>
                    </a:cubicBezTo>
                    <a:cubicBezTo>
                      <a:pt x="272" y="299"/>
                      <a:pt x="286" y="304"/>
                      <a:pt x="300" y="308"/>
                    </a:cubicBezTo>
                    <a:cubicBezTo>
                      <a:pt x="299" y="302"/>
                      <a:pt x="295" y="295"/>
                      <a:pt x="288" y="291"/>
                    </a:cubicBezTo>
                    <a:cubicBezTo>
                      <a:pt x="275" y="282"/>
                      <a:pt x="259" y="278"/>
                      <a:pt x="255" y="271"/>
                    </a:cubicBezTo>
                    <a:cubicBezTo>
                      <a:pt x="251" y="263"/>
                      <a:pt x="248" y="258"/>
                      <a:pt x="240" y="252"/>
                    </a:cubicBezTo>
                    <a:cubicBezTo>
                      <a:pt x="231" y="246"/>
                      <a:pt x="224" y="244"/>
                      <a:pt x="220" y="236"/>
                    </a:cubicBezTo>
                    <a:cubicBezTo>
                      <a:pt x="216" y="228"/>
                      <a:pt x="210" y="214"/>
                      <a:pt x="196" y="209"/>
                    </a:cubicBezTo>
                    <a:cubicBezTo>
                      <a:pt x="182" y="205"/>
                      <a:pt x="178" y="199"/>
                      <a:pt x="177" y="189"/>
                    </a:cubicBezTo>
                    <a:cubicBezTo>
                      <a:pt x="176" y="180"/>
                      <a:pt x="167" y="173"/>
                      <a:pt x="165" y="166"/>
                    </a:cubicBezTo>
                    <a:cubicBezTo>
                      <a:pt x="162" y="159"/>
                      <a:pt x="161" y="155"/>
                      <a:pt x="152" y="150"/>
                    </a:cubicBezTo>
                    <a:cubicBezTo>
                      <a:pt x="144" y="145"/>
                      <a:pt x="141" y="136"/>
                      <a:pt x="140" y="130"/>
                    </a:cubicBezTo>
                    <a:cubicBezTo>
                      <a:pt x="139" y="124"/>
                      <a:pt x="143" y="119"/>
                      <a:pt x="145" y="114"/>
                    </a:cubicBezTo>
                    <a:cubicBezTo>
                      <a:pt x="145" y="114"/>
                      <a:pt x="145" y="114"/>
                      <a:pt x="145" y="114"/>
                    </a:cubicBezTo>
                    <a:cubicBezTo>
                      <a:pt x="151" y="113"/>
                      <a:pt x="160" y="112"/>
                      <a:pt x="163" y="115"/>
                    </a:cubicBezTo>
                    <a:cubicBezTo>
                      <a:pt x="168" y="120"/>
                      <a:pt x="171" y="123"/>
                      <a:pt x="179" y="123"/>
                    </a:cubicBezTo>
                    <a:cubicBezTo>
                      <a:pt x="187" y="124"/>
                      <a:pt x="187" y="112"/>
                      <a:pt x="193" y="111"/>
                    </a:cubicBezTo>
                    <a:cubicBezTo>
                      <a:pt x="199" y="109"/>
                      <a:pt x="202" y="105"/>
                      <a:pt x="207" y="108"/>
                    </a:cubicBezTo>
                    <a:cubicBezTo>
                      <a:pt x="213" y="112"/>
                      <a:pt x="213" y="113"/>
                      <a:pt x="223" y="113"/>
                    </a:cubicBezTo>
                    <a:cubicBezTo>
                      <a:pt x="234" y="113"/>
                      <a:pt x="241" y="108"/>
                      <a:pt x="255" y="114"/>
                    </a:cubicBezTo>
                    <a:cubicBezTo>
                      <a:pt x="268" y="120"/>
                      <a:pt x="270" y="122"/>
                      <a:pt x="285" y="119"/>
                    </a:cubicBezTo>
                    <a:cubicBezTo>
                      <a:pt x="301" y="116"/>
                      <a:pt x="316" y="117"/>
                      <a:pt x="322" y="120"/>
                    </a:cubicBezTo>
                    <a:cubicBezTo>
                      <a:pt x="327" y="123"/>
                      <a:pt x="340" y="127"/>
                      <a:pt x="348" y="127"/>
                    </a:cubicBezTo>
                    <a:cubicBezTo>
                      <a:pt x="352" y="127"/>
                      <a:pt x="354" y="127"/>
                      <a:pt x="356" y="128"/>
                    </a:cubicBezTo>
                    <a:cubicBezTo>
                      <a:pt x="356" y="123"/>
                      <a:pt x="363" y="115"/>
                      <a:pt x="360" y="1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2" name="Freeform 115">
                <a:extLst>
                  <a:ext uri="{FF2B5EF4-FFF2-40B4-BE49-F238E27FC236}">
                    <a16:creationId xmlns:a16="http://schemas.microsoft.com/office/drawing/2014/main" id="{14D99A2B-38D2-834F-B338-092E9707B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4" y="1759"/>
                <a:ext cx="49" cy="32"/>
              </a:xfrm>
              <a:custGeom>
                <a:avLst/>
                <a:gdLst>
                  <a:gd name="T0" fmla="*/ 1 w 191"/>
                  <a:gd name="T1" fmla="*/ 99 h 125"/>
                  <a:gd name="T2" fmla="*/ 5 w 191"/>
                  <a:gd name="T3" fmla="*/ 99 h 125"/>
                  <a:gd name="T4" fmla="*/ 14 w 191"/>
                  <a:gd name="T5" fmla="*/ 113 h 125"/>
                  <a:gd name="T6" fmla="*/ 11 w 191"/>
                  <a:gd name="T7" fmla="*/ 122 h 125"/>
                  <a:gd name="T8" fmla="*/ 44 w 191"/>
                  <a:gd name="T9" fmla="*/ 121 h 125"/>
                  <a:gd name="T10" fmla="*/ 67 w 191"/>
                  <a:gd name="T11" fmla="*/ 116 h 125"/>
                  <a:gd name="T12" fmla="*/ 81 w 191"/>
                  <a:gd name="T13" fmla="*/ 110 h 125"/>
                  <a:gd name="T14" fmla="*/ 102 w 191"/>
                  <a:gd name="T15" fmla="*/ 122 h 125"/>
                  <a:gd name="T16" fmla="*/ 117 w 191"/>
                  <a:gd name="T17" fmla="*/ 121 h 125"/>
                  <a:gd name="T18" fmla="*/ 125 w 191"/>
                  <a:gd name="T19" fmla="*/ 102 h 125"/>
                  <a:gd name="T20" fmla="*/ 148 w 191"/>
                  <a:gd name="T21" fmla="*/ 89 h 125"/>
                  <a:gd name="T22" fmla="*/ 147 w 191"/>
                  <a:gd name="T23" fmla="*/ 78 h 125"/>
                  <a:gd name="T24" fmla="*/ 144 w 191"/>
                  <a:gd name="T25" fmla="*/ 66 h 125"/>
                  <a:gd name="T26" fmla="*/ 161 w 191"/>
                  <a:gd name="T27" fmla="*/ 59 h 125"/>
                  <a:gd name="T28" fmla="*/ 177 w 191"/>
                  <a:gd name="T29" fmla="*/ 52 h 125"/>
                  <a:gd name="T30" fmla="*/ 191 w 191"/>
                  <a:gd name="T31" fmla="*/ 34 h 125"/>
                  <a:gd name="T32" fmla="*/ 189 w 191"/>
                  <a:gd name="T33" fmla="*/ 14 h 125"/>
                  <a:gd name="T34" fmla="*/ 188 w 191"/>
                  <a:gd name="T35" fmla="*/ 0 h 125"/>
                  <a:gd name="T36" fmla="*/ 186 w 191"/>
                  <a:gd name="T37" fmla="*/ 0 h 125"/>
                  <a:gd name="T38" fmla="*/ 173 w 191"/>
                  <a:gd name="T39" fmla="*/ 19 h 125"/>
                  <a:gd name="T40" fmla="*/ 141 w 191"/>
                  <a:gd name="T41" fmla="*/ 26 h 125"/>
                  <a:gd name="T42" fmla="*/ 110 w 191"/>
                  <a:gd name="T43" fmla="*/ 27 h 125"/>
                  <a:gd name="T44" fmla="*/ 89 w 191"/>
                  <a:gd name="T45" fmla="*/ 41 h 125"/>
                  <a:gd name="T46" fmla="*/ 67 w 191"/>
                  <a:gd name="T47" fmla="*/ 44 h 125"/>
                  <a:gd name="T48" fmla="*/ 41 w 191"/>
                  <a:gd name="T49" fmla="*/ 42 h 125"/>
                  <a:gd name="T50" fmla="*/ 13 w 191"/>
                  <a:gd name="T51" fmla="*/ 38 h 125"/>
                  <a:gd name="T52" fmla="*/ 11 w 191"/>
                  <a:gd name="T53" fmla="*/ 37 h 125"/>
                  <a:gd name="T54" fmla="*/ 10 w 191"/>
                  <a:gd name="T55" fmla="*/ 55 h 125"/>
                  <a:gd name="T56" fmla="*/ 1 w 191"/>
                  <a:gd name="T57" fmla="*/ 9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1" h="125">
                    <a:moveTo>
                      <a:pt x="1" y="99"/>
                    </a:moveTo>
                    <a:cubicBezTo>
                      <a:pt x="2" y="99"/>
                      <a:pt x="3" y="99"/>
                      <a:pt x="5" y="99"/>
                    </a:cubicBezTo>
                    <a:cubicBezTo>
                      <a:pt x="19" y="99"/>
                      <a:pt x="21" y="109"/>
                      <a:pt x="14" y="113"/>
                    </a:cubicBezTo>
                    <a:cubicBezTo>
                      <a:pt x="11" y="115"/>
                      <a:pt x="10" y="118"/>
                      <a:pt x="11" y="122"/>
                    </a:cubicBezTo>
                    <a:cubicBezTo>
                      <a:pt x="25" y="120"/>
                      <a:pt x="38" y="119"/>
                      <a:pt x="44" y="121"/>
                    </a:cubicBezTo>
                    <a:cubicBezTo>
                      <a:pt x="52" y="124"/>
                      <a:pt x="63" y="121"/>
                      <a:pt x="67" y="116"/>
                    </a:cubicBezTo>
                    <a:cubicBezTo>
                      <a:pt x="71" y="111"/>
                      <a:pt x="74" y="109"/>
                      <a:pt x="81" y="110"/>
                    </a:cubicBezTo>
                    <a:cubicBezTo>
                      <a:pt x="88" y="110"/>
                      <a:pt x="93" y="118"/>
                      <a:pt x="102" y="122"/>
                    </a:cubicBezTo>
                    <a:cubicBezTo>
                      <a:pt x="106" y="125"/>
                      <a:pt x="111" y="123"/>
                      <a:pt x="117" y="121"/>
                    </a:cubicBezTo>
                    <a:cubicBezTo>
                      <a:pt x="117" y="114"/>
                      <a:pt x="119" y="104"/>
                      <a:pt x="125" y="102"/>
                    </a:cubicBezTo>
                    <a:cubicBezTo>
                      <a:pt x="135" y="98"/>
                      <a:pt x="146" y="94"/>
                      <a:pt x="148" y="89"/>
                    </a:cubicBezTo>
                    <a:cubicBezTo>
                      <a:pt x="150" y="83"/>
                      <a:pt x="154" y="83"/>
                      <a:pt x="147" y="78"/>
                    </a:cubicBezTo>
                    <a:cubicBezTo>
                      <a:pt x="140" y="74"/>
                      <a:pt x="140" y="71"/>
                      <a:pt x="144" y="66"/>
                    </a:cubicBezTo>
                    <a:cubicBezTo>
                      <a:pt x="149" y="62"/>
                      <a:pt x="151" y="60"/>
                      <a:pt x="161" y="59"/>
                    </a:cubicBezTo>
                    <a:cubicBezTo>
                      <a:pt x="172" y="58"/>
                      <a:pt x="173" y="58"/>
                      <a:pt x="177" y="52"/>
                    </a:cubicBezTo>
                    <a:cubicBezTo>
                      <a:pt x="180" y="47"/>
                      <a:pt x="185" y="39"/>
                      <a:pt x="191" y="34"/>
                    </a:cubicBezTo>
                    <a:cubicBezTo>
                      <a:pt x="188" y="29"/>
                      <a:pt x="189" y="21"/>
                      <a:pt x="189" y="14"/>
                    </a:cubicBezTo>
                    <a:cubicBezTo>
                      <a:pt x="189" y="10"/>
                      <a:pt x="189" y="4"/>
                      <a:pt x="188" y="0"/>
                    </a:cubicBezTo>
                    <a:cubicBezTo>
                      <a:pt x="187" y="0"/>
                      <a:pt x="187" y="0"/>
                      <a:pt x="186" y="0"/>
                    </a:cubicBezTo>
                    <a:cubicBezTo>
                      <a:pt x="179" y="2"/>
                      <a:pt x="178" y="8"/>
                      <a:pt x="173" y="19"/>
                    </a:cubicBezTo>
                    <a:cubicBezTo>
                      <a:pt x="169" y="30"/>
                      <a:pt x="151" y="20"/>
                      <a:pt x="141" y="26"/>
                    </a:cubicBezTo>
                    <a:cubicBezTo>
                      <a:pt x="131" y="31"/>
                      <a:pt x="121" y="27"/>
                      <a:pt x="110" y="27"/>
                    </a:cubicBezTo>
                    <a:cubicBezTo>
                      <a:pt x="99" y="27"/>
                      <a:pt x="93" y="35"/>
                      <a:pt x="89" y="41"/>
                    </a:cubicBezTo>
                    <a:cubicBezTo>
                      <a:pt x="84" y="47"/>
                      <a:pt x="76" y="48"/>
                      <a:pt x="67" y="44"/>
                    </a:cubicBezTo>
                    <a:cubicBezTo>
                      <a:pt x="57" y="39"/>
                      <a:pt x="49" y="42"/>
                      <a:pt x="41" y="42"/>
                    </a:cubicBezTo>
                    <a:cubicBezTo>
                      <a:pt x="33" y="42"/>
                      <a:pt x="26" y="46"/>
                      <a:pt x="13" y="38"/>
                    </a:cubicBezTo>
                    <a:cubicBezTo>
                      <a:pt x="12" y="38"/>
                      <a:pt x="12" y="37"/>
                      <a:pt x="11" y="37"/>
                    </a:cubicBezTo>
                    <a:cubicBezTo>
                      <a:pt x="10" y="44"/>
                      <a:pt x="10" y="50"/>
                      <a:pt x="10" y="55"/>
                    </a:cubicBezTo>
                    <a:cubicBezTo>
                      <a:pt x="10" y="66"/>
                      <a:pt x="0" y="82"/>
                      <a:pt x="1" y="9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3" name="Freeform 116">
                <a:extLst>
                  <a:ext uri="{FF2B5EF4-FFF2-40B4-BE49-F238E27FC236}">
                    <a16:creationId xmlns:a16="http://schemas.microsoft.com/office/drawing/2014/main" id="{A2A2D59D-B1BB-F446-8D35-30B3DF56B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9" y="1977"/>
                <a:ext cx="42" cy="22"/>
              </a:xfrm>
              <a:custGeom>
                <a:avLst/>
                <a:gdLst>
                  <a:gd name="T0" fmla="*/ 38 w 163"/>
                  <a:gd name="T1" fmla="*/ 36 h 90"/>
                  <a:gd name="T2" fmla="*/ 19 w 163"/>
                  <a:gd name="T3" fmla="*/ 39 h 90"/>
                  <a:gd name="T4" fmla="*/ 4 w 163"/>
                  <a:gd name="T5" fmla="*/ 46 h 90"/>
                  <a:gd name="T6" fmla="*/ 5 w 163"/>
                  <a:gd name="T7" fmla="*/ 64 h 90"/>
                  <a:gd name="T8" fmla="*/ 26 w 163"/>
                  <a:gd name="T9" fmla="*/ 79 h 90"/>
                  <a:gd name="T10" fmla="*/ 41 w 163"/>
                  <a:gd name="T11" fmla="*/ 82 h 90"/>
                  <a:gd name="T12" fmla="*/ 53 w 163"/>
                  <a:gd name="T13" fmla="*/ 83 h 90"/>
                  <a:gd name="T14" fmla="*/ 72 w 163"/>
                  <a:gd name="T15" fmla="*/ 77 h 90"/>
                  <a:gd name="T16" fmla="*/ 94 w 163"/>
                  <a:gd name="T17" fmla="*/ 59 h 90"/>
                  <a:gd name="T18" fmla="*/ 114 w 163"/>
                  <a:gd name="T19" fmla="*/ 58 h 90"/>
                  <a:gd name="T20" fmla="*/ 112 w 163"/>
                  <a:gd name="T21" fmla="*/ 40 h 90"/>
                  <a:gd name="T22" fmla="*/ 122 w 163"/>
                  <a:gd name="T23" fmla="*/ 28 h 90"/>
                  <a:gd name="T24" fmla="*/ 138 w 163"/>
                  <a:gd name="T25" fmla="*/ 19 h 90"/>
                  <a:gd name="T26" fmla="*/ 149 w 163"/>
                  <a:gd name="T27" fmla="*/ 13 h 90"/>
                  <a:gd name="T28" fmla="*/ 155 w 163"/>
                  <a:gd name="T29" fmla="*/ 4 h 90"/>
                  <a:gd name="T30" fmla="*/ 138 w 163"/>
                  <a:gd name="T31" fmla="*/ 4 h 90"/>
                  <a:gd name="T32" fmla="*/ 122 w 163"/>
                  <a:gd name="T33" fmla="*/ 11 h 90"/>
                  <a:gd name="T34" fmla="*/ 108 w 163"/>
                  <a:gd name="T35" fmla="*/ 19 h 90"/>
                  <a:gd name="T36" fmla="*/ 71 w 163"/>
                  <a:gd name="T37" fmla="*/ 27 h 90"/>
                  <a:gd name="T38" fmla="*/ 46 w 163"/>
                  <a:gd name="T39" fmla="*/ 28 h 90"/>
                  <a:gd name="T40" fmla="*/ 38 w 163"/>
                  <a:gd name="T41" fmla="*/ 3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3" h="90">
                    <a:moveTo>
                      <a:pt x="38" y="36"/>
                    </a:moveTo>
                    <a:cubicBezTo>
                      <a:pt x="38" y="36"/>
                      <a:pt x="22" y="35"/>
                      <a:pt x="19" y="39"/>
                    </a:cubicBezTo>
                    <a:cubicBezTo>
                      <a:pt x="16" y="43"/>
                      <a:pt x="7" y="40"/>
                      <a:pt x="4" y="46"/>
                    </a:cubicBezTo>
                    <a:cubicBezTo>
                      <a:pt x="1" y="52"/>
                      <a:pt x="0" y="58"/>
                      <a:pt x="5" y="64"/>
                    </a:cubicBezTo>
                    <a:cubicBezTo>
                      <a:pt x="9" y="70"/>
                      <a:pt x="21" y="79"/>
                      <a:pt x="26" y="79"/>
                    </a:cubicBezTo>
                    <a:cubicBezTo>
                      <a:pt x="32" y="78"/>
                      <a:pt x="35" y="76"/>
                      <a:pt x="41" y="82"/>
                    </a:cubicBezTo>
                    <a:cubicBezTo>
                      <a:pt x="47" y="87"/>
                      <a:pt x="52" y="90"/>
                      <a:pt x="53" y="83"/>
                    </a:cubicBezTo>
                    <a:cubicBezTo>
                      <a:pt x="55" y="76"/>
                      <a:pt x="62" y="77"/>
                      <a:pt x="72" y="77"/>
                    </a:cubicBezTo>
                    <a:cubicBezTo>
                      <a:pt x="81" y="77"/>
                      <a:pt x="79" y="59"/>
                      <a:pt x="94" y="59"/>
                    </a:cubicBezTo>
                    <a:cubicBezTo>
                      <a:pt x="108" y="59"/>
                      <a:pt x="113" y="64"/>
                      <a:pt x="114" y="58"/>
                    </a:cubicBezTo>
                    <a:cubicBezTo>
                      <a:pt x="116" y="52"/>
                      <a:pt x="110" y="44"/>
                      <a:pt x="112" y="40"/>
                    </a:cubicBezTo>
                    <a:cubicBezTo>
                      <a:pt x="114" y="35"/>
                      <a:pt x="116" y="30"/>
                      <a:pt x="122" y="28"/>
                    </a:cubicBezTo>
                    <a:cubicBezTo>
                      <a:pt x="128" y="27"/>
                      <a:pt x="132" y="21"/>
                      <a:pt x="138" y="19"/>
                    </a:cubicBezTo>
                    <a:cubicBezTo>
                      <a:pt x="145" y="18"/>
                      <a:pt x="144" y="17"/>
                      <a:pt x="149" y="13"/>
                    </a:cubicBezTo>
                    <a:cubicBezTo>
                      <a:pt x="154" y="8"/>
                      <a:pt x="163" y="7"/>
                      <a:pt x="155" y="4"/>
                    </a:cubicBezTo>
                    <a:cubicBezTo>
                      <a:pt x="146" y="0"/>
                      <a:pt x="144" y="0"/>
                      <a:pt x="138" y="4"/>
                    </a:cubicBezTo>
                    <a:cubicBezTo>
                      <a:pt x="132" y="7"/>
                      <a:pt x="128" y="10"/>
                      <a:pt x="122" y="11"/>
                    </a:cubicBezTo>
                    <a:cubicBezTo>
                      <a:pt x="116" y="13"/>
                      <a:pt x="120" y="18"/>
                      <a:pt x="108" y="19"/>
                    </a:cubicBezTo>
                    <a:cubicBezTo>
                      <a:pt x="96" y="20"/>
                      <a:pt x="84" y="29"/>
                      <a:pt x="71" y="27"/>
                    </a:cubicBezTo>
                    <a:cubicBezTo>
                      <a:pt x="58" y="25"/>
                      <a:pt x="48" y="23"/>
                      <a:pt x="46" y="28"/>
                    </a:cubicBezTo>
                    <a:cubicBezTo>
                      <a:pt x="43" y="33"/>
                      <a:pt x="46" y="36"/>
                      <a:pt x="38" y="3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4" name="Freeform 117">
                <a:extLst>
                  <a:ext uri="{FF2B5EF4-FFF2-40B4-BE49-F238E27FC236}">
                    <a16:creationId xmlns:a16="http://schemas.microsoft.com/office/drawing/2014/main" id="{D9E1FED5-4ADB-8147-9A6D-5DB057AE5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4" y="1857"/>
                <a:ext cx="307" cy="119"/>
              </a:xfrm>
              <a:custGeom>
                <a:avLst/>
                <a:gdLst>
                  <a:gd name="T0" fmla="*/ 1159 w 1212"/>
                  <a:gd name="T1" fmla="*/ 159 h 472"/>
                  <a:gd name="T2" fmla="*/ 1137 w 1212"/>
                  <a:gd name="T3" fmla="*/ 89 h 472"/>
                  <a:gd name="T4" fmla="*/ 1100 w 1212"/>
                  <a:gd name="T5" fmla="*/ 50 h 472"/>
                  <a:gd name="T6" fmla="*/ 1019 w 1212"/>
                  <a:gd name="T7" fmla="*/ 53 h 472"/>
                  <a:gd name="T8" fmla="*/ 978 w 1212"/>
                  <a:gd name="T9" fmla="*/ 64 h 472"/>
                  <a:gd name="T10" fmla="*/ 876 w 1212"/>
                  <a:gd name="T11" fmla="*/ 76 h 472"/>
                  <a:gd name="T12" fmla="*/ 815 w 1212"/>
                  <a:gd name="T13" fmla="*/ 87 h 472"/>
                  <a:gd name="T14" fmla="*/ 743 w 1212"/>
                  <a:gd name="T15" fmla="*/ 79 h 472"/>
                  <a:gd name="T16" fmla="*/ 686 w 1212"/>
                  <a:gd name="T17" fmla="*/ 61 h 472"/>
                  <a:gd name="T18" fmla="*/ 625 w 1212"/>
                  <a:gd name="T19" fmla="*/ 28 h 472"/>
                  <a:gd name="T20" fmla="*/ 503 w 1212"/>
                  <a:gd name="T21" fmla="*/ 5 h 472"/>
                  <a:gd name="T22" fmla="*/ 403 w 1212"/>
                  <a:gd name="T23" fmla="*/ 40 h 472"/>
                  <a:gd name="T24" fmla="*/ 304 w 1212"/>
                  <a:gd name="T25" fmla="*/ 66 h 472"/>
                  <a:gd name="T26" fmla="*/ 230 w 1212"/>
                  <a:gd name="T27" fmla="*/ 71 h 472"/>
                  <a:gd name="T28" fmla="*/ 187 w 1212"/>
                  <a:gd name="T29" fmla="*/ 134 h 472"/>
                  <a:gd name="T30" fmla="*/ 112 w 1212"/>
                  <a:gd name="T31" fmla="*/ 132 h 472"/>
                  <a:gd name="T32" fmla="*/ 36 w 1212"/>
                  <a:gd name="T33" fmla="*/ 147 h 472"/>
                  <a:gd name="T34" fmla="*/ 13 w 1212"/>
                  <a:gd name="T35" fmla="*/ 219 h 472"/>
                  <a:gd name="T36" fmla="*/ 55 w 1212"/>
                  <a:gd name="T37" fmla="*/ 231 h 472"/>
                  <a:gd name="T38" fmla="*/ 68 w 1212"/>
                  <a:gd name="T39" fmla="*/ 196 h 472"/>
                  <a:gd name="T40" fmla="*/ 73 w 1212"/>
                  <a:gd name="T41" fmla="*/ 238 h 472"/>
                  <a:gd name="T42" fmla="*/ 72 w 1212"/>
                  <a:gd name="T43" fmla="*/ 261 h 472"/>
                  <a:gd name="T44" fmla="*/ 56 w 1212"/>
                  <a:gd name="T45" fmla="*/ 269 h 472"/>
                  <a:gd name="T46" fmla="*/ 42 w 1212"/>
                  <a:gd name="T47" fmla="*/ 274 h 472"/>
                  <a:gd name="T48" fmla="*/ 9 w 1212"/>
                  <a:gd name="T49" fmla="*/ 265 h 472"/>
                  <a:gd name="T50" fmla="*/ 35 w 1212"/>
                  <a:gd name="T51" fmla="*/ 294 h 472"/>
                  <a:gd name="T52" fmla="*/ 76 w 1212"/>
                  <a:gd name="T53" fmla="*/ 304 h 472"/>
                  <a:gd name="T54" fmla="*/ 75 w 1212"/>
                  <a:gd name="T55" fmla="*/ 322 h 472"/>
                  <a:gd name="T56" fmla="*/ 78 w 1212"/>
                  <a:gd name="T57" fmla="*/ 337 h 472"/>
                  <a:gd name="T58" fmla="*/ 112 w 1212"/>
                  <a:gd name="T59" fmla="*/ 362 h 472"/>
                  <a:gd name="T60" fmla="*/ 92 w 1212"/>
                  <a:gd name="T61" fmla="*/ 392 h 472"/>
                  <a:gd name="T62" fmla="*/ 152 w 1212"/>
                  <a:gd name="T63" fmla="*/ 391 h 472"/>
                  <a:gd name="T64" fmla="*/ 98 w 1212"/>
                  <a:gd name="T65" fmla="*/ 410 h 472"/>
                  <a:gd name="T66" fmla="*/ 145 w 1212"/>
                  <a:gd name="T67" fmla="*/ 407 h 472"/>
                  <a:gd name="T68" fmla="*/ 197 w 1212"/>
                  <a:gd name="T69" fmla="*/ 404 h 472"/>
                  <a:gd name="T70" fmla="*/ 241 w 1212"/>
                  <a:gd name="T71" fmla="*/ 441 h 472"/>
                  <a:gd name="T72" fmla="*/ 313 w 1212"/>
                  <a:gd name="T73" fmla="*/ 403 h 472"/>
                  <a:gd name="T74" fmla="*/ 389 w 1212"/>
                  <a:gd name="T75" fmla="*/ 411 h 472"/>
                  <a:gd name="T76" fmla="*/ 509 w 1212"/>
                  <a:gd name="T77" fmla="*/ 438 h 472"/>
                  <a:gd name="T78" fmla="*/ 604 w 1212"/>
                  <a:gd name="T79" fmla="*/ 414 h 472"/>
                  <a:gd name="T80" fmla="*/ 660 w 1212"/>
                  <a:gd name="T81" fmla="*/ 398 h 472"/>
                  <a:gd name="T82" fmla="*/ 645 w 1212"/>
                  <a:gd name="T83" fmla="*/ 457 h 472"/>
                  <a:gd name="T84" fmla="*/ 647 w 1212"/>
                  <a:gd name="T85" fmla="*/ 466 h 472"/>
                  <a:gd name="T86" fmla="*/ 681 w 1212"/>
                  <a:gd name="T87" fmla="*/ 442 h 472"/>
                  <a:gd name="T88" fmla="*/ 689 w 1212"/>
                  <a:gd name="T89" fmla="*/ 411 h 472"/>
                  <a:gd name="T90" fmla="*/ 734 w 1212"/>
                  <a:gd name="T91" fmla="*/ 416 h 472"/>
                  <a:gd name="T92" fmla="*/ 781 w 1212"/>
                  <a:gd name="T93" fmla="*/ 398 h 472"/>
                  <a:gd name="T94" fmla="*/ 855 w 1212"/>
                  <a:gd name="T95" fmla="*/ 410 h 472"/>
                  <a:gd name="T96" fmla="*/ 936 w 1212"/>
                  <a:gd name="T97" fmla="*/ 388 h 472"/>
                  <a:gd name="T98" fmla="*/ 997 w 1212"/>
                  <a:gd name="T99" fmla="*/ 384 h 472"/>
                  <a:gd name="T100" fmla="*/ 1043 w 1212"/>
                  <a:gd name="T101" fmla="*/ 368 h 472"/>
                  <a:gd name="T102" fmla="*/ 1078 w 1212"/>
                  <a:gd name="T103" fmla="*/ 371 h 472"/>
                  <a:gd name="T104" fmla="*/ 1125 w 1212"/>
                  <a:gd name="T105" fmla="*/ 362 h 472"/>
                  <a:gd name="T106" fmla="*/ 1170 w 1212"/>
                  <a:gd name="T107" fmla="*/ 368 h 472"/>
                  <a:gd name="T108" fmla="*/ 1206 w 1212"/>
                  <a:gd name="T109" fmla="*/ 375 h 472"/>
                  <a:gd name="T110" fmla="*/ 1209 w 1212"/>
                  <a:gd name="T111" fmla="*/ 360 h 472"/>
                  <a:gd name="T112" fmla="*/ 1179 w 1212"/>
                  <a:gd name="T113" fmla="*/ 318 h 472"/>
                  <a:gd name="T114" fmla="*/ 1182 w 1212"/>
                  <a:gd name="T115" fmla="*/ 264 h 472"/>
                  <a:gd name="T116" fmla="*/ 1174 w 1212"/>
                  <a:gd name="T117" fmla="*/ 208 h 472"/>
                  <a:gd name="T118" fmla="*/ 1200 w 1212"/>
                  <a:gd name="T119" fmla="*/ 183 h 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12" h="472">
                    <a:moveTo>
                      <a:pt x="1187" y="178"/>
                    </a:moveTo>
                    <a:cubicBezTo>
                      <a:pt x="1178" y="176"/>
                      <a:pt x="1166" y="164"/>
                      <a:pt x="1159" y="159"/>
                    </a:cubicBezTo>
                    <a:cubicBezTo>
                      <a:pt x="1153" y="154"/>
                      <a:pt x="1151" y="126"/>
                      <a:pt x="1152" y="114"/>
                    </a:cubicBezTo>
                    <a:cubicBezTo>
                      <a:pt x="1153" y="102"/>
                      <a:pt x="1142" y="102"/>
                      <a:pt x="1137" y="89"/>
                    </a:cubicBezTo>
                    <a:cubicBezTo>
                      <a:pt x="1131" y="77"/>
                      <a:pt x="1126" y="72"/>
                      <a:pt x="1116" y="70"/>
                    </a:cubicBezTo>
                    <a:cubicBezTo>
                      <a:pt x="1106" y="68"/>
                      <a:pt x="1103" y="58"/>
                      <a:pt x="1100" y="50"/>
                    </a:cubicBezTo>
                    <a:cubicBezTo>
                      <a:pt x="1096" y="42"/>
                      <a:pt x="1074" y="46"/>
                      <a:pt x="1068" y="51"/>
                    </a:cubicBezTo>
                    <a:cubicBezTo>
                      <a:pt x="1062" y="57"/>
                      <a:pt x="1033" y="53"/>
                      <a:pt x="1019" y="53"/>
                    </a:cubicBezTo>
                    <a:cubicBezTo>
                      <a:pt x="1013" y="53"/>
                      <a:pt x="1007" y="50"/>
                      <a:pt x="1004" y="46"/>
                    </a:cubicBezTo>
                    <a:cubicBezTo>
                      <a:pt x="996" y="52"/>
                      <a:pt x="986" y="58"/>
                      <a:pt x="978" y="64"/>
                    </a:cubicBezTo>
                    <a:cubicBezTo>
                      <a:pt x="962" y="76"/>
                      <a:pt x="942" y="73"/>
                      <a:pt x="922" y="81"/>
                    </a:cubicBezTo>
                    <a:cubicBezTo>
                      <a:pt x="902" y="90"/>
                      <a:pt x="888" y="83"/>
                      <a:pt x="876" y="76"/>
                    </a:cubicBezTo>
                    <a:cubicBezTo>
                      <a:pt x="865" y="69"/>
                      <a:pt x="858" y="74"/>
                      <a:pt x="852" y="81"/>
                    </a:cubicBezTo>
                    <a:cubicBezTo>
                      <a:pt x="846" y="89"/>
                      <a:pt x="835" y="84"/>
                      <a:pt x="815" y="87"/>
                    </a:cubicBezTo>
                    <a:cubicBezTo>
                      <a:pt x="794" y="90"/>
                      <a:pt x="782" y="84"/>
                      <a:pt x="776" y="76"/>
                    </a:cubicBezTo>
                    <a:cubicBezTo>
                      <a:pt x="770" y="67"/>
                      <a:pt x="757" y="77"/>
                      <a:pt x="743" y="79"/>
                    </a:cubicBezTo>
                    <a:cubicBezTo>
                      <a:pt x="729" y="80"/>
                      <a:pt x="726" y="79"/>
                      <a:pt x="718" y="66"/>
                    </a:cubicBezTo>
                    <a:cubicBezTo>
                      <a:pt x="711" y="53"/>
                      <a:pt x="696" y="59"/>
                      <a:pt x="686" y="61"/>
                    </a:cubicBezTo>
                    <a:cubicBezTo>
                      <a:pt x="675" y="64"/>
                      <a:pt x="668" y="57"/>
                      <a:pt x="667" y="44"/>
                    </a:cubicBezTo>
                    <a:cubicBezTo>
                      <a:pt x="665" y="31"/>
                      <a:pt x="644" y="28"/>
                      <a:pt x="625" y="28"/>
                    </a:cubicBezTo>
                    <a:cubicBezTo>
                      <a:pt x="607" y="28"/>
                      <a:pt x="605" y="26"/>
                      <a:pt x="598" y="13"/>
                    </a:cubicBezTo>
                    <a:cubicBezTo>
                      <a:pt x="591" y="0"/>
                      <a:pt x="532" y="5"/>
                      <a:pt x="503" y="5"/>
                    </a:cubicBezTo>
                    <a:cubicBezTo>
                      <a:pt x="475" y="5"/>
                      <a:pt x="483" y="14"/>
                      <a:pt x="459" y="14"/>
                    </a:cubicBezTo>
                    <a:cubicBezTo>
                      <a:pt x="435" y="14"/>
                      <a:pt x="433" y="26"/>
                      <a:pt x="403" y="40"/>
                    </a:cubicBezTo>
                    <a:cubicBezTo>
                      <a:pt x="373" y="54"/>
                      <a:pt x="373" y="59"/>
                      <a:pt x="359" y="70"/>
                    </a:cubicBezTo>
                    <a:cubicBezTo>
                      <a:pt x="344" y="81"/>
                      <a:pt x="316" y="73"/>
                      <a:pt x="304" y="66"/>
                    </a:cubicBezTo>
                    <a:cubicBezTo>
                      <a:pt x="293" y="59"/>
                      <a:pt x="281" y="77"/>
                      <a:pt x="266" y="69"/>
                    </a:cubicBezTo>
                    <a:cubicBezTo>
                      <a:pt x="250" y="60"/>
                      <a:pt x="247" y="69"/>
                      <a:pt x="230" y="71"/>
                    </a:cubicBezTo>
                    <a:cubicBezTo>
                      <a:pt x="213" y="74"/>
                      <a:pt x="214" y="97"/>
                      <a:pt x="217" y="116"/>
                    </a:cubicBezTo>
                    <a:cubicBezTo>
                      <a:pt x="220" y="134"/>
                      <a:pt x="198" y="127"/>
                      <a:pt x="187" y="134"/>
                    </a:cubicBezTo>
                    <a:cubicBezTo>
                      <a:pt x="175" y="142"/>
                      <a:pt x="145" y="132"/>
                      <a:pt x="134" y="127"/>
                    </a:cubicBezTo>
                    <a:cubicBezTo>
                      <a:pt x="122" y="123"/>
                      <a:pt x="124" y="129"/>
                      <a:pt x="112" y="132"/>
                    </a:cubicBezTo>
                    <a:cubicBezTo>
                      <a:pt x="101" y="134"/>
                      <a:pt x="91" y="130"/>
                      <a:pt x="73" y="129"/>
                    </a:cubicBezTo>
                    <a:cubicBezTo>
                      <a:pt x="56" y="127"/>
                      <a:pt x="43" y="133"/>
                      <a:pt x="36" y="147"/>
                    </a:cubicBezTo>
                    <a:cubicBezTo>
                      <a:pt x="29" y="162"/>
                      <a:pt x="19" y="177"/>
                      <a:pt x="23" y="193"/>
                    </a:cubicBezTo>
                    <a:cubicBezTo>
                      <a:pt x="28" y="209"/>
                      <a:pt x="20" y="208"/>
                      <a:pt x="13" y="219"/>
                    </a:cubicBezTo>
                    <a:cubicBezTo>
                      <a:pt x="6" y="231"/>
                      <a:pt x="12" y="226"/>
                      <a:pt x="32" y="235"/>
                    </a:cubicBezTo>
                    <a:cubicBezTo>
                      <a:pt x="52" y="243"/>
                      <a:pt x="51" y="236"/>
                      <a:pt x="55" y="231"/>
                    </a:cubicBezTo>
                    <a:cubicBezTo>
                      <a:pt x="59" y="225"/>
                      <a:pt x="43" y="213"/>
                      <a:pt x="43" y="205"/>
                    </a:cubicBezTo>
                    <a:cubicBezTo>
                      <a:pt x="43" y="196"/>
                      <a:pt x="59" y="192"/>
                      <a:pt x="68" y="196"/>
                    </a:cubicBezTo>
                    <a:cubicBezTo>
                      <a:pt x="76" y="200"/>
                      <a:pt x="65" y="208"/>
                      <a:pt x="63" y="218"/>
                    </a:cubicBezTo>
                    <a:cubicBezTo>
                      <a:pt x="62" y="228"/>
                      <a:pt x="66" y="233"/>
                      <a:pt x="73" y="238"/>
                    </a:cubicBezTo>
                    <a:cubicBezTo>
                      <a:pt x="81" y="242"/>
                      <a:pt x="72" y="245"/>
                      <a:pt x="63" y="248"/>
                    </a:cubicBezTo>
                    <a:cubicBezTo>
                      <a:pt x="55" y="251"/>
                      <a:pt x="63" y="256"/>
                      <a:pt x="72" y="261"/>
                    </a:cubicBezTo>
                    <a:cubicBezTo>
                      <a:pt x="81" y="265"/>
                      <a:pt x="75" y="278"/>
                      <a:pt x="68" y="278"/>
                    </a:cubicBezTo>
                    <a:cubicBezTo>
                      <a:pt x="61" y="278"/>
                      <a:pt x="56" y="275"/>
                      <a:pt x="56" y="269"/>
                    </a:cubicBezTo>
                    <a:cubicBezTo>
                      <a:pt x="56" y="263"/>
                      <a:pt x="52" y="258"/>
                      <a:pt x="45" y="255"/>
                    </a:cubicBezTo>
                    <a:cubicBezTo>
                      <a:pt x="38" y="252"/>
                      <a:pt x="39" y="263"/>
                      <a:pt x="42" y="274"/>
                    </a:cubicBezTo>
                    <a:cubicBezTo>
                      <a:pt x="45" y="284"/>
                      <a:pt x="29" y="282"/>
                      <a:pt x="26" y="274"/>
                    </a:cubicBezTo>
                    <a:cubicBezTo>
                      <a:pt x="23" y="265"/>
                      <a:pt x="18" y="261"/>
                      <a:pt x="9" y="265"/>
                    </a:cubicBezTo>
                    <a:cubicBezTo>
                      <a:pt x="0" y="269"/>
                      <a:pt x="13" y="276"/>
                      <a:pt x="15" y="286"/>
                    </a:cubicBezTo>
                    <a:cubicBezTo>
                      <a:pt x="16" y="296"/>
                      <a:pt x="26" y="298"/>
                      <a:pt x="35" y="294"/>
                    </a:cubicBezTo>
                    <a:cubicBezTo>
                      <a:pt x="43" y="289"/>
                      <a:pt x="52" y="304"/>
                      <a:pt x="56" y="301"/>
                    </a:cubicBezTo>
                    <a:cubicBezTo>
                      <a:pt x="61" y="298"/>
                      <a:pt x="62" y="299"/>
                      <a:pt x="76" y="304"/>
                    </a:cubicBezTo>
                    <a:cubicBezTo>
                      <a:pt x="91" y="308"/>
                      <a:pt x="95" y="314"/>
                      <a:pt x="95" y="318"/>
                    </a:cubicBezTo>
                    <a:cubicBezTo>
                      <a:pt x="95" y="322"/>
                      <a:pt x="82" y="327"/>
                      <a:pt x="75" y="322"/>
                    </a:cubicBezTo>
                    <a:cubicBezTo>
                      <a:pt x="68" y="318"/>
                      <a:pt x="63" y="322"/>
                      <a:pt x="61" y="329"/>
                    </a:cubicBezTo>
                    <a:cubicBezTo>
                      <a:pt x="58" y="337"/>
                      <a:pt x="69" y="337"/>
                      <a:pt x="78" y="337"/>
                    </a:cubicBezTo>
                    <a:cubicBezTo>
                      <a:pt x="86" y="337"/>
                      <a:pt x="88" y="342"/>
                      <a:pt x="86" y="354"/>
                    </a:cubicBezTo>
                    <a:cubicBezTo>
                      <a:pt x="85" y="365"/>
                      <a:pt x="108" y="354"/>
                      <a:pt x="112" y="362"/>
                    </a:cubicBezTo>
                    <a:cubicBezTo>
                      <a:pt x="116" y="371"/>
                      <a:pt x="105" y="368"/>
                      <a:pt x="98" y="371"/>
                    </a:cubicBezTo>
                    <a:cubicBezTo>
                      <a:pt x="91" y="374"/>
                      <a:pt x="85" y="397"/>
                      <a:pt x="92" y="392"/>
                    </a:cubicBezTo>
                    <a:cubicBezTo>
                      <a:pt x="99" y="388"/>
                      <a:pt x="112" y="382"/>
                      <a:pt x="121" y="381"/>
                    </a:cubicBezTo>
                    <a:cubicBezTo>
                      <a:pt x="129" y="380"/>
                      <a:pt x="149" y="384"/>
                      <a:pt x="152" y="391"/>
                    </a:cubicBezTo>
                    <a:cubicBezTo>
                      <a:pt x="155" y="398"/>
                      <a:pt x="124" y="395"/>
                      <a:pt x="115" y="395"/>
                    </a:cubicBezTo>
                    <a:cubicBezTo>
                      <a:pt x="106" y="395"/>
                      <a:pt x="104" y="401"/>
                      <a:pt x="98" y="410"/>
                    </a:cubicBezTo>
                    <a:cubicBezTo>
                      <a:pt x="92" y="418"/>
                      <a:pt x="119" y="414"/>
                      <a:pt x="127" y="405"/>
                    </a:cubicBezTo>
                    <a:cubicBezTo>
                      <a:pt x="134" y="397"/>
                      <a:pt x="144" y="401"/>
                      <a:pt x="145" y="407"/>
                    </a:cubicBezTo>
                    <a:cubicBezTo>
                      <a:pt x="147" y="413"/>
                      <a:pt x="162" y="410"/>
                      <a:pt x="165" y="403"/>
                    </a:cubicBezTo>
                    <a:cubicBezTo>
                      <a:pt x="168" y="395"/>
                      <a:pt x="184" y="401"/>
                      <a:pt x="197" y="404"/>
                    </a:cubicBezTo>
                    <a:cubicBezTo>
                      <a:pt x="210" y="407"/>
                      <a:pt x="211" y="418"/>
                      <a:pt x="214" y="428"/>
                    </a:cubicBezTo>
                    <a:cubicBezTo>
                      <a:pt x="217" y="438"/>
                      <a:pt x="224" y="435"/>
                      <a:pt x="241" y="441"/>
                    </a:cubicBezTo>
                    <a:cubicBezTo>
                      <a:pt x="258" y="447"/>
                      <a:pt x="288" y="446"/>
                      <a:pt x="299" y="435"/>
                    </a:cubicBezTo>
                    <a:cubicBezTo>
                      <a:pt x="309" y="425"/>
                      <a:pt x="313" y="413"/>
                      <a:pt x="313" y="403"/>
                    </a:cubicBezTo>
                    <a:cubicBezTo>
                      <a:pt x="313" y="392"/>
                      <a:pt x="326" y="394"/>
                      <a:pt x="344" y="394"/>
                    </a:cubicBezTo>
                    <a:cubicBezTo>
                      <a:pt x="363" y="394"/>
                      <a:pt x="372" y="405"/>
                      <a:pt x="389" y="411"/>
                    </a:cubicBezTo>
                    <a:cubicBezTo>
                      <a:pt x="406" y="417"/>
                      <a:pt x="432" y="447"/>
                      <a:pt x="438" y="453"/>
                    </a:cubicBezTo>
                    <a:cubicBezTo>
                      <a:pt x="443" y="458"/>
                      <a:pt x="478" y="447"/>
                      <a:pt x="509" y="438"/>
                    </a:cubicBezTo>
                    <a:cubicBezTo>
                      <a:pt x="541" y="430"/>
                      <a:pt x="542" y="417"/>
                      <a:pt x="551" y="405"/>
                    </a:cubicBezTo>
                    <a:cubicBezTo>
                      <a:pt x="559" y="394"/>
                      <a:pt x="588" y="405"/>
                      <a:pt x="604" y="414"/>
                    </a:cubicBezTo>
                    <a:cubicBezTo>
                      <a:pt x="620" y="423"/>
                      <a:pt x="630" y="415"/>
                      <a:pt x="640" y="403"/>
                    </a:cubicBezTo>
                    <a:cubicBezTo>
                      <a:pt x="650" y="390"/>
                      <a:pt x="660" y="388"/>
                      <a:pt x="660" y="398"/>
                    </a:cubicBezTo>
                    <a:cubicBezTo>
                      <a:pt x="660" y="408"/>
                      <a:pt x="660" y="413"/>
                      <a:pt x="650" y="421"/>
                    </a:cubicBezTo>
                    <a:cubicBezTo>
                      <a:pt x="640" y="430"/>
                      <a:pt x="648" y="446"/>
                      <a:pt x="645" y="457"/>
                    </a:cubicBezTo>
                    <a:cubicBezTo>
                      <a:pt x="645" y="459"/>
                      <a:pt x="644" y="462"/>
                      <a:pt x="643" y="464"/>
                    </a:cubicBezTo>
                    <a:cubicBezTo>
                      <a:pt x="645" y="465"/>
                      <a:pt x="646" y="466"/>
                      <a:pt x="647" y="466"/>
                    </a:cubicBezTo>
                    <a:cubicBezTo>
                      <a:pt x="652" y="470"/>
                      <a:pt x="669" y="472"/>
                      <a:pt x="671" y="461"/>
                    </a:cubicBezTo>
                    <a:cubicBezTo>
                      <a:pt x="672" y="450"/>
                      <a:pt x="671" y="444"/>
                      <a:pt x="681" y="442"/>
                    </a:cubicBezTo>
                    <a:cubicBezTo>
                      <a:pt x="691" y="440"/>
                      <a:pt x="698" y="439"/>
                      <a:pt x="693" y="432"/>
                    </a:cubicBezTo>
                    <a:cubicBezTo>
                      <a:pt x="689" y="426"/>
                      <a:pt x="686" y="419"/>
                      <a:pt x="689" y="411"/>
                    </a:cubicBezTo>
                    <a:cubicBezTo>
                      <a:pt x="691" y="403"/>
                      <a:pt x="702" y="395"/>
                      <a:pt x="712" y="403"/>
                    </a:cubicBezTo>
                    <a:cubicBezTo>
                      <a:pt x="722" y="411"/>
                      <a:pt x="720" y="417"/>
                      <a:pt x="734" y="416"/>
                    </a:cubicBezTo>
                    <a:cubicBezTo>
                      <a:pt x="748" y="414"/>
                      <a:pt x="747" y="406"/>
                      <a:pt x="755" y="406"/>
                    </a:cubicBezTo>
                    <a:cubicBezTo>
                      <a:pt x="763" y="406"/>
                      <a:pt x="771" y="398"/>
                      <a:pt x="781" y="398"/>
                    </a:cubicBezTo>
                    <a:cubicBezTo>
                      <a:pt x="791" y="397"/>
                      <a:pt x="810" y="392"/>
                      <a:pt x="818" y="402"/>
                    </a:cubicBezTo>
                    <a:cubicBezTo>
                      <a:pt x="826" y="413"/>
                      <a:pt x="841" y="412"/>
                      <a:pt x="855" y="410"/>
                    </a:cubicBezTo>
                    <a:cubicBezTo>
                      <a:pt x="868" y="409"/>
                      <a:pt x="898" y="409"/>
                      <a:pt x="905" y="404"/>
                    </a:cubicBezTo>
                    <a:cubicBezTo>
                      <a:pt x="913" y="400"/>
                      <a:pt x="925" y="394"/>
                      <a:pt x="936" y="388"/>
                    </a:cubicBezTo>
                    <a:cubicBezTo>
                      <a:pt x="947" y="382"/>
                      <a:pt x="960" y="368"/>
                      <a:pt x="971" y="376"/>
                    </a:cubicBezTo>
                    <a:cubicBezTo>
                      <a:pt x="981" y="383"/>
                      <a:pt x="989" y="384"/>
                      <a:pt x="997" y="384"/>
                    </a:cubicBezTo>
                    <a:cubicBezTo>
                      <a:pt x="1005" y="384"/>
                      <a:pt x="1015" y="378"/>
                      <a:pt x="1023" y="374"/>
                    </a:cubicBezTo>
                    <a:cubicBezTo>
                      <a:pt x="1032" y="370"/>
                      <a:pt x="1039" y="372"/>
                      <a:pt x="1043" y="368"/>
                    </a:cubicBezTo>
                    <a:cubicBezTo>
                      <a:pt x="1047" y="364"/>
                      <a:pt x="1052" y="364"/>
                      <a:pt x="1064" y="381"/>
                    </a:cubicBezTo>
                    <a:cubicBezTo>
                      <a:pt x="1071" y="377"/>
                      <a:pt x="1076" y="374"/>
                      <a:pt x="1078" y="371"/>
                    </a:cubicBezTo>
                    <a:cubicBezTo>
                      <a:pt x="1082" y="364"/>
                      <a:pt x="1083" y="356"/>
                      <a:pt x="1096" y="356"/>
                    </a:cubicBezTo>
                    <a:cubicBezTo>
                      <a:pt x="1110" y="356"/>
                      <a:pt x="1121" y="357"/>
                      <a:pt x="1125" y="362"/>
                    </a:cubicBezTo>
                    <a:cubicBezTo>
                      <a:pt x="1128" y="366"/>
                      <a:pt x="1138" y="368"/>
                      <a:pt x="1146" y="367"/>
                    </a:cubicBezTo>
                    <a:cubicBezTo>
                      <a:pt x="1154" y="367"/>
                      <a:pt x="1166" y="361"/>
                      <a:pt x="1170" y="368"/>
                    </a:cubicBezTo>
                    <a:cubicBezTo>
                      <a:pt x="1174" y="375"/>
                      <a:pt x="1182" y="390"/>
                      <a:pt x="1189" y="384"/>
                    </a:cubicBezTo>
                    <a:cubicBezTo>
                      <a:pt x="1195" y="379"/>
                      <a:pt x="1205" y="378"/>
                      <a:pt x="1206" y="375"/>
                    </a:cubicBezTo>
                    <a:cubicBezTo>
                      <a:pt x="1207" y="373"/>
                      <a:pt x="1210" y="368"/>
                      <a:pt x="1212" y="364"/>
                    </a:cubicBezTo>
                    <a:cubicBezTo>
                      <a:pt x="1211" y="363"/>
                      <a:pt x="1210" y="362"/>
                      <a:pt x="1209" y="360"/>
                    </a:cubicBezTo>
                    <a:cubicBezTo>
                      <a:pt x="1201" y="354"/>
                      <a:pt x="1199" y="355"/>
                      <a:pt x="1199" y="345"/>
                    </a:cubicBezTo>
                    <a:cubicBezTo>
                      <a:pt x="1198" y="335"/>
                      <a:pt x="1177" y="330"/>
                      <a:pt x="1179" y="318"/>
                    </a:cubicBezTo>
                    <a:cubicBezTo>
                      <a:pt x="1181" y="307"/>
                      <a:pt x="1198" y="303"/>
                      <a:pt x="1191" y="290"/>
                    </a:cubicBezTo>
                    <a:cubicBezTo>
                      <a:pt x="1183" y="278"/>
                      <a:pt x="1182" y="275"/>
                      <a:pt x="1182" y="264"/>
                    </a:cubicBezTo>
                    <a:cubicBezTo>
                      <a:pt x="1182" y="254"/>
                      <a:pt x="1182" y="256"/>
                      <a:pt x="1175" y="242"/>
                    </a:cubicBezTo>
                    <a:cubicBezTo>
                      <a:pt x="1169" y="229"/>
                      <a:pt x="1158" y="210"/>
                      <a:pt x="1174" y="208"/>
                    </a:cubicBezTo>
                    <a:cubicBezTo>
                      <a:pt x="1190" y="206"/>
                      <a:pt x="1189" y="202"/>
                      <a:pt x="1192" y="193"/>
                    </a:cubicBezTo>
                    <a:cubicBezTo>
                      <a:pt x="1193" y="189"/>
                      <a:pt x="1196" y="185"/>
                      <a:pt x="1200" y="183"/>
                    </a:cubicBezTo>
                    <a:cubicBezTo>
                      <a:pt x="1197" y="181"/>
                      <a:pt x="1192" y="180"/>
                      <a:pt x="1187" y="17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5" name="Freeform 118">
                <a:extLst>
                  <a:ext uri="{FF2B5EF4-FFF2-40B4-BE49-F238E27FC236}">
                    <a16:creationId xmlns:a16="http://schemas.microsoft.com/office/drawing/2014/main" id="{83FE020E-DF01-CC4E-96DC-350518BBE8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0" y="1856"/>
                <a:ext cx="50" cy="31"/>
              </a:xfrm>
              <a:custGeom>
                <a:avLst/>
                <a:gdLst>
                  <a:gd name="T0" fmla="*/ 145 w 198"/>
                  <a:gd name="T1" fmla="*/ 44 h 123"/>
                  <a:gd name="T2" fmla="*/ 120 w 198"/>
                  <a:gd name="T3" fmla="*/ 13 h 123"/>
                  <a:gd name="T4" fmla="*/ 106 w 198"/>
                  <a:gd name="T5" fmla="*/ 14 h 123"/>
                  <a:gd name="T6" fmla="*/ 80 w 198"/>
                  <a:gd name="T7" fmla="*/ 8 h 123"/>
                  <a:gd name="T8" fmla="*/ 55 w 198"/>
                  <a:gd name="T9" fmla="*/ 7 h 123"/>
                  <a:gd name="T10" fmla="*/ 37 w 198"/>
                  <a:gd name="T11" fmla="*/ 10 h 123"/>
                  <a:gd name="T12" fmla="*/ 19 w 198"/>
                  <a:gd name="T13" fmla="*/ 24 h 123"/>
                  <a:gd name="T14" fmla="*/ 18 w 198"/>
                  <a:gd name="T15" fmla="*/ 26 h 123"/>
                  <a:gd name="T16" fmla="*/ 23 w 198"/>
                  <a:gd name="T17" fmla="*/ 34 h 123"/>
                  <a:gd name="T18" fmla="*/ 31 w 198"/>
                  <a:gd name="T19" fmla="*/ 45 h 123"/>
                  <a:gd name="T20" fmla="*/ 22 w 198"/>
                  <a:gd name="T21" fmla="*/ 62 h 123"/>
                  <a:gd name="T22" fmla="*/ 12 w 198"/>
                  <a:gd name="T23" fmla="*/ 72 h 123"/>
                  <a:gd name="T24" fmla="*/ 12 w 198"/>
                  <a:gd name="T25" fmla="*/ 91 h 123"/>
                  <a:gd name="T26" fmla="*/ 0 w 198"/>
                  <a:gd name="T27" fmla="*/ 103 h 123"/>
                  <a:gd name="T28" fmla="*/ 24 w 198"/>
                  <a:gd name="T29" fmla="*/ 114 h 123"/>
                  <a:gd name="T30" fmla="*/ 63 w 198"/>
                  <a:gd name="T31" fmla="*/ 110 h 123"/>
                  <a:gd name="T32" fmla="*/ 112 w 198"/>
                  <a:gd name="T33" fmla="*/ 85 h 123"/>
                  <a:gd name="T34" fmla="*/ 163 w 198"/>
                  <a:gd name="T35" fmla="*/ 88 h 123"/>
                  <a:gd name="T36" fmla="*/ 190 w 198"/>
                  <a:gd name="T37" fmla="*/ 72 h 123"/>
                  <a:gd name="T38" fmla="*/ 145 w 198"/>
                  <a:gd name="T39" fmla="*/ 44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8" h="123">
                    <a:moveTo>
                      <a:pt x="145" y="44"/>
                    </a:moveTo>
                    <a:cubicBezTo>
                      <a:pt x="134" y="40"/>
                      <a:pt x="126" y="26"/>
                      <a:pt x="120" y="13"/>
                    </a:cubicBezTo>
                    <a:cubicBezTo>
                      <a:pt x="115" y="14"/>
                      <a:pt x="110" y="14"/>
                      <a:pt x="106" y="14"/>
                    </a:cubicBezTo>
                    <a:cubicBezTo>
                      <a:pt x="98" y="14"/>
                      <a:pt x="92" y="16"/>
                      <a:pt x="80" y="8"/>
                    </a:cubicBezTo>
                    <a:cubicBezTo>
                      <a:pt x="68" y="0"/>
                      <a:pt x="61" y="0"/>
                      <a:pt x="55" y="7"/>
                    </a:cubicBezTo>
                    <a:cubicBezTo>
                      <a:pt x="50" y="14"/>
                      <a:pt x="47" y="10"/>
                      <a:pt x="37" y="10"/>
                    </a:cubicBezTo>
                    <a:cubicBezTo>
                      <a:pt x="28" y="10"/>
                      <a:pt x="24" y="14"/>
                      <a:pt x="19" y="24"/>
                    </a:cubicBezTo>
                    <a:cubicBezTo>
                      <a:pt x="19" y="24"/>
                      <a:pt x="18" y="25"/>
                      <a:pt x="18" y="26"/>
                    </a:cubicBezTo>
                    <a:cubicBezTo>
                      <a:pt x="20" y="29"/>
                      <a:pt x="22" y="33"/>
                      <a:pt x="23" y="34"/>
                    </a:cubicBezTo>
                    <a:cubicBezTo>
                      <a:pt x="27" y="37"/>
                      <a:pt x="30" y="40"/>
                      <a:pt x="31" y="45"/>
                    </a:cubicBezTo>
                    <a:cubicBezTo>
                      <a:pt x="32" y="49"/>
                      <a:pt x="30" y="61"/>
                      <a:pt x="22" y="62"/>
                    </a:cubicBezTo>
                    <a:cubicBezTo>
                      <a:pt x="13" y="63"/>
                      <a:pt x="12" y="68"/>
                      <a:pt x="12" y="72"/>
                    </a:cubicBezTo>
                    <a:cubicBezTo>
                      <a:pt x="12" y="75"/>
                      <a:pt x="18" y="86"/>
                      <a:pt x="12" y="91"/>
                    </a:cubicBezTo>
                    <a:cubicBezTo>
                      <a:pt x="8" y="94"/>
                      <a:pt x="2" y="97"/>
                      <a:pt x="0" y="103"/>
                    </a:cubicBezTo>
                    <a:cubicBezTo>
                      <a:pt x="8" y="107"/>
                      <a:pt x="16" y="112"/>
                      <a:pt x="24" y="114"/>
                    </a:cubicBezTo>
                    <a:cubicBezTo>
                      <a:pt x="40" y="118"/>
                      <a:pt x="56" y="123"/>
                      <a:pt x="63" y="110"/>
                    </a:cubicBezTo>
                    <a:cubicBezTo>
                      <a:pt x="70" y="97"/>
                      <a:pt x="93" y="98"/>
                      <a:pt x="112" y="85"/>
                    </a:cubicBezTo>
                    <a:cubicBezTo>
                      <a:pt x="130" y="72"/>
                      <a:pt x="143" y="85"/>
                      <a:pt x="163" y="88"/>
                    </a:cubicBezTo>
                    <a:cubicBezTo>
                      <a:pt x="183" y="91"/>
                      <a:pt x="183" y="85"/>
                      <a:pt x="190" y="72"/>
                    </a:cubicBezTo>
                    <a:cubicBezTo>
                      <a:pt x="198" y="60"/>
                      <a:pt x="163" y="51"/>
                      <a:pt x="145" y="4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6" name="Freeform 119">
                <a:extLst>
                  <a:ext uri="{FF2B5EF4-FFF2-40B4-BE49-F238E27FC236}">
                    <a16:creationId xmlns:a16="http://schemas.microsoft.com/office/drawing/2014/main" id="{6DB56901-F6AF-5042-8576-651094269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5" y="1961"/>
                <a:ext cx="10" cy="12"/>
              </a:xfrm>
              <a:custGeom>
                <a:avLst/>
                <a:gdLst>
                  <a:gd name="T0" fmla="*/ 26 w 38"/>
                  <a:gd name="T1" fmla="*/ 10 h 48"/>
                  <a:gd name="T2" fmla="*/ 21 w 38"/>
                  <a:gd name="T3" fmla="*/ 19 h 48"/>
                  <a:gd name="T4" fmla="*/ 7 w 38"/>
                  <a:gd name="T5" fmla="*/ 29 h 48"/>
                  <a:gd name="T6" fmla="*/ 4 w 38"/>
                  <a:gd name="T7" fmla="*/ 42 h 48"/>
                  <a:gd name="T8" fmla="*/ 7 w 38"/>
                  <a:gd name="T9" fmla="*/ 48 h 48"/>
                  <a:gd name="T10" fmla="*/ 22 w 38"/>
                  <a:gd name="T11" fmla="*/ 38 h 48"/>
                  <a:gd name="T12" fmla="*/ 31 w 38"/>
                  <a:gd name="T13" fmla="*/ 28 h 48"/>
                  <a:gd name="T14" fmla="*/ 38 w 38"/>
                  <a:gd name="T15" fmla="*/ 16 h 48"/>
                  <a:gd name="T16" fmla="*/ 26 w 38"/>
                  <a:gd name="T17" fmla="*/ 1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48">
                    <a:moveTo>
                      <a:pt x="26" y="10"/>
                    </a:moveTo>
                    <a:cubicBezTo>
                      <a:pt x="26" y="10"/>
                      <a:pt x="26" y="16"/>
                      <a:pt x="21" y="19"/>
                    </a:cubicBezTo>
                    <a:cubicBezTo>
                      <a:pt x="15" y="22"/>
                      <a:pt x="7" y="24"/>
                      <a:pt x="7" y="29"/>
                    </a:cubicBezTo>
                    <a:cubicBezTo>
                      <a:pt x="8" y="35"/>
                      <a:pt x="6" y="38"/>
                      <a:pt x="4" y="42"/>
                    </a:cubicBezTo>
                    <a:cubicBezTo>
                      <a:pt x="1" y="46"/>
                      <a:pt x="0" y="48"/>
                      <a:pt x="7" y="48"/>
                    </a:cubicBezTo>
                    <a:cubicBezTo>
                      <a:pt x="14" y="48"/>
                      <a:pt x="15" y="38"/>
                      <a:pt x="22" y="38"/>
                    </a:cubicBezTo>
                    <a:cubicBezTo>
                      <a:pt x="29" y="38"/>
                      <a:pt x="30" y="34"/>
                      <a:pt x="31" y="28"/>
                    </a:cubicBezTo>
                    <a:cubicBezTo>
                      <a:pt x="33" y="22"/>
                      <a:pt x="38" y="23"/>
                      <a:pt x="38" y="16"/>
                    </a:cubicBezTo>
                    <a:cubicBezTo>
                      <a:pt x="38" y="9"/>
                      <a:pt x="27" y="0"/>
                      <a:pt x="26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7" name="Freeform 120">
                <a:extLst>
                  <a:ext uri="{FF2B5EF4-FFF2-40B4-BE49-F238E27FC236}">
                    <a16:creationId xmlns:a16="http://schemas.microsoft.com/office/drawing/2014/main" id="{42A08508-2DC1-E046-BB02-A06573D1E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4" y="1891"/>
                <a:ext cx="4" cy="5"/>
              </a:xfrm>
              <a:custGeom>
                <a:avLst/>
                <a:gdLst>
                  <a:gd name="T0" fmla="*/ 9 w 18"/>
                  <a:gd name="T1" fmla="*/ 4 h 20"/>
                  <a:gd name="T2" fmla="*/ 1 w 18"/>
                  <a:gd name="T3" fmla="*/ 7 h 20"/>
                  <a:gd name="T4" fmla="*/ 5 w 18"/>
                  <a:gd name="T5" fmla="*/ 19 h 20"/>
                  <a:gd name="T6" fmla="*/ 11 w 18"/>
                  <a:gd name="T7" fmla="*/ 14 h 20"/>
                  <a:gd name="T8" fmla="*/ 18 w 18"/>
                  <a:gd name="T9" fmla="*/ 8 h 20"/>
                  <a:gd name="T10" fmla="*/ 9 w 18"/>
                  <a:gd name="T11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20">
                    <a:moveTo>
                      <a:pt x="9" y="4"/>
                    </a:moveTo>
                    <a:cubicBezTo>
                      <a:pt x="9" y="4"/>
                      <a:pt x="1" y="0"/>
                      <a:pt x="1" y="7"/>
                    </a:cubicBezTo>
                    <a:cubicBezTo>
                      <a:pt x="1" y="13"/>
                      <a:pt x="0" y="20"/>
                      <a:pt x="5" y="19"/>
                    </a:cubicBezTo>
                    <a:cubicBezTo>
                      <a:pt x="10" y="19"/>
                      <a:pt x="10" y="18"/>
                      <a:pt x="11" y="14"/>
                    </a:cubicBezTo>
                    <a:cubicBezTo>
                      <a:pt x="11" y="10"/>
                      <a:pt x="18" y="13"/>
                      <a:pt x="18" y="8"/>
                    </a:cubicBezTo>
                    <a:cubicBezTo>
                      <a:pt x="17" y="3"/>
                      <a:pt x="14" y="4"/>
                      <a:pt x="9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8" name="Freeform 121">
                <a:extLst>
                  <a:ext uri="{FF2B5EF4-FFF2-40B4-BE49-F238E27FC236}">
                    <a16:creationId xmlns:a16="http://schemas.microsoft.com/office/drawing/2014/main" id="{B0AF6CF6-F093-884C-BAAF-B93FE58E13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7" y="1860"/>
                <a:ext cx="112" cy="106"/>
              </a:xfrm>
              <a:custGeom>
                <a:avLst/>
                <a:gdLst>
                  <a:gd name="T0" fmla="*/ 432 w 441"/>
                  <a:gd name="T1" fmla="*/ 20 h 420"/>
                  <a:gd name="T2" fmla="*/ 414 w 441"/>
                  <a:gd name="T3" fmla="*/ 16 h 420"/>
                  <a:gd name="T4" fmla="*/ 379 w 441"/>
                  <a:gd name="T5" fmla="*/ 53 h 420"/>
                  <a:gd name="T6" fmla="*/ 301 w 441"/>
                  <a:gd name="T7" fmla="*/ 31 h 420"/>
                  <a:gd name="T8" fmla="*/ 221 w 441"/>
                  <a:gd name="T9" fmla="*/ 15 h 420"/>
                  <a:gd name="T10" fmla="*/ 196 w 441"/>
                  <a:gd name="T11" fmla="*/ 16 h 420"/>
                  <a:gd name="T12" fmla="*/ 192 w 441"/>
                  <a:gd name="T13" fmla="*/ 63 h 420"/>
                  <a:gd name="T14" fmla="*/ 133 w 441"/>
                  <a:gd name="T15" fmla="*/ 78 h 420"/>
                  <a:gd name="T16" fmla="*/ 78 w 441"/>
                  <a:gd name="T17" fmla="*/ 85 h 420"/>
                  <a:gd name="T18" fmla="*/ 78 w 441"/>
                  <a:gd name="T19" fmla="*/ 108 h 420"/>
                  <a:gd name="T20" fmla="*/ 46 w 441"/>
                  <a:gd name="T21" fmla="*/ 156 h 420"/>
                  <a:gd name="T22" fmla="*/ 0 w 441"/>
                  <a:gd name="T23" fmla="*/ 174 h 420"/>
                  <a:gd name="T24" fmla="*/ 43 w 441"/>
                  <a:gd name="T25" fmla="*/ 202 h 420"/>
                  <a:gd name="T26" fmla="*/ 105 w 441"/>
                  <a:gd name="T27" fmla="*/ 272 h 420"/>
                  <a:gd name="T28" fmla="*/ 115 w 441"/>
                  <a:gd name="T29" fmla="*/ 326 h 420"/>
                  <a:gd name="T30" fmla="*/ 146 w 441"/>
                  <a:gd name="T31" fmla="*/ 379 h 420"/>
                  <a:gd name="T32" fmla="*/ 194 w 441"/>
                  <a:gd name="T33" fmla="*/ 390 h 420"/>
                  <a:gd name="T34" fmla="*/ 217 w 441"/>
                  <a:gd name="T35" fmla="*/ 385 h 420"/>
                  <a:gd name="T36" fmla="*/ 201 w 441"/>
                  <a:gd name="T37" fmla="*/ 335 h 420"/>
                  <a:gd name="T38" fmla="*/ 228 w 441"/>
                  <a:gd name="T39" fmla="*/ 316 h 420"/>
                  <a:gd name="T40" fmla="*/ 265 w 441"/>
                  <a:gd name="T41" fmla="*/ 318 h 420"/>
                  <a:gd name="T42" fmla="*/ 278 w 441"/>
                  <a:gd name="T43" fmla="*/ 286 h 420"/>
                  <a:gd name="T44" fmla="*/ 300 w 441"/>
                  <a:gd name="T45" fmla="*/ 269 h 420"/>
                  <a:gd name="T46" fmla="*/ 247 w 441"/>
                  <a:gd name="T47" fmla="*/ 229 h 420"/>
                  <a:gd name="T48" fmla="*/ 191 w 441"/>
                  <a:gd name="T49" fmla="*/ 150 h 420"/>
                  <a:gd name="T50" fmla="*/ 199 w 441"/>
                  <a:gd name="T51" fmla="*/ 110 h 420"/>
                  <a:gd name="T52" fmla="*/ 244 w 441"/>
                  <a:gd name="T53" fmla="*/ 149 h 420"/>
                  <a:gd name="T54" fmla="*/ 267 w 441"/>
                  <a:gd name="T55" fmla="*/ 147 h 420"/>
                  <a:gd name="T56" fmla="*/ 284 w 441"/>
                  <a:gd name="T57" fmla="*/ 132 h 420"/>
                  <a:gd name="T58" fmla="*/ 265 w 441"/>
                  <a:gd name="T59" fmla="*/ 107 h 420"/>
                  <a:gd name="T60" fmla="*/ 301 w 441"/>
                  <a:gd name="T61" fmla="*/ 77 h 420"/>
                  <a:gd name="T62" fmla="*/ 328 w 441"/>
                  <a:gd name="T63" fmla="*/ 77 h 420"/>
                  <a:gd name="T64" fmla="*/ 409 w 441"/>
                  <a:gd name="T65" fmla="*/ 89 h 420"/>
                  <a:gd name="T66" fmla="*/ 421 w 441"/>
                  <a:gd name="T67" fmla="*/ 58 h 420"/>
                  <a:gd name="T68" fmla="*/ 440 w 441"/>
                  <a:gd name="T69" fmla="*/ 31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41" h="420">
                    <a:moveTo>
                      <a:pt x="440" y="31"/>
                    </a:moveTo>
                    <a:cubicBezTo>
                      <a:pt x="439" y="26"/>
                      <a:pt x="436" y="23"/>
                      <a:pt x="432" y="20"/>
                    </a:cubicBezTo>
                    <a:cubicBezTo>
                      <a:pt x="431" y="19"/>
                      <a:pt x="429" y="15"/>
                      <a:pt x="427" y="12"/>
                    </a:cubicBezTo>
                    <a:cubicBezTo>
                      <a:pt x="423" y="18"/>
                      <a:pt x="420" y="14"/>
                      <a:pt x="414" y="16"/>
                    </a:cubicBezTo>
                    <a:cubicBezTo>
                      <a:pt x="407" y="17"/>
                      <a:pt x="403" y="29"/>
                      <a:pt x="403" y="39"/>
                    </a:cubicBezTo>
                    <a:cubicBezTo>
                      <a:pt x="402" y="50"/>
                      <a:pt x="390" y="50"/>
                      <a:pt x="379" y="53"/>
                    </a:cubicBezTo>
                    <a:cubicBezTo>
                      <a:pt x="369" y="56"/>
                      <a:pt x="344" y="52"/>
                      <a:pt x="338" y="47"/>
                    </a:cubicBezTo>
                    <a:cubicBezTo>
                      <a:pt x="332" y="42"/>
                      <a:pt x="310" y="33"/>
                      <a:pt x="301" y="31"/>
                    </a:cubicBezTo>
                    <a:cubicBezTo>
                      <a:pt x="291" y="29"/>
                      <a:pt x="275" y="33"/>
                      <a:pt x="262" y="34"/>
                    </a:cubicBezTo>
                    <a:cubicBezTo>
                      <a:pt x="249" y="35"/>
                      <a:pt x="227" y="21"/>
                      <a:pt x="221" y="15"/>
                    </a:cubicBezTo>
                    <a:cubicBezTo>
                      <a:pt x="216" y="10"/>
                      <a:pt x="206" y="4"/>
                      <a:pt x="201" y="0"/>
                    </a:cubicBezTo>
                    <a:cubicBezTo>
                      <a:pt x="199" y="5"/>
                      <a:pt x="197" y="11"/>
                      <a:pt x="196" y="16"/>
                    </a:cubicBezTo>
                    <a:cubicBezTo>
                      <a:pt x="193" y="24"/>
                      <a:pt x="197" y="35"/>
                      <a:pt x="199" y="45"/>
                    </a:cubicBezTo>
                    <a:cubicBezTo>
                      <a:pt x="202" y="56"/>
                      <a:pt x="197" y="57"/>
                      <a:pt x="192" y="63"/>
                    </a:cubicBezTo>
                    <a:cubicBezTo>
                      <a:pt x="188" y="68"/>
                      <a:pt x="158" y="65"/>
                      <a:pt x="148" y="65"/>
                    </a:cubicBezTo>
                    <a:cubicBezTo>
                      <a:pt x="139" y="65"/>
                      <a:pt x="135" y="72"/>
                      <a:pt x="133" y="78"/>
                    </a:cubicBezTo>
                    <a:cubicBezTo>
                      <a:pt x="131" y="83"/>
                      <a:pt x="115" y="84"/>
                      <a:pt x="98" y="81"/>
                    </a:cubicBezTo>
                    <a:cubicBezTo>
                      <a:pt x="89" y="80"/>
                      <a:pt x="82" y="82"/>
                      <a:pt x="78" y="85"/>
                    </a:cubicBezTo>
                    <a:cubicBezTo>
                      <a:pt x="79" y="85"/>
                      <a:pt x="79" y="86"/>
                      <a:pt x="80" y="87"/>
                    </a:cubicBezTo>
                    <a:cubicBezTo>
                      <a:pt x="86" y="95"/>
                      <a:pt x="81" y="105"/>
                      <a:pt x="78" y="108"/>
                    </a:cubicBezTo>
                    <a:cubicBezTo>
                      <a:pt x="74" y="112"/>
                      <a:pt x="72" y="119"/>
                      <a:pt x="63" y="127"/>
                    </a:cubicBezTo>
                    <a:cubicBezTo>
                      <a:pt x="54" y="134"/>
                      <a:pt x="50" y="146"/>
                      <a:pt x="46" y="156"/>
                    </a:cubicBezTo>
                    <a:cubicBezTo>
                      <a:pt x="43" y="166"/>
                      <a:pt x="34" y="170"/>
                      <a:pt x="19" y="170"/>
                    </a:cubicBezTo>
                    <a:cubicBezTo>
                      <a:pt x="10" y="171"/>
                      <a:pt x="4" y="173"/>
                      <a:pt x="0" y="174"/>
                    </a:cubicBezTo>
                    <a:cubicBezTo>
                      <a:pt x="0" y="180"/>
                      <a:pt x="3" y="185"/>
                      <a:pt x="9" y="190"/>
                    </a:cubicBezTo>
                    <a:cubicBezTo>
                      <a:pt x="22" y="202"/>
                      <a:pt x="30" y="182"/>
                      <a:pt x="43" y="202"/>
                    </a:cubicBezTo>
                    <a:cubicBezTo>
                      <a:pt x="56" y="222"/>
                      <a:pt x="62" y="218"/>
                      <a:pt x="73" y="249"/>
                    </a:cubicBezTo>
                    <a:cubicBezTo>
                      <a:pt x="85" y="281"/>
                      <a:pt x="92" y="272"/>
                      <a:pt x="105" y="272"/>
                    </a:cubicBezTo>
                    <a:cubicBezTo>
                      <a:pt x="118" y="272"/>
                      <a:pt x="108" y="283"/>
                      <a:pt x="98" y="289"/>
                    </a:cubicBezTo>
                    <a:cubicBezTo>
                      <a:pt x="88" y="295"/>
                      <a:pt x="101" y="321"/>
                      <a:pt x="115" y="326"/>
                    </a:cubicBezTo>
                    <a:cubicBezTo>
                      <a:pt x="129" y="332"/>
                      <a:pt x="119" y="355"/>
                      <a:pt x="119" y="368"/>
                    </a:cubicBezTo>
                    <a:cubicBezTo>
                      <a:pt x="119" y="381"/>
                      <a:pt x="135" y="385"/>
                      <a:pt x="146" y="379"/>
                    </a:cubicBezTo>
                    <a:cubicBezTo>
                      <a:pt x="158" y="374"/>
                      <a:pt x="161" y="379"/>
                      <a:pt x="167" y="390"/>
                    </a:cubicBezTo>
                    <a:cubicBezTo>
                      <a:pt x="172" y="400"/>
                      <a:pt x="184" y="391"/>
                      <a:pt x="194" y="390"/>
                    </a:cubicBezTo>
                    <a:cubicBezTo>
                      <a:pt x="204" y="388"/>
                      <a:pt x="205" y="405"/>
                      <a:pt x="210" y="412"/>
                    </a:cubicBezTo>
                    <a:cubicBezTo>
                      <a:pt x="214" y="420"/>
                      <a:pt x="217" y="398"/>
                      <a:pt x="217" y="385"/>
                    </a:cubicBezTo>
                    <a:cubicBezTo>
                      <a:pt x="217" y="372"/>
                      <a:pt x="217" y="368"/>
                      <a:pt x="211" y="361"/>
                    </a:cubicBezTo>
                    <a:cubicBezTo>
                      <a:pt x="205" y="354"/>
                      <a:pt x="201" y="349"/>
                      <a:pt x="201" y="335"/>
                    </a:cubicBezTo>
                    <a:cubicBezTo>
                      <a:pt x="201" y="321"/>
                      <a:pt x="215" y="341"/>
                      <a:pt x="231" y="336"/>
                    </a:cubicBezTo>
                    <a:cubicBezTo>
                      <a:pt x="247" y="332"/>
                      <a:pt x="232" y="321"/>
                      <a:pt x="228" y="316"/>
                    </a:cubicBezTo>
                    <a:cubicBezTo>
                      <a:pt x="224" y="312"/>
                      <a:pt x="217" y="302"/>
                      <a:pt x="237" y="293"/>
                    </a:cubicBezTo>
                    <a:cubicBezTo>
                      <a:pt x="257" y="285"/>
                      <a:pt x="242" y="305"/>
                      <a:pt x="265" y="318"/>
                    </a:cubicBezTo>
                    <a:cubicBezTo>
                      <a:pt x="288" y="331"/>
                      <a:pt x="281" y="308"/>
                      <a:pt x="277" y="296"/>
                    </a:cubicBezTo>
                    <a:cubicBezTo>
                      <a:pt x="273" y="285"/>
                      <a:pt x="258" y="285"/>
                      <a:pt x="278" y="286"/>
                    </a:cubicBezTo>
                    <a:cubicBezTo>
                      <a:pt x="298" y="288"/>
                      <a:pt x="296" y="301"/>
                      <a:pt x="313" y="296"/>
                    </a:cubicBezTo>
                    <a:cubicBezTo>
                      <a:pt x="330" y="292"/>
                      <a:pt x="300" y="278"/>
                      <a:pt x="300" y="269"/>
                    </a:cubicBezTo>
                    <a:cubicBezTo>
                      <a:pt x="300" y="261"/>
                      <a:pt x="287" y="246"/>
                      <a:pt x="281" y="243"/>
                    </a:cubicBezTo>
                    <a:cubicBezTo>
                      <a:pt x="275" y="240"/>
                      <a:pt x="261" y="235"/>
                      <a:pt x="247" y="229"/>
                    </a:cubicBezTo>
                    <a:cubicBezTo>
                      <a:pt x="232" y="223"/>
                      <a:pt x="234" y="203"/>
                      <a:pt x="224" y="193"/>
                    </a:cubicBezTo>
                    <a:cubicBezTo>
                      <a:pt x="214" y="183"/>
                      <a:pt x="199" y="154"/>
                      <a:pt x="191" y="150"/>
                    </a:cubicBezTo>
                    <a:cubicBezTo>
                      <a:pt x="182" y="146"/>
                      <a:pt x="181" y="132"/>
                      <a:pt x="188" y="130"/>
                    </a:cubicBezTo>
                    <a:cubicBezTo>
                      <a:pt x="195" y="129"/>
                      <a:pt x="192" y="119"/>
                      <a:pt x="199" y="110"/>
                    </a:cubicBezTo>
                    <a:cubicBezTo>
                      <a:pt x="207" y="101"/>
                      <a:pt x="214" y="123"/>
                      <a:pt x="218" y="124"/>
                    </a:cubicBezTo>
                    <a:cubicBezTo>
                      <a:pt x="222" y="126"/>
                      <a:pt x="230" y="146"/>
                      <a:pt x="244" y="149"/>
                    </a:cubicBezTo>
                    <a:cubicBezTo>
                      <a:pt x="258" y="152"/>
                      <a:pt x="244" y="143"/>
                      <a:pt x="244" y="130"/>
                    </a:cubicBezTo>
                    <a:cubicBezTo>
                      <a:pt x="244" y="117"/>
                      <a:pt x="260" y="136"/>
                      <a:pt x="267" y="147"/>
                    </a:cubicBezTo>
                    <a:cubicBezTo>
                      <a:pt x="274" y="159"/>
                      <a:pt x="281" y="147"/>
                      <a:pt x="273" y="136"/>
                    </a:cubicBezTo>
                    <a:cubicBezTo>
                      <a:pt x="264" y="124"/>
                      <a:pt x="268" y="120"/>
                      <a:pt x="284" y="132"/>
                    </a:cubicBezTo>
                    <a:cubicBezTo>
                      <a:pt x="300" y="143"/>
                      <a:pt x="297" y="130"/>
                      <a:pt x="296" y="124"/>
                    </a:cubicBezTo>
                    <a:cubicBezTo>
                      <a:pt x="294" y="119"/>
                      <a:pt x="277" y="113"/>
                      <a:pt x="265" y="107"/>
                    </a:cubicBezTo>
                    <a:cubicBezTo>
                      <a:pt x="254" y="101"/>
                      <a:pt x="268" y="94"/>
                      <a:pt x="281" y="94"/>
                    </a:cubicBezTo>
                    <a:cubicBezTo>
                      <a:pt x="294" y="94"/>
                      <a:pt x="291" y="83"/>
                      <a:pt x="301" y="77"/>
                    </a:cubicBezTo>
                    <a:cubicBezTo>
                      <a:pt x="311" y="71"/>
                      <a:pt x="311" y="91"/>
                      <a:pt x="318" y="100"/>
                    </a:cubicBezTo>
                    <a:cubicBezTo>
                      <a:pt x="326" y="109"/>
                      <a:pt x="327" y="86"/>
                      <a:pt x="328" y="77"/>
                    </a:cubicBezTo>
                    <a:cubicBezTo>
                      <a:pt x="330" y="68"/>
                      <a:pt x="361" y="81"/>
                      <a:pt x="383" y="81"/>
                    </a:cubicBezTo>
                    <a:cubicBezTo>
                      <a:pt x="393" y="81"/>
                      <a:pt x="402" y="85"/>
                      <a:pt x="409" y="89"/>
                    </a:cubicBezTo>
                    <a:cubicBezTo>
                      <a:pt x="411" y="83"/>
                      <a:pt x="417" y="80"/>
                      <a:pt x="421" y="77"/>
                    </a:cubicBezTo>
                    <a:cubicBezTo>
                      <a:pt x="427" y="72"/>
                      <a:pt x="421" y="61"/>
                      <a:pt x="421" y="58"/>
                    </a:cubicBezTo>
                    <a:cubicBezTo>
                      <a:pt x="421" y="54"/>
                      <a:pt x="422" y="49"/>
                      <a:pt x="431" y="48"/>
                    </a:cubicBezTo>
                    <a:cubicBezTo>
                      <a:pt x="439" y="47"/>
                      <a:pt x="441" y="35"/>
                      <a:pt x="440" y="3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69" name="Freeform 122">
                <a:extLst>
                  <a:ext uri="{FF2B5EF4-FFF2-40B4-BE49-F238E27FC236}">
                    <a16:creationId xmlns:a16="http://schemas.microsoft.com/office/drawing/2014/main" id="{F56775F9-575A-774B-98FA-74571E5BB4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4" y="1974"/>
                <a:ext cx="4" cy="8"/>
              </a:xfrm>
              <a:custGeom>
                <a:avLst/>
                <a:gdLst>
                  <a:gd name="T0" fmla="*/ 10 w 17"/>
                  <a:gd name="T1" fmla="*/ 10 h 31"/>
                  <a:gd name="T2" fmla="*/ 8 w 17"/>
                  <a:gd name="T3" fmla="*/ 19 h 31"/>
                  <a:gd name="T4" fmla="*/ 4 w 17"/>
                  <a:gd name="T5" fmla="*/ 29 h 31"/>
                  <a:gd name="T6" fmla="*/ 17 w 17"/>
                  <a:gd name="T7" fmla="*/ 24 h 31"/>
                  <a:gd name="T8" fmla="*/ 10 w 17"/>
                  <a:gd name="T9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1">
                    <a:moveTo>
                      <a:pt x="10" y="10"/>
                    </a:moveTo>
                    <a:cubicBezTo>
                      <a:pt x="10" y="10"/>
                      <a:pt x="12" y="16"/>
                      <a:pt x="8" y="19"/>
                    </a:cubicBezTo>
                    <a:cubicBezTo>
                      <a:pt x="4" y="22"/>
                      <a:pt x="0" y="28"/>
                      <a:pt x="4" y="29"/>
                    </a:cubicBezTo>
                    <a:cubicBezTo>
                      <a:pt x="8" y="30"/>
                      <a:pt x="17" y="31"/>
                      <a:pt x="17" y="24"/>
                    </a:cubicBezTo>
                    <a:cubicBezTo>
                      <a:pt x="17" y="17"/>
                      <a:pt x="15" y="0"/>
                      <a:pt x="10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0" name="Freeform 123">
                <a:extLst>
                  <a:ext uri="{FF2B5EF4-FFF2-40B4-BE49-F238E27FC236}">
                    <a16:creationId xmlns:a16="http://schemas.microsoft.com/office/drawing/2014/main" id="{98D8587E-EB7B-114A-916D-1021D924A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1977"/>
                <a:ext cx="48" cy="17"/>
              </a:xfrm>
              <a:custGeom>
                <a:avLst/>
                <a:gdLst>
                  <a:gd name="T0" fmla="*/ 6 w 188"/>
                  <a:gd name="T1" fmla="*/ 6 h 64"/>
                  <a:gd name="T2" fmla="*/ 7 w 188"/>
                  <a:gd name="T3" fmla="*/ 30 h 64"/>
                  <a:gd name="T4" fmla="*/ 27 w 188"/>
                  <a:gd name="T5" fmla="*/ 30 h 64"/>
                  <a:gd name="T6" fmla="*/ 43 w 188"/>
                  <a:gd name="T7" fmla="*/ 36 h 64"/>
                  <a:gd name="T8" fmla="*/ 57 w 188"/>
                  <a:gd name="T9" fmla="*/ 41 h 64"/>
                  <a:gd name="T10" fmla="*/ 81 w 188"/>
                  <a:gd name="T11" fmla="*/ 47 h 64"/>
                  <a:gd name="T12" fmla="*/ 99 w 188"/>
                  <a:gd name="T13" fmla="*/ 58 h 64"/>
                  <a:gd name="T14" fmla="*/ 123 w 188"/>
                  <a:gd name="T15" fmla="*/ 57 h 64"/>
                  <a:gd name="T16" fmla="*/ 135 w 188"/>
                  <a:gd name="T17" fmla="*/ 49 h 64"/>
                  <a:gd name="T18" fmla="*/ 148 w 188"/>
                  <a:gd name="T19" fmla="*/ 54 h 64"/>
                  <a:gd name="T20" fmla="*/ 165 w 188"/>
                  <a:gd name="T21" fmla="*/ 49 h 64"/>
                  <a:gd name="T22" fmla="*/ 180 w 188"/>
                  <a:gd name="T23" fmla="*/ 46 h 64"/>
                  <a:gd name="T24" fmla="*/ 187 w 188"/>
                  <a:gd name="T25" fmla="*/ 36 h 64"/>
                  <a:gd name="T26" fmla="*/ 176 w 188"/>
                  <a:gd name="T27" fmla="*/ 30 h 64"/>
                  <a:gd name="T28" fmla="*/ 157 w 188"/>
                  <a:gd name="T29" fmla="*/ 32 h 64"/>
                  <a:gd name="T30" fmla="*/ 137 w 188"/>
                  <a:gd name="T31" fmla="*/ 23 h 64"/>
                  <a:gd name="T32" fmla="*/ 109 w 188"/>
                  <a:gd name="T33" fmla="*/ 22 h 64"/>
                  <a:gd name="T34" fmla="*/ 97 w 188"/>
                  <a:gd name="T35" fmla="*/ 16 h 64"/>
                  <a:gd name="T36" fmla="*/ 73 w 188"/>
                  <a:gd name="T37" fmla="*/ 16 h 64"/>
                  <a:gd name="T38" fmla="*/ 56 w 188"/>
                  <a:gd name="T39" fmla="*/ 20 h 64"/>
                  <a:gd name="T40" fmla="*/ 43 w 188"/>
                  <a:gd name="T41" fmla="*/ 6 h 64"/>
                  <a:gd name="T42" fmla="*/ 19 w 188"/>
                  <a:gd name="T43" fmla="*/ 4 h 64"/>
                  <a:gd name="T44" fmla="*/ 6 w 188"/>
                  <a:gd name="T45" fmla="*/ 6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88" h="64">
                    <a:moveTo>
                      <a:pt x="6" y="6"/>
                    </a:moveTo>
                    <a:cubicBezTo>
                      <a:pt x="6" y="6"/>
                      <a:pt x="0" y="30"/>
                      <a:pt x="7" y="30"/>
                    </a:cubicBezTo>
                    <a:cubicBezTo>
                      <a:pt x="14" y="31"/>
                      <a:pt x="21" y="29"/>
                      <a:pt x="27" y="30"/>
                    </a:cubicBezTo>
                    <a:cubicBezTo>
                      <a:pt x="33" y="32"/>
                      <a:pt x="40" y="31"/>
                      <a:pt x="43" y="36"/>
                    </a:cubicBezTo>
                    <a:cubicBezTo>
                      <a:pt x="46" y="41"/>
                      <a:pt x="49" y="41"/>
                      <a:pt x="57" y="41"/>
                    </a:cubicBezTo>
                    <a:cubicBezTo>
                      <a:pt x="64" y="41"/>
                      <a:pt x="76" y="40"/>
                      <a:pt x="81" y="47"/>
                    </a:cubicBezTo>
                    <a:cubicBezTo>
                      <a:pt x="86" y="54"/>
                      <a:pt x="88" y="58"/>
                      <a:pt x="99" y="58"/>
                    </a:cubicBezTo>
                    <a:cubicBezTo>
                      <a:pt x="110" y="58"/>
                      <a:pt x="120" y="64"/>
                      <a:pt x="123" y="57"/>
                    </a:cubicBezTo>
                    <a:cubicBezTo>
                      <a:pt x="126" y="50"/>
                      <a:pt x="127" y="49"/>
                      <a:pt x="135" y="49"/>
                    </a:cubicBezTo>
                    <a:cubicBezTo>
                      <a:pt x="142" y="50"/>
                      <a:pt x="144" y="52"/>
                      <a:pt x="148" y="54"/>
                    </a:cubicBezTo>
                    <a:cubicBezTo>
                      <a:pt x="153" y="56"/>
                      <a:pt x="152" y="47"/>
                      <a:pt x="165" y="49"/>
                    </a:cubicBezTo>
                    <a:cubicBezTo>
                      <a:pt x="178" y="51"/>
                      <a:pt x="179" y="49"/>
                      <a:pt x="180" y="46"/>
                    </a:cubicBezTo>
                    <a:cubicBezTo>
                      <a:pt x="181" y="43"/>
                      <a:pt x="188" y="42"/>
                      <a:pt x="187" y="36"/>
                    </a:cubicBezTo>
                    <a:cubicBezTo>
                      <a:pt x="186" y="31"/>
                      <a:pt x="182" y="28"/>
                      <a:pt x="176" y="30"/>
                    </a:cubicBezTo>
                    <a:cubicBezTo>
                      <a:pt x="169" y="33"/>
                      <a:pt x="163" y="35"/>
                      <a:pt x="157" y="32"/>
                    </a:cubicBezTo>
                    <a:cubicBezTo>
                      <a:pt x="151" y="30"/>
                      <a:pt x="145" y="23"/>
                      <a:pt x="137" y="23"/>
                    </a:cubicBezTo>
                    <a:cubicBezTo>
                      <a:pt x="129" y="23"/>
                      <a:pt x="113" y="27"/>
                      <a:pt x="109" y="22"/>
                    </a:cubicBezTo>
                    <a:cubicBezTo>
                      <a:pt x="105" y="17"/>
                      <a:pt x="106" y="16"/>
                      <a:pt x="97" y="16"/>
                    </a:cubicBezTo>
                    <a:cubicBezTo>
                      <a:pt x="87" y="15"/>
                      <a:pt x="76" y="11"/>
                      <a:pt x="73" y="16"/>
                    </a:cubicBezTo>
                    <a:cubicBezTo>
                      <a:pt x="69" y="21"/>
                      <a:pt x="60" y="25"/>
                      <a:pt x="56" y="20"/>
                    </a:cubicBezTo>
                    <a:cubicBezTo>
                      <a:pt x="52" y="16"/>
                      <a:pt x="54" y="7"/>
                      <a:pt x="43" y="6"/>
                    </a:cubicBezTo>
                    <a:cubicBezTo>
                      <a:pt x="32" y="4"/>
                      <a:pt x="25" y="7"/>
                      <a:pt x="19" y="4"/>
                    </a:cubicBezTo>
                    <a:cubicBezTo>
                      <a:pt x="13" y="0"/>
                      <a:pt x="7" y="2"/>
                      <a:pt x="6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1" name="Freeform 124">
                <a:extLst>
                  <a:ext uri="{FF2B5EF4-FFF2-40B4-BE49-F238E27FC236}">
                    <a16:creationId xmlns:a16="http://schemas.microsoft.com/office/drawing/2014/main" id="{93405A35-4BB6-284B-9F15-782A32A53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8" y="1936"/>
                <a:ext cx="8" cy="7"/>
              </a:xfrm>
              <a:custGeom>
                <a:avLst/>
                <a:gdLst>
                  <a:gd name="T0" fmla="*/ 29 w 34"/>
                  <a:gd name="T1" fmla="*/ 15 h 26"/>
                  <a:gd name="T2" fmla="*/ 18 w 34"/>
                  <a:gd name="T3" fmla="*/ 8 h 26"/>
                  <a:gd name="T4" fmla="*/ 9 w 34"/>
                  <a:gd name="T5" fmla="*/ 0 h 26"/>
                  <a:gd name="T6" fmla="*/ 6 w 34"/>
                  <a:gd name="T7" fmla="*/ 13 h 26"/>
                  <a:gd name="T8" fmla="*/ 15 w 34"/>
                  <a:gd name="T9" fmla="*/ 19 h 26"/>
                  <a:gd name="T10" fmla="*/ 25 w 34"/>
                  <a:gd name="T11" fmla="*/ 26 h 26"/>
                  <a:gd name="T12" fmla="*/ 29 w 34"/>
                  <a:gd name="T13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26">
                    <a:moveTo>
                      <a:pt x="29" y="15"/>
                    </a:moveTo>
                    <a:cubicBezTo>
                      <a:pt x="29" y="15"/>
                      <a:pt x="21" y="13"/>
                      <a:pt x="18" y="8"/>
                    </a:cubicBezTo>
                    <a:cubicBezTo>
                      <a:pt x="15" y="2"/>
                      <a:pt x="13" y="0"/>
                      <a:pt x="9" y="0"/>
                    </a:cubicBezTo>
                    <a:cubicBezTo>
                      <a:pt x="5" y="0"/>
                      <a:pt x="0" y="10"/>
                      <a:pt x="6" y="13"/>
                    </a:cubicBezTo>
                    <a:cubicBezTo>
                      <a:pt x="12" y="16"/>
                      <a:pt x="12" y="15"/>
                      <a:pt x="15" y="19"/>
                    </a:cubicBezTo>
                    <a:cubicBezTo>
                      <a:pt x="18" y="24"/>
                      <a:pt x="20" y="26"/>
                      <a:pt x="25" y="26"/>
                    </a:cubicBezTo>
                    <a:cubicBezTo>
                      <a:pt x="29" y="26"/>
                      <a:pt x="34" y="21"/>
                      <a:pt x="29" y="1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2" name="Freeform 125">
                <a:extLst>
                  <a:ext uri="{FF2B5EF4-FFF2-40B4-BE49-F238E27FC236}">
                    <a16:creationId xmlns:a16="http://schemas.microsoft.com/office/drawing/2014/main" id="{5823C064-283B-3C40-A78D-B04881C4C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1956"/>
                <a:ext cx="3" cy="4"/>
              </a:xfrm>
              <a:custGeom>
                <a:avLst/>
                <a:gdLst>
                  <a:gd name="T0" fmla="*/ 7 w 13"/>
                  <a:gd name="T1" fmla="*/ 6 h 18"/>
                  <a:gd name="T2" fmla="*/ 5 w 13"/>
                  <a:gd name="T3" fmla="*/ 12 h 18"/>
                  <a:gd name="T4" fmla="*/ 5 w 13"/>
                  <a:gd name="T5" fmla="*/ 18 h 18"/>
                  <a:gd name="T6" fmla="*/ 13 w 13"/>
                  <a:gd name="T7" fmla="*/ 13 h 18"/>
                  <a:gd name="T8" fmla="*/ 7 w 13"/>
                  <a:gd name="T9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7" y="6"/>
                    </a:moveTo>
                    <a:cubicBezTo>
                      <a:pt x="7" y="6"/>
                      <a:pt x="10" y="12"/>
                      <a:pt x="5" y="12"/>
                    </a:cubicBezTo>
                    <a:cubicBezTo>
                      <a:pt x="0" y="12"/>
                      <a:pt x="1" y="18"/>
                      <a:pt x="5" y="18"/>
                    </a:cubicBezTo>
                    <a:cubicBezTo>
                      <a:pt x="9" y="18"/>
                      <a:pt x="13" y="18"/>
                      <a:pt x="13" y="13"/>
                    </a:cubicBezTo>
                    <a:cubicBezTo>
                      <a:pt x="13" y="8"/>
                      <a:pt x="10" y="0"/>
                      <a:pt x="7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3" name="Freeform 126">
                <a:extLst>
                  <a:ext uri="{FF2B5EF4-FFF2-40B4-BE49-F238E27FC236}">
                    <a16:creationId xmlns:a16="http://schemas.microsoft.com/office/drawing/2014/main" id="{61945EF6-753B-8548-8882-9D45A0C5B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948"/>
                <a:ext cx="7" cy="7"/>
              </a:xfrm>
              <a:custGeom>
                <a:avLst/>
                <a:gdLst>
                  <a:gd name="T0" fmla="*/ 16 w 29"/>
                  <a:gd name="T1" fmla="*/ 8 h 28"/>
                  <a:gd name="T2" fmla="*/ 2 w 29"/>
                  <a:gd name="T3" fmla="*/ 12 h 28"/>
                  <a:gd name="T4" fmla="*/ 6 w 29"/>
                  <a:gd name="T5" fmla="*/ 22 h 28"/>
                  <a:gd name="T6" fmla="*/ 18 w 29"/>
                  <a:gd name="T7" fmla="*/ 25 h 28"/>
                  <a:gd name="T8" fmla="*/ 27 w 29"/>
                  <a:gd name="T9" fmla="*/ 23 h 28"/>
                  <a:gd name="T10" fmla="*/ 26 w 29"/>
                  <a:gd name="T11" fmla="*/ 7 h 28"/>
                  <a:gd name="T12" fmla="*/ 20 w 29"/>
                  <a:gd name="T13" fmla="*/ 1 h 28"/>
                  <a:gd name="T14" fmla="*/ 16 w 29"/>
                  <a:gd name="T15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8">
                    <a:moveTo>
                      <a:pt x="16" y="8"/>
                    </a:moveTo>
                    <a:cubicBezTo>
                      <a:pt x="16" y="8"/>
                      <a:pt x="1" y="6"/>
                      <a:pt x="2" y="12"/>
                    </a:cubicBezTo>
                    <a:cubicBezTo>
                      <a:pt x="2" y="19"/>
                      <a:pt x="0" y="21"/>
                      <a:pt x="6" y="22"/>
                    </a:cubicBezTo>
                    <a:cubicBezTo>
                      <a:pt x="12" y="22"/>
                      <a:pt x="16" y="22"/>
                      <a:pt x="18" y="25"/>
                    </a:cubicBezTo>
                    <a:cubicBezTo>
                      <a:pt x="20" y="28"/>
                      <a:pt x="26" y="27"/>
                      <a:pt x="27" y="23"/>
                    </a:cubicBezTo>
                    <a:cubicBezTo>
                      <a:pt x="27" y="19"/>
                      <a:pt x="29" y="10"/>
                      <a:pt x="26" y="7"/>
                    </a:cubicBezTo>
                    <a:cubicBezTo>
                      <a:pt x="24" y="5"/>
                      <a:pt x="24" y="0"/>
                      <a:pt x="20" y="1"/>
                    </a:cubicBezTo>
                    <a:cubicBezTo>
                      <a:pt x="16" y="1"/>
                      <a:pt x="22" y="8"/>
                      <a:pt x="16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4" name="Freeform 127">
                <a:extLst>
                  <a:ext uri="{FF2B5EF4-FFF2-40B4-BE49-F238E27FC236}">
                    <a16:creationId xmlns:a16="http://schemas.microsoft.com/office/drawing/2014/main" id="{38C5F0B2-C576-4A4A-AD1E-CCBD7E660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7" y="1941"/>
                <a:ext cx="4" cy="4"/>
              </a:xfrm>
              <a:custGeom>
                <a:avLst/>
                <a:gdLst>
                  <a:gd name="T0" fmla="*/ 6 w 14"/>
                  <a:gd name="T1" fmla="*/ 2 h 13"/>
                  <a:gd name="T2" fmla="*/ 6 w 14"/>
                  <a:gd name="T3" fmla="*/ 9 h 13"/>
                  <a:gd name="T4" fmla="*/ 13 w 14"/>
                  <a:gd name="T5" fmla="*/ 9 h 13"/>
                  <a:gd name="T6" fmla="*/ 6 w 14"/>
                  <a:gd name="T7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3">
                    <a:moveTo>
                      <a:pt x="6" y="2"/>
                    </a:moveTo>
                    <a:cubicBezTo>
                      <a:pt x="6" y="2"/>
                      <a:pt x="0" y="6"/>
                      <a:pt x="6" y="9"/>
                    </a:cubicBezTo>
                    <a:cubicBezTo>
                      <a:pt x="12" y="11"/>
                      <a:pt x="13" y="13"/>
                      <a:pt x="13" y="9"/>
                    </a:cubicBezTo>
                    <a:cubicBezTo>
                      <a:pt x="14" y="5"/>
                      <a:pt x="11" y="0"/>
                      <a:pt x="6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5" name="Freeform 128">
                <a:extLst>
                  <a:ext uri="{FF2B5EF4-FFF2-40B4-BE49-F238E27FC236}">
                    <a16:creationId xmlns:a16="http://schemas.microsoft.com/office/drawing/2014/main" id="{CB7EC7A1-764B-954F-9728-3EDF2972D5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4" y="1953"/>
                <a:ext cx="5" cy="5"/>
              </a:xfrm>
              <a:custGeom>
                <a:avLst/>
                <a:gdLst>
                  <a:gd name="T0" fmla="*/ 9 w 18"/>
                  <a:gd name="T1" fmla="*/ 6 h 23"/>
                  <a:gd name="T2" fmla="*/ 7 w 18"/>
                  <a:gd name="T3" fmla="*/ 13 h 23"/>
                  <a:gd name="T4" fmla="*/ 3 w 18"/>
                  <a:gd name="T5" fmla="*/ 22 h 23"/>
                  <a:gd name="T6" fmla="*/ 11 w 18"/>
                  <a:gd name="T7" fmla="*/ 19 h 23"/>
                  <a:gd name="T8" fmla="*/ 17 w 18"/>
                  <a:gd name="T9" fmla="*/ 10 h 23"/>
                  <a:gd name="T10" fmla="*/ 9 w 18"/>
                  <a:gd name="T11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23">
                    <a:moveTo>
                      <a:pt x="9" y="6"/>
                    </a:moveTo>
                    <a:cubicBezTo>
                      <a:pt x="9" y="6"/>
                      <a:pt x="12" y="11"/>
                      <a:pt x="7" y="13"/>
                    </a:cubicBezTo>
                    <a:cubicBezTo>
                      <a:pt x="3" y="16"/>
                      <a:pt x="0" y="22"/>
                      <a:pt x="3" y="22"/>
                    </a:cubicBezTo>
                    <a:cubicBezTo>
                      <a:pt x="7" y="23"/>
                      <a:pt x="10" y="23"/>
                      <a:pt x="11" y="19"/>
                    </a:cubicBezTo>
                    <a:cubicBezTo>
                      <a:pt x="12" y="15"/>
                      <a:pt x="18" y="17"/>
                      <a:pt x="17" y="10"/>
                    </a:cubicBezTo>
                    <a:cubicBezTo>
                      <a:pt x="16" y="4"/>
                      <a:pt x="10" y="0"/>
                      <a:pt x="9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6" name="Freeform 129">
                <a:extLst>
                  <a:ext uri="{FF2B5EF4-FFF2-40B4-BE49-F238E27FC236}">
                    <a16:creationId xmlns:a16="http://schemas.microsoft.com/office/drawing/2014/main" id="{AF42CD9F-E73A-904C-B70D-D35A4D564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4" y="1960"/>
                <a:ext cx="2" cy="3"/>
              </a:xfrm>
              <a:custGeom>
                <a:avLst/>
                <a:gdLst>
                  <a:gd name="T0" fmla="*/ 4 w 8"/>
                  <a:gd name="T1" fmla="*/ 1 h 10"/>
                  <a:gd name="T2" fmla="*/ 1 w 8"/>
                  <a:gd name="T3" fmla="*/ 4 h 10"/>
                  <a:gd name="T4" fmla="*/ 5 w 8"/>
                  <a:gd name="T5" fmla="*/ 9 h 10"/>
                  <a:gd name="T6" fmla="*/ 8 w 8"/>
                  <a:gd name="T7" fmla="*/ 5 h 10"/>
                  <a:gd name="T8" fmla="*/ 4 w 8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0">
                    <a:moveTo>
                      <a:pt x="4" y="1"/>
                    </a:moveTo>
                    <a:cubicBezTo>
                      <a:pt x="4" y="1"/>
                      <a:pt x="0" y="0"/>
                      <a:pt x="1" y="4"/>
                    </a:cubicBezTo>
                    <a:cubicBezTo>
                      <a:pt x="2" y="9"/>
                      <a:pt x="4" y="10"/>
                      <a:pt x="5" y="9"/>
                    </a:cubicBezTo>
                    <a:cubicBezTo>
                      <a:pt x="7" y="9"/>
                      <a:pt x="8" y="7"/>
                      <a:pt x="8" y="5"/>
                    </a:cubicBezTo>
                    <a:cubicBezTo>
                      <a:pt x="8" y="3"/>
                      <a:pt x="7" y="1"/>
                      <a:pt x="4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7" name="Freeform 130">
                <a:extLst>
                  <a:ext uri="{FF2B5EF4-FFF2-40B4-BE49-F238E27FC236}">
                    <a16:creationId xmlns:a16="http://schemas.microsoft.com/office/drawing/2014/main" id="{BCCDD185-44BF-C740-933C-029B4C06B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" y="1895"/>
                <a:ext cx="7" cy="6"/>
              </a:xfrm>
              <a:custGeom>
                <a:avLst/>
                <a:gdLst>
                  <a:gd name="T0" fmla="*/ 10 w 27"/>
                  <a:gd name="T1" fmla="*/ 1 h 23"/>
                  <a:gd name="T2" fmla="*/ 2 w 27"/>
                  <a:gd name="T3" fmla="*/ 7 h 23"/>
                  <a:gd name="T4" fmla="*/ 8 w 27"/>
                  <a:gd name="T5" fmla="*/ 20 h 23"/>
                  <a:gd name="T6" fmla="*/ 27 w 27"/>
                  <a:gd name="T7" fmla="*/ 16 h 23"/>
                  <a:gd name="T8" fmla="*/ 21 w 27"/>
                  <a:gd name="T9" fmla="*/ 3 h 23"/>
                  <a:gd name="T10" fmla="*/ 10 w 27"/>
                  <a:gd name="T11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3">
                    <a:moveTo>
                      <a:pt x="10" y="1"/>
                    </a:moveTo>
                    <a:cubicBezTo>
                      <a:pt x="10" y="1"/>
                      <a:pt x="2" y="2"/>
                      <a:pt x="2" y="7"/>
                    </a:cubicBezTo>
                    <a:cubicBezTo>
                      <a:pt x="2" y="12"/>
                      <a:pt x="0" y="19"/>
                      <a:pt x="8" y="20"/>
                    </a:cubicBezTo>
                    <a:cubicBezTo>
                      <a:pt x="15" y="20"/>
                      <a:pt x="27" y="23"/>
                      <a:pt x="27" y="16"/>
                    </a:cubicBezTo>
                    <a:cubicBezTo>
                      <a:pt x="27" y="8"/>
                      <a:pt x="27" y="3"/>
                      <a:pt x="21" y="3"/>
                    </a:cubicBezTo>
                    <a:cubicBezTo>
                      <a:pt x="16" y="2"/>
                      <a:pt x="16" y="0"/>
                      <a:pt x="10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8" name="Freeform 131">
                <a:extLst>
                  <a:ext uri="{FF2B5EF4-FFF2-40B4-BE49-F238E27FC236}">
                    <a16:creationId xmlns:a16="http://schemas.microsoft.com/office/drawing/2014/main" id="{965652DE-BCF8-EE4E-BEF8-4C1039A16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9" y="1885"/>
                <a:ext cx="5" cy="3"/>
              </a:xfrm>
              <a:custGeom>
                <a:avLst/>
                <a:gdLst>
                  <a:gd name="T0" fmla="*/ 5 w 17"/>
                  <a:gd name="T1" fmla="*/ 2 h 10"/>
                  <a:gd name="T2" fmla="*/ 4 w 17"/>
                  <a:gd name="T3" fmla="*/ 7 h 10"/>
                  <a:gd name="T4" fmla="*/ 15 w 17"/>
                  <a:gd name="T5" fmla="*/ 8 h 10"/>
                  <a:gd name="T6" fmla="*/ 5 w 17"/>
                  <a:gd name="T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0">
                    <a:moveTo>
                      <a:pt x="5" y="2"/>
                    </a:moveTo>
                    <a:cubicBezTo>
                      <a:pt x="5" y="2"/>
                      <a:pt x="0" y="6"/>
                      <a:pt x="4" y="7"/>
                    </a:cubicBezTo>
                    <a:cubicBezTo>
                      <a:pt x="8" y="9"/>
                      <a:pt x="13" y="10"/>
                      <a:pt x="15" y="8"/>
                    </a:cubicBezTo>
                    <a:cubicBezTo>
                      <a:pt x="17" y="7"/>
                      <a:pt x="10" y="0"/>
                      <a:pt x="5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79" name="Freeform 132">
                <a:extLst>
                  <a:ext uri="{FF2B5EF4-FFF2-40B4-BE49-F238E27FC236}">
                    <a16:creationId xmlns:a16="http://schemas.microsoft.com/office/drawing/2014/main" id="{2F94E4A2-7D69-1547-BA2D-33932D9DC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1" y="1904"/>
                <a:ext cx="2" cy="2"/>
              </a:xfrm>
              <a:custGeom>
                <a:avLst/>
                <a:gdLst>
                  <a:gd name="T0" fmla="*/ 2 w 8"/>
                  <a:gd name="T1" fmla="*/ 3 h 8"/>
                  <a:gd name="T2" fmla="*/ 4 w 8"/>
                  <a:gd name="T3" fmla="*/ 8 h 8"/>
                  <a:gd name="T4" fmla="*/ 8 w 8"/>
                  <a:gd name="T5" fmla="*/ 5 h 8"/>
                  <a:gd name="T6" fmla="*/ 2 w 8"/>
                  <a:gd name="T7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8">
                    <a:moveTo>
                      <a:pt x="2" y="3"/>
                    </a:moveTo>
                    <a:cubicBezTo>
                      <a:pt x="2" y="3"/>
                      <a:pt x="0" y="8"/>
                      <a:pt x="4" y="8"/>
                    </a:cubicBezTo>
                    <a:cubicBezTo>
                      <a:pt x="7" y="8"/>
                      <a:pt x="8" y="8"/>
                      <a:pt x="8" y="5"/>
                    </a:cubicBezTo>
                    <a:cubicBezTo>
                      <a:pt x="8" y="2"/>
                      <a:pt x="2" y="0"/>
                      <a:pt x="2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0" name="Freeform 133">
                <a:extLst>
                  <a:ext uri="{FF2B5EF4-FFF2-40B4-BE49-F238E27FC236}">
                    <a16:creationId xmlns:a16="http://schemas.microsoft.com/office/drawing/2014/main" id="{588FAB5A-DDD7-EF41-9B21-1F608A3C3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" y="1937"/>
                <a:ext cx="5" cy="5"/>
              </a:xfrm>
              <a:custGeom>
                <a:avLst/>
                <a:gdLst>
                  <a:gd name="T0" fmla="*/ 17 w 18"/>
                  <a:gd name="T1" fmla="*/ 7 h 18"/>
                  <a:gd name="T2" fmla="*/ 15 w 18"/>
                  <a:gd name="T3" fmla="*/ 1 h 18"/>
                  <a:gd name="T4" fmla="*/ 6 w 18"/>
                  <a:gd name="T5" fmla="*/ 0 h 18"/>
                  <a:gd name="T6" fmla="*/ 0 w 18"/>
                  <a:gd name="T7" fmla="*/ 3 h 18"/>
                  <a:gd name="T8" fmla="*/ 3 w 18"/>
                  <a:gd name="T9" fmla="*/ 8 h 18"/>
                  <a:gd name="T10" fmla="*/ 8 w 18"/>
                  <a:gd name="T11" fmla="*/ 12 h 18"/>
                  <a:gd name="T12" fmla="*/ 11 w 18"/>
                  <a:gd name="T13" fmla="*/ 17 h 18"/>
                  <a:gd name="T14" fmla="*/ 17 w 18"/>
                  <a:gd name="T15" fmla="*/ 15 h 18"/>
                  <a:gd name="T16" fmla="*/ 17 w 18"/>
                  <a:gd name="T17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8">
                    <a:moveTo>
                      <a:pt x="17" y="7"/>
                    </a:moveTo>
                    <a:cubicBezTo>
                      <a:pt x="17" y="7"/>
                      <a:pt x="18" y="1"/>
                      <a:pt x="15" y="1"/>
                    </a:cubicBezTo>
                    <a:cubicBezTo>
                      <a:pt x="12" y="1"/>
                      <a:pt x="9" y="0"/>
                      <a:pt x="6" y="0"/>
                    </a:cubicBezTo>
                    <a:cubicBezTo>
                      <a:pt x="4" y="0"/>
                      <a:pt x="0" y="0"/>
                      <a:pt x="0" y="3"/>
                    </a:cubicBezTo>
                    <a:cubicBezTo>
                      <a:pt x="0" y="6"/>
                      <a:pt x="0" y="8"/>
                      <a:pt x="3" y="8"/>
                    </a:cubicBezTo>
                    <a:cubicBezTo>
                      <a:pt x="6" y="8"/>
                      <a:pt x="8" y="8"/>
                      <a:pt x="8" y="12"/>
                    </a:cubicBezTo>
                    <a:cubicBezTo>
                      <a:pt x="8" y="16"/>
                      <a:pt x="9" y="17"/>
                      <a:pt x="11" y="17"/>
                    </a:cubicBezTo>
                    <a:cubicBezTo>
                      <a:pt x="13" y="17"/>
                      <a:pt x="17" y="18"/>
                      <a:pt x="17" y="15"/>
                    </a:cubicBezTo>
                    <a:cubicBezTo>
                      <a:pt x="17" y="13"/>
                      <a:pt x="16" y="10"/>
                      <a:pt x="17" y="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1" name="Freeform 134">
                <a:extLst>
                  <a:ext uri="{FF2B5EF4-FFF2-40B4-BE49-F238E27FC236}">
                    <a16:creationId xmlns:a16="http://schemas.microsoft.com/office/drawing/2014/main" id="{6AACD2FC-E49D-8340-AB03-F0CD061C2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" y="1672"/>
                <a:ext cx="211" cy="180"/>
              </a:xfrm>
              <a:custGeom>
                <a:avLst/>
                <a:gdLst>
                  <a:gd name="T0" fmla="*/ 777 w 833"/>
                  <a:gd name="T1" fmla="*/ 569 h 711"/>
                  <a:gd name="T2" fmla="*/ 751 w 833"/>
                  <a:gd name="T3" fmla="*/ 550 h 711"/>
                  <a:gd name="T4" fmla="*/ 753 w 833"/>
                  <a:gd name="T5" fmla="*/ 520 h 711"/>
                  <a:gd name="T6" fmla="*/ 755 w 833"/>
                  <a:gd name="T7" fmla="*/ 484 h 711"/>
                  <a:gd name="T8" fmla="*/ 749 w 833"/>
                  <a:gd name="T9" fmla="*/ 451 h 711"/>
                  <a:gd name="T10" fmla="*/ 747 w 833"/>
                  <a:gd name="T11" fmla="*/ 413 h 711"/>
                  <a:gd name="T12" fmla="*/ 729 w 833"/>
                  <a:gd name="T13" fmla="*/ 390 h 711"/>
                  <a:gd name="T14" fmla="*/ 693 w 833"/>
                  <a:gd name="T15" fmla="*/ 416 h 711"/>
                  <a:gd name="T16" fmla="*/ 705 w 833"/>
                  <a:gd name="T17" fmla="*/ 378 h 711"/>
                  <a:gd name="T18" fmla="*/ 751 w 833"/>
                  <a:gd name="T19" fmla="*/ 329 h 711"/>
                  <a:gd name="T20" fmla="*/ 771 w 833"/>
                  <a:gd name="T21" fmla="*/ 307 h 711"/>
                  <a:gd name="T22" fmla="*/ 792 w 833"/>
                  <a:gd name="T23" fmla="*/ 280 h 711"/>
                  <a:gd name="T24" fmla="*/ 803 w 833"/>
                  <a:gd name="T25" fmla="*/ 240 h 711"/>
                  <a:gd name="T26" fmla="*/ 822 w 833"/>
                  <a:gd name="T27" fmla="*/ 204 h 711"/>
                  <a:gd name="T28" fmla="*/ 808 w 833"/>
                  <a:gd name="T29" fmla="*/ 180 h 711"/>
                  <a:gd name="T30" fmla="*/ 770 w 833"/>
                  <a:gd name="T31" fmla="*/ 172 h 711"/>
                  <a:gd name="T32" fmla="*/ 733 w 833"/>
                  <a:gd name="T33" fmla="*/ 150 h 711"/>
                  <a:gd name="T34" fmla="*/ 668 w 833"/>
                  <a:gd name="T35" fmla="*/ 138 h 711"/>
                  <a:gd name="T36" fmla="*/ 637 w 833"/>
                  <a:gd name="T37" fmla="*/ 120 h 711"/>
                  <a:gd name="T38" fmla="*/ 601 w 833"/>
                  <a:gd name="T39" fmla="*/ 99 h 711"/>
                  <a:gd name="T40" fmla="*/ 574 w 833"/>
                  <a:gd name="T41" fmla="*/ 78 h 711"/>
                  <a:gd name="T42" fmla="*/ 527 w 833"/>
                  <a:gd name="T43" fmla="*/ 54 h 711"/>
                  <a:gd name="T44" fmla="*/ 493 w 833"/>
                  <a:gd name="T45" fmla="*/ 32 h 711"/>
                  <a:gd name="T46" fmla="*/ 466 w 833"/>
                  <a:gd name="T47" fmla="*/ 0 h 711"/>
                  <a:gd name="T48" fmla="*/ 414 w 833"/>
                  <a:gd name="T49" fmla="*/ 69 h 711"/>
                  <a:gd name="T50" fmla="*/ 316 w 833"/>
                  <a:gd name="T51" fmla="*/ 145 h 711"/>
                  <a:gd name="T52" fmla="*/ 231 w 833"/>
                  <a:gd name="T53" fmla="*/ 132 h 711"/>
                  <a:gd name="T54" fmla="*/ 202 w 833"/>
                  <a:gd name="T55" fmla="*/ 145 h 711"/>
                  <a:gd name="T56" fmla="*/ 202 w 833"/>
                  <a:gd name="T57" fmla="*/ 212 h 711"/>
                  <a:gd name="T58" fmla="*/ 146 w 833"/>
                  <a:gd name="T59" fmla="*/ 207 h 711"/>
                  <a:gd name="T60" fmla="*/ 85 w 833"/>
                  <a:gd name="T61" fmla="*/ 194 h 711"/>
                  <a:gd name="T62" fmla="*/ 12 w 833"/>
                  <a:gd name="T63" fmla="*/ 214 h 711"/>
                  <a:gd name="T64" fmla="*/ 17 w 833"/>
                  <a:gd name="T65" fmla="*/ 247 h 711"/>
                  <a:gd name="T66" fmla="*/ 35 w 833"/>
                  <a:gd name="T67" fmla="*/ 268 h 711"/>
                  <a:gd name="T68" fmla="*/ 108 w 833"/>
                  <a:gd name="T69" fmla="*/ 297 h 711"/>
                  <a:gd name="T70" fmla="*/ 168 w 833"/>
                  <a:gd name="T71" fmla="*/ 320 h 711"/>
                  <a:gd name="T72" fmla="*/ 218 w 833"/>
                  <a:gd name="T73" fmla="*/ 391 h 711"/>
                  <a:gd name="T74" fmla="*/ 234 w 833"/>
                  <a:gd name="T75" fmla="*/ 427 h 711"/>
                  <a:gd name="T76" fmla="*/ 244 w 833"/>
                  <a:gd name="T77" fmla="*/ 469 h 711"/>
                  <a:gd name="T78" fmla="*/ 225 w 833"/>
                  <a:gd name="T79" fmla="*/ 584 h 711"/>
                  <a:gd name="T80" fmla="*/ 194 w 833"/>
                  <a:gd name="T81" fmla="*/ 630 h 711"/>
                  <a:gd name="T82" fmla="*/ 236 w 833"/>
                  <a:gd name="T83" fmla="*/ 655 h 711"/>
                  <a:gd name="T84" fmla="*/ 304 w 833"/>
                  <a:gd name="T85" fmla="*/ 676 h 711"/>
                  <a:gd name="T86" fmla="*/ 359 w 833"/>
                  <a:gd name="T87" fmla="*/ 678 h 711"/>
                  <a:gd name="T88" fmla="*/ 403 w 833"/>
                  <a:gd name="T89" fmla="*/ 684 h 711"/>
                  <a:gd name="T90" fmla="*/ 458 w 833"/>
                  <a:gd name="T91" fmla="*/ 703 h 711"/>
                  <a:gd name="T92" fmla="*/ 504 w 833"/>
                  <a:gd name="T93" fmla="*/ 701 h 711"/>
                  <a:gd name="T94" fmla="*/ 506 w 833"/>
                  <a:gd name="T95" fmla="*/ 660 h 711"/>
                  <a:gd name="T96" fmla="*/ 609 w 833"/>
                  <a:gd name="T97" fmla="*/ 624 h 711"/>
                  <a:gd name="T98" fmla="*/ 750 w 833"/>
                  <a:gd name="T99" fmla="*/ 621 h 711"/>
                  <a:gd name="T100" fmla="*/ 791 w 833"/>
                  <a:gd name="T101" fmla="*/ 585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33" h="711">
                    <a:moveTo>
                      <a:pt x="797" y="570"/>
                    </a:moveTo>
                    <a:cubicBezTo>
                      <a:pt x="797" y="565"/>
                      <a:pt x="789" y="569"/>
                      <a:pt x="777" y="569"/>
                    </a:cubicBezTo>
                    <a:cubicBezTo>
                      <a:pt x="765" y="569"/>
                      <a:pt x="772" y="565"/>
                      <a:pt x="764" y="563"/>
                    </a:cubicBezTo>
                    <a:cubicBezTo>
                      <a:pt x="756" y="561"/>
                      <a:pt x="751" y="556"/>
                      <a:pt x="751" y="550"/>
                    </a:cubicBezTo>
                    <a:cubicBezTo>
                      <a:pt x="751" y="544"/>
                      <a:pt x="743" y="542"/>
                      <a:pt x="755" y="534"/>
                    </a:cubicBezTo>
                    <a:cubicBezTo>
                      <a:pt x="767" y="526"/>
                      <a:pt x="760" y="522"/>
                      <a:pt x="753" y="520"/>
                    </a:cubicBezTo>
                    <a:cubicBezTo>
                      <a:pt x="745" y="517"/>
                      <a:pt x="747" y="512"/>
                      <a:pt x="737" y="502"/>
                    </a:cubicBezTo>
                    <a:cubicBezTo>
                      <a:pt x="726" y="492"/>
                      <a:pt x="747" y="489"/>
                      <a:pt x="755" y="484"/>
                    </a:cubicBezTo>
                    <a:cubicBezTo>
                      <a:pt x="763" y="480"/>
                      <a:pt x="769" y="473"/>
                      <a:pt x="769" y="468"/>
                    </a:cubicBezTo>
                    <a:cubicBezTo>
                      <a:pt x="769" y="462"/>
                      <a:pt x="759" y="459"/>
                      <a:pt x="749" y="451"/>
                    </a:cubicBezTo>
                    <a:cubicBezTo>
                      <a:pt x="738" y="443"/>
                      <a:pt x="750" y="438"/>
                      <a:pt x="757" y="432"/>
                    </a:cubicBezTo>
                    <a:cubicBezTo>
                      <a:pt x="765" y="425"/>
                      <a:pt x="753" y="416"/>
                      <a:pt x="747" y="413"/>
                    </a:cubicBezTo>
                    <a:cubicBezTo>
                      <a:pt x="741" y="410"/>
                      <a:pt x="743" y="403"/>
                      <a:pt x="743" y="398"/>
                    </a:cubicBezTo>
                    <a:cubicBezTo>
                      <a:pt x="743" y="394"/>
                      <a:pt x="737" y="389"/>
                      <a:pt x="729" y="390"/>
                    </a:cubicBezTo>
                    <a:cubicBezTo>
                      <a:pt x="721" y="392"/>
                      <a:pt x="717" y="392"/>
                      <a:pt x="713" y="400"/>
                    </a:cubicBezTo>
                    <a:cubicBezTo>
                      <a:pt x="709" y="408"/>
                      <a:pt x="703" y="414"/>
                      <a:pt x="693" y="416"/>
                    </a:cubicBezTo>
                    <a:cubicBezTo>
                      <a:pt x="683" y="417"/>
                      <a:pt x="695" y="406"/>
                      <a:pt x="696" y="396"/>
                    </a:cubicBezTo>
                    <a:cubicBezTo>
                      <a:pt x="697" y="387"/>
                      <a:pt x="701" y="383"/>
                      <a:pt x="705" y="378"/>
                    </a:cubicBezTo>
                    <a:cubicBezTo>
                      <a:pt x="710" y="372"/>
                      <a:pt x="719" y="362"/>
                      <a:pt x="723" y="352"/>
                    </a:cubicBezTo>
                    <a:cubicBezTo>
                      <a:pt x="727" y="343"/>
                      <a:pt x="743" y="332"/>
                      <a:pt x="751" y="329"/>
                    </a:cubicBezTo>
                    <a:cubicBezTo>
                      <a:pt x="758" y="326"/>
                      <a:pt x="759" y="318"/>
                      <a:pt x="759" y="313"/>
                    </a:cubicBezTo>
                    <a:cubicBezTo>
                      <a:pt x="759" y="308"/>
                      <a:pt x="761" y="306"/>
                      <a:pt x="771" y="307"/>
                    </a:cubicBezTo>
                    <a:cubicBezTo>
                      <a:pt x="781" y="308"/>
                      <a:pt x="783" y="310"/>
                      <a:pt x="789" y="304"/>
                    </a:cubicBezTo>
                    <a:cubicBezTo>
                      <a:pt x="796" y="299"/>
                      <a:pt x="793" y="286"/>
                      <a:pt x="792" y="280"/>
                    </a:cubicBezTo>
                    <a:cubicBezTo>
                      <a:pt x="791" y="274"/>
                      <a:pt x="794" y="266"/>
                      <a:pt x="793" y="258"/>
                    </a:cubicBezTo>
                    <a:cubicBezTo>
                      <a:pt x="793" y="251"/>
                      <a:pt x="797" y="244"/>
                      <a:pt x="803" y="240"/>
                    </a:cubicBezTo>
                    <a:cubicBezTo>
                      <a:pt x="808" y="235"/>
                      <a:pt x="805" y="226"/>
                      <a:pt x="805" y="220"/>
                    </a:cubicBezTo>
                    <a:cubicBezTo>
                      <a:pt x="805" y="214"/>
                      <a:pt x="814" y="207"/>
                      <a:pt x="822" y="204"/>
                    </a:cubicBezTo>
                    <a:cubicBezTo>
                      <a:pt x="830" y="200"/>
                      <a:pt x="831" y="196"/>
                      <a:pt x="832" y="187"/>
                    </a:cubicBezTo>
                    <a:cubicBezTo>
                      <a:pt x="833" y="178"/>
                      <a:pt x="819" y="180"/>
                      <a:pt x="808" y="180"/>
                    </a:cubicBezTo>
                    <a:cubicBezTo>
                      <a:pt x="797" y="180"/>
                      <a:pt x="795" y="176"/>
                      <a:pt x="791" y="172"/>
                    </a:cubicBezTo>
                    <a:cubicBezTo>
                      <a:pt x="787" y="168"/>
                      <a:pt x="776" y="168"/>
                      <a:pt x="770" y="172"/>
                    </a:cubicBezTo>
                    <a:cubicBezTo>
                      <a:pt x="764" y="175"/>
                      <a:pt x="758" y="170"/>
                      <a:pt x="749" y="167"/>
                    </a:cubicBezTo>
                    <a:cubicBezTo>
                      <a:pt x="739" y="164"/>
                      <a:pt x="739" y="162"/>
                      <a:pt x="733" y="150"/>
                    </a:cubicBezTo>
                    <a:cubicBezTo>
                      <a:pt x="727" y="137"/>
                      <a:pt x="706" y="140"/>
                      <a:pt x="696" y="140"/>
                    </a:cubicBezTo>
                    <a:cubicBezTo>
                      <a:pt x="686" y="139"/>
                      <a:pt x="677" y="139"/>
                      <a:pt x="668" y="138"/>
                    </a:cubicBezTo>
                    <a:cubicBezTo>
                      <a:pt x="659" y="138"/>
                      <a:pt x="658" y="137"/>
                      <a:pt x="655" y="131"/>
                    </a:cubicBezTo>
                    <a:cubicBezTo>
                      <a:pt x="653" y="125"/>
                      <a:pt x="646" y="124"/>
                      <a:pt x="637" y="120"/>
                    </a:cubicBezTo>
                    <a:cubicBezTo>
                      <a:pt x="627" y="117"/>
                      <a:pt x="629" y="114"/>
                      <a:pt x="622" y="98"/>
                    </a:cubicBezTo>
                    <a:cubicBezTo>
                      <a:pt x="615" y="83"/>
                      <a:pt x="612" y="99"/>
                      <a:pt x="601" y="99"/>
                    </a:cubicBezTo>
                    <a:cubicBezTo>
                      <a:pt x="591" y="99"/>
                      <a:pt x="591" y="104"/>
                      <a:pt x="583" y="103"/>
                    </a:cubicBezTo>
                    <a:cubicBezTo>
                      <a:pt x="575" y="102"/>
                      <a:pt x="574" y="84"/>
                      <a:pt x="574" y="78"/>
                    </a:cubicBezTo>
                    <a:cubicBezTo>
                      <a:pt x="574" y="72"/>
                      <a:pt x="559" y="69"/>
                      <a:pt x="551" y="66"/>
                    </a:cubicBezTo>
                    <a:cubicBezTo>
                      <a:pt x="543" y="62"/>
                      <a:pt x="538" y="56"/>
                      <a:pt x="527" y="54"/>
                    </a:cubicBezTo>
                    <a:cubicBezTo>
                      <a:pt x="517" y="52"/>
                      <a:pt x="520" y="48"/>
                      <a:pt x="517" y="40"/>
                    </a:cubicBezTo>
                    <a:cubicBezTo>
                      <a:pt x="515" y="32"/>
                      <a:pt x="505" y="33"/>
                      <a:pt x="493" y="32"/>
                    </a:cubicBezTo>
                    <a:cubicBezTo>
                      <a:pt x="482" y="30"/>
                      <a:pt x="477" y="24"/>
                      <a:pt x="475" y="16"/>
                    </a:cubicBezTo>
                    <a:cubicBezTo>
                      <a:pt x="474" y="11"/>
                      <a:pt x="470" y="5"/>
                      <a:pt x="466" y="0"/>
                    </a:cubicBezTo>
                    <a:cubicBezTo>
                      <a:pt x="460" y="1"/>
                      <a:pt x="454" y="2"/>
                      <a:pt x="447" y="3"/>
                    </a:cubicBezTo>
                    <a:cubicBezTo>
                      <a:pt x="416" y="7"/>
                      <a:pt x="417" y="45"/>
                      <a:pt x="414" y="69"/>
                    </a:cubicBezTo>
                    <a:cubicBezTo>
                      <a:pt x="412" y="93"/>
                      <a:pt x="374" y="105"/>
                      <a:pt x="357" y="106"/>
                    </a:cubicBezTo>
                    <a:cubicBezTo>
                      <a:pt x="340" y="108"/>
                      <a:pt x="316" y="133"/>
                      <a:pt x="316" y="145"/>
                    </a:cubicBezTo>
                    <a:cubicBezTo>
                      <a:pt x="316" y="156"/>
                      <a:pt x="283" y="151"/>
                      <a:pt x="265" y="149"/>
                    </a:cubicBezTo>
                    <a:cubicBezTo>
                      <a:pt x="248" y="148"/>
                      <a:pt x="232" y="142"/>
                      <a:pt x="231" y="132"/>
                    </a:cubicBezTo>
                    <a:cubicBezTo>
                      <a:pt x="230" y="122"/>
                      <a:pt x="211" y="119"/>
                      <a:pt x="202" y="119"/>
                    </a:cubicBezTo>
                    <a:cubicBezTo>
                      <a:pt x="194" y="119"/>
                      <a:pt x="181" y="135"/>
                      <a:pt x="202" y="145"/>
                    </a:cubicBezTo>
                    <a:cubicBezTo>
                      <a:pt x="224" y="155"/>
                      <a:pt x="207" y="166"/>
                      <a:pt x="218" y="187"/>
                    </a:cubicBezTo>
                    <a:cubicBezTo>
                      <a:pt x="230" y="207"/>
                      <a:pt x="214" y="211"/>
                      <a:pt x="202" y="212"/>
                    </a:cubicBezTo>
                    <a:cubicBezTo>
                      <a:pt x="191" y="214"/>
                      <a:pt x="176" y="211"/>
                      <a:pt x="171" y="207"/>
                    </a:cubicBezTo>
                    <a:cubicBezTo>
                      <a:pt x="165" y="202"/>
                      <a:pt x="155" y="199"/>
                      <a:pt x="146" y="207"/>
                    </a:cubicBezTo>
                    <a:cubicBezTo>
                      <a:pt x="138" y="214"/>
                      <a:pt x="126" y="207"/>
                      <a:pt x="122" y="192"/>
                    </a:cubicBezTo>
                    <a:cubicBezTo>
                      <a:pt x="118" y="178"/>
                      <a:pt x="85" y="178"/>
                      <a:pt x="85" y="194"/>
                    </a:cubicBezTo>
                    <a:cubicBezTo>
                      <a:pt x="85" y="209"/>
                      <a:pt x="58" y="201"/>
                      <a:pt x="45" y="199"/>
                    </a:cubicBezTo>
                    <a:cubicBezTo>
                      <a:pt x="32" y="198"/>
                      <a:pt x="23" y="208"/>
                      <a:pt x="12" y="214"/>
                    </a:cubicBezTo>
                    <a:cubicBezTo>
                      <a:pt x="0" y="219"/>
                      <a:pt x="4" y="234"/>
                      <a:pt x="19" y="234"/>
                    </a:cubicBezTo>
                    <a:cubicBezTo>
                      <a:pt x="33" y="234"/>
                      <a:pt x="27" y="247"/>
                      <a:pt x="17" y="247"/>
                    </a:cubicBezTo>
                    <a:cubicBezTo>
                      <a:pt x="7" y="247"/>
                      <a:pt x="7" y="257"/>
                      <a:pt x="13" y="260"/>
                    </a:cubicBezTo>
                    <a:cubicBezTo>
                      <a:pt x="19" y="262"/>
                      <a:pt x="35" y="268"/>
                      <a:pt x="35" y="268"/>
                    </a:cubicBezTo>
                    <a:cubicBezTo>
                      <a:pt x="35" y="268"/>
                      <a:pt x="70" y="277"/>
                      <a:pt x="86" y="277"/>
                    </a:cubicBezTo>
                    <a:cubicBezTo>
                      <a:pt x="102" y="277"/>
                      <a:pt x="106" y="291"/>
                      <a:pt x="108" y="297"/>
                    </a:cubicBezTo>
                    <a:cubicBezTo>
                      <a:pt x="109" y="303"/>
                      <a:pt x="131" y="300"/>
                      <a:pt x="149" y="298"/>
                    </a:cubicBezTo>
                    <a:cubicBezTo>
                      <a:pt x="168" y="297"/>
                      <a:pt x="158" y="316"/>
                      <a:pt x="168" y="320"/>
                    </a:cubicBezTo>
                    <a:cubicBezTo>
                      <a:pt x="178" y="324"/>
                      <a:pt x="181" y="340"/>
                      <a:pt x="184" y="354"/>
                    </a:cubicBezTo>
                    <a:cubicBezTo>
                      <a:pt x="187" y="369"/>
                      <a:pt x="198" y="386"/>
                      <a:pt x="218" y="391"/>
                    </a:cubicBezTo>
                    <a:cubicBezTo>
                      <a:pt x="238" y="397"/>
                      <a:pt x="240" y="402"/>
                      <a:pt x="245" y="414"/>
                    </a:cubicBezTo>
                    <a:cubicBezTo>
                      <a:pt x="251" y="427"/>
                      <a:pt x="241" y="424"/>
                      <a:pt x="234" y="427"/>
                    </a:cubicBezTo>
                    <a:cubicBezTo>
                      <a:pt x="227" y="430"/>
                      <a:pt x="231" y="447"/>
                      <a:pt x="245" y="452"/>
                    </a:cubicBezTo>
                    <a:cubicBezTo>
                      <a:pt x="260" y="456"/>
                      <a:pt x="252" y="463"/>
                      <a:pt x="244" y="469"/>
                    </a:cubicBezTo>
                    <a:cubicBezTo>
                      <a:pt x="235" y="475"/>
                      <a:pt x="232" y="493"/>
                      <a:pt x="232" y="516"/>
                    </a:cubicBezTo>
                    <a:cubicBezTo>
                      <a:pt x="232" y="539"/>
                      <a:pt x="225" y="558"/>
                      <a:pt x="225" y="584"/>
                    </a:cubicBezTo>
                    <a:cubicBezTo>
                      <a:pt x="225" y="609"/>
                      <a:pt x="211" y="611"/>
                      <a:pt x="199" y="625"/>
                    </a:cubicBezTo>
                    <a:cubicBezTo>
                      <a:pt x="198" y="627"/>
                      <a:pt x="196" y="629"/>
                      <a:pt x="194" y="630"/>
                    </a:cubicBezTo>
                    <a:cubicBezTo>
                      <a:pt x="199" y="632"/>
                      <a:pt x="205" y="634"/>
                      <a:pt x="210" y="637"/>
                    </a:cubicBezTo>
                    <a:cubicBezTo>
                      <a:pt x="219" y="642"/>
                      <a:pt x="229" y="653"/>
                      <a:pt x="236" y="655"/>
                    </a:cubicBezTo>
                    <a:cubicBezTo>
                      <a:pt x="244" y="657"/>
                      <a:pt x="264" y="665"/>
                      <a:pt x="271" y="669"/>
                    </a:cubicBezTo>
                    <a:cubicBezTo>
                      <a:pt x="279" y="674"/>
                      <a:pt x="293" y="669"/>
                      <a:pt x="304" y="676"/>
                    </a:cubicBezTo>
                    <a:cubicBezTo>
                      <a:pt x="315" y="682"/>
                      <a:pt x="334" y="684"/>
                      <a:pt x="340" y="683"/>
                    </a:cubicBezTo>
                    <a:cubicBezTo>
                      <a:pt x="346" y="683"/>
                      <a:pt x="355" y="683"/>
                      <a:pt x="359" y="678"/>
                    </a:cubicBezTo>
                    <a:cubicBezTo>
                      <a:pt x="363" y="672"/>
                      <a:pt x="373" y="669"/>
                      <a:pt x="379" y="673"/>
                    </a:cubicBezTo>
                    <a:cubicBezTo>
                      <a:pt x="385" y="676"/>
                      <a:pt x="401" y="676"/>
                      <a:pt x="403" y="684"/>
                    </a:cubicBezTo>
                    <a:cubicBezTo>
                      <a:pt x="405" y="691"/>
                      <a:pt x="408" y="699"/>
                      <a:pt x="419" y="701"/>
                    </a:cubicBezTo>
                    <a:cubicBezTo>
                      <a:pt x="429" y="703"/>
                      <a:pt x="449" y="694"/>
                      <a:pt x="458" y="703"/>
                    </a:cubicBezTo>
                    <a:cubicBezTo>
                      <a:pt x="467" y="711"/>
                      <a:pt x="479" y="711"/>
                      <a:pt x="485" y="709"/>
                    </a:cubicBezTo>
                    <a:cubicBezTo>
                      <a:pt x="491" y="706"/>
                      <a:pt x="496" y="701"/>
                      <a:pt x="504" y="701"/>
                    </a:cubicBezTo>
                    <a:cubicBezTo>
                      <a:pt x="511" y="701"/>
                      <a:pt x="512" y="697"/>
                      <a:pt x="521" y="697"/>
                    </a:cubicBezTo>
                    <a:cubicBezTo>
                      <a:pt x="516" y="684"/>
                      <a:pt x="506" y="675"/>
                      <a:pt x="506" y="660"/>
                    </a:cubicBezTo>
                    <a:cubicBezTo>
                      <a:pt x="506" y="639"/>
                      <a:pt x="543" y="635"/>
                      <a:pt x="552" y="625"/>
                    </a:cubicBezTo>
                    <a:cubicBezTo>
                      <a:pt x="561" y="615"/>
                      <a:pt x="586" y="624"/>
                      <a:pt x="609" y="624"/>
                    </a:cubicBezTo>
                    <a:cubicBezTo>
                      <a:pt x="632" y="624"/>
                      <a:pt x="674" y="651"/>
                      <a:pt x="700" y="654"/>
                    </a:cubicBezTo>
                    <a:cubicBezTo>
                      <a:pt x="725" y="657"/>
                      <a:pt x="734" y="644"/>
                      <a:pt x="750" y="621"/>
                    </a:cubicBezTo>
                    <a:cubicBezTo>
                      <a:pt x="760" y="607"/>
                      <a:pt x="771" y="600"/>
                      <a:pt x="785" y="597"/>
                    </a:cubicBezTo>
                    <a:cubicBezTo>
                      <a:pt x="786" y="593"/>
                      <a:pt x="787" y="588"/>
                      <a:pt x="791" y="585"/>
                    </a:cubicBezTo>
                    <a:cubicBezTo>
                      <a:pt x="796" y="580"/>
                      <a:pt x="797" y="576"/>
                      <a:pt x="797" y="57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2" name="Freeform 135">
                <a:extLst>
                  <a:ext uri="{FF2B5EF4-FFF2-40B4-BE49-F238E27FC236}">
                    <a16:creationId xmlns:a16="http://schemas.microsoft.com/office/drawing/2014/main" id="{7535C61E-A1EB-8042-86A7-8FE6ECC13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8" y="1834"/>
                <a:ext cx="18" cy="37"/>
              </a:xfrm>
              <a:custGeom>
                <a:avLst/>
                <a:gdLst>
                  <a:gd name="T0" fmla="*/ 48 w 73"/>
                  <a:gd name="T1" fmla="*/ 17 h 146"/>
                  <a:gd name="T2" fmla="*/ 35 w 73"/>
                  <a:gd name="T3" fmla="*/ 40 h 146"/>
                  <a:gd name="T4" fmla="*/ 14 w 73"/>
                  <a:gd name="T5" fmla="*/ 49 h 146"/>
                  <a:gd name="T6" fmla="*/ 2 w 73"/>
                  <a:gd name="T7" fmla="*/ 68 h 146"/>
                  <a:gd name="T8" fmla="*/ 7 w 73"/>
                  <a:gd name="T9" fmla="*/ 100 h 146"/>
                  <a:gd name="T10" fmla="*/ 22 w 73"/>
                  <a:gd name="T11" fmla="*/ 129 h 146"/>
                  <a:gd name="T12" fmla="*/ 34 w 73"/>
                  <a:gd name="T13" fmla="*/ 141 h 146"/>
                  <a:gd name="T14" fmla="*/ 43 w 73"/>
                  <a:gd name="T15" fmla="*/ 141 h 146"/>
                  <a:gd name="T16" fmla="*/ 47 w 73"/>
                  <a:gd name="T17" fmla="*/ 130 h 146"/>
                  <a:gd name="T18" fmla="*/ 52 w 73"/>
                  <a:gd name="T19" fmla="*/ 117 h 146"/>
                  <a:gd name="T20" fmla="*/ 57 w 73"/>
                  <a:gd name="T21" fmla="*/ 96 h 146"/>
                  <a:gd name="T22" fmla="*/ 62 w 73"/>
                  <a:gd name="T23" fmla="*/ 82 h 146"/>
                  <a:gd name="T24" fmla="*/ 68 w 73"/>
                  <a:gd name="T25" fmla="*/ 74 h 146"/>
                  <a:gd name="T26" fmla="*/ 65 w 73"/>
                  <a:gd name="T27" fmla="*/ 55 h 146"/>
                  <a:gd name="T28" fmla="*/ 59 w 73"/>
                  <a:gd name="T29" fmla="*/ 40 h 146"/>
                  <a:gd name="T30" fmla="*/ 48 w 73"/>
                  <a:gd name="T31" fmla="*/ 17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3" h="146">
                    <a:moveTo>
                      <a:pt x="48" y="17"/>
                    </a:moveTo>
                    <a:cubicBezTo>
                      <a:pt x="48" y="17"/>
                      <a:pt x="47" y="40"/>
                      <a:pt x="35" y="40"/>
                    </a:cubicBezTo>
                    <a:cubicBezTo>
                      <a:pt x="22" y="40"/>
                      <a:pt x="21" y="46"/>
                      <a:pt x="14" y="49"/>
                    </a:cubicBezTo>
                    <a:cubicBezTo>
                      <a:pt x="7" y="52"/>
                      <a:pt x="4" y="58"/>
                      <a:pt x="2" y="68"/>
                    </a:cubicBezTo>
                    <a:cubicBezTo>
                      <a:pt x="0" y="78"/>
                      <a:pt x="2" y="94"/>
                      <a:pt x="7" y="100"/>
                    </a:cubicBezTo>
                    <a:cubicBezTo>
                      <a:pt x="11" y="107"/>
                      <a:pt x="12" y="127"/>
                      <a:pt x="22" y="129"/>
                    </a:cubicBezTo>
                    <a:cubicBezTo>
                      <a:pt x="32" y="132"/>
                      <a:pt x="35" y="136"/>
                      <a:pt x="34" y="141"/>
                    </a:cubicBezTo>
                    <a:cubicBezTo>
                      <a:pt x="33" y="146"/>
                      <a:pt x="40" y="145"/>
                      <a:pt x="43" y="141"/>
                    </a:cubicBezTo>
                    <a:cubicBezTo>
                      <a:pt x="46" y="136"/>
                      <a:pt x="45" y="132"/>
                      <a:pt x="47" y="130"/>
                    </a:cubicBezTo>
                    <a:cubicBezTo>
                      <a:pt x="50" y="127"/>
                      <a:pt x="54" y="123"/>
                      <a:pt x="52" y="117"/>
                    </a:cubicBezTo>
                    <a:cubicBezTo>
                      <a:pt x="51" y="111"/>
                      <a:pt x="53" y="100"/>
                      <a:pt x="57" y="96"/>
                    </a:cubicBezTo>
                    <a:cubicBezTo>
                      <a:pt x="62" y="93"/>
                      <a:pt x="56" y="83"/>
                      <a:pt x="62" y="82"/>
                    </a:cubicBezTo>
                    <a:cubicBezTo>
                      <a:pt x="68" y="81"/>
                      <a:pt x="68" y="81"/>
                      <a:pt x="68" y="74"/>
                    </a:cubicBezTo>
                    <a:cubicBezTo>
                      <a:pt x="68" y="68"/>
                      <a:pt x="73" y="57"/>
                      <a:pt x="65" y="55"/>
                    </a:cubicBezTo>
                    <a:cubicBezTo>
                      <a:pt x="57" y="54"/>
                      <a:pt x="59" y="46"/>
                      <a:pt x="59" y="40"/>
                    </a:cubicBezTo>
                    <a:cubicBezTo>
                      <a:pt x="59" y="34"/>
                      <a:pt x="55" y="0"/>
                      <a:pt x="48" y="1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3" name="Freeform 136">
                <a:extLst>
                  <a:ext uri="{FF2B5EF4-FFF2-40B4-BE49-F238E27FC236}">
                    <a16:creationId xmlns:a16="http://schemas.microsoft.com/office/drawing/2014/main" id="{612969A3-AB58-EF47-BB6C-5F33146B1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4" y="1758"/>
                <a:ext cx="198" cy="179"/>
              </a:xfrm>
              <a:custGeom>
                <a:avLst/>
                <a:gdLst>
                  <a:gd name="T0" fmla="*/ 715 w 781"/>
                  <a:gd name="T1" fmla="*/ 487 h 707"/>
                  <a:gd name="T2" fmla="*/ 614 w 781"/>
                  <a:gd name="T3" fmla="*/ 438 h 707"/>
                  <a:gd name="T4" fmla="*/ 568 w 781"/>
                  <a:gd name="T5" fmla="*/ 397 h 707"/>
                  <a:gd name="T6" fmla="*/ 487 w 781"/>
                  <a:gd name="T7" fmla="*/ 311 h 707"/>
                  <a:gd name="T8" fmla="*/ 375 w 781"/>
                  <a:gd name="T9" fmla="*/ 201 h 707"/>
                  <a:gd name="T10" fmla="*/ 376 w 781"/>
                  <a:gd name="T11" fmla="*/ 133 h 707"/>
                  <a:gd name="T12" fmla="*/ 437 w 781"/>
                  <a:gd name="T13" fmla="*/ 105 h 707"/>
                  <a:gd name="T14" fmla="*/ 447 w 781"/>
                  <a:gd name="T15" fmla="*/ 43 h 707"/>
                  <a:gd name="T16" fmla="*/ 373 w 781"/>
                  <a:gd name="T17" fmla="*/ 28 h 707"/>
                  <a:gd name="T18" fmla="*/ 353 w 781"/>
                  <a:gd name="T19" fmla="*/ 2 h 707"/>
                  <a:gd name="T20" fmla="*/ 289 w 781"/>
                  <a:gd name="T21" fmla="*/ 16 h 707"/>
                  <a:gd name="T22" fmla="*/ 250 w 781"/>
                  <a:gd name="T23" fmla="*/ 35 h 707"/>
                  <a:gd name="T24" fmla="*/ 209 w 781"/>
                  <a:gd name="T25" fmla="*/ 60 h 707"/>
                  <a:gd name="T26" fmla="*/ 179 w 781"/>
                  <a:gd name="T27" fmla="*/ 48 h 707"/>
                  <a:gd name="T28" fmla="*/ 165 w 781"/>
                  <a:gd name="T29" fmla="*/ 72 h 707"/>
                  <a:gd name="T30" fmla="*/ 147 w 781"/>
                  <a:gd name="T31" fmla="*/ 86 h 707"/>
                  <a:gd name="T32" fmla="*/ 120 w 781"/>
                  <a:gd name="T33" fmla="*/ 58 h 707"/>
                  <a:gd name="T34" fmla="*/ 92 w 781"/>
                  <a:gd name="T35" fmla="*/ 82 h 707"/>
                  <a:gd name="T36" fmla="*/ 45 w 781"/>
                  <a:gd name="T37" fmla="*/ 88 h 707"/>
                  <a:gd name="T38" fmla="*/ 31 w 781"/>
                  <a:gd name="T39" fmla="*/ 92 h 707"/>
                  <a:gd name="T40" fmla="*/ 43 w 781"/>
                  <a:gd name="T41" fmla="*/ 128 h 707"/>
                  <a:gd name="T42" fmla="*/ 11 w 781"/>
                  <a:gd name="T43" fmla="*/ 162 h 707"/>
                  <a:gd name="T44" fmla="*/ 29 w 781"/>
                  <a:gd name="T45" fmla="*/ 194 h 707"/>
                  <a:gd name="T46" fmla="*/ 38 w 781"/>
                  <a:gd name="T47" fmla="*/ 223 h 707"/>
                  <a:gd name="T48" fmla="*/ 71 w 781"/>
                  <a:gd name="T49" fmla="*/ 230 h 707"/>
                  <a:gd name="T50" fmla="*/ 59 w 781"/>
                  <a:gd name="T51" fmla="*/ 257 h 707"/>
                  <a:gd name="T52" fmla="*/ 133 w 781"/>
                  <a:gd name="T53" fmla="*/ 212 h 707"/>
                  <a:gd name="T54" fmla="*/ 223 w 781"/>
                  <a:gd name="T55" fmla="*/ 238 h 707"/>
                  <a:gd name="T56" fmla="*/ 255 w 781"/>
                  <a:gd name="T57" fmla="*/ 308 h 707"/>
                  <a:gd name="T58" fmla="*/ 358 w 781"/>
                  <a:gd name="T59" fmla="*/ 404 h 707"/>
                  <a:gd name="T60" fmla="*/ 485 w 781"/>
                  <a:gd name="T61" fmla="*/ 483 h 707"/>
                  <a:gd name="T62" fmla="*/ 544 w 781"/>
                  <a:gd name="T63" fmla="*/ 530 h 707"/>
                  <a:gd name="T64" fmla="*/ 594 w 781"/>
                  <a:gd name="T65" fmla="*/ 569 h 707"/>
                  <a:gd name="T66" fmla="*/ 611 w 781"/>
                  <a:gd name="T67" fmla="*/ 645 h 707"/>
                  <a:gd name="T68" fmla="*/ 583 w 781"/>
                  <a:gd name="T69" fmla="*/ 691 h 707"/>
                  <a:gd name="T70" fmla="*/ 632 w 781"/>
                  <a:gd name="T71" fmla="*/ 676 h 707"/>
                  <a:gd name="T72" fmla="*/ 670 w 781"/>
                  <a:gd name="T73" fmla="*/ 626 h 707"/>
                  <a:gd name="T74" fmla="*/ 662 w 781"/>
                  <a:gd name="T75" fmla="*/ 583 h 707"/>
                  <a:gd name="T76" fmla="*/ 673 w 781"/>
                  <a:gd name="T77" fmla="*/ 510 h 707"/>
                  <a:gd name="T78" fmla="*/ 738 w 781"/>
                  <a:gd name="T79" fmla="*/ 552 h 707"/>
                  <a:gd name="T80" fmla="*/ 765 w 781"/>
                  <a:gd name="T81" fmla="*/ 532 h 7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81" h="707">
                    <a:moveTo>
                      <a:pt x="765" y="532"/>
                    </a:moveTo>
                    <a:cubicBezTo>
                      <a:pt x="763" y="523"/>
                      <a:pt x="735" y="499"/>
                      <a:pt x="715" y="487"/>
                    </a:cubicBezTo>
                    <a:cubicBezTo>
                      <a:pt x="695" y="476"/>
                      <a:pt x="686" y="466"/>
                      <a:pt x="665" y="461"/>
                    </a:cubicBezTo>
                    <a:cubicBezTo>
                      <a:pt x="643" y="457"/>
                      <a:pt x="632" y="443"/>
                      <a:pt x="614" y="438"/>
                    </a:cubicBezTo>
                    <a:cubicBezTo>
                      <a:pt x="597" y="434"/>
                      <a:pt x="607" y="424"/>
                      <a:pt x="616" y="414"/>
                    </a:cubicBezTo>
                    <a:cubicBezTo>
                      <a:pt x="624" y="404"/>
                      <a:pt x="589" y="397"/>
                      <a:pt x="568" y="397"/>
                    </a:cubicBezTo>
                    <a:cubicBezTo>
                      <a:pt x="548" y="397"/>
                      <a:pt x="528" y="390"/>
                      <a:pt x="513" y="377"/>
                    </a:cubicBezTo>
                    <a:cubicBezTo>
                      <a:pt x="497" y="364"/>
                      <a:pt x="488" y="332"/>
                      <a:pt x="487" y="311"/>
                    </a:cubicBezTo>
                    <a:cubicBezTo>
                      <a:pt x="485" y="289"/>
                      <a:pt x="429" y="256"/>
                      <a:pt x="411" y="245"/>
                    </a:cubicBezTo>
                    <a:cubicBezTo>
                      <a:pt x="392" y="234"/>
                      <a:pt x="382" y="221"/>
                      <a:pt x="375" y="201"/>
                    </a:cubicBezTo>
                    <a:cubicBezTo>
                      <a:pt x="368" y="180"/>
                      <a:pt x="388" y="178"/>
                      <a:pt x="386" y="163"/>
                    </a:cubicBezTo>
                    <a:cubicBezTo>
                      <a:pt x="385" y="149"/>
                      <a:pt x="378" y="153"/>
                      <a:pt x="376" y="133"/>
                    </a:cubicBezTo>
                    <a:cubicBezTo>
                      <a:pt x="375" y="113"/>
                      <a:pt x="395" y="130"/>
                      <a:pt x="408" y="119"/>
                    </a:cubicBezTo>
                    <a:cubicBezTo>
                      <a:pt x="420" y="109"/>
                      <a:pt x="425" y="105"/>
                      <a:pt x="437" y="105"/>
                    </a:cubicBezTo>
                    <a:cubicBezTo>
                      <a:pt x="436" y="88"/>
                      <a:pt x="446" y="72"/>
                      <a:pt x="446" y="61"/>
                    </a:cubicBezTo>
                    <a:cubicBezTo>
                      <a:pt x="446" y="56"/>
                      <a:pt x="446" y="50"/>
                      <a:pt x="447" y="43"/>
                    </a:cubicBezTo>
                    <a:cubicBezTo>
                      <a:pt x="434" y="38"/>
                      <a:pt x="413" y="43"/>
                      <a:pt x="405" y="37"/>
                    </a:cubicBezTo>
                    <a:cubicBezTo>
                      <a:pt x="395" y="31"/>
                      <a:pt x="379" y="34"/>
                      <a:pt x="373" y="28"/>
                    </a:cubicBezTo>
                    <a:cubicBezTo>
                      <a:pt x="367" y="23"/>
                      <a:pt x="365" y="16"/>
                      <a:pt x="365" y="8"/>
                    </a:cubicBezTo>
                    <a:cubicBezTo>
                      <a:pt x="365" y="1"/>
                      <a:pt x="357" y="0"/>
                      <a:pt x="353" y="2"/>
                    </a:cubicBezTo>
                    <a:cubicBezTo>
                      <a:pt x="348" y="4"/>
                      <a:pt x="338" y="5"/>
                      <a:pt x="313" y="6"/>
                    </a:cubicBezTo>
                    <a:cubicBezTo>
                      <a:pt x="287" y="6"/>
                      <a:pt x="302" y="8"/>
                      <a:pt x="289" y="16"/>
                    </a:cubicBezTo>
                    <a:cubicBezTo>
                      <a:pt x="277" y="24"/>
                      <a:pt x="280" y="16"/>
                      <a:pt x="266" y="14"/>
                    </a:cubicBezTo>
                    <a:cubicBezTo>
                      <a:pt x="252" y="12"/>
                      <a:pt x="251" y="27"/>
                      <a:pt x="250" y="35"/>
                    </a:cubicBezTo>
                    <a:cubicBezTo>
                      <a:pt x="249" y="43"/>
                      <a:pt x="235" y="36"/>
                      <a:pt x="233" y="44"/>
                    </a:cubicBezTo>
                    <a:cubicBezTo>
                      <a:pt x="230" y="52"/>
                      <a:pt x="226" y="56"/>
                      <a:pt x="209" y="60"/>
                    </a:cubicBezTo>
                    <a:cubicBezTo>
                      <a:pt x="193" y="65"/>
                      <a:pt x="197" y="56"/>
                      <a:pt x="191" y="55"/>
                    </a:cubicBezTo>
                    <a:cubicBezTo>
                      <a:pt x="186" y="54"/>
                      <a:pt x="190" y="49"/>
                      <a:pt x="179" y="48"/>
                    </a:cubicBezTo>
                    <a:cubicBezTo>
                      <a:pt x="167" y="46"/>
                      <a:pt x="173" y="56"/>
                      <a:pt x="172" y="63"/>
                    </a:cubicBezTo>
                    <a:cubicBezTo>
                      <a:pt x="171" y="70"/>
                      <a:pt x="169" y="70"/>
                      <a:pt x="165" y="72"/>
                    </a:cubicBezTo>
                    <a:cubicBezTo>
                      <a:pt x="160" y="74"/>
                      <a:pt x="161" y="80"/>
                      <a:pt x="159" y="92"/>
                    </a:cubicBezTo>
                    <a:cubicBezTo>
                      <a:pt x="158" y="103"/>
                      <a:pt x="149" y="91"/>
                      <a:pt x="147" y="86"/>
                    </a:cubicBezTo>
                    <a:cubicBezTo>
                      <a:pt x="145" y="80"/>
                      <a:pt x="141" y="77"/>
                      <a:pt x="136" y="74"/>
                    </a:cubicBezTo>
                    <a:cubicBezTo>
                      <a:pt x="131" y="70"/>
                      <a:pt x="127" y="68"/>
                      <a:pt x="120" y="58"/>
                    </a:cubicBezTo>
                    <a:cubicBezTo>
                      <a:pt x="113" y="47"/>
                      <a:pt x="108" y="58"/>
                      <a:pt x="103" y="65"/>
                    </a:cubicBezTo>
                    <a:cubicBezTo>
                      <a:pt x="99" y="72"/>
                      <a:pt x="97" y="73"/>
                      <a:pt x="92" y="82"/>
                    </a:cubicBezTo>
                    <a:cubicBezTo>
                      <a:pt x="87" y="92"/>
                      <a:pt x="79" y="92"/>
                      <a:pt x="72" y="89"/>
                    </a:cubicBezTo>
                    <a:cubicBezTo>
                      <a:pt x="65" y="86"/>
                      <a:pt x="53" y="90"/>
                      <a:pt x="45" y="88"/>
                    </a:cubicBezTo>
                    <a:cubicBezTo>
                      <a:pt x="42" y="88"/>
                      <a:pt x="38" y="87"/>
                      <a:pt x="34" y="87"/>
                    </a:cubicBezTo>
                    <a:cubicBezTo>
                      <a:pt x="34" y="89"/>
                      <a:pt x="33" y="90"/>
                      <a:pt x="31" y="92"/>
                    </a:cubicBezTo>
                    <a:cubicBezTo>
                      <a:pt x="24" y="98"/>
                      <a:pt x="12" y="103"/>
                      <a:pt x="23" y="111"/>
                    </a:cubicBezTo>
                    <a:cubicBezTo>
                      <a:pt x="33" y="119"/>
                      <a:pt x="43" y="122"/>
                      <a:pt x="43" y="128"/>
                    </a:cubicBezTo>
                    <a:cubicBezTo>
                      <a:pt x="43" y="133"/>
                      <a:pt x="37" y="140"/>
                      <a:pt x="29" y="144"/>
                    </a:cubicBezTo>
                    <a:cubicBezTo>
                      <a:pt x="21" y="149"/>
                      <a:pt x="0" y="152"/>
                      <a:pt x="11" y="162"/>
                    </a:cubicBezTo>
                    <a:cubicBezTo>
                      <a:pt x="21" y="172"/>
                      <a:pt x="19" y="177"/>
                      <a:pt x="27" y="180"/>
                    </a:cubicBezTo>
                    <a:cubicBezTo>
                      <a:pt x="34" y="182"/>
                      <a:pt x="41" y="186"/>
                      <a:pt x="29" y="194"/>
                    </a:cubicBezTo>
                    <a:cubicBezTo>
                      <a:pt x="17" y="202"/>
                      <a:pt x="25" y="204"/>
                      <a:pt x="25" y="210"/>
                    </a:cubicBezTo>
                    <a:cubicBezTo>
                      <a:pt x="25" y="216"/>
                      <a:pt x="30" y="221"/>
                      <a:pt x="38" y="223"/>
                    </a:cubicBezTo>
                    <a:cubicBezTo>
                      <a:pt x="46" y="225"/>
                      <a:pt x="39" y="229"/>
                      <a:pt x="51" y="229"/>
                    </a:cubicBezTo>
                    <a:cubicBezTo>
                      <a:pt x="63" y="229"/>
                      <a:pt x="71" y="225"/>
                      <a:pt x="71" y="230"/>
                    </a:cubicBezTo>
                    <a:cubicBezTo>
                      <a:pt x="71" y="236"/>
                      <a:pt x="70" y="240"/>
                      <a:pt x="65" y="245"/>
                    </a:cubicBezTo>
                    <a:cubicBezTo>
                      <a:pt x="61" y="248"/>
                      <a:pt x="60" y="253"/>
                      <a:pt x="59" y="257"/>
                    </a:cubicBezTo>
                    <a:cubicBezTo>
                      <a:pt x="68" y="255"/>
                      <a:pt x="77" y="255"/>
                      <a:pt x="88" y="256"/>
                    </a:cubicBezTo>
                    <a:cubicBezTo>
                      <a:pt x="117" y="259"/>
                      <a:pt x="121" y="223"/>
                      <a:pt x="133" y="212"/>
                    </a:cubicBezTo>
                    <a:cubicBezTo>
                      <a:pt x="144" y="201"/>
                      <a:pt x="161" y="211"/>
                      <a:pt x="179" y="213"/>
                    </a:cubicBezTo>
                    <a:cubicBezTo>
                      <a:pt x="196" y="216"/>
                      <a:pt x="206" y="235"/>
                      <a:pt x="223" y="238"/>
                    </a:cubicBezTo>
                    <a:cubicBezTo>
                      <a:pt x="240" y="241"/>
                      <a:pt x="242" y="258"/>
                      <a:pt x="246" y="269"/>
                    </a:cubicBezTo>
                    <a:cubicBezTo>
                      <a:pt x="250" y="281"/>
                      <a:pt x="252" y="295"/>
                      <a:pt x="255" y="308"/>
                    </a:cubicBezTo>
                    <a:cubicBezTo>
                      <a:pt x="257" y="321"/>
                      <a:pt x="279" y="345"/>
                      <a:pt x="305" y="364"/>
                    </a:cubicBezTo>
                    <a:cubicBezTo>
                      <a:pt x="331" y="383"/>
                      <a:pt x="338" y="391"/>
                      <a:pt x="358" y="404"/>
                    </a:cubicBezTo>
                    <a:cubicBezTo>
                      <a:pt x="378" y="417"/>
                      <a:pt x="428" y="456"/>
                      <a:pt x="442" y="453"/>
                    </a:cubicBezTo>
                    <a:cubicBezTo>
                      <a:pt x="457" y="450"/>
                      <a:pt x="475" y="470"/>
                      <a:pt x="485" y="483"/>
                    </a:cubicBezTo>
                    <a:cubicBezTo>
                      <a:pt x="495" y="496"/>
                      <a:pt x="513" y="503"/>
                      <a:pt x="525" y="503"/>
                    </a:cubicBezTo>
                    <a:cubicBezTo>
                      <a:pt x="538" y="503"/>
                      <a:pt x="541" y="514"/>
                      <a:pt x="544" y="530"/>
                    </a:cubicBezTo>
                    <a:cubicBezTo>
                      <a:pt x="547" y="546"/>
                      <a:pt x="567" y="549"/>
                      <a:pt x="579" y="546"/>
                    </a:cubicBezTo>
                    <a:cubicBezTo>
                      <a:pt x="590" y="543"/>
                      <a:pt x="591" y="556"/>
                      <a:pt x="594" y="569"/>
                    </a:cubicBezTo>
                    <a:cubicBezTo>
                      <a:pt x="597" y="582"/>
                      <a:pt x="604" y="596"/>
                      <a:pt x="610" y="613"/>
                    </a:cubicBezTo>
                    <a:cubicBezTo>
                      <a:pt x="616" y="631"/>
                      <a:pt x="617" y="641"/>
                      <a:pt x="611" y="645"/>
                    </a:cubicBezTo>
                    <a:cubicBezTo>
                      <a:pt x="606" y="649"/>
                      <a:pt x="596" y="646"/>
                      <a:pt x="596" y="666"/>
                    </a:cubicBezTo>
                    <a:cubicBezTo>
                      <a:pt x="596" y="686"/>
                      <a:pt x="579" y="675"/>
                      <a:pt x="583" y="691"/>
                    </a:cubicBezTo>
                    <a:cubicBezTo>
                      <a:pt x="587" y="707"/>
                      <a:pt x="597" y="702"/>
                      <a:pt x="604" y="698"/>
                    </a:cubicBezTo>
                    <a:cubicBezTo>
                      <a:pt x="611" y="694"/>
                      <a:pt x="622" y="686"/>
                      <a:pt x="632" y="676"/>
                    </a:cubicBezTo>
                    <a:cubicBezTo>
                      <a:pt x="642" y="666"/>
                      <a:pt x="640" y="662"/>
                      <a:pt x="642" y="645"/>
                    </a:cubicBezTo>
                    <a:cubicBezTo>
                      <a:pt x="643" y="628"/>
                      <a:pt x="657" y="629"/>
                      <a:pt x="670" y="626"/>
                    </a:cubicBezTo>
                    <a:cubicBezTo>
                      <a:pt x="683" y="623"/>
                      <a:pt x="682" y="615"/>
                      <a:pt x="682" y="609"/>
                    </a:cubicBezTo>
                    <a:cubicBezTo>
                      <a:pt x="682" y="603"/>
                      <a:pt x="677" y="588"/>
                      <a:pt x="662" y="583"/>
                    </a:cubicBezTo>
                    <a:cubicBezTo>
                      <a:pt x="646" y="579"/>
                      <a:pt x="647" y="570"/>
                      <a:pt x="649" y="557"/>
                    </a:cubicBezTo>
                    <a:cubicBezTo>
                      <a:pt x="650" y="545"/>
                      <a:pt x="660" y="519"/>
                      <a:pt x="673" y="510"/>
                    </a:cubicBezTo>
                    <a:cubicBezTo>
                      <a:pt x="686" y="502"/>
                      <a:pt x="700" y="530"/>
                      <a:pt x="713" y="529"/>
                    </a:cubicBezTo>
                    <a:cubicBezTo>
                      <a:pt x="726" y="527"/>
                      <a:pt x="730" y="542"/>
                      <a:pt x="738" y="552"/>
                    </a:cubicBezTo>
                    <a:cubicBezTo>
                      <a:pt x="745" y="562"/>
                      <a:pt x="761" y="567"/>
                      <a:pt x="771" y="552"/>
                    </a:cubicBezTo>
                    <a:cubicBezTo>
                      <a:pt x="781" y="536"/>
                      <a:pt x="766" y="540"/>
                      <a:pt x="765" y="53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4" name="Freeform 137">
                <a:extLst>
                  <a:ext uri="{FF2B5EF4-FFF2-40B4-BE49-F238E27FC236}">
                    <a16:creationId xmlns:a16="http://schemas.microsoft.com/office/drawing/2014/main" id="{8BA89E94-A3B2-2445-9A1B-A499F96DF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1929"/>
                <a:ext cx="52" cy="30"/>
              </a:xfrm>
              <a:custGeom>
                <a:avLst/>
                <a:gdLst>
                  <a:gd name="T0" fmla="*/ 43 w 208"/>
                  <a:gd name="T1" fmla="*/ 13 h 121"/>
                  <a:gd name="T2" fmla="*/ 30 w 208"/>
                  <a:gd name="T3" fmla="*/ 17 h 121"/>
                  <a:gd name="T4" fmla="*/ 12 w 208"/>
                  <a:gd name="T5" fmla="*/ 18 h 121"/>
                  <a:gd name="T6" fmla="*/ 8 w 208"/>
                  <a:gd name="T7" fmla="*/ 41 h 121"/>
                  <a:gd name="T8" fmla="*/ 28 w 208"/>
                  <a:gd name="T9" fmla="*/ 50 h 121"/>
                  <a:gd name="T10" fmla="*/ 43 w 208"/>
                  <a:gd name="T11" fmla="*/ 56 h 121"/>
                  <a:gd name="T12" fmla="*/ 55 w 208"/>
                  <a:gd name="T13" fmla="*/ 62 h 121"/>
                  <a:gd name="T14" fmla="*/ 70 w 208"/>
                  <a:gd name="T15" fmla="*/ 74 h 121"/>
                  <a:gd name="T16" fmla="*/ 87 w 208"/>
                  <a:gd name="T17" fmla="*/ 84 h 121"/>
                  <a:gd name="T18" fmla="*/ 104 w 208"/>
                  <a:gd name="T19" fmla="*/ 92 h 121"/>
                  <a:gd name="T20" fmla="*/ 127 w 208"/>
                  <a:gd name="T21" fmla="*/ 96 h 121"/>
                  <a:gd name="T22" fmla="*/ 142 w 208"/>
                  <a:gd name="T23" fmla="*/ 113 h 121"/>
                  <a:gd name="T24" fmla="*/ 154 w 208"/>
                  <a:gd name="T25" fmla="*/ 119 h 121"/>
                  <a:gd name="T26" fmla="*/ 182 w 208"/>
                  <a:gd name="T27" fmla="*/ 115 h 121"/>
                  <a:gd name="T28" fmla="*/ 185 w 208"/>
                  <a:gd name="T29" fmla="*/ 102 h 121"/>
                  <a:gd name="T30" fmla="*/ 191 w 208"/>
                  <a:gd name="T31" fmla="*/ 91 h 121"/>
                  <a:gd name="T32" fmla="*/ 174 w 208"/>
                  <a:gd name="T33" fmla="*/ 73 h 121"/>
                  <a:gd name="T34" fmla="*/ 182 w 208"/>
                  <a:gd name="T35" fmla="*/ 49 h 121"/>
                  <a:gd name="T36" fmla="*/ 197 w 208"/>
                  <a:gd name="T37" fmla="*/ 32 h 121"/>
                  <a:gd name="T38" fmla="*/ 200 w 208"/>
                  <a:gd name="T39" fmla="*/ 20 h 121"/>
                  <a:gd name="T40" fmla="*/ 204 w 208"/>
                  <a:gd name="T41" fmla="*/ 6 h 121"/>
                  <a:gd name="T42" fmla="*/ 187 w 208"/>
                  <a:gd name="T43" fmla="*/ 5 h 121"/>
                  <a:gd name="T44" fmla="*/ 172 w 208"/>
                  <a:gd name="T45" fmla="*/ 12 h 121"/>
                  <a:gd name="T46" fmla="*/ 138 w 208"/>
                  <a:gd name="T47" fmla="*/ 13 h 121"/>
                  <a:gd name="T48" fmla="*/ 119 w 208"/>
                  <a:gd name="T49" fmla="*/ 19 h 121"/>
                  <a:gd name="T50" fmla="*/ 81 w 208"/>
                  <a:gd name="T51" fmla="*/ 17 h 121"/>
                  <a:gd name="T52" fmla="*/ 64 w 208"/>
                  <a:gd name="T53" fmla="*/ 7 h 121"/>
                  <a:gd name="T54" fmla="*/ 52 w 208"/>
                  <a:gd name="T55" fmla="*/ 3 h 121"/>
                  <a:gd name="T56" fmla="*/ 43 w 208"/>
                  <a:gd name="T57" fmla="*/ 13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8" h="121">
                    <a:moveTo>
                      <a:pt x="43" y="13"/>
                    </a:moveTo>
                    <a:cubicBezTo>
                      <a:pt x="43" y="13"/>
                      <a:pt x="39" y="19"/>
                      <a:pt x="30" y="17"/>
                    </a:cubicBezTo>
                    <a:cubicBezTo>
                      <a:pt x="22" y="14"/>
                      <a:pt x="17" y="14"/>
                      <a:pt x="12" y="18"/>
                    </a:cubicBezTo>
                    <a:cubicBezTo>
                      <a:pt x="7" y="22"/>
                      <a:pt x="0" y="34"/>
                      <a:pt x="8" y="41"/>
                    </a:cubicBezTo>
                    <a:cubicBezTo>
                      <a:pt x="15" y="48"/>
                      <a:pt x="17" y="49"/>
                      <a:pt x="28" y="50"/>
                    </a:cubicBezTo>
                    <a:cubicBezTo>
                      <a:pt x="38" y="51"/>
                      <a:pt x="40" y="52"/>
                      <a:pt x="43" y="56"/>
                    </a:cubicBezTo>
                    <a:cubicBezTo>
                      <a:pt x="46" y="60"/>
                      <a:pt x="49" y="62"/>
                      <a:pt x="55" y="62"/>
                    </a:cubicBezTo>
                    <a:cubicBezTo>
                      <a:pt x="61" y="62"/>
                      <a:pt x="59" y="73"/>
                      <a:pt x="70" y="74"/>
                    </a:cubicBezTo>
                    <a:cubicBezTo>
                      <a:pt x="80" y="75"/>
                      <a:pt x="82" y="78"/>
                      <a:pt x="87" y="84"/>
                    </a:cubicBezTo>
                    <a:cubicBezTo>
                      <a:pt x="92" y="90"/>
                      <a:pt x="93" y="92"/>
                      <a:pt x="104" y="92"/>
                    </a:cubicBezTo>
                    <a:cubicBezTo>
                      <a:pt x="114" y="92"/>
                      <a:pt x="124" y="91"/>
                      <a:pt x="127" y="96"/>
                    </a:cubicBezTo>
                    <a:cubicBezTo>
                      <a:pt x="131" y="101"/>
                      <a:pt x="140" y="108"/>
                      <a:pt x="142" y="113"/>
                    </a:cubicBezTo>
                    <a:cubicBezTo>
                      <a:pt x="143" y="118"/>
                      <a:pt x="147" y="119"/>
                      <a:pt x="154" y="119"/>
                    </a:cubicBezTo>
                    <a:cubicBezTo>
                      <a:pt x="161" y="119"/>
                      <a:pt x="182" y="121"/>
                      <a:pt x="182" y="115"/>
                    </a:cubicBezTo>
                    <a:cubicBezTo>
                      <a:pt x="183" y="108"/>
                      <a:pt x="180" y="104"/>
                      <a:pt x="185" y="102"/>
                    </a:cubicBezTo>
                    <a:cubicBezTo>
                      <a:pt x="190" y="100"/>
                      <a:pt x="198" y="99"/>
                      <a:pt x="191" y="91"/>
                    </a:cubicBezTo>
                    <a:cubicBezTo>
                      <a:pt x="184" y="83"/>
                      <a:pt x="174" y="81"/>
                      <a:pt x="174" y="73"/>
                    </a:cubicBezTo>
                    <a:cubicBezTo>
                      <a:pt x="174" y="65"/>
                      <a:pt x="170" y="53"/>
                      <a:pt x="182" y="49"/>
                    </a:cubicBezTo>
                    <a:cubicBezTo>
                      <a:pt x="193" y="45"/>
                      <a:pt x="195" y="38"/>
                      <a:pt x="197" y="32"/>
                    </a:cubicBezTo>
                    <a:cubicBezTo>
                      <a:pt x="198" y="26"/>
                      <a:pt x="197" y="21"/>
                      <a:pt x="200" y="20"/>
                    </a:cubicBezTo>
                    <a:cubicBezTo>
                      <a:pt x="203" y="18"/>
                      <a:pt x="208" y="11"/>
                      <a:pt x="204" y="6"/>
                    </a:cubicBezTo>
                    <a:cubicBezTo>
                      <a:pt x="201" y="0"/>
                      <a:pt x="193" y="0"/>
                      <a:pt x="187" y="5"/>
                    </a:cubicBezTo>
                    <a:cubicBezTo>
                      <a:pt x="182" y="10"/>
                      <a:pt x="183" y="13"/>
                      <a:pt x="172" y="12"/>
                    </a:cubicBezTo>
                    <a:cubicBezTo>
                      <a:pt x="160" y="10"/>
                      <a:pt x="144" y="8"/>
                      <a:pt x="138" y="13"/>
                    </a:cubicBezTo>
                    <a:cubicBezTo>
                      <a:pt x="132" y="18"/>
                      <a:pt x="130" y="19"/>
                      <a:pt x="119" y="19"/>
                    </a:cubicBezTo>
                    <a:cubicBezTo>
                      <a:pt x="109" y="19"/>
                      <a:pt x="85" y="24"/>
                      <a:pt x="81" y="17"/>
                    </a:cubicBezTo>
                    <a:cubicBezTo>
                      <a:pt x="76" y="11"/>
                      <a:pt x="68" y="15"/>
                      <a:pt x="64" y="7"/>
                    </a:cubicBezTo>
                    <a:cubicBezTo>
                      <a:pt x="61" y="0"/>
                      <a:pt x="55" y="2"/>
                      <a:pt x="52" y="3"/>
                    </a:cubicBezTo>
                    <a:cubicBezTo>
                      <a:pt x="49" y="5"/>
                      <a:pt x="47" y="7"/>
                      <a:pt x="43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5" name="Freeform 138">
                <a:extLst>
                  <a:ext uri="{FF2B5EF4-FFF2-40B4-BE49-F238E27FC236}">
                    <a16:creationId xmlns:a16="http://schemas.microsoft.com/office/drawing/2014/main" id="{B9570EE3-D86F-4741-ADA8-E4925ED4C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8" y="1871"/>
                <a:ext cx="31" cy="48"/>
              </a:xfrm>
              <a:custGeom>
                <a:avLst/>
                <a:gdLst>
                  <a:gd name="T0" fmla="*/ 60 w 123"/>
                  <a:gd name="T1" fmla="*/ 21 h 190"/>
                  <a:gd name="T2" fmla="*/ 39 w 123"/>
                  <a:gd name="T3" fmla="*/ 33 h 190"/>
                  <a:gd name="T4" fmla="*/ 13 w 123"/>
                  <a:gd name="T5" fmla="*/ 29 h 190"/>
                  <a:gd name="T6" fmla="*/ 16 w 123"/>
                  <a:gd name="T7" fmla="*/ 56 h 190"/>
                  <a:gd name="T8" fmla="*/ 29 w 123"/>
                  <a:gd name="T9" fmla="*/ 83 h 190"/>
                  <a:gd name="T10" fmla="*/ 27 w 123"/>
                  <a:gd name="T11" fmla="*/ 104 h 190"/>
                  <a:gd name="T12" fmla="*/ 30 w 123"/>
                  <a:gd name="T13" fmla="*/ 114 h 190"/>
                  <a:gd name="T14" fmla="*/ 27 w 123"/>
                  <a:gd name="T15" fmla="*/ 123 h 190"/>
                  <a:gd name="T16" fmla="*/ 22 w 123"/>
                  <a:gd name="T17" fmla="*/ 143 h 190"/>
                  <a:gd name="T18" fmla="*/ 28 w 123"/>
                  <a:gd name="T19" fmla="*/ 174 h 190"/>
                  <a:gd name="T20" fmla="*/ 37 w 123"/>
                  <a:gd name="T21" fmla="*/ 180 h 190"/>
                  <a:gd name="T22" fmla="*/ 48 w 123"/>
                  <a:gd name="T23" fmla="*/ 187 h 190"/>
                  <a:gd name="T24" fmla="*/ 58 w 123"/>
                  <a:gd name="T25" fmla="*/ 184 h 190"/>
                  <a:gd name="T26" fmla="*/ 73 w 123"/>
                  <a:gd name="T27" fmla="*/ 167 h 190"/>
                  <a:gd name="T28" fmla="*/ 82 w 123"/>
                  <a:gd name="T29" fmla="*/ 161 h 190"/>
                  <a:gd name="T30" fmla="*/ 99 w 123"/>
                  <a:gd name="T31" fmla="*/ 164 h 190"/>
                  <a:gd name="T32" fmla="*/ 105 w 123"/>
                  <a:gd name="T33" fmla="*/ 149 h 190"/>
                  <a:gd name="T34" fmla="*/ 111 w 123"/>
                  <a:gd name="T35" fmla="*/ 134 h 190"/>
                  <a:gd name="T36" fmla="*/ 115 w 123"/>
                  <a:gd name="T37" fmla="*/ 110 h 190"/>
                  <a:gd name="T38" fmla="*/ 112 w 123"/>
                  <a:gd name="T39" fmla="*/ 100 h 190"/>
                  <a:gd name="T40" fmla="*/ 106 w 123"/>
                  <a:gd name="T41" fmla="*/ 85 h 190"/>
                  <a:gd name="T42" fmla="*/ 114 w 123"/>
                  <a:gd name="T43" fmla="*/ 80 h 190"/>
                  <a:gd name="T44" fmla="*/ 122 w 123"/>
                  <a:gd name="T45" fmla="*/ 70 h 190"/>
                  <a:gd name="T46" fmla="*/ 119 w 123"/>
                  <a:gd name="T47" fmla="*/ 51 h 190"/>
                  <a:gd name="T48" fmla="*/ 112 w 123"/>
                  <a:gd name="T49" fmla="*/ 34 h 190"/>
                  <a:gd name="T50" fmla="*/ 98 w 123"/>
                  <a:gd name="T51" fmla="*/ 16 h 190"/>
                  <a:gd name="T52" fmla="*/ 60 w 123"/>
                  <a:gd name="T53" fmla="*/ 21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3" h="190">
                    <a:moveTo>
                      <a:pt x="60" y="21"/>
                    </a:moveTo>
                    <a:cubicBezTo>
                      <a:pt x="60" y="21"/>
                      <a:pt x="55" y="34"/>
                      <a:pt x="39" y="33"/>
                    </a:cubicBezTo>
                    <a:cubicBezTo>
                      <a:pt x="24" y="32"/>
                      <a:pt x="17" y="24"/>
                      <a:pt x="13" y="29"/>
                    </a:cubicBezTo>
                    <a:cubicBezTo>
                      <a:pt x="9" y="35"/>
                      <a:pt x="0" y="44"/>
                      <a:pt x="16" y="56"/>
                    </a:cubicBezTo>
                    <a:cubicBezTo>
                      <a:pt x="33" y="68"/>
                      <a:pt x="30" y="73"/>
                      <a:pt x="29" y="83"/>
                    </a:cubicBezTo>
                    <a:cubicBezTo>
                      <a:pt x="27" y="93"/>
                      <a:pt x="26" y="102"/>
                      <a:pt x="27" y="104"/>
                    </a:cubicBezTo>
                    <a:cubicBezTo>
                      <a:pt x="29" y="106"/>
                      <a:pt x="30" y="110"/>
                      <a:pt x="30" y="114"/>
                    </a:cubicBezTo>
                    <a:cubicBezTo>
                      <a:pt x="30" y="119"/>
                      <a:pt x="33" y="120"/>
                      <a:pt x="27" y="123"/>
                    </a:cubicBezTo>
                    <a:cubicBezTo>
                      <a:pt x="22" y="127"/>
                      <a:pt x="22" y="138"/>
                      <a:pt x="22" y="143"/>
                    </a:cubicBezTo>
                    <a:cubicBezTo>
                      <a:pt x="22" y="148"/>
                      <a:pt x="21" y="174"/>
                      <a:pt x="28" y="174"/>
                    </a:cubicBezTo>
                    <a:cubicBezTo>
                      <a:pt x="35" y="174"/>
                      <a:pt x="37" y="174"/>
                      <a:pt x="37" y="180"/>
                    </a:cubicBezTo>
                    <a:cubicBezTo>
                      <a:pt x="38" y="185"/>
                      <a:pt x="43" y="187"/>
                      <a:pt x="48" y="187"/>
                    </a:cubicBezTo>
                    <a:cubicBezTo>
                      <a:pt x="53" y="187"/>
                      <a:pt x="55" y="190"/>
                      <a:pt x="58" y="184"/>
                    </a:cubicBezTo>
                    <a:cubicBezTo>
                      <a:pt x="62" y="178"/>
                      <a:pt x="72" y="176"/>
                      <a:pt x="73" y="167"/>
                    </a:cubicBezTo>
                    <a:cubicBezTo>
                      <a:pt x="73" y="158"/>
                      <a:pt x="78" y="156"/>
                      <a:pt x="82" y="161"/>
                    </a:cubicBezTo>
                    <a:cubicBezTo>
                      <a:pt x="87" y="166"/>
                      <a:pt x="97" y="165"/>
                      <a:pt x="99" y="164"/>
                    </a:cubicBezTo>
                    <a:cubicBezTo>
                      <a:pt x="102" y="163"/>
                      <a:pt x="93" y="151"/>
                      <a:pt x="105" y="149"/>
                    </a:cubicBezTo>
                    <a:cubicBezTo>
                      <a:pt x="117" y="147"/>
                      <a:pt x="104" y="140"/>
                      <a:pt x="111" y="134"/>
                    </a:cubicBezTo>
                    <a:cubicBezTo>
                      <a:pt x="117" y="128"/>
                      <a:pt x="115" y="118"/>
                      <a:pt x="115" y="110"/>
                    </a:cubicBezTo>
                    <a:cubicBezTo>
                      <a:pt x="115" y="102"/>
                      <a:pt x="117" y="102"/>
                      <a:pt x="112" y="100"/>
                    </a:cubicBezTo>
                    <a:cubicBezTo>
                      <a:pt x="106" y="97"/>
                      <a:pt x="105" y="91"/>
                      <a:pt x="106" y="85"/>
                    </a:cubicBezTo>
                    <a:cubicBezTo>
                      <a:pt x="108" y="79"/>
                      <a:pt x="113" y="83"/>
                      <a:pt x="114" y="80"/>
                    </a:cubicBezTo>
                    <a:cubicBezTo>
                      <a:pt x="115" y="77"/>
                      <a:pt x="122" y="77"/>
                      <a:pt x="122" y="70"/>
                    </a:cubicBezTo>
                    <a:cubicBezTo>
                      <a:pt x="122" y="64"/>
                      <a:pt x="123" y="55"/>
                      <a:pt x="119" y="51"/>
                    </a:cubicBezTo>
                    <a:cubicBezTo>
                      <a:pt x="116" y="47"/>
                      <a:pt x="114" y="38"/>
                      <a:pt x="112" y="34"/>
                    </a:cubicBezTo>
                    <a:cubicBezTo>
                      <a:pt x="109" y="29"/>
                      <a:pt x="102" y="20"/>
                      <a:pt x="98" y="16"/>
                    </a:cubicBezTo>
                    <a:cubicBezTo>
                      <a:pt x="93" y="12"/>
                      <a:pt x="69" y="0"/>
                      <a:pt x="60" y="2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6" name="Freeform 139">
                <a:extLst>
                  <a:ext uri="{FF2B5EF4-FFF2-40B4-BE49-F238E27FC236}">
                    <a16:creationId xmlns:a16="http://schemas.microsoft.com/office/drawing/2014/main" id="{C11156CD-B4E5-2D4D-9310-19078C77A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4" y="1839"/>
                <a:ext cx="4" cy="5"/>
              </a:xfrm>
              <a:custGeom>
                <a:avLst/>
                <a:gdLst>
                  <a:gd name="T0" fmla="*/ 10 w 16"/>
                  <a:gd name="T1" fmla="*/ 4 h 20"/>
                  <a:gd name="T2" fmla="*/ 6 w 16"/>
                  <a:gd name="T3" fmla="*/ 10 h 20"/>
                  <a:gd name="T4" fmla="*/ 2 w 16"/>
                  <a:gd name="T5" fmla="*/ 15 h 20"/>
                  <a:gd name="T6" fmla="*/ 12 w 16"/>
                  <a:gd name="T7" fmla="*/ 18 h 20"/>
                  <a:gd name="T8" fmla="*/ 14 w 16"/>
                  <a:gd name="T9" fmla="*/ 13 h 20"/>
                  <a:gd name="T10" fmla="*/ 10 w 16"/>
                  <a:gd name="T11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0" y="4"/>
                    </a:moveTo>
                    <a:cubicBezTo>
                      <a:pt x="10" y="4"/>
                      <a:pt x="10" y="9"/>
                      <a:pt x="6" y="10"/>
                    </a:cubicBezTo>
                    <a:cubicBezTo>
                      <a:pt x="2" y="11"/>
                      <a:pt x="0" y="13"/>
                      <a:pt x="2" y="15"/>
                    </a:cubicBezTo>
                    <a:cubicBezTo>
                      <a:pt x="5" y="17"/>
                      <a:pt x="8" y="20"/>
                      <a:pt x="12" y="18"/>
                    </a:cubicBezTo>
                    <a:cubicBezTo>
                      <a:pt x="16" y="17"/>
                      <a:pt x="15" y="16"/>
                      <a:pt x="14" y="13"/>
                    </a:cubicBezTo>
                    <a:cubicBezTo>
                      <a:pt x="14" y="9"/>
                      <a:pt x="15" y="0"/>
                      <a:pt x="10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7" name="Freeform 140">
                <a:extLst>
                  <a:ext uri="{FF2B5EF4-FFF2-40B4-BE49-F238E27FC236}">
                    <a16:creationId xmlns:a16="http://schemas.microsoft.com/office/drawing/2014/main" id="{82F9AE58-CF64-2741-A345-93E1E0ECA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" y="1855"/>
                <a:ext cx="51" cy="99"/>
              </a:xfrm>
              <a:custGeom>
                <a:avLst/>
                <a:gdLst>
                  <a:gd name="T0" fmla="*/ 125 w 205"/>
                  <a:gd name="T1" fmla="*/ 330 h 390"/>
                  <a:gd name="T2" fmla="*/ 143 w 205"/>
                  <a:gd name="T3" fmla="*/ 313 h 390"/>
                  <a:gd name="T4" fmla="*/ 148 w 205"/>
                  <a:gd name="T5" fmla="*/ 295 h 390"/>
                  <a:gd name="T6" fmla="*/ 134 w 205"/>
                  <a:gd name="T7" fmla="*/ 283 h 390"/>
                  <a:gd name="T8" fmla="*/ 134 w 205"/>
                  <a:gd name="T9" fmla="*/ 269 h 390"/>
                  <a:gd name="T10" fmla="*/ 143 w 205"/>
                  <a:gd name="T11" fmla="*/ 254 h 390"/>
                  <a:gd name="T12" fmla="*/ 154 w 205"/>
                  <a:gd name="T13" fmla="*/ 238 h 390"/>
                  <a:gd name="T14" fmla="*/ 144 w 205"/>
                  <a:gd name="T15" fmla="*/ 225 h 390"/>
                  <a:gd name="T16" fmla="*/ 138 w 205"/>
                  <a:gd name="T17" fmla="*/ 215 h 390"/>
                  <a:gd name="T18" fmla="*/ 126 w 205"/>
                  <a:gd name="T19" fmla="*/ 199 h 390"/>
                  <a:gd name="T20" fmla="*/ 119 w 205"/>
                  <a:gd name="T21" fmla="*/ 186 h 390"/>
                  <a:gd name="T22" fmla="*/ 151 w 205"/>
                  <a:gd name="T23" fmla="*/ 186 h 390"/>
                  <a:gd name="T24" fmla="*/ 158 w 205"/>
                  <a:gd name="T25" fmla="*/ 171 h 390"/>
                  <a:gd name="T26" fmla="*/ 158 w 205"/>
                  <a:gd name="T27" fmla="*/ 151 h 390"/>
                  <a:gd name="T28" fmla="*/ 163 w 205"/>
                  <a:gd name="T29" fmla="*/ 137 h 390"/>
                  <a:gd name="T30" fmla="*/ 165 w 205"/>
                  <a:gd name="T31" fmla="*/ 115 h 390"/>
                  <a:gd name="T32" fmla="*/ 160 w 205"/>
                  <a:gd name="T33" fmla="*/ 89 h 390"/>
                  <a:gd name="T34" fmla="*/ 164 w 205"/>
                  <a:gd name="T35" fmla="*/ 80 h 390"/>
                  <a:gd name="T36" fmla="*/ 174 w 205"/>
                  <a:gd name="T37" fmla="*/ 68 h 390"/>
                  <a:gd name="T38" fmla="*/ 189 w 205"/>
                  <a:gd name="T39" fmla="*/ 63 h 390"/>
                  <a:gd name="T40" fmla="*/ 203 w 205"/>
                  <a:gd name="T41" fmla="*/ 51 h 390"/>
                  <a:gd name="T42" fmla="*/ 195 w 205"/>
                  <a:gd name="T43" fmla="*/ 35 h 390"/>
                  <a:gd name="T44" fmla="*/ 186 w 205"/>
                  <a:gd name="T45" fmla="*/ 24 h 390"/>
                  <a:gd name="T46" fmla="*/ 169 w 205"/>
                  <a:gd name="T47" fmla="*/ 15 h 390"/>
                  <a:gd name="T48" fmla="*/ 150 w 205"/>
                  <a:gd name="T49" fmla="*/ 16 h 390"/>
                  <a:gd name="T50" fmla="*/ 135 w 205"/>
                  <a:gd name="T51" fmla="*/ 25 h 390"/>
                  <a:gd name="T52" fmla="*/ 109 w 205"/>
                  <a:gd name="T53" fmla="*/ 21 h 390"/>
                  <a:gd name="T54" fmla="*/ 82 w 205"/>
                  <a:gd name="T55" fmla="*/ 28 h 390"/>
                  <a:gd name="T56" fmla="*/ 80 w 205"/>
                  <a:gd name="T57" fmla="*/ 9 h 390"/>
                  <a:gd name="T58" fmla="*/ 59 w 205"/>
                  <a:gd name="T59" fmla="*/ 0 h 390"/>
                  <a:gd name="T60" fmla="*/ 48 w 205"/>
                  <a:gd name="T61" fmla="*/ 12 h 390"/>
                  <a:gd name="T62" fmla="*/ 34 w 205"/>
                  <a:gd name="T63" fmla="*/ 15 h 390"/>
                  <a:gd name="T64" fmla="*/ 45 w 205"/>
                  <a:gd name="T65" fmla="*/ 46 h 390"/>
                  <a:gd name="T66" fmla="*/ 50 w 205"/>
                  <a:gd name="T67" fmla="*/ 97 h 390"/>
                  <a:gd name="T68" fmla="*/ 37 w 205"/>
                  <a:gd name="T69" fmla="*/ 138 h 390"/>
                  <a:gd name="T70" fmla="*/ 16 w 205"/>
                  <a:gd name="T71" fmla="*/ 199 h 390"/>
                  <a:gd name="T72" fmla="*/ 4 w 205"/>
                  <a:gd name="T73" fmla="*/ 251 h 390"/>
                  <a:gd name="T74" fmla="*/ 32 w 205"/>
                  <a:gd name="T75" fmla="*/ 274 h 390"/>
                  <a:gd name="T76" fmla="*/ 39 w 205"/>
                  <a:gd name="T77" fmla="*/ 317 h 390"/>
                  <a:gd name="T78" fmla="*/ 34 w 205"/>
                  <a:gd name="T79" fmla="*/ 360 h 390"/>
                  <a:gd name="T80" fmla="*/ 49 w 205"/>
                  <a:gd name="T81" fmla="*/ 378 h 390"/>
                  <a:gd name="T82" fmla="*/ 85 w 205"/>
                  <a:gd name="T83" fmla="*/ 383 h 390"/>
                  <a:gd name="T84" fmla="*/ 118 w 205"/>
                  <a:gd name="T85" fmla="*/ 378 h 390"/>
                  <a:gd name="T86" fmla="*/ 130 w 205"/>
                  <a:gd name="T87" fmla="*/ 370 h 390"/>
                  <a:gd name="T88" fmla="*/ 121 w 205"/>
                  <a:gd name="T89" fmla="*/ 352 h 390"/>
                  <a:gd name="T90" fmla="*/ 125 w 205"/>
                  <a:gd name="T91" fmla="*/ 33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390">
                    <a:moveTo>
                      <a:pt x="125" y="330"/>
                    </a:moveTo>
                    <a:cubicBezTo>
                      <a:pt x="127" y="321"/>
                      <a:pt x="136" y="318"/>
                      <a:pt x="143" y="313"/>
                    </a:cubicBezTo>
                    <a:cubicBezTo>
                      <a:pt x="151" y="308"/>
                      <a:pt x="150" y="301"/>
                      <a:pt x="148" y="295"/>
                    </a:cubicBezTo>
                    <a:cubicBezTo>
                      <a:pt x="145" y="290"/>
                      <a:pt x="139" y="288"/>
                      <a:pt x="134" y="283"/>
                    </a:cubicBezTo>
                    <a:cubicBezTo>
                      <a:pt x="129" y="279"/>
                      <a:pt x="133" y="274"/>
                      <a:pt x="134" y="269"/>
                    </a:cubicBezTo>
                    <a:cubicBezTo>
                      <a:pt x="136" y="263"/>
                      <a:pt x="136" y="258"/>
                      <a:pt x="143" y="254"/>
                    </a:cubicBezTo>
                    <a:cubicBezTo>
                      <a:pt x="150" y="250"/>
                      <a:pt x="154" y="243"/>
                      <a:pt x="154" y="238"/>
                    </a:cubicBezTo>
                    <a:cubicBezTo>
                      <a:pt x="154" y="233"/>
                      <a:pt x="148" y="227"/>
                      <a:pt x="144" y="225"/>
                    </a:cubicBezTo>
                    <a:cubicBezTo>
                      <a:pt x="140" y="223"/>
                      <a:pt x="139" y="219"/>
                      <a:pt x="138" y="215"/>
                    </a:cubicBezTo>
                    <a:cubicBezTo>
                      <a:pt x="137" y="211"/>
                      <a:pt x="136" y="204"/>
                      <a:pt x="126" y="199"/>
                    </a:cubicBezTo>
                    <a:cubicBezTo>
                      <a:pt x="116" y="193"/>
                      <a:pt x="114" y="185"/>
                      <a:pt x="119" y="186"/>
                    </a:cubicBezTo>
                    <a:cubicBezTo>
                      <a:pt x="123" y="187"/>
                      <a:pt x="141" y="188"/>
                      <a:pt x="151" y="186"/>
                    </a:cubicBezTo>
                    <a:cubicBezTo>
                      <a:pt x="160" y="183"/>
                      <a:pt x="157" y="176"/>
                      <a:pt x="158" y="171"/>
                    </a:cubicBezTo>
                    <a:cubicBezTo>
                      <a:pt x="159" y="166"/>
                      <a:pt x="158" y="159"/>
                      <a:pt x="158" y="151"/>
                    </a:cubicBezTo>
                    <a:cubicBezTo>
                      <a:pt x="158" y="143"/>
                      <a:pt x="160" y="140"/>
                      <a:pt x="163" y="137"/>
                    </a:cubicBezTo>
                    <a:cubicBezTo>
                      <a:pt x="166" y="133"/>
                      <a:pt x="165" y="122"/>
                      <a:pt x="165" y="115"/>
                    </a:cubicBezTo>
                    <a:cubicBezTo>
                      <a:pt x="165" y="108"/>
                      <a:pt x="164" y="94"/>
                      <a:pt x="160" y="89"/>
                    </a:cubicBezTo>
                    <a:cubicBezTo>
                      <a:pt x="156" y="84"/>
                      <a:pt x="161" y="81"/>
                      <a:pt x="164" y="80"/>
                    </a:cubicBezTo>
                    <a:cubicBezTo>
                      <a:pt x="167" y="78"/>
                      <a:pt x="172" y="72"/>
                      <a:pt x="174" y="68"/>
                    </a:cubicBezTo>
                    <a:cubicBezTo>
                      <a:pt x="175" y="65"/>
                      <a:pt x="181" y="64"/>
                      <a:pt x="189" y="63"/>
                    </a:cubicBezTo>
                    <a:cubicBezTo>
                      <a:pt x="197" y="62"/>
                      <a:pt x="201" y="54"/>
                      <a:pt x="203" y="51"/>
                    </a:cubicBezTo>
                    <a:cubicBezTo>
                      <a:pt x="205" y="47"/>
                      <a:pt x="200" y="37"/>
                      <a:pt x="195" y="35"/>
                    </a:cubicBezTo>
                    <a:cubicBezTo>
                      <a:pt x="189" y="33"/>
                      <a:pt x="189" y="31"/>
                      <a:pt x="186" y="24"/>
                    </a:cubicBezTo>
                    <a:cubicBezTo>
                      <a:pt x="183" y="17"/>
                      <a:pt x="179" y="19"/>
                      <a:pt x="169" y="15"/>
                    </a:cubicBezTo>
                    <a:cubicBezTo>
                      <a:pt x="158" y="10"/>
                      <a:pt x="157" y="16"/>
                      <a:pt x="150" y="16"/>
                    </a:cubicBezTo>
                    <a:cubicBezTo>
                      <a:pt x="142" y="17"/>
                      <a:pt x="140" y="21"/>
                      <a:pt x="135" y="25"/>
                    </a:cubicBezTo>
                    <a:cubicBezTo>
                      <a:pt x="131" y="30"/>
                      <a:pt x="121" y="22"/>
                      <a:pt x="109" y="21"/>
                    </a:cubicBezTo>
                    <a:cubicBezTo>
                      <a:pt x="97" y="19"/>
                      <a:pt x="92" y="30"/>
                      <a:pt x="82" y="28"/>
                    </a:cubicBezTo>
                    <a:cubicBezTo>
                      <a:pt x="72" y="26"/>
                      <a:pt x="79" y="19"/>
                      <a:pt x="80" y="9"/>
                    </a:cubicBezTo>
                    <a:cubicBezTo>
                      <a:pt x="81" y="0"/>
                      <a:pt x="67" y="0"/>
                      <a:pt x="59" y="0"/>
                    </a:cubicBezTo>
                    <a:cubicBezTo>
                      <a:pt x="51" y="0"/>
                      <a:pt x="50" y="7"/>
                      <a:pt x="48" y="12"/>
                    </a:cubicBezTo>
                    <a:cubicBezTo>
                      <a:pt x="46" y="16"/>
                      <a:pt x="39" y="16"/>
                      <a:pt x="34" y="15"/>
                    </a:cubicBezTo>
                    <a:cubicBezTo>
                      <a:pt x="32" y="31"/>
                      <a:pt x="32" y="34"/>
                      <a:pt x="45" y="46"/>
                    </a:cubicBezTo>
                    <a:cubicBezTo>
                      <a:pt x="59" y="59"/>
                      <a:pt x="50" y="82"/>
                      <a:pt x="50" y="97"/>
                    </a:cubicBezTo>
                    <a:cubicBezTo>
                      <a:pt x="50" y="113"/>
                      <a:pt x="52" y="128"/>
                      <a:pt x="37" y="138"/>
                    </a:cubicBezTo>
                    <a:cubicBezTo>
                      <a:pt x="23" y="148"/>
                      <a:pt x="32" y="183"/>
                      <a:pt x="16" y="199"/>
                    </a:cubicBezTo>
                    <a:cubicBezTo>
                      <a:pt x="0" y="215"/>
                      <a:pt x="4" y="231"/>
                      <a:pt x="4" y="251"/>
                    </a:cubicBezTo>
                    <a:cubicBezTo>
                      <a:pt x="4" y="271"/>
                      <a:pt x="19" y="271"/>
                      <a:pt x="32" y="274"/>
                    </a:cubicBezTo>
                    <a:cubicBezTo>
                      <a:pt x="45" y="277"/>
                      <a:pt x="39" y="302"/>
                      <a:pt x="39" y="317"/>
                    </a:cubicBezTo>
                    <a:cubicBezTo>
                      <a:pt x="39" y="331"/>
                      <a:pt x="34" y="344"/>
                      <a:pt x="34" y="360"/>
                    </a:cubicBezTo>
                    <a:cubicBezTo>
                      <a:pt x="34" y="376"/>
                      <a:pt x="39" y="381"/>
                      <a:pt x="49" y="378"/>
                    </a:cubicBezTo>
                    <a:cubicBezTo>
                      <a:pt x="59" y="376"/>
                      <a:pt x="76" y="376"/>
                      <a:pt x="85" y="383"/>
                    </a:cubicBezTo>
                    <a:cubicBezTo>
                      <a:pt x="93" y="390"/>
                      <a:pt x="112" y="386"/>
                      <a:pt x="118" y="378"/>
                    </a:cubicBezTo>
                    <a:cubicBezTo>
                      <a:pt x="121" y="374"/>
                      <a:pt x="124" y="372"/>
                      <a:pt x="130" y="370"/>
                    </a:cubicBezTo>
                    <a:cubicBezTo>
                      <a:pt x="128" y="362"/>
                      <a:pt x="124" y="358"/>
                      <a:pt x="121" y="352"/>
                    </a:cubicBezTo>
                    <a:cubicBezTo>
                      <a:pt x="118" y="345"/>
                      <a:pt x="123" y="339"/>
                      <a:pt x="125" y="33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8" name="Freeform 141">
                <a:extLst>
                  <a:ext uri="{FF2B5EF4-FFF2-40B4-BE49-F238E27FC236}">
                    <a16:creationId xmlns:a16="http://schemas.microsoft.com/office/drawing/2014/main" id="{1F97F9C8-CF34-BF42-BA5C-7AE547C4B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" y="2025"/>
                <a:ext cx="10" cy="8"/>
              </a:xfrm>
              <a:custGeom>
                <a:avLst/>
                <a:gdLst>
                  <a:gd name="T0" fmla="*/ 10 w 40"/>
                  <a:gd name="T1" fmla="*/ 25 h 30"/>
                  <a:gd name="T2" fmla="*/ 35 w 40"/>
                  <a:gd name="T3" fmla="*/ 24 h 30"/>
                  <a:gd name="T4" fmla="*/ 30 w 40"/>
                  <a:gd name="T5" fmla="*/ 9 h 30"/>
                  <a:gd name="T6" fmla="*/ 20 w 40"/>
                  <a:gd name="T7" fmla="*/ 6 h 30"/>
                  <a:gd name="T8" fmla="*/ 6 w 40"/>
                  <a:gd name="T9" fmla="*/ 3 h 30"/>
                  <a:gd name="T10" fmla="*/ 10 w 40"/>
                  <a:gd name="T11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0">
                    <a:moveTo>
                      <a:pt x="10" y="25"/>
                    </a:moveTo>
                    <a:cubicBezTo>
                      <a:pt x="21" y="30"/>
                      <a:pt x="31" y="27"/>
                      <a:pt x="35" y="24"/>
                    </a:cubicBezTo>
                    <a:cubicBezTo>
                      <a:pt x="38" y="21"/>
                      <a:pt x="40" y="6"/>
                      <a:pt x="30" y="9"/>
                    </a:cubicBezTo>
                    <a:cubicBezTo>
                      <a:pt x="30" y="9"/>
                      <a:pt x="23" y="11"/>
                      <a:pt x="20" y="6"/>
                    </a:cubicBezTo>
                    <a:cubicBezTo>
                      <a:pt x="18" y="1"/>
                      <a:pt x="11" y="0"/>
                      <a:pt x="6" y="3"/>
                    </a:cubicBezTo>
                    <a:cubicBezTo>
                      <a:pt x="1" y="7"/>
                      <a:pt x="0" y="20"/>
                      <a:pt x="10" y="2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89" name="Freeform 142">
                <a:extLst>
                  <a:ext uri="{FF2B5EF4-FFF2-40B4-BE49-F238E27FC236}">
                    <a16:creationId xmlns:a16="http://schemas.microsoft.com/office/drawing/2014/main" id="{5911A88D-CD58-3B40-A6EB-DE56F0D9B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2" y="1480"/>
                <a:ext cx="83" cy="52"/>
              </a:xfrm>
              <a:custGeom>
                <a:avLst/>
                <a:gdLst>
                  <a:gd name="T0" fmla="*/ 113 w 327"/>
                  <a:gd name="T1" fmla="*/ 154 h 206"/>
                  <a:gd name="T2" fmla="*/ 145 w 327"/>
                  <a:gd name="T3" fmla="*/ 156 h 206"/>
                  <a:gd name="T4" fmla="*/ 162 w 327"/>
                  <a:gd name="T5" fmla="*/ 163 h 206"/>
                  <a:gd name="T6" fmla="*/ 182 w 327"/>
                  <a:gd name="T7" fmla="*/ 176 h 206"/>
                  <a:gd name="T8" fmla="*/ 203 w 327"/>
                  <a:gd name="T9" fmla="*/ 190 h 206"/>
                  <a:gd name="T10" fmla="*/ 228 w 327"/>
                  <a:gd name="T11" fmla="*/ 200 h 206"/>
                  <a:gd name="T12" fmla="*/ 249 w 327"/>
                  <a:gd name="T13" fmla="*/ 195 h 206"/>
                  <a:gd name="T14" fmla="*/ 276 w 327"/>
                  <a:gd name="T15" fmla="*/ 192 h 206"/>
                  <a:gd name="T16" fmla="*/ 282 w 327"/>
                  <a:gd name="T17" fmla="*/ 176 h 206"/>
                  <a:gd name="T18" fmla="*/ 301 w 327"/>
                  <a:gd name="T19" fmla="*/ 166 h 206"/>
                  <a:gd name="T20" fmla="*/ 279 w 327"/>
                  <a:gd name="T21" fmla="*/ 126 h 206"/>
                  <a:gd name="T22" fmla="*/ 281 w 327"/>
                  <a:gd name="T23" fmla="*/ 95 h 206"/>
                  <a:gd name="T24" fmla="*/ 297 w 327"/>
                  <a:gd name="T25" fmla="*/ 61 h 206"/>
                  <a:gd name="T26" fmla="*/ 318 w 327"/>
                  <a:gd name="T27" fmla="*/ 37 h 206"/>
                  <a:gd name="T28" fmla="*/ 323 w 327"/>
                  <a:gd name="T29" fmla="*/ 23 h 206"/>
                  <a:gd name="T30" fmla="*/ 316 w 327"/>
                  <a:gd name="T31" fmla="*/ 4 h 206"/>
                  <a:gd name="T32" fmla="*/ 312 w 327"/>
                  <a:gd name="T33" fmla="*/ 14 h 206"/>
                  <a:gd name="T34" fmla="*/ 256 w 327"/>
                  <a:gd name="T35" fmla="*/ 20 h 206"/>
                  <a:gd name="T36" fmla="*/ 200 w 327"/>
                  <a:gd name="T37" fmla="*/ 5 h 206"/>
                  <a:gd name="T38" fmla="*/ 130 w 327"/>
                  <a:gd name="T39" fmla="*/ 10 h 206"/>
                  <a:gd name="T40" fmla="*/ 74 w 327"/>
                  <a:gd name="T41" fmla="*/ 22 h 206"/>
                  <a:gd name="T42" fmla="*/ 18 w 327"/>
                  <a:gd name="T43" fmla="*/ 48 h 206"/>
                  <a:gd name="T44" fmla="*/ 27 w 327"/>
                  <a:gd name="T45" fmla="*/ 71 h 206"/>
                  <a:gd name="T46" fmla="*/ 41 w 327"/>
                  <a:gd name="T47" fmla="*/ 110 h 206"/>
                  <a:gd name="T48" fmla="*/ 89 w 327"/>
                  <a:gd name="T49" fmla="*/ 123 h 206"/>
                  <a:gd name="T50" fmla="*/ 84 w 327"/>
                  <a:gd name="T51" fmla="*/ 151 h 206"/>
                  <a:gd name="T52" fmla="*/ 75 w 327"/>
                  <a:gd name="T53" fmla="*/ 169 h 206"/>
                  <a:gd name="T54" fmla="*/ 89 w 327"/>
                  <a:gd name="T55" fmla="*/ 166 h 206"/>
                  <a:gd name="T56" fmla="*/ 113 w 327"/>
                  <a:gd name="T57" fmla="*/ 15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7" h="206">
                    <a:moveTo>
                      <a:pt x="113" y="154"/>
                    </a:moveTo>
                    <a:cubicBezTo>
                      <a:pt x="124" y="152"/>
                      <a:pt x="139" y="151"/>
                      <a:pt x="145" y="156"/>
                    </a:cubicBezTo>
                    <a:cubicBezTo>
                      <a:pt x="152" y="161"/>
                      <a:pt x="152" y="163"/>
                      <a:pt x="162" y="163"/>
                    </a:cubicBezTo>
                    <a:cubicBezTo>
                      <a:pt x="171" y="164"/>
                      <a:pt x="175" y="172"/>
                      <a:pt x="182" y="176"/>
                    </a:cubicBezTo>
                    <a:cubicBezTo>
                      <a:pt x="190" y="180"/>
                      <a:pt x="198" y="186"/>
                      <a:pt x="203" y="190"/>
                    </a:cubicBezTo>
                    <a:cubicBezTo>
                      <a:pt x="208" y="195"/>
                      <a:pt x="219" y="206"/>
                      <a:pt x="228" y="200"/>
                    </a:cubicBezTo>
                    <a:cubicBezTo>
                      <a:pt x="237" y="194"/>
                      <a:pt x="240" y="194"/>
                      <a:pt x="249" y="195"/>
                    </a:cubicBezTo>
                    <a:cubicBezTo>
                      <a:pt x="255" y="195"/>
                      <a:pt x="267" y="193"/>
                      <a:pt x="276" y="192"/>
                    </a:cubicBezTo>
                    <a:cubicBezTo>
                      <a:pt x="275" y="184"/>
                      <a:pt x="273" y="180"/>
                      <a:pt x="282" y="176"/>
                    </a:cubicBezTo>
                    <a:cubicBezTo>
                      <a:pt x="293" y="171"/>
                      <a:pt x="306" y="178"/>
                      <a:pt x="301" y="166"/>
                    </a:cubicBezTo>
                    <a:cubicBezTo>
                      <a:pt x="295" y="154"/>
                      <a:pt x="277" y="137"/>
                      <a:pt x="279" y="126"/>
                    </a:cubicBezTo>
                    <a:cubicBezTo>
                      <a:pt x="280" y="115"/>
                      <a:pt x="284" y="108"/>
                      <a:pt x="281" y="95"/>
                    </a:cubicBezTo>
                    <a:cubicBezTo>
                      <a:pt x="278" y="82"/>
                      <a:pt x="284" y="69"/>
                      <a:pt x="297" y="61"/>
                    </a:cubicBezTo>
                    <a:cubicBezTo>
                      <a:pt x="310" y="53"/>
                      <a:pt x="308" y="40"/>
                      <a:pt x="318" y="37"/>
                    </a:cubicBezTo>
                    <a:cubicBezTo>
                      <a:pt x="327" y="35"/>
                      <a:pt x="327" y="28"/>
                      <a:pt x="323" y="23"/>
                    </a:cubicBezTo>
                    <a:cubicBezTo>
                      <a:pt x="320" y="19"/>
                      <a:pt x="324" y="10"/>
                      <a:pt x="316" y="4"/>
                    </a:cubicBezTo>
                    <a:cubicBezTo>
                      <a:pt x="315" y="8"/>
                      <a:pt x="314" y="11"/>
                      <a:pt x="312" y="14"/>
                    </a:cubicBezTo>
                    <a:cubicBezTo>
                      <a:pt x="306" y="27"/>
                      <a:pt x="276" y="21"/>
                      <a:pt x="256" y="20"/>
                    </a:cubicBezTo>
                    <a:cubicBezTo>
                      <a:pt x="236" y="18"/>
                      <a:pt x="222" y="11"/>
                      <a:pt x="200" y="5"/>
                    </a:cubicBezTo>
                    <a:cubicBezTo>
                      <a:pt x="179" y="0"/>
                      <a:pt x="146" y="8"/>
                      <a:pt x="130" y="10"/>
                    </a:cubicBezTo>
                    <a:cubicBezTo>
                      <a:pt x="114" y="11"/>
                      <a:pt x="86" y="5"/>
                      <a:pt x="74" y="22"/>
                    </a:cubicBezTo>
                    <a:cubicBezTo>
                      <a:pt x="63" y="40"/>
                      <a:pt x="37" y="45"/>
                      <a:pt x="18" y="48"/>
                    </a:cubicBezTo>
                    <a:cubicBezTo>
                      <a:pt x="0" y="51"/>
                      <a:pt x="17" y="61"/>
                      <a:pt x="27" y="71"/>
                    </a:cubicBezTo>
                    <a:cubicBezTo>
                      <a:pt x="37" y="81"/>
                      <a:pt x="33" y="94"/>
                      <a:pt x="41" y="110"/>
                    </a:cubicBezTo>
                    <a:cubicBezTo>
                      <a:pt x="50" y="126"/>
                      <a:pt x="67" y="123"/>
                      <a:pt x="89" y="123"/>
                    </a:cubicBezTo>
                    <a:cubicBezTo>
                      <a:pt x="110" y="123"/>
                      <a:pt x="97" y="134"/>
                      <a:pt x="84" y="151"/>
                    </a:cubicBezTo>
                    <a:cubicBezTo>
                      <a:pt x="77" y="161"/>
                      <a:pt x="75" y="165"/>
                      <a:pt x="75" y="169"/>
                    </a:cubicBezTo>
                    <a:cubicBezTo>
                      <a:pt x="79" y="168"/>
                      <a:pt x="85" y="168"/>
                      <a:pt x="89" y="166"/>
                    </a:cubicBezTo>
                    <a:cubicBezTo>
                      <a:pt x="97" y="161"/>
                      <a:pt x="102" y="156"/>
                      <a:pt x="113" y="15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0" name="Freeform 143">
                <a:extLst>
                  <a:ext uri="{FF2B5EF4-FFF2-40B4-BE49-F238E27FC236}">
                    <a16:creationId xmlns:a16="http://schemas.microsoft.com/office/drawing/2014/main" id="{71736149-77C0-7E4E-8A4F-210AB203C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3" y="1493"/>
                <a:ext cx="19" cy="10"/>
              </a:xfrm>
              <a:custGeom>
                <a:avLst/>
                <a:gdLst>
                  <a:gd name="T0" fmla="*/ 40 w 75"/>
                  <a:gd name="T1" fmla="*/ 5 h 40"/>
                  <a:gd name="T2" fmla="*/ 33 w 75"/>
                  <a:gd name="T3" fmla="*/ 9 h 40"/>
                  <a:gd name="T4" fmla="*/ 4 w 75"/>
                  <a:gd name="T5" fmla="*/ 9 h 40"/>
                  <a:gd name="T6" fmla="*/ 10 w 75"/>
                  <a:gd name="T7" fmla="*/ 23 h 40"/>
                  <a:gd name="T8" fmla="*/ 29 w 75"/>
                  <a:gd name="T9" fmla="*/ 28 h 40"/>
                  <a:gd name="T10" fmla="*/ 41 w 75"/>
                  <a:gd name="T11" fmla="*/ 38 h 40"/>
                  <a:gd name="T12" fmla="*/ 52 w 75"/>
                  <a:gd name="T13" fmla="*/ 37 h 40"/>
                  <a:gd name="T14" fmla="*/ 60 w 75"/>
                  <a:gd name="T15" fmla="*/ 33 h 40"/>
                  <a:gd name="T16" fmla="*/ 68 w 75"/>
                  <a:gd name="T17" fmla="*/ 31 h 40"/>
                  <a:gd name="T18" fmla="*/ 69 w 75"/>
                  <a:gd name="T19" fmla="*/ 27 h 40"/>
                  <a:gd name="T20" fmla="*/ 75 w 75"/>
                  <a:gd name="T21" fmla="*/ 24 h 40"/>
                  <a:gd name="T22" fmla="*/ 69 w 75"/>
                  <a:gd name="T23" fmla="*/ 17 h 40"/>
                  <a:gd name="T24" fmla="*/ 62 w 75"/>
                  <a:gd name="T25" fmla="*/ 10 h 40"/>
                  <a:gd name="T26" fmla="*/ 51 w 75"/>
                  <a:gd name="T27" fmla="*/ 1 h 40"/>
                  <a:gd name="T28" fmla="*/ 40 w 75"/>
                  <a:gd name="T29" fmla="*/ 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5" h="40">
                    <a:moveTo>
                      <a:pt x="40" y="5"/>
                    </a:moveTo>
                    <a:cubicBezTo>
                      <a:pt x="40" y="5"/>
                      <a:pt x="41" y="10"/>
                      <a:pt x="33" y="9"/>
                    </a:cubicBezTo>
                    <a:cubicBezTo>
                      <a:pt x="25" y="7"/>
                      <a:pt x="7" y="8"/>
                      <a:pt x="4" y="9"/>
                    </a:cubicBezTo>
                    <a:cubicBezTo>
                      <a:pt x="1" y="9"/>
                      <a:pt x="0" y="21"/>
                      <a:pt x="10" y="23"/>
                    </a:cubicBezTo>
                    <a:cubicBezTo>
                      <a:pt x="19" y="25"/>
                      <a:pt x="24" y="25"/>
                      <a:pt x="29" y="28"/>
                    </a:cubicBezTo>
                    <a:cubicBezTo>
                      <a:pt x="35" y="31"/>
                      <a:pt x="36" y="36"/>
                      <a:pt x="41" y="38"/>
                    </a:cubicBezTo>
                    <a:cubicBezTo>
                      <a:pt x="46" y="39"/>
                      <a:pt x="49" y="40"/>
                      <a:pt x="52" y="37"/>
                    </a:cubicBezTo>
                    <a:cubicBezTo>
                      <a:pt x="54" y="34"/>
                      <a:pt x="56" y="34"/>
                      <a:pt x="60" y="33"/>
                    </a:cubicBezTo>
                    <a:cubicBezTo>
                      <a:pt x="64" y="33"/>
                      <a:pt x="66" y="34"/>
                      <a:pt x="68" y="31"/>
                    </a:cubicBezTo>
                    <a:cubicBezTo>
                      <a:pt x="69" y="27"/>
                      <a:pt x="66" y="28"/>
                      <a:pt x="69" y="27"/>
                    </a:cubicBezTo>
                    <a:cubicBezTo>
                      <a:pt x="72" y="26"/>
                      <a:pt x="75" y="26"/>
                      <a:pt x="75" y="24"/>
                    </a:cubicBezTo>
                    <a:cubicBezTo>
                      <a:pt x="75" y="21"/>
                      <a:pt x="73" y="17"/>
                      <a:pt x="69" y="17"/>
                    </a:cubicBezTo>
                    <a:cubicBezTo>
                      <a:pt x="66" y="17"/>
                      <a:pt x="69" y="11"/>
                      <a:pt x="62" y="10"/>
                    </a:cubicBezTo>
                    <a:cubicBezTo>
                      <a:pt x="56" y="8"/>
                      <a:pt x="57" y="1"/>
                      <a:pt x="51" y="1"/>
                    </a:cubicBezTo>
                    <a:cubicBezTo>
                      <a:pt x="45" y="0"/>
                      <a:pt x="40" y="0"/>
                      <a:pt x="40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1" name="Freeform 144">
                <a:extLst>
                  <a:ext uri="{FF2B5EF4-FFF2-40B4-BE49-F238E27FC236}">
                    <a16:creationId xmlns:a16="http://schemas.microsoft.com/office/drawing/2014/main" id="{4A7BBB1D-80F4-854F-89A9-C20F30B6CF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2" y="1501"/>
                <a:ext cx="25" cy="20"/>
              </a:xfrm>
              <a:custGeom>
                <a:avLst/>
                <a:gdLst>
                  <a:gd name="T0" fmla="*/ 79 w 101"/>
                  <a:gd name="T1" fmla="*/ 15 h 78"/>
                  <a:gd name="T2" fmla="*/ 71 w 101"/>
                  <a:gd name="T3" fmla="*/ 16 h 78"/>
                  <a:gd name="T4" fmla="*/ 57 w 101"/>
                  <a:gd name="T5" fmla="*/ 10 h 78"/>
                  <a:gd name="T6" fmla="*/ 41 w 101"/>
                  <a:gd name="T7" fmla="*/ 11 h 78"/>
                  <a:gd name="T8" fmla="*/ 24 w 101"/>
                  <a:gd name="T9" fmla="*/ 17 h 78"/>
                  <a:gd name="T10" fmla="*/ 3 w 101"/>
                  <a:gd name="T11" fmla="*/ 22 h 78"/>
                  <a:gd name="T12" fmla="*/ 7 w 101"/>
                  <a:gd name="T13" fmla="*/ 30 h 78"/>
                  <a:gd name="T14" fmla="*/ 4 w 101"/>
                  <a:gd name="T15" fmla="*/ 43 h 78"/>
                  <a:gd name="T16" fmla="*/ 4 w 101"/>
                  <a:gd name="T17" fmla="*/ 49 h 78"/>
                  <a:gd name="T18" fmla="*/ 9 w 101"/>
                  <a:gd name="T19" fmla="*/ 58 h 78"/>
                  <a:gd name="T20" fmla="*/ 8 w 101"/>
                  <a:gd name="T21" fmla="*/ 75 h 78"/>
                  <a:gd name="T22" fmla="*/ 22 w 101"/>
                  <a:gd name="T23" fmla="*/ 74 h 78"/>
                  <a:gd name="T24" fmla="*/ 32 w 101"/>
                  <a:gd name="T25" fmla="*/ 65 h 78"/>
                  <a:gd name="T26" fmla="*/ 46 w 101"/>
                  <a:gd name="T27" fmla="*/ 52 h 78"/>
                  <a:gd name="T28" fmla="*/ 76 w 101"/>
                  <a:gd name="T29" fmla="*/ 45 h 78"/>
                  <a:gd name="T30" fmla="*/ 91 w 101"/>
                  <a:gd name="T31" fmla="*/ 34 h 78"/>
                  <a:gd name="T32" fmla="*/ 100 w 101"/>
                  <a:gd name="T33" fmla="*/ 27 h 78"/>
                  <a:gd name="T34" fmla="*/ 98 w 101"/>
                  <a:gd name="T35" fmla="*/ 10 h 78"/>
                  <a:gd name="T36" fmla="*/ 91 w 101"/>
                  <a:gd name="T37" fmla="*/ 4 h 78"/>
                  <a:gd name="T38" fmla="*/ 79 w 101"/>
                  <a:gd name="T39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1" h="78">
                    <a:moveTo>
                      <a:pt x="79" y="15"/>
                    </a:moveTo>
                    <a:cubicBezTo>
                      <a:pt x="79" y="15"/>
                      <a:pt x="78" y="21"/>
                      <a:pt x="71" y="16"/>
                    </a:cubicBezTo>
                    <a:cubicBezTo>
                      <a:pt x="65" y="12"/>
                      <a:pt x="64" y="11"/>
                      <a:pt x="57" y="10"/>
                    </a:cubicBezTo>
                    <a:cubicBezTo>
                      <a:pt x="50" y="10"/>
                      <a:pt x="48" y="7"/>
                      <a:pt x="41" y="11"/>
                    </a:cubicBezTo>
                    <a:cubicBezTo>
                      <a:pt x="34" y="16"/>
                      <a:pt x="32" y="16"/>
                      <a:pt x="24" y="17"/>
                    </a:cubicBezTo>
                    <a:cubicBezTo>
                      <a:pt x="16" y="18"/>
                      <a:pt x="3" y="18"/>
                      <a:pt x="3" y="22"/>
                    </a:cubicBezTo>
                    <a:cubicBezTo>
                      <a:pt x="3" y="26"/>
                      <a:pt x="7" y="23"/>
                      <a:pt x="7" y="30"/>
                    </a:cubicBezTo>
                    <a:cubicBezTo>
                      <a:pt x="7" y="37"/>
                      <a:pt x="7" y="41"/>
                      <a:pt x="4" y="43"/>
                    </a:cubicBezTo>
                    <a:cubicBezTo>
                      <a:pt x="1" y="45"/>
                      <a:pt x="0" y="48"/>
                      <a:pt x="4" y="49"/>
                    </a:cubicBezTo>
                    <a:cubicBezTo>
                      <a:pt x="8" y="50"/>
                      <a:pt x="10" y="51"/>
                      <a:pt x="9" y="58"/>
                    </a:cubicBezTo>
                    <a:cubicBezTo>
                      <a:pt x="9" y="66"/>
                      <a:pt x="5" y="74"/>
                      <a:pt x="8" y="75"/>
                    </a:cubicBezTo>
                    <a:cubicBezTo>
                      <a:pt x="11" y="76"/>
                      <a:pt x="20" y="78"/>
                      <a:pt x="22" y="74"/>
                    </a:cubicBezTo>
                    <a:cubicBezTo>
                      <a:pt x="24" y="70"/>
                      <a:pt x="30" y="71"/>
                      <a:pt x="32" y="65"/>
                    </a:cubicBezTo>
                    <a:cubicBezTo>
                      <a:pt x="34" y="59"/>
                      <a:pt x="37" y="53"/>
                      <a:pt x="46" y="52"/>
                    </a:cubicBezTo>
                    <a:cubicBezTo>
                      <a:pt x="55" y="52"/>
                      <a:pt x="70" y="51"/>
                      <a:pt x="76" y="45"/>
                    </a:cubicBezTo>
                    <a:cubicBezTo>
                      <a:pt x="81" y="38"/>
                      <a:pt x="85" y="37"/>
                      <a:pt x="91" y="34"/>
                    </a:cubicBezTo>
                    <a:cubicBezTo>
                      <a:pt x="97" y="31"/>
                      <a:pt x="99" y="34"/>
                      <a:pt x="100" y="27"/>
                    </a:cubicBezTo>
                    <a:cubicBezTo>
                      <a:pt x="101" y="19"/>
                      <a:pt x="98" y="15"/>
                      <a:pt x="98" y="10"/>
                    </a:cubicBezTo>
                    <a:cubicBezTo>
                      <a:pt x="99" y="5"/>
                      <a:pt x="93" y="0"/>
                      <a:pt x="91" y="4"/>
                    </a:cubicBezTo>
                    <a:cubicBezTo>
                      <a:pt x="90" y="7"/>
                      <a:pt x="81" y="10"/>
                      <a:pt x="79" y="1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2" name="Freeform 145">
                <a:extLst>
                  <a:ext uri="{FF2B5EF4-FFF2-40B4-BE49-F238E27FC236}">
                    <a16:creationId xmlns:a16="http://schemas.microsoft.com/office/drawing/2014/main" id="{57C49F81-B0D0-884F-A83E-4C0C7250C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" y="1235"/>
                <a:ext cx="211" cy="347"/>
              </a:xfrm>
              <a:custGeom>
                <a:avLst/>
                <a:gdLst>
                  <a:gd name="T0" fmla="*/ 808 w 835"/>
                  <a:gd name="T1" fmla="*/ 283 h 1372"/>
                  <a:gd name="T2" fmla="*/ 804 w 835"/>
                  <a:gd name="T3" fmla="*/ 226 h 1372"/>
                  <a:gd name="T4" fmla="*/ 796 w 835"/>
                  <a:gd name="T5" fmla="*/ 173 h 1372"/>
                  <a:gd name="T6" fmla="*/ 794 w 835"/>
                  <a:gd name="T7" fmla="*/ 129 h 1372"/>
                  <a:gd name="T8" fmla="*/ 738 w 835"/>
                  <a:gd name="T9" fmla="*/ 75 h 1372"/>
                  <a:gd name="T10" fmla="*/ 675 w 835"/>
                  <a:gd name="T11" fmla="*/ 52 h 1372"/>
                  <a:gd name="T12" fmla="*/ 620 w 835"/>
                  <a:gd name="T13" fmla="*/ 4 h 1372"/>
                  <a:gd name="T14" fmla="*/ 585 w 835"/>
                  <a:gd name="T15" fmla="*/ 17 h 1372"/>
                  <a:gd name="T16" fmla="*/ 579 w 835"/>
                  <a:gd name="T17" fmla="*/ 48 h 1372"/>
                  <a:gd name="T18" fmla="*/ 570 w 835"/>
                  <a:gd name="T19" fmla="*/ 82 h 1372"/>
                  <a:gd name="T20" fmla="*/ 498 w 835"/>
                  <a:gd name="T21" fmla="*/ 67 h 1372"/>
                  <a:gd name="T22" fmla="*/ 447 w 835"/>
                  <a:gd name="T23" fmla="*/ 82 h 1372"/>
                  <a:gd name="T24" fmla="*/ 430 w 835"/>
                  <a:gd name="T25" fmla="*/ 122 h 1372"/>
                  <a:gd name="T26" fmla="*/ 391 w 835"/>
                  <a:gd name="T27" fmla="*/ 106 h 1372"/>
                  <a:gd name="T28" fmla="*/ 348 w 835"/>
                  <a:gd name="T29" fmla="*/ 162 h 1372"/>
                  <a:gd name="T30" fmla="*/ 332 w 835"/>
                  <a:gd name="T31" fmla="*/ 195 h 1372"/>
                  <a:gd name="T32" fmla="*/ 322 w 835"/>
                  <a:gd name="T33" fmla="*/ 238 h 1372"/>
                  <a:gd name="T34" fmla="*/ 286 w 835"/>
                  <a:gd name="T35" fmla="*/ 293 h 1372"/>
                  <a:gd name="T36" fmla="*/ 225 w 835"/>
                  <a:gd name="T37" fmla="*/ 357 h 1372"/>
                  <a:gd name="T38" fmla="*/ 212 w 835"/>
                  <a:gd name="T39" fmla="*/ 414 h 1372"/>
                  <a:gd name="T40" fmla="*/ 185 w 835"/>
                  <a:gd name="T41" fmla="*/ 493 h 1372"/>
                  <a:gd name="T42" fmla="*/ 191 w 835"/>
                  <a:gd name="T43" fmla="*/ 523 h 1372"/>
                  <a:gd name="T44" fmla="*/ 132 w 835"/>
                  <a:gd name="T45" fmla="*/ 536 h 1372"/>
                  <a:gd name="T46" fmla="*/ 74 w 835"/>
                  <a:gd name="T47" fmla="*/ 585 h 1372"/>
                  <a:gd name="T48" fmla="*/ 73 w 835"/>
                  <a:gd name="T49" fmla="*/ 639 h 1372"/>
                  <a:gd name="T50" fmla="*/ 69 w 835"/>
                  <a:gd name="T51" fmla="*/ 701 h 1372"/>
                  <a:gd name="T52" fmla="*/ 67 w 835"/>
                  <a:gd name="T53" fmla="*/ 750 h 1372"/>
                  <a:gd name="T54" fmla="*/ 104 w 835"/>
                  <a:gd name="T55" fmla="*/ 794 h 1372"/>
                  <a:gd name="T56" fmla="*/ 89 w 835"/>
                  <a:gd name="T57" fmla="*/ 835 h 1372"/>
                  <a:gd name="T58" fmla="*/ 91 w 835"/>
                  <a:gd name="T59" fmla="*/ 879 h 1372"/>
                  <a:gd name="T60" fmla="*/ 88 w 835"/>
                  <a:gd name="T61" fmla="*/ 928 h 1372"/>
                  <a:gd name="T62" fmla="*/ 49 w 835"/>
                  <a:gd name="T63" fmla="*/ 956 h 1372"/>
                  <a:gd name="T64" fmla="*/ 47 w 835"/>
                  <a:gd name="T65" fmla="*/ 1010 h 1372"/>
                  <a:gd name="T66" fmla="*/ 13 w 835"/>
                  <a:gd name="T67" fmla="*/ 1023 h 1372"/>
                  <a:gd name="T68" fmla="*/ 11 w 835"/>
                  <a:gd name="T69" fmla="*/ 1066 h 1372"/>
                  <a:gd name="T70" fmla="*/ 54 w 835"/>
                  <a:gd name="T71" fmla="*/ 1156 h 1372"/>
                  <a:gd name="T72" fmla="*/ 103 w 835"/>
                  <a:gd name="T73" fmla="*/ 1242 h 1372"/>
                  <a:gd name="T74" fmla="*/ 110 w 835"/>
                  <a:gd name="T75" fmla="*/ 1316 h 1372"/>
                  <a:gd name="T76" fmla="*/ 196 w 835"/>
                  <a:gd name="T77" fmla="*/ 1358 h 1372"/>
                  <a:gd name="T78" fmla="*/ 222 w 835"/>
                  <a:gd name="T79" fmla="*/ 1305 h 1372"/>
                  <a:gd name="T80" fmla="*/ 304 w 835"/>
                  <a:gd name="T81" fmla="*/ 1295 h 1372"/>
                  <a:gd name="T82" fmla="*/ 342 w 835"/>
                  <a:gd name="T83" fmla="*/ 1225 h 1372"/>
                  <a:gd name="T84" fmla="*/ 358 w 835"/>
                  <a:gd name="T85" fmla="*/ 1142 h 1372"/>
                  <a:gd name="T86" fmla="*/ 382 w 835"/>
                  <a:gd name="T87" fmla="*/ 1060 h 1372"/>
                  <a:gd name="T88" fmla="*/ 431 w 835"/>
                  <a:gd name="T89" fmla="*/ 1045 h 1372"/>
                  <a:gd name="T90" fmla="*/ 480 w 835"/>
                  <a:gd name="T91" fmla="*/ 981 h 1372"/>
                  <a:gd name="T92" fmla="*/ 488 w 835"/>
                  <a:gd name="T93" fmla="*/ 937 h 1372"/>
                  <a:gd name="T94" fmla="*/ 460 w 835"/>
                  <a:gd name="T95" fmla="*/ 901 h 1372"/>
                  <a:gd name="T96" fmla="*/ 395 w 835"/>
                  <a:gd name="T97" fmla="*/ 872 h 1372"/>
                  <a:gd name="T98" fmla="*/ 405 w 835"/>
                  <a:gd name="T99" fmla="*/ 759 h 1372"/>
                  <a:gd name="T100" fmla="*/ 413 w 835"/>
                  <a:gd name="T101" fmla="*/ 691 h 1372"/>
                  <a:gd name="T102" fmla="*/ 474 w 835"/>
                  <a:gd name="T103" fmla="*/ 634 h 1372"/>
                  <a:gd name="T104" fmla="*/ 570 w 835"/>
                  <a:gd name="T105" fmla="*/ 583 h 1372"/>
                  <a:gd name="T106" fmla="*/ 653 w 835"/>
                  <a:gd name="T107" fmla="*/ 514 h 1372"/>
                  <a:gd name="T108" fmla="*/ 649 w 835"/>
                  <a:gd name="T109" fmla="*/ 455 h 1372"/>
                  <a:gd name="T110" fmla="*/ 693 w 835"/>
                  <a:gd name="T111" fmla="*/ 385 h 1372"/>
                  <a:gd name="T112" fmla="*/ 768 w 835"/>
                  <a:gd name="T113" fmla="*/ 363 h 1372"/>
                  <a:gd name="T114" fmla="*/ 835 w 835"/>
                  <a:gd name="T115" fmla="*/ 362 h 1372"/>
                  <a:gd name="T116" fmla="*/ 806 w 835"/>
                  <a:gd name="T117" fmla="*/ 314 h 1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35" h="1372">
                    <a:moveTo>
                      <a:pt x="806" y="314"/>
                    </a:moveTo>
                    <a:cubicBezTo>
                      <a:pt x="798" y="307"/>
                      <a:pt x="802" y="287"/>
                      <a:pt x="808" y="283"/>
                    </a:cubicBezTo>
                    <a:cubicBezTo>
                      <a:pt x="815" y="278"/>
                      <a:pt x="814" y="273"/>
                      <a:pt x="820" y="259"/>
                    </a:cubicBezTo>
                    <a:cubicBezTo>
                      <a:pt x="825" y="245"/>
                      <a:pt x="814" y="235"/>
                      <a:pt x="804" y="226"/>
                    </a:cubicBezTo>
                    <a:cubicBezTo>
                      <a:pt x="794" y="217"/>
                      <a:pt x="794" y="208"/>
                      <a:pt x="804" y="199"/>
                    </a:cubicBezTo>
                    <a:cubicBezTo>
                      <a:pt x="814" y="191"/>
                      <a:pt x="802" y="178"/>
                      <a:pt x="796" y="173"/>
                    </a:cubicBezTo>
                    <a:cubicBezTo>
                      <a:pt x="791" y="169"/>
                      <a:pt x="793" y="161"/>
                      <a:pt x="790" y="154"/>
                    </a:cubicBezTo>
                    <a:cubicBezTo>
                      <a:pt x="786" y="147"/>
                      <a:pt x="789" y="139"/>
                      <a:pt x="794" y="129"/>
                    </a:cubicBezTo>
                    <a:cubicBezTo>
                      <a:pt x="800" y="118"/>
                      <a:pt x="778" y="101"/>
                      <a:pt x="766" y="92"/>
                    </a:cubicBezTo>
                    <a:cubicBezTo>
                      <a:pt x="754" y="83"/>
                      <a:pt x="748" y="81"/>
                      <a:pt x="738" y="75"/>
                    </a:cubicBezTo>
                    <a:cubicBezTo>
                      <a:pt x="728" y="69"/>
                      <a:pt x="712" y="69"/>
                      <a:pt x="702" y="69"/>
                    </a:cubicBezTo>
                    <a:cubicBezTo>
                      <a:pt x="693" y="69"/>
                      <a:pt x="681" y="59"/>
                      <a:pt x="675" y="52"/>
                    </a:cubicBezTo>
                    <a:cubicBezTo>
                      <a:pt x="669" y="45"/>
                      <a:pt x="644" y="29"/>
                      <a:pt x="630" y="24"/>
                    </a:cubicBezTo>
                    <a:cubicBezTo>
                      <a:pt x="622" y="22"/>
                      <a:pt x="620" y="12"/>
                      <a:pt x="620" y="4"/>
                    </a:cubicBezTo>
                    <a:cubicBezTo>
                      <a:pt x="610" y="5"/>
                      <a:pt x="599" y="0"/>
                      <a:pt x="581" y="2"/>
                    </a:cubicBezTo>
                    <a:cubicBezTo>
                      <a:pt x="556" y="4"/>
                      <a:pt x="578" y="13"/>
                      <a:pt x="585" y="17"/>
                    </a:cubicBezTo>
                    <a:cubicBezTo>
                      <a:pt x="592" y="21"/>
                      <a:pt x="591" y="26"/>
                      <a:pt x="591" y="37"/>
                    </a:cubicBezTo>
                    <a:cubicBezTo>
                      <a:pt x="591" y="47"/>
                      <a:pt x="585" y="44"/>
                      <a:pt x="579" y="48"/>
                    </a:cubicBezTo>
                    <a:cubicBezTo>
                      <a:pt x="572" y="52"/>
                      <a:pt x="569" y="60"/>
                      <a:pt x="574" y="63"/>
                    </a:cubicBezTo>
                    <a:cubicBezTo>
                      <a:pt x="578" y="66"/>
                      <a:pt x="574" y="73"/>
                      <a:pt x="570" y="82"/>
                    </a:cubicBezTo>
                    <a:cubicBezTo>
                      <a:pt x="567" y="91"/>
                      <a:pt x="545" y="81"/>
                      <a:pt x="538" y="73"/>
                    </a:cubicBezTo>
                    <a:cubicBezTo>
                      <a:pt x="531" y="66"/>
                      <a:pt x="512" y="68"/>
                      <a:pt x="498" y="67"/>
                    </a:cubicBezTo>
                    <a:cubicBezTo>
                      <a:pt x="483" y="65"/>
                      <a:pt x="481" y="56"/>
                      <a:pt x="458" y="56"/>
                    </a:cubicBezTo>
                    <a:cubicBezTo>
                      <a:pt x="435" y="56"/>
                      <a:pt x="447" y="74"/>
                      <a:pt x="447" y="82"/>
                    </a:cubicBezTo>
                    <a:cubicBezTo>
                      <a:pt x="447" y="91"/>
                      <a:pt x="453" y="98"/>
                      <a:pt x="449" y="107"/>
                    </a:cubicBezTo>
                    <a:cubicBezTo>
                      <a:pt x="446" y="116"/>
                      <a:pt x="436" y="121"/>
                      <a:pt x="430" y="122"/>
                    </a:cubicBezTo>
                    <a:cubicBezTo>
                      <a:pt x="425" y="123"/>
                      <a:pt x="413" y="119"/>
                      <a:pt x="410" y="112"/>
                    </a:cubicBezTo>
                    <a:cubicBezTo>
                      <a:pt x="408" y="105"/>
                      <a:pt x="404" y="106"/>
                      <a:pt x="391" y="106"/>
                    </a:cubicBezTo>
                    <a:cubicBezTo>
                      <a:pt x="378" y="107"/>
                      <a:pt x="378" y="122"/>
                      <a:pt x="368" y="128"/>
                    </a:cubicBezTo>
                    <a:cubicBezTo>
                      <a:pt x="357" y="134"/>
                      <a:pt x="351" y="149"/>
                      <a:pt x="348" y="162"/>
                    </a:cubicBezTo>
                    <a:cubicBezTo>
                      <a:pt x="345" y="176"/>
                      <a:pt x="340" y="172"/>
                      <a:pt x="328" y="175"/>
                    </a:cubicBezTo>
                    <a:cubicBezTo>
                      <a:pt x="315" y="178"/>
                      <a:pt x="323" y="189"/>
                      <a:pt x="332" y="195"/>
                    </a:cubicBezTo>
                    <a:cubicBezTo>
                      <a:pt x="341" y="200"/>
                      <a:pt x="338" y="209"/>
                      <a:pt x="337" y="218"/>
                    </a:cubicBezTo>
                    <a:cubicBezTo>
                      <a:pt x="337" y="228"/>
                      <a:pt x="335" y="230"/>
                      <a:pt x="322" y="238"/>
                    </a:cubicBezTo>
                    <a:cubicBezTo>
                      <a:pt x="309" y="246"/>
                      <a:pt x="308" y="264"/>
                      <a:pt x="291" y="272"/>
                    </a:cubicBezTo>
                    <a:cubicBezTo>
                      <a:pt x="274" y="280"/>
                      <a:pt x="285" y="279"/>
                      <a:pt x="286" y="293"/>
                    </a:cubicBezTo>
                    <a:cubicBezTo>
                      <a:pt x="287" y="306"/>
                      <a:pt x="245" y="320"/>
                      <a:pt x="226" y="321"/>
                    </a:cubicBezTo>
                    <a:cubicBezTo>
                      <a:pt x="208" y="321"/>
                      <a:pt x="225" y="345"/>
                      <a:pt x="225" y="357"/>
                    </a:cubicBezTo>
                    <a:cubicBezTo>
                      <a:pt x="225" y="369"/>
                      <a:pt x="222" y="372"/>
                      <a:pt x="218" y="384"/>
                    </a:cubicBezTo>
                    <a:cubicBezTo>
                      <a:pt x="213" y="397"/>
                      <a:pt x="210" y="399"/>
                      <a:pt x="212" y="414"/>
                    </a:cubicBezTo>
                    <a:cubicBezTo>
                      <a:pt x="213" y="428"/>
                      <a:pt x="190" y="457"/>
                      <a:pt x="171" y="470"/>
                    </a:cubicBezTo>
                    <a:cubicBezTo>
                      <a:pt x="152" y="483"/>
                      <a:pt x="173" y="490"/>
                      <a:pt x="185" y="493"/>
                    </a:cubicBezTo>
                    <a:cubicBezTo>
                      <a:pt x="198" y="497"/>
                      <a:pt x="195" y="503"/>
                      <a:pt x="198" y="510"/>
                    </a:cubicBezTo>
                    <a:cubicBezTo>
                      <a:pt x="201" y="517"/>
                      <a:pt x="197" y="523"/>
                      <a:pt x="191" y="523"/>
                    </a:cubicBezTo>
                    <a:cubicBezTo>
                      <a:pt x="185" y="523"/>
                      <a:pt x="186" y="537"/>
                      <a:pt x="178" y="537"/>
                    </a:cubicBezTo>
                    <a:cubicBezTo>
                      <a:pt x="171" y="537"/>
                      <a:pt x="151" y="540"/>
                      <a:pt x="132" y="536"/>
                    </a:cubicBezTo>
                    <a:cubicBezTo>
                      <a:pt x="113" y="532"/>
                      <a:pt x="108" y="544"/>
                      <a:pt x="101" y="548"/>
                    </a:cubicBezTo>
                    <a:cubicBezTo>
                      <a:pt x="94" y="553"/>
                      <a:pt x="81" y="576"/>
                      <a:pt x="74" y="585"/>
                    </a:cubicBezTo>
                    <a:cubicBezTo>
                      <a:pt x="68" y="593"/>
                      <a:pt x="62" y="603"/>
                      <a:pt x="61" y="615"/>
                    </a:cubicBezTo>
                    <a:cubicBezTo>
                      <a:pt x="59" y="627"/>
                      <a:pt x="69" y="630"/>
                      <a:pt x="73" y="639"/>
                    </a:cubicBezTo>
                    <a:cubicBezTo>
                      <a:pt x="78" y="647"/>
                      <a:pt x="65" y="657"/>
                      <a:pt x="65" y="671"/>
                    </a:cubicBezTo>
                    <a:cubicBezTo>
                      <a:pt x="65" y="684"/>
                      <a:pt x="64" y="695"/>
                      <a:pt x="69" y="701"/>
                    </a:cubicBezTo>
                    <a:cubicBezTo>
                      <a:pt x="75" y="707"/>
                      <a:pt x="74" y="711"/>
                      <a:pt x="74" y="724"/>
                    </a:cubicBezTo>
                    <a:cubicBezTo>
                      <a:pt x="74" y="737"/>
                      <a:pt x="70" y="737"/>
                      <a:pt x="67" y="750"/>
                    </a:cubicBezTo>
                    <a:cubicBezTo>
                      <a:pt x="65" y="763"/>
                      <a:pt x="74" y="761"/>
                      <a:pt x="75" y="774"/>
                    </a:cubicBezTo>
                    <a:cubicBezTo>
                      <a:pt x="77" y="786"/>
                      <a:pt x="92" y="791"/>
                      <a:pt x="104" y="794"/>
                    </a:cubicBezTo>
                    <a:cubicBezTo>
                      <a:pt x="116" y="798"/>
                      <a:pt x="117" y="808"/>
                      <a:pt x="113" y="818"/>
                    </a:cubicBezTo>
                    <a:cubicBezTo>
                      <a:pt x="110" y="827"/>
                      <a:pt x="100" y="833"/>
                      <a:pt x="89" y="835"/>
                    </a:cubicBezTo>
                    <a:cubicBezTo>
                      <a:pt x="79" y="836"/>
                      <a:pt x="81" y="841"/>
                      <a:pt x="77" y="851"/>
                    </a:cubicBezTo>
                    <a:cubicBezTo>
                      <a:pt x="72" y="862"/>
                      <a:pt x="82" y="870"/>
                      <a:pt x="91" y="879"/>
                    </a:cubicBezTo>
                    <a:cubicBezTo>
                      <a:pt x="100" y="887"/>
                      <a:pt x="94" y="889"/>
                      <a:pt x="93" y="897"/>
                    </a:cubicBezTo>
                    <a:cubicBezTo>
                      <a:pt x="91" y="904"/>
                      <a:pt x="91" y="919"/>
                      <a:pt x="88" y="928"/>
                    </a:cubicBezTo>
                    <a:cubicBezTo>
                      <a:pt x="86" y="936"/>
                      <a:pt x="79" y="943"/>
                      <a:pt x="67" y="943"/>
                    </a:cubicBezTo>
                    <a:cubicBezTo>
                      <a:pt x="55" y="943"/>
                      <a:pt x="51" y="947"/>
                      <a:pt x="49" y="956"/>
                    </a:cubicBezTo>
                    <a:cubicBezTo>
                      <a:pt x="47" y="966"/>
                      <a:pt x="45" y="975"/>
                      <a:pt x="37" y="986"/>
                    </a:cubicBezTo>
                    <a:cubicBezTo>
                      <a:pt x="30" y="998"/>
                      <a:pt x="44" y="999"/>
                      <a:pt x="47" y="1010"/>
                    </a:cubicBezTo>
                    <a:cubicBezTo>
                      <a:pt x="49" y="1022"/>
                      <a:pt x="42" y="1029"/>
                      <a:pt x="34" y="1035"/>
                    </a:cubicBezTo>
                    <a:cubicBezTo>
                      <a:pt x="25" y="1041"/>
                      <a:pt x="22" y="1036"/>
                      <a:pt x="13" y="1023"/>
                    </a:cubicBezTo>
                    <a:cubicBezTo>
                      <a:pt x="8" y="1017"/>
                      <a:pt x="3" y="1019"/>
                      <a:pt x="0" y="1023"/>
                    </a:cubicBezTo>
                    <a:cubicBezTo>
                      <a:pt x="5" y="1032"/>
                      <a:pt x="8" y="1045"/>
                      <a:pt x="11" y="1066"/>
                    </a:cubicBezTo>
                    <a:cubicBezTo>
                      <a:pt x="15" y="1096"/>
                      <a:pt x="23" y="1091"/>
                      <a:pt x="36" y="1106"/>
                    </a:cubicBezTo>
                    <a:cubicBezTo>
                      <a:pt x="48" y="1120"/>
                      <a:pt x="53" y="1131"/>
                      <a:pt x="54" y="1156"/>
                    </a:cubicBezTo>
                    <a:cubicBezTo>
                      <a:pt x="56" y="1180"/>
                      <a:pt x="70" y="1177"/>
                      <a:pt x="73" y="1200"/>
                    </a:cubicBezTo>
                    <a:cubicBezTo>
                      <a:pt x="76" y="1223"/>
                      <a:pt x="80" y="1220"/>
                      <a:pt x="103" y="1242"/>
                    </a:cubicBezTo>
                    <a:cubicBezTo>
                      <a:pt x="126" y="1263"/>
                      <a:pt x="114" y="1260"/>
                      <a:pt x="101" y="1282"/>
                    </a:cubicBezTo>
                    <a:cubicBezTo>
                      <a:pt x="89" y="1303"/>
                      <a:pt x="94" y="1302"/>
                      <a:pt x="110" y="1316"/>
                    </a:cubicBezTo>
                    <a:cubicBezTo>
                      <a:pt x="126" y="1331"/>
                      <a:pt x="117" y="1341"/>
                      <a:pt x="127" y="1357"/>
                    </a:cubicBezTo>
                    <a:cubicBezTo>
                      <a:pt x="137" y="1372"/>
                      <a:pt x="175" y="1361"/>
                      <a:pt x="196" y="1358"/>
                    </a:cubicBezTo>
                    <a:cubicBezTo>
                      <a:pt x="218" y="1355"/>
                      <a:pt x="205" y="1342"/>
                      <a:pt x="203" y="1329"/>
                    </a:cubicBezTo>
                    <a:cubicBezTo>
                      <a:pt x="202" y="1316"/>
                      <a:pt x="208" y="1324"/>
                      <a:pt x="222" y="1305"/>
                    </a:cubicBezTo>
                    <a:cubicBezTo>
                      <a:pt x="236" y="1286"/>
                      <a:pt x="248" y="1299"/>
                      <a:pt x="261" y="1291"/>
                    </a:cubicBezTo>
                    <a:cubicBezTo>
                      <a:pt x="273" y="1282"/>
                      <a:pt x="288" y="1291"/>
                      <a:pt x="304" y="1295"/>
                    </a:cubicBezTo>
                    <a:cubicBezTo>
                      <a:pt x="319" y="1299"/>
                      <a:pt x="318" y="1285"/>
                      <a:pt x="322" y="1262"/>
                    </a:cubicBezTo>
                    <a:cubicBezTo>
                      <a:pt x="327" y="1239"/>
                      <a:pt x="342" y="1246"/>
                      <a:pt x="342" y="1225"/>
                    </a:cubicBezTo>
                    <a:cubicBezTo>
                      <a:pt x="342" y="1203"/>
                      <a:pt x="347" y="1202"/>
                      <a:pt x="354" y="1180"/>
                    </a:cubicBezTo>
                    <a:cubicBezTo>
                      <a:pt x="361" y="1159"/>
                      <a:pt x="345" y="1153"/>
                      <a:pt x="358" y="1142"/>
                    </a:cubicBezTo>
                    <a:cubicBezTo>
                      <a:pt x="371" y="1130"/>
                      <a:pt x="355" y="1107"/>
                      <a:pt x="355" y="1090"/>
                    </a:cubicBezTo>
                    <a:cubicBezTo>
                      <a:pt x="355" y="1073"/>
                      <a:pt x="372" y="1064"/>
                      <a:pt x="382" y="1060"/>
                    </a:cubicBezTo>
                    <a:cubicBezTo>
                      <a:pt x="392" y="1056"/>
                      <a:pt x="404" y="1057"/>
                      <a:pt x="414" y="1043"/>
                    </a:cubicBezTo>
                    <a:cubicBezTo>
                      <a:pt x="424" y="1028"/>
                      <a:pt x="433" y="1035"/>
                      <a:pt x="431" y="1045"/>
                    </a:cubicBezTo>
                    <a:cubicBezTo>
                      <a:pt x="430" y="1056"/>
                      <a:pt x="458" y="1020"/>
                      <a:pt x="468" y="1015"/>
                    </a:cubicBezTo>
                    <a:cubicBezTo>
                      <a:pt x="478" y="1011"/>
                      <a:pt x="480" y="995"/>
                      <a:pt x="480" y="981"/>
                    </a:cubicBezTo>
                    <a:cubicBezTo>
                      <a:pt x="480" y="967"/>
                      <a:pt x="490" y="971"/>
                      <a:pt x="501" y="964"/>
                    </a:cubicBezTo>
                    <a:cubicBezTo>
                      <a:pt x="513" y="957"/>
                      <a:pt x="497" y="944"/>
                      <a:pt x="488" y="937"/>
                    </a:cubicBezTo>
                    <a:cubicBezTo>
                      <a:pt x="480" y="929"/>
                      <a:pt x="478" y="925"/>
                      <a:pt x="478" y="914"/>
                    </a:cubicBezTo>
                    <a:cubicBezTo>
                      <a:pt x="478" y="902"/>
                      <a:pt x="467" y="901"/>
                      <a:pt x="460" y="901"/>
                    </a:cubicBezTo>
                    <a:cubicBezTo>
                      <a:pt x="453" y="901"/>
                      <a:pt x="450" y="894"/>
                      <a:pt x="435" y="884"/>
                    </a:cubicBezTo>
                    <a:cubicBezTo>
                      <a:pt x="421" y="873"/>
                      <a:pt x="410" y="881"/>
                      <a:pt x="395" y="872"/>
                    </a:cubicBezTo>
                    <a:cubicBezTo>
                      <a:pt x="381" y="863"/>
                      <a:pt x="387" y="826"/>
                      <a:pt x="387" y="810"/>
                    </a:cubicBezTo>
                    <a:cubicBezTo>
                      <a:pt x="387" y="795"/>
                      <a:pt x="398" y="773"/>
                      <a:pt x="405" y="759"/>
                    </a:cubicBezTo>
                    <a:cubicBezTo>
                      <a:pt x="413" y="744"/>
                      <a:pt x="408" y="734"/>
                      <a:pt x="407" y="717"/>
                    </a:cubicBezTo>
                    <a:cubicBezTo>
                      <a:pt x="405" y="700"/>
                      <a:pt x="404" y="709"/>
                      <a:pt x="413" y="691"/>
                    </a:cubicBezTo>
                    <a:cubicBezTo>
                      <a:pt x="421" y="674"/>
                      <a:pt x="440" y="687"/>
                      <a:pt x="447" y="667"/>
                    </a:cubicBezTo>
                    <a:cubicBezTo>
                      <a:pt x="454" y="647"/>
                      <a:pt x="461" y="654"/>
                      <a:pt x="474" y="634"/>
                    </a:cubicBezTo>
                    <a:cubicBezTo>
                      <a:pt x="487" y="614"/>
                      <a:pt x="497" y="613"/>
                      <a:pt x="530" y="600"/>
                    </a:cubicBezTo>
                    <a:cubicBezTo>
                      <a:pt x="563" y="587"/>
                      <a:pt x="557" y="595"/>
                      <a:pt x="570" y="583"/>
                    </a:cubicBezTo>
                    <a:cubicBezTo>
                      <a:pt x="583" y="570"/>
                      <a:pt x="596" y="570"/>
                      <a:pt x="617" y="558"/>
                    </a:cubicBezTo>
                    <a:cubicBezTo>
                      <a:pt x="639" y="547"/>
                      <a:pt x="623" y="537"/>
                      <a:pt x="653" y="514"/>
                    </a:cubicBezTo>
                    <a:cubicBezTo>
                      <a:pt x="683" y="491"/>
                      <a:pt x="666" y="485"/>
                      <a:pt x="659" y="481"/>
                    </a:cubicBezTo>
                    <a:cubicBezTo>
                      <a:pt x="652" y="476"/>
                      <a:pt x="650" y="471"/>
                      <a:pt x="649" y="455"/>
                    </a:cubicBezTo>
                    <a:cubicBezTo>
                      <a:pt x="648" y="439"/>
                      <a:pt x="669" y="438"/>
                      <a:pt x="672" y="415"/>
                    </a:cubicBezTo>
                    <a:cubicBezTo>
                      <a:pt x="675" y="392"/>
                      <a:pt x="688" y="400"/>
                      <a:pt x="693" y="385"/>
                    </a:cubicBezTo>
                    <a:cubicBezTo>
                      <a:pt x="699" y="369"/>
                      <a:pt x="714" y="379"/>
                      <a:pt x="721" y="365"/>
                    </a:cubicBezTo>
                    <a:cubicBezTo>
                      <a:pt x="728" y="350"/>
                      <a:pt x="745" y="353"/>
                      <a:pt x="768" y="363"/>
                    </a:cubicBezTo>
                    <a:cubicBezTo>
                      <a:pt x="791" y="373"/>
                      <a:pt x="795" y="357"/>
                      <a:pt x="817" y="362"/>
                    </a:cubicBezTo>
                    <a:cubicBezTo>
                      <a:pt x="823" y="363"/>
                      <a:pt x="830" y="363"/>
                      <a:pt x="835" y="362"/>
                    </a:cubicBezTo>
                    <a:cubicBezTo>
                      <a:pt x="835" y="354"/>
                      <a:pt x="833" y="346"/>
                      <a:pt x="830" y="339"/>
                    </a:cubicBezTo>
                    <a:cubicBezTo>
                      <a:pt x="828" y="331"/>
                      <a:pt x="815" y="321"/>
                      <a:pt x="806" y="3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3" name="Freeform 146">
                <a:extLst>
                  <a:ext uri="{FF2B5EF4-FFF2-40B4-BE49-F238E27FC236}">
                    <a16:creationId xmlns:a16="http://schemas.microsoft.com/office/drawing/2014/main" id="{C4AE9080-B9F3-1246-80BD-F48A4756D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0" y="1518"/>
                <a:ext cx="20" cy="29"/>
              </a:xfrm>
              <a:custGeom>
                <a:avLst/>
                <a:gdLst>
                  <a:gd name="T0" fmla="*/ 38 w 80"/>
                  <a:gd name="T1" fmla="*/ 16 h 113"/>
                  <a:gd name="T2" fmla="*/ 22 w 80"/>
                  <a:gd name="T3" fmla="*/ 30 h 113"/>
                  <a:gd name="T4" fmla="*/ 8 w 80"/>
                  <a:gd name="T5" fmla="*/ 48 h 113"/>
                  <a:gd name="T6" fmla="*/ 8 w 80"/>
                  <a:gd name="T7" fmla="*/ 63 h 113"/>
                  <a:gd name="T8" fmla="*/ 11 w 80"/>
                  <a:gd name="T9" fmla="*/ 80 h 113"/>
                  <a:gd name="T10" fmla="*/ 11 w 80"/>
                  <a:gd name="T11" fmla="*/ 92 h 113"/>
                  <a:gd name="T12" fmla="*/ 3 w 80"/>
                  <a:gd name="T13" fmla="*/ 109 h 113"/>
                  <a:gd name="T14" fmla="*/ 24 w 80"/>
                  <a:gd name="T15" fmla="*/ 99 h 113"/>
                  <a:gd name="T16" fmla="*/ 43 w 80"/>
                  <a:gd name="T17" fmla="*/ 73 h 113"/>
                  <a:gd name="T18" fmla="*/ 63 w 80"/>
                  <a:gd name="T19" fmla="*/ 53 h 113"/>
                  <a:gd name="T20" fmla="*/ 69 w 80"/>
                  <a:gd name="T21" fmla="*/ 22 h 113"/>
                  <a:gd name="T22" fmla="*/ 80 w 80"/>
                  <a:gd name="T23" fmla="*/ 9 h 113"/>
                  <a:gd name="T24" fmla="*/ 64 w 80"/>
                  <a:gd name="T25" fmla="*/ 4 h 113"/>
                  <a:gd name="T26" fmla="*/ 38 w 80"/>
                  <a:gd name="T27" fmla="*/ 16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0" h="113">
                    <a:moveTo>
                      <a:pt x="38" y="16"/>
                    </a:moveTo>
                    <a:cubicBezTo>
                      <a:pt x="38" y="16"/>
                      <a:pt x="28" y="26"/>
                      <a:pt x="22" y="30"/>
                    </a:cubicBezTo>
                    <a:cubicBezTo>
                      <a:pt x="16" y="35"/>
                      <a:pt x="8" y="41"/>
                      <a:pt x="8" y="48"/>
                    </a:cubicBezTo>
                    <a:cubicBezTo>
                      <a:pt x="8" y="55"/>
                      <a:pt x="5" y="57"/>
                      <a:pt x="8" y="63"/>
                    </a:cubicBezTo>
                    <a:cubicBezTo>
                      <a:pt x="11" y="69"/>
                      <a:pt x="7" y="76"/>
                      <a:pt x="11" y="80"/>
                    </a:cubicBezTo>
                    <a:cubicBezTo>
                      <a:pt x="14" y="83"/>
                      <a:pt x="16" y="85"/>
                      <a:pt x="11" y="92"/>
                    </a:cubicBezTo>
                    <a:cubicBezTo>
                      <a:pt x="6" y="98"/>
                      <a:pt x="0" y="106"/>
                      <a:pt x="3" y="109"/>
                    </a:cubicBezTo>
                    <a:cubicBezTo>
                      <a:pt x="6" y="113"/>
                      <a:pt x="14" y="112"/>
                      <a:pt x="24" y="99"/>
                    </a:cubicBezTo>
                    <a:cubicBezTo>
                      <a:pt x="34" y="87"/>
                      <a:pt x="37" y="78"/>
                      <a:pt x="43" y="73"/>
                    </a:cubicBezTo>
                    <a:cubicBezTo>
                      <a:pt x="49" y="67"/>
                      <a:pt x="59" y="67"/>
                      <a:pt x="63" y="53"/>
                    </a:cubicBezTo>
                    <a:cubicBezTo>
                      <a:pt x="67" y="39"/>
                      <a:pt x="61" y="28"/>
                      <a:pt x="69" y="22"/>
                    </a:cubicBezTo>
                    <a:cubicBezTo>
                      <a:pt x="78" y="15"/>
                      <a:pt x="80" y="15"/>
                      <a:pt x="80" y="9"/>
                    </a:cubicBezTo>
                    <a:cubicBezTo>
                      <a:pt x="80" y="2"/>
                      <a:pt x="70" y="0"/>
                      <a:pt x="64" y="4"/>
                    </a:cubicBezTo>
                    <a:cubicBezTo>
                      <a:pt x="58" y="9"/>
                      <a:pt x="53" y="10"/>
                      <a:pt x="38" y="1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4" name="Freeform 147">
                <a:extLst>
                  <a:ext uri="{FF2B5EF4-FFF2-40B4-BE49-F238E27FC236}">
                    <a16:creationId xmlns:a16="http://schemas.microsoft.com/office/drawing/2014/main" id="{EB6EE0EB-CA19-A942-A22E-71EB22A36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3" y="1531"/>
                <a:ext cx="15" cy="31"/>
              </a:xfrm>
              <a:custGeom>
                <a:avLst/>
                <a:gdLst>
                  <a:gd name="T0" fmla="*/ 44 w 58"/>
                  <a:gd name="T1" fmla="*/ 13 h 119"/>
                  <a:gd name="T2" fmla="*/ 29 w 58"/>
                  <a:gd name="T3" fmla="*/ 35 h 119"/>
                  <a:gd name="T4" fmla="*/ 17 w 58"/>
                  <a:gd name="T5" fmla="*/ 53 h 119"/>
                  <a:gd name="T6" fmla="*/ 10 w 58"/>
                  <a:gd name="T7" fmla="*/ 71 h 119"/>
                  <a:gd name="T8" fmla="*/ 2 w 58"/>
                  <a:gd name="T9" fmla="*/ 91 h 119"/>
                  <a:gd name="T10" fmla="*/ 9 w 58"/>
                  <a:gd name="T11" fmla="*/ 111 h 119"/>
                  <a:gd name="T12" fmla="*/ 25 w 58"/>
                  <a:gd name="T13" fmla="*/ 82 h 119"/>
                  <a:gd name="T14" fmla="*/ 43 w 58"/>
                  <a:gd name="T15" fmla="*/ 48 h 119"/>
                  <a:gd name="T16" fmla="*/ 52 w 58"/>
                  <a:gd name="T17" fmla="*/ 24 h 119"/>
                  <a:gd name="T18" fmla="*/ 53 w 58"/>
                  <a:gd name="T19" fmla="*/ 4 h 119"/>
                  <a:gd name="T20" fmla="*/ 44 w 58"/>
                  <a:gd name="T21" fmla="*/ 13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119">
                    <a:moveTo>
                      <a:pt x="44" y="13"/>
                    </a:moveTo>
                    <a:cubicBezTo>
                      <a:pt x="44" y="13"/>
                      <a:pt x="36" y="27"/>
                      <a:pt x="29" y="35"/>
                    </a:cubicBezTo>
                    <a:cubicBezTo>
                      <a:pt x="23" y="43"/>
                      <a:pt x="19" y="48"/>
                      <a:pt x="17" y="53"/>
                    </a:cubicBezTo>
                    <a:cubicBezTo>
                      <a:pt x="15" y="58"/>
                      <a:pt x="15" y="66"/>
                      <a:pt x="10" y="71"/>
                    </a:cubicBezTo>
                    <a:cubicBezTo>
                      <a:pt x="5" y="76"/>
                      <a:pt x="3" y="80"/>
                      <a:pt x="2" y="91"/>
                    </a:cubicBezTo>
                    <a:cubicBezTo>
                      <a:pt x="0" y="101"/>
                      <a:pt x="4" y="119"/>
                      <a:pt x="9" y="111"/>
                    </a:cubicBezTo>
                    <a:cubicBezTo>
                      <a:pt x="14" y="104"/>
                      <a:pt x="19" y="96"/>
                      <a:pt x="25" y="82"/>
                    </a:cubicBezTo>
                    <a:cubicBezTo>
                      <a:pt x="31" y="67"/>
                      <a:pt x="38" y="63"/>
                      <a:pt x="43" y="48"/>
                    </a:cubicBezTo>
                    <a:cubicBezTo>
                      <a:pt x="47" y="34"/>
                      <a:pt x="46" y="33"/>
                      <a:pt x="52" y="24"/>
                    </a:cubicBezTo>
                    <a:cubicBezTo>
                      <a:pt x="58" y="14"/>
                      <a:pt x="58" y="0"/>
                      <a:pt x="53" y="4"/>
                    </a:cubicBezTo>
                    <a:cubicBezTo>
                      <a:pt x="48" y="7"/>
                      <a:pt x="51" y="10"/>
                      <a:pt x="44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5" name="Freeform 148">
                <a:extLst>
                  <a:ext uri="{FF2B5EF4-FFF2-40B4-BE49-F238E27FC236}">
                    <a16:creationId xmlns:a16="http://schemas.microsoft.com/office/drawing/2014/main" id="{4D72FD5E-A039-0144-B927-2824C7015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1459"/>
                <a:ext cx="13" cy="13"/>
              </a:xfrm>
              <a:custGeom>
                <a:avLst/>
                <a:gdLst>
                  <a:gd name="T0" fmla="*/ 21 w 54"/>
                  <a:gd name="T1" fmla="*/ 8 h 53"/>
                  <a:gd name="T2" fmla="*/ 10 w 54"/>
                  <a:gd name="T3" fmla="*/ 14 h 53"/>
                  <a:gd name="T4" fmla="*/ 4 w 54"/>
                  <a:gd name="T5" fmla="*/ 27 h 53"/>
                  <a:gd name="T6" fmla="*/ 13 w 54"/>
                  <a:gd name="T7" fmla="*/ 34 h 53"/>
                  <a:gd name="T8" fmla="*/ 23 w 54"/>
                  <a:gd name="T9" fmla="*/ 44 h 53"/>
                  <a:gd name="T10" fmla="*/ 34 w 54"/>
                  <a:gd name="T11" fmla="*/ 50 h 53"/>
                  <a:gd name="T12" fmla="*/ 50 w 54"/>
                  <a:gd name="T13" fmla="*/ 47 h 53"/>
                  <a:gd name="T14" fmla="*/ 46 w 54"/>
                  <a:gd name="T15" fmla="*/ 35 h 53"/>
                  <a:gd name="T16" fmla="*/ 51 w 54"/>
                  <a:gd name="T17" fmla="*/ 25 h 53"/>
                  <a:gd name="T18" fmla="*/ 42 w 54"/>
                  <a:gd name="T19" fmla="*/ 14 h 53"/>
                  <a:gd name="T20" fmla="*/ 21 w 54"/>
                  <a:gd name="T21" fmla="*/ 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4" h="53">
                    <a:moveTo>
                      <a:pt x="21" y="8"/>
                    </a:moveTo>
                    <a:cubicBezTo>
                      <a:pt x="21" y="8"/>
                      <a:pt x="16" y="12"/>
                      <a:pt x="10" y="14"/>
                    </a:cubicBezTo>
                    <a:cubicBezTo>
                      <a:pt x="4" y="16"/>
                      <a:pt x="0" y="24"/>
                      <a:pt x="4" y="27"/>
                    </a:cubicBezTo>
                    <a:cubicBezTo>
                      <a:pt x="8" y="30"/>
                      <a:pt x="12" y="30"/>
                      <a:pt x="13" y="34"/>
                    </a:cubicBezTo>
                    <a:cubicBezTo>
                      <a:pt x="15" y="38"/>
                      <a:pt x="20" y="42"/>
                      <a:pt x="23" y="44"/>
                    </a:cubicBezTo>
                    <a:cubicBezTo>
                      <a:pt x="26" y="45"/>
                      <a:pt x="28" y="46"/>
                      <a:pt x="34" y="50"/>
                    </a:cubicBezTo>
                    <a:cubicBezTo>
                      <a:pt x="40" y="53"/>
                      <a:pt x="51" y="53"/>
                      <a:pt x="50" y="47"/>
                    </a:cubicBezTo>
                    <a:cubicBezTo>
                      <a:pt x="49" y="41"/>
                      <a:pt x="41" y="37"/>
                      <a:pt x="46" y="35"/>
                    </a:cubicBezTo>
                    <a:cubicBezTo>
                      <a:pt x="51" y="32"/>
                      <a:pt x="54" y="32"/>
                      <a:pt x="51" y="25"/>
                    </a:cubicBezTo>
                    <a:cubicBezTo>
                      <a:pt x="49" y="19"/>
                      <a:pt x="47" y="19"/>
                      <a:pt x="42" y="14"/>
                    </a:cubicBezTo>
                    <a:cubicBezTo>
                      <a:pt x="37" y="10"/>
                      <a:pt x="27" y="0"/>
                      <a:pt x="21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6" name="Freeform 149">
                <a:extLst>
                  <a:ext uri="{FF2B5EF4-FFF2-40B4-BE49-F238E27FC236}">
                    <a16:creationId xmlns:a16="http://schemas.microsoft.com/office/drawing/2014/main" id="{6860FD25-9451-E549-8EA9-1BEA2ABF6C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4" y="1580"/>
                <a:ext cx="13" cy="9"/>
              </a:xfrm>
              <a:custGeom>
                <a:avLst/>
                <a:gdLst>
                  <a:gd name="T0" fmla="*/ 21 w 52"/>
                  <a:gd name="T1" fmla="*/ 6 h 37"/>
                  <a:gd name="T2" fmla="*/ 11 w 52"/>
                  <a:gd name="T3" fmla="*/ 19 h 37"/>
                  <a:gd name="T4" fmla="*/ 39 w 52"/>
                  <a:gd name="T5" fmla="*/ 34 h 37"/>
                  <a:gd name="T6" fmla="*/ 42 w 52"/>
                  <a:gd name="T7" fmla="*/ 21 h 37"/>
                  <a:gd name="T8" fmla="*/ 21 w 52"/>
                  <a:gd name="T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37">
                    <a:moveTo>
                      <a:pt x="21" y="6"/>
                    </a:moveTo>
                    <a:cubicBezTo>
                      <a:pt x="21" y="6"/>
                      <a:pt x="0" y="11"/>
                      <a:pt x="11" y="19"/>
                    </a:cubicBezTo>
                    <a:cubicBezTo>
                      <a:pt x="23" y="28"/>
                      <a:pt x="35" y="37"/>
                      <a:pt x="39" y="34"/>
                    </a:cubicBezTo>
                    <a:cubicBezTo>
                      <a:pt x="43" y="30"/>
                      <a:pt x="52" y="24"/>
                      <a:pt x="42" y="21"/>
                    </a:cubicBezTo>
                    <a:cubicBezTo>
                      <a:pt x="33" y="18"/>
                      <a:pt x="36" y="0"/>
                      <a:pt x="21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7" name="Freeform 150">
                <a:extLst>
                  <a:ext uri="{FF2B5EF4-FFF2-40B4-BE49-F238E27FC236}">
                    <a16:creationId xmlns:a16="http://schemas.microsoft.com/office/drawing/2014/main" id="{858AB708-BC65-0940-BD1D-1449F4068B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9" y="1413"/>
                <a:ext cx="18" cy="10"/>
              </a:xfrm>
              <a:custGeom>
                <a:avLst/>
                <a:gdLst>
                  <a:gd name="T0" fmla="*/ 26 w 70"/>
                  <a:gd name="T1" fmla="*/ 0 h 40"/>
                  <a:gd name="T2" fmla="*/ 19 w 70"/>
                  <a:gd name="T3" fmla="*/ 9 h 40"/>
                  <a:gd name="T4" fmla="*/ 12 w 70"/>
                  <a:gd name="T5" fmla="*/ 18 h 40"/>
                  <a:gd name="T6" fmla="*/ 8 w 70"/>
                  <a:gd name="T7" fmla="*/ 26 h 40"/>
                  <a:gd name="T8" fmla="*/ 30 w 70"/>
                  <a:gd name="T9" fmla="*/ 28 h 40"/>
                  <a:gd name="T10" fmla="*/ 38 w 70"/>
                  <a:gd name="T11" fmla="*/ 35 h 40"/>
                  <a:gd name="T12" fmla="*/ 51 w 70"/>
                  <a:gd name="T13" fmla="*/ 35 h 40"/>
                  <a:gd name="T14" fmla="*/ 57 w 70"/>
                  <a:gd name="T15" fmla="*/ 28 h 40"/>
                  <a:gd name="T16" fmla="*/ 64 w 70"/>
                  <a:gd name="T17" fmla="*/ 19 h 40"/>
                  <a:gd name="T18" fmla="*/ 67 w 70"/>
                  <a:gd name="T19" fmla="*/ 10 h 40"/>
                  <a:gd name="T20" fmla="*/ 58 w 70"/>
                  <a:gd name="T21" fmla="*/ 7 h 40"/>
                  <a:gd name="T22" fmla="*/ 52 w 70"/>
                  <a:gd name="T23" fmla="*/ 10 h 40"/>
                  <a:gd name="T24" fmla="*/ 44 w 70"/>
                  <a:gd name="T25" fmla="*/ 2 h 40"/>
                  <a:gd name="T26" fmla="*/ 26 w 70"/>
                  <a:gd name="T2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0" h="40">
                    <a:moveTo>
                      <a:pt x="26" y="0"/>
                    </a:moveTo>
                    <a:cubicBezTo>
                      <a:pt x="26" y="0"/>
                      <a:pt x="19" y="1"/>
                      <a:pt x="19" y="9"/>
                    </a:cubicBezTo>
                    <a:cubicBezTo>
                      <a:pt x="19" y="17"/>
                      <a:pt x="15" y="18"/>
                      <a:pt x="12" y="18"/>
                    </a:cubicBezTo>
                    <a:cubicBezTo>
                      <a:pt x="9" y="19"/>
                      <a:pt x="0" y="23"/>
                      <a:pt x="8" y="26"/>
                    </a:cubicBezTo>
                    <a:cubicBezTo>
                      <a:pt x="17" y="29"/>
                      <a:pt x="27" y="25"/>
                      <a:pt x="30" y="28"/>
                    </a:cubicBezTo>
                    <a:cubicBezTo>
                      <a:pt x="32" y="31"/>
                      <a:pt x="34" y="35"/>
                      <a:pt x="38" y="35"/>
                    </a:cubicBezTo>
                    <a:cubicBezTo>
                      <a:pt x="43" y="35"/>
                      <a:pt x="50" y="40"/>
                      <a:pt x="51" y="35"/>
                    </a:cubicBezTo>
                    <a:cubicBezTo>
                      <a:pt x="51" y="30"/>
                      <a:pt x="54" y="29"/>
                      <a:pt x="57" y="28"/>
                    </a:cubicBezTo>
                    <a:cubicBezTo>
                      <a:pt x="61" y="27"/>
                      <a:pt x="58" y="20"/>
                      <a:pt x="64" y="19"/>
                    </a:cubicBezTo>
                    <a:cubicBezTo>
                      <a:pt x="70" y="18"/>
                      <a:pt x="68" y="15"/>
                      <a:pt x="67" y="10"/>
                    </a:cubicBezTo>
                    <a:cubicBezTo>
                      <a:pt x="66" y="5"/>
                      <a:pt x="58" y="2"/>
                      <a:pt x="58" y="7"/>
                    </a:cubicBezTo>
                    <a:cubicBezTo>
                      <a:pt x="58" y="12"/>
                      <a:pt x="53" y="14"/>
                      <a:pt x="52" y="10"/>
                    </a:cubicBezTo>
                    <a:cubicBezTo>
                      <a:pt x="50" y="5"/>
                      <a:pt x="48" y="2"/>
                      <a:pt x="44" y="2"/>
                    </a:cubicBezTo>
                    <a:cubicBezTo>
                      <a:pt x="41" y="2"/>
                      <a:pt x="39" y="1"/>
                      <a:pt x="26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8" name="Freeform 151">
                <a:extLst>
                  <a:ext uri="{FF2B5EF4-FFF2-40B4-BE49-F238E27FC236}">
                    <a16:creationId xmlns:a16="http://schemas.microsoft.com/office/drawing/2014/main" id="{3D974FDF-5812-4345-ABF3-7762945BE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7" y="1424"/>
                <a:ext cx="7" cy="6"/>
              </a:xfrm>
              <a:custGeom>
                <a:avLst/>
                <a:gdLst>
                  <a:gd name="T0" fmla="*/ 6 w 25"/>
                  <a:gd name="T1" fmla="*/ 0 h 23"/>
                  <a:gd name="T2" fmla="*/ 6 w 25"/>
                  <a:gd name="T3" fmla="*/ 7 h 23"/>
                  <a:gd name="T4" fmla="*/ 14 w 25"/>
                  <a:gd name="T5" fmla="*/ 16 h 23"/>
                  <a:gd name="T6" fmla="*/ 25 w 25"/>
                  <a:gd name="T7" fmla="*/ 15 h 23"/>
                  <a:gd name="T8" fmla="*/ 18 w 25"/>
                  <a:gd name="T9" fmla="*/ 1 h 23"/>
                  <a:gd name="T10" fmla="*/ 6 w 25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23">
                    <a:moveTo>
                      <a:pt x="6" y="0"/>
                    </a:moveTo>
                    <a:cubicBezTo>
                      <a:pt x="6" y="0"/>
                      <a:pt x="0" y="5"/>
                      <a:pt x="6" y="7"/>
                    </a:cubicBezTo>
                    <a:cubicBezTo>
                      <a:pt x="11" y="9"/>
                      <a:pt x="9" y="14"/>
                      <a:pt x="14" y="16"/>
                    </a:cubicBezTo>
                    <a:cubicBezTo>
                      <a:pt x="19" y="19"/>
                      <a:pt x="24" y="23"/>
                      <a:pt x="25" y="15"/>
                    </a:cubicBezTo>
                    <a:cubicBezTo>
                      <a:pt x="25" y="7"/>
                      <a:pt x="25" y="1"/>
                      <a:pt x="18" y="1"/>
                    </a:cubicBezTo>
                    <a:cubicBezTo>
                      <a:pt x="12" y="1"/>
                      <a:pt x="12" y="0"/>
                      <a:pt x="6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799" name="Freeform 152">
                <a:extLst>
                  <a:ext uri="{FF2B5EF4-FFF2-40B4-BE49-F238E27FC236}">
                    <a16:creationId xmlns:a16="http://schemas.microsoft.com/office/drawing/2014/main" id="{8B4D2F41-4FFE-5B45-9EEC-037C44815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7" y="1428"/>
                <a:ext cx="6" cy="8"/>
              </a:xfrm>
              <a:custGeom>
                <a:avLst/>
                <a:gdLst>
                  <a:gd name="T0" fmla="*/ 4 w 25"/>
                  <a:gd name="T1" fmla="*/ 9 h 35"/>
                  <a:gd name="T2" fmla="*/ 4 w 25"/>
                  <a:gd name="T3" fmla="*/ 21 h 35"/>
                  <a:gd name="T4" fmla="*/ 11 w 25"/>
                  <a:gd name="T5" fmla="*/ 29 h 35"/>
                  <a:gd name="T6" fmla="*/ 19 w 25"/>
                  <a:gd name="T7" fmla="*/ 35 h 35"/>
                  <a:gd name="T8" fmla="*/ 24 w 25"/>
                  <a:gd name="T9" fmla="*/ 27 h 35"/>
                  <a:gd name="T10" fmla="*/ 13 w 25"/>
                  <a:gd name="T11" fmla="*/ 17 h 35"/>
                  <a:gd name="T12" fmla="*/ 4 w 25"/>
                  <a:gd name="T13" fmla="*/ 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35">
                    <a:moveTo>
                      <a:pt x="4" y="9"/>
                    </a:moveTo>
                    <a:cubicBezTo>
                      <a:pt x="4" y="9"/>
                      <a:pt x="0" y="17"/>
                      <a:pt x="4" y="21"/>
                    </a:cubicBezTo>
                    <a:cubicBezTo>
                      <a:pt x="8" y="25"/>
                      <a:pt x="10" y="24"/>
                      <a:pt x="11" y="29"/>
                    </a:cubicBezTo>
                    <a:cubicBezTo>
                      <a:pt x="12" y="35"/>
                      <a:pt x="16" y="35"/>
                      <a:pt x="19" y="35"/>
                    </a:cubicBezTo>
                    <a:cubicBezTo>
                      <a:pt x="23" y="35"/>
                      <a:pt x="25" y="33"/>
                      <a:pt x="24" y="27"/>
                    </a:cubicBezTo>
                    <a:cubicBezTo>
                      <a:pt x="22" y="21"/>
                      <a:pt x="18" y="23"/>
                      <a:pt x="13" y="17"/>
                    </a:cubicBezTo>
                    <a:cubicBezTo>
                      <a:pt x="8" y="12"/>
                      <a:pt x="9" y="0"/>
                      <a:pt x="4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0" name="Freeform 153">
                <a:extLst>
                  <a:ext uri="{FF2B5EF4-FFF2-40B4-BE49-F238E27FC236}">
                    <a16:creationId xmlns:a16="http://schemas.microsoft.com/office/drawing/2014/main" id="{126F90C5-C83A-EB40-B7A8-D66DD2C101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0" y="1501"/>
                <a:ext cx="141" cy="195"/>
              </a:xfrm>
              <a:custGeom>
                <a:avLst/>
                <a:gdLst>
                  <a:gd name="T0" fmla="*/ 84 w 558"/>
                  <a:gd name="T1" fmla="*/ 759 h 772"/>
                  <a:gd name="T2" fmla="*/ 181 w 558"/>
                  <a:gd name="T3" fmla="*/ 742 h 772"/>
                  <a:gd name="T4" fmla="*/ 224 w 558"/>
                  <a:gd name="T5" fmla="*/ 716 h 772"/>
                  <a:gd name="T6" fmla="*/ 301 w 558"/>
                  <a:gd name="T7" fmla="*/ 714 h 772"/>
                  <a:gd name="T8" fmla="*/ 366 w 558"/>
                  <a:gd name="T9" fmla="*/ 725 h 772"/>
                  <a:gd name="T10" fmla="*/ 444 w 558"/>
                  <a:gd name="T11" fmla="*/ 709 h 772"/>
                  <a:gd name="T12" fmla="*/ 501 w 558"/>
                  <a:gd name="T13" fmla="*/ 690 h 772"/>
                  <a:gd name="T14" fmla="*/ 489 w 558"/>
                  <a:gd name="T15" fmla="*/ 652 h 772"/>
                  <a:gd name="T16" fmla="*/ 519 w 558"/>
                  <a:gd name="T17" fmla="*/ 612 h 772"/>
                  <a:gd name="T18" fmla="*/ 554 w 558"/>
                  <a:gd name="T19" fmla="*/ 546 h 772"/>
                  <a:gd name="T20" fmla="*/ 462 w 558"/>
                  <a:gd name="T21" fmla="*/ 520 h 772"/>
                  <a:gd name="T22" fmla="*/ 451 w 558"/>
                  <a:gd name="T23" fmla="*/ 513 h 772"/>
                  <a:gd name="T24" fmla="*/ 433 w 558"/>
                  <a:gd name="T25" fmla="*/ 436 h 772"/>
                  <a:gd name="T26" fmla="*/ 344 w 558"/>
                  <a:gd name="T27" fmla="*/ 338 h 772"/>
                  <a:gd name="T28" fmla="*/ 277 w 558"/>
                  <a:gd name="T29" fmla="*/ 250 h 772"/>
                  <a:gd name="T30" fmla="*/ 245 w 558"/>
                  <a:gd name="T31" fmla="*/ 240 h 772"/>
                  <a:gd name="T32" fmla="*/ 288 w 558"/>
                  <a:gd name="T33" fmla="*/ 184 h 772"/>
                  <a:gd name="T34" fmla="*/ 320 w 558"/>
                  <a:gd name="T35" fmla="*/ 97 h 772"/>
                  <a:gd name="T36" fmla="*/ 187 w 558"/>
                  <a:gd name="T37" fmla="*/ 101 h 772"/>
                  <a:gd name="T38" fmla="*/ 200 w 558"/>
                  <a:gd name="T39" fmla="*/ 64 h 772"/>
                  <a:gd name="T40" fmla="*/ 232 w 558"/>
                  <a:gd name="T41" fmla="*/ 5 h 772"/>
                  <a:gd name="T42" fmla="*/ 147 w 558"/>
                  <a:gd name="T43" fmla="*/ 14 h 772"/>
                  <a:gd name="T44" fmla="*/ 111 w 558"/>
                  <a:gd name="T45" fmla="*/ 26 h 772"/>
                  <a:gd name="T46" fmla="*/ 93 w 558"/>
                  <a:gd name="T47" fmla="*/ 77 h 772"/>
                  <a:gd name="T48" fmla="*/ 74 w 558"/>
                  <a:gd name="T49" fmla="*/ 129 h 772"/>
                  <a:gd name="T50" fmla="*/ 26 w 558"/>
                  <a:gd name="T51" fmla="*/ 101 h 772"/>
                  <a:gd name="T52" fmla="*/ 61 w 558"/>
                  <a:gd name="T53" fmla="*/ 174 h 772"/>
                  <a:gd name="T54" fmla="*/ 42 w 558"/>
                  <a:gd name="T55" fmla="*/ 221 h 772"/>
                  <a:gd name="T56" fmla="*/ 91 w 558"/>
                  <a:gd name="T57" fmla="*/ 202 h 772"/>
                  <a:gd name="T58" fmla="*/ 54 w 558"/>
                  <a:gd name="T59" fmla="*/ 248 h 772"/>
                  <a:gd name="T60" fmla="*/ 40 w 558"/>
                  <a:gd name="T61" fmla="*/ 289 h 772"/>
                  <a:gd name="T62" fmla="*/ 79 w 558"/>
                  <a:gd name="T63" fmla="*/ 258 h 772"/>
                  <a:gd name="T64" fmla="*/ 86 w 558"/>
                  <a:gd name="T65" fmla="*/ 305 h 772"/>
                  <a:gd name="T66" fmla="*/ 111 w 558"/>
                  <a:gd name="T67" fmla="*/ 282 h 772"/>
                  <a:gd name="T68" fmla="*/ 118 w 558"/>
                  <a:gd name="T69" fmla="*/ 268 h 772"/>
                  <a:gd name="T70" fmla="*/ 107 w 558"/>
                  <a:gd name="T71" fmla="*/ 338 h 772"/>
                  <a:gd name="T72" fmla="*/ 136 w 558"/>
                  <a:gd name="T73" fmla="*/ 357 h 772"/>
                  <a:gd name="T74" fmla="*/ 173 w 558"/>
                  <a:gd name="T75" fmla="*/ 360 h 772"/>
                  <a:gd name="T76" fmla="*/ 220 w 558"/>
                  <a:gd name="T77" fmla="*/ 339 h 772"/>
                  <a:gd name="T78" fmla="*/ 221 w 558"/>
                  <a:gd name="T79" fmla="*/ 399 h 772"/>
                  <a:gd name="T80" fmla="*/ 242 w 558"/>
                  <a:gd name="T81" fmla="*/ 444 h 772"/>
                  <a:gd name="T82" fmla="*/ 235 w 558"/>
                  <a:gd name="T83" fmla="*/ 487 h 772"/>
                  <a:gd name="T84" fmla="*/ 178 w 558"/>
                  <a:gd name="T85" fmla="*/ 486 h 772"/>
                  <a:gd name="T86" fmla="*/ 144 w 558"/>
                  <a:gd name="T87" fmla="*/ 496 h 772"/>
                  <a:gd name="T88" fmla="*/ 168 w 558"/>
                  <a:gd name="T89" fmla="*/ 528 h 772"/>
                  <a:gd name="T90" fmla="*/ 138 w 558"/>
                  <a:gd name="T91" fmla="*/ 575 h 772"/>
                  <a:gd name="T92" fmla="*/ 98 w 558"/>
                  <a:gd name="T93" fmla="*/ 613 h 772"/>
                  <a:gd name="T94" fmla="*/ 138 w 558"/>
                  <a:gd name="T95" fmla="*/ 630 h 772"/>
                  <a:gd name="T96" fmla="*/ 186 w 558"/>
                  <a:gd name="T97" fmla="*/ 635 h 772"/>
                  <a:gd name="T98" fmla="*/ 244 w 558"/>
                  <a:gd name="T99" fmla="*/ 643 h 772"/>
                  <a:gd name="T100" fmla="*/ 204 w 558"/>
                  <a:gd name="T101" fmla="*/ 659 h 772"/>
                  <a:gd name="T102" fmla="*/ 146 w 558"/>
                  <a:gd name="T103" fmla="*/ 686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58" h="772">
                    <a:moveTo>
                      <a:pt x="128" y="717"/>
                    </a:moveTo>
                    <a:cubicBezTo>
                      <a:pt x="128" y="717"/>
                      <a:pt x="125" y="730"/>
                      <a:pt x="115" y="734"/>
                    </a:cubicBezTo>
                    <a:cubicBezTo>
                      <a:pt x="106" y="738"/>
                      <a:pt x="99" y="745"/>
                      <a:pt x="91" y="747"/>
                    </a:cubicBezTo>
                    <a:cubicBezTo>
                      <a:pt x="84" y="749"/>
                      <a:pt x="72" y="758"/>
                      <a:pt x="84" y="759"/>
                    </a:cubicBezTo>
                    <a:cubicBezTo>
                      <a:pt x="96" y="760"/>
                      <a:pt x="93" y="761"/>
                      <a:pt x="101" y="766"/>
                    </a:cubicBezTo>
                    <a:cubicBezTo>
                      <a:pt x="109" y="771"/>
                      <a:pt x="114" y="772"/>
                      <a:pt x="121" y="762"/>
                    </a:cubicBezTo>
                    <a:cubicBezTo>
                      <a:pt x="127" y="753"/>
                      <a:pt x="126" y="743"/>
                      <a:pt x="143" y="742"/>
                    </a:cubicBezTo>
                    <a:cubicBezTo>
                      <a:pt x="160" y="740"/>
                      <a:pt x="176" y="735"/>
                      <a:pt x="181" y="742"/>
                    </a:cubicBezTo>
                    <a:cubicBezTo>
                      <a:pt x="185" y="750"/>
                      <a:pt x="189" y="750"/>
                      <a:pt x="194" y="750"/>
                    </a:cubicBezTo>
                    <a:cubicBezTo>
                      <a:pt x="199" y="750"/>
                      <a:pt x="202" y="756"/>
                      <a:pt x="205" y="749"/>
                    </a:cubicBezTo>
                    <a:cubicBezTo>
                      <a:pt x="208" y="742"/>
                      <a:pt x="214" y="747"/>
                      <a:pt x="214" y="736"/>
                    </a:cubicBezTo>
                    <a:cubicBezTo>
                      <a:pt x="215" y="724"/>
                      <a:pt x="215" y="717"/>
                      <a:pt x="224" y="716"/>
                    </a:cubicBezTo>
                    <a:cubicBezTo>
                      <a:pt x="232" y="716"/>
                      <a:pt x="231" y="709"/>
                      <a:pt x="244" y="708"/>
                    </a:cubicBezTo>
                    <a:cubicBezTo>
                      <a:pt x="256" y="707"/>
                      <a:pt x="256" y="699"/>
                      <a:pt x="264" y="709"/>
                    </a:cubicBezTo>
                    <a:cubicBezTo>
                      <a:pt x="272" y="719"/>
                      <a:pt x="273" y="720"/>
                      <a:pt x="279" y="720"/>
                    </a:cubicBezTo>
                    <a:cubicBezTo>
                      <a:pt x="286" y="720"/>
                      <a:pt x="299" y="724"/>
                      <a:pt x="301" y="714"/>
                    </a:cubicBezTo>
                    <a:cubicBezTo>
                      <a:pt x="303" y="704"/>
                      <a:pt x="301" y="710"/>
                      <a:pt x="310" y="697"/>
                    </a:cubicBezTo>
                    <a:cubicBezTo>
                      <a:pt x="318" y="684"/>
                      <a:pt x="316" y="670"/>
                      <a:pt x="330" y="677"/>
                    </a:cubicBezTo>
                    <a:cubicBezTo>
                      <a:pt x="344" y="685"/>
                      <a:pt x="324" y="692"/>
                      <a:pt x="337" y="702"/>
                    </a:cubicBezTo>
                    <a:cubicBezTo>
                      <a:pt x="350" y="712"/>
                      <a:pt x="355" y="729"/>
                      <a:pt x="366" y="725"/>
                    </a:cubicBezTo>
                    <a:cubicBezTo>
                      <a:pt x="377" y="720"/>
                      <a:pt x="367" y="705"/>
                      <a:pt x="379" y="705"/>
                    </a:cubicBezTo>
                    <a:cubicBezTo>
                      <a:pt x="391" y="705"/>
                      <a:pt x="394" y="713"/>
                      <a:pt x="402" y="709"/>
                    </a:cubicBezTo>
                    <a:cubicBezTo>
                      <a:pt x="410" y="705"/>
                      <a:pt x="419" y="701"/>
                      <a:pt x="428" y="702"/>
                    </a:cubicBezTo>
                    <a:cubicBezTo>
                      <a:pt x="437" y="703"/>
                      <a:pt x="433" y="709"/>
                      <a:pt x="444" y="709"/>
                    </a:cubicBezTo>
                    <a:cubicBezTo>
                      <a:pt x="454" y="709"/>
                      <a:pt x="462" y="715"/>
                      <a:pt x="463" y="708"/>
                    </a:cubicBezTo>
                    <a:cubicBezTo>
                      <a:pt x="465" y="700"/>
                      <a:pt x="469" y="700"/>
                      <a:pt x="475" y="700"/>
                    </a:cubicBezTo>
                    <a:cubicBezTo>
                      <a:pt x="482" y="701"/>
                      <a:pt x="484" y="703"/>
                      <a:pt x="487" y="697"/>
                    </a:cubicBezTo>
                    <a:cubicBezTo>
                      <a:pt x="491" y="691"/>
                      <a:pt x="498" y="698"/>
                      <a:pt x="501" y="690"/>
                    </a:cubicBezTo>
                    <a:cubicBezTo>
                      <a:pt x="504" y="683"/>
                      <a:pt x="514" y="689"/>
                      <a:pt x="515" y="683"/>
                    </a:cubicBezTo>
                    <a:cubicBezTo>
                      <a:pt x="516" y="676"/>
                      <a:pt x="527" y="679"/>
                      <a:pt x="528" y="670"/>
                    </a:cubicBezTo>
                    <a:cubicBezTo>
                      <a:pt x="528" y="662"/>
                      <a:pt x="531" y="652"/>
                      <a:pt x="521" y="652"/>
                    </a:cubicBezTo>
                    <a:cubicBezTo>
                      <a:pt x="510" y="652"/>
                      <a:pt x="493" y="652"/>
                      <a:pt x="489" y="652"/>
                    </a:cubicBezTo>
                    <a:cubicBezTo>
                      <a:pt x="484" y="652"/>
                      <a:pt x="474" y="652"/>
                      <a:pt x="478" y="644"/>
                    </a:cubicBezTo>
                    <a:cubicBezTo>
                      <a:pt x="482" y="635"/>
                      <a:pt x="495" y="639"/>
                      <a:pt x="495" y="630"/>
                    </a:cubicBezTo>
                    <a:cubicBezTo>
                      <a:pt x="495" y="621"/>
                      <a:pt x="499" y="618"/>
                      <a:pt x="506" y="618"/>
                    </a:cubicBezTo>
                    <a:cubicBezTo>
                      <a:pt x="513" y="618"/>
                      <a:pt x="518" y="620"/>
                      <a:pt x="519" y="612"/>
                    </a:cubicBezTo>
                    <a:cubicBezTo>
                      <a:pt x="520" y="604"/>
                      <a:pt x="518" y="602"/>
                      <a:pt x="527" y="602"/>
                    </a:cubicBezTo>
                    <a:cubicBezTo>
                      <a:pt x="535" y="601"/>
                      <a:pt x="541" y="592"/>
                      <a:pt x="546" y="581"/>
                    </a:cubicBezTo>
                    <a:cubicBezTo>
                      <a:pt x="552" y="570"/>
                      <a:pt x="546" y="571"/>
                      <a:pt x="552" y="564"/>
                    </a:cubicBezTo>
                    <a:cubicBezTo>
                      <a:pt x="558" y="556"/>
                      <a:pt x="556" y="557"/>
                      <a:pt x="554" y="546"/>
                    </a:cubicBezTo>
                    <a:cubicBezTo>
                      <a:pt x="552" y="535"/>
                      <a:pt x="551" y="538"/>
                      <a:pt x="539" y="529"/>
                    </a:cubicBezTo>
                    <a:cubicBezTo>
                      <a:pt x="526" y="520"/>
                      <a:pt x="519" y="523"/>
                      <a:pt x="513" y="518"/>
                    </a:cubicBezTo>
                    <a:cubicBezTo>
                      <a:pt x="507" y="512"/>
                      <a:pt x="502" y="516"/>
                      <a:pt x="488" y="517"/>
                    </a:cubicBezTo>
                    <a:cubicBezTo>
                      <a:pt x="473" y="517"/>
                      <a:pt x="465" y="513"/>
                      <a:pt x="462" y="520"/>
                    </a:cubicBezTo>
                    <a:cubicBezTo>
                      <a:pt x="460" y="527"/>
                      <a:pt x="451" y="539"/>
                      <a:pt x="448" y="546"/>
                    </a:cubicBezTo>
                    <a:cubicBezTo>
                      <a:pt x="445" y="553"/>
                      <a:pt x="438" y="554"/>
                      <a:pt x="437" y="547"/>
                    </a:cubicBezTo>
                    <a:cubicBezTo>
                      <a:pt x="436" y="539"/>
                      <a:pt x="426" y="531"/>
                      <a:pt x="437" y="525"/>
                    </a:cubicBezTo>
                    <a:cubicBezTo>
                      <a:pt x="448" y="520"/>
                      <a:pt x="443" y="519"/>
                      <a:pt x="451" y="513"/>
                    </a:cubicBezTo>
                    <a:cubicBezTo>
                      <a:pt x="460" y="508"/>
                      <a:pt x="462" y="511"/>
                      <a:pt x="462" y="501"/>
                    </a:cubicBezTo>
                    <a:cubicBezTo>
                      <a:pt x="462" y="490"/>
                      <a:pt x="466" y="489"/>
                      <a:pt x="457" y="484"/>
                    </a:cubicBezTo>
                    <a:cubicBezTo>
                      <a:pt x="447" y="479"/>
                      <a:pt x="445" y="478"/>
                      <a:pt x="441" y="463"/>
                    </a:cubicBezTo>
                    <a:cubicBezTo>
                      <a:pt x="438" y="449"/>
                      <a:pt x="437" y="454"/>
                      <a:pt x="433" y="436"/>
                    </a:cubicBezTo>
                    <a:cubicBezTo>
                      <a:pt x="429" y="417"/>
                      <a:pt x="433" y="416"/>
                      <a:pt x="424" y="408"/>
                    </a:cubicBezTo>
                    <a:cubicBezTo>
                      <a:pt x="414" y="400"/>
                      <a:pt x="401" y="377"/>
                      <a:pt x="389" y="376"/>
                    </a:cubicBezTo>
                    <a:cubicBezTo>
                      <a:pt x="378" y="375"/>
                      <a:pt x="365" y="375"/>
                      <a:pt x="362" y="366"/>
                    </a:cubicBezTo>
                    <a:cubicBezTo>
                      <a:pt x="359" y="357"/>
                      <a:pt x="345" y="353"/>
                      <a:pt x="344" y="338"/>
                    </a:cubicBezTo>
                    <a:cubicBezTo>
                      <a:pt x="342" y="323"/>
                      <a:pt x="349" y="321"/>
                      <a:pt x="342" y="309"/>
                    </a:cubicBezTo>
                    <a:cubicBezTo>
                      <a:pt x="335" y="298"/>
                      <a:pt x="332" y="291"/>
                      <a:pt x="330" y="278"/>
                    </a:cubicBezTo>
                    <a:cubicBezTo>
                      <a:pt x="327" y="266"/>
                      <a:pt x="324" y="260"/>
                      <a:pt x="311" y="254"/>
                    </a:cubicBezTo>
                    <a:cubicBezTo>
                      <a:pt x="298" y="248"/>
                      <a:pt x="290" y="250"/>
                      <a:pt x="277" y="250"/>
                    </a:cubicBezTo>
                    <a:cubicBezTo>
                      <a:pt x="264" y="249"/>
                      <a:pt x="281" y="243"/>
                      <a:pt x="265" y="241"/>
                    </a:cubicBezTo>
                    <a:cubicBezTo>
                      <a:pt x="249" y="240"/>
                      <a:pt x="259" y="241"/>
                      <a:pt x="256" y="246"/>
                    </a:cubicBezTo>
                    <a:cubicBezTo>
                      <a:pt x="252" y="251"/>
                      <a:pt x="240" y="251"/>
                      <a:pt x="239" y="248"/>
                    </a:cubicBezTo>
                    <a:cubicBezTo>
                      <a:pt x="238" y="244"/>
                      <a:pt x="236" y="241"/>
                      <a:pt x="245" y="240"/>
                    </a:cubicBezTo>
                    <a:cubicBezTo>
                      <a:pt x="254" y="239"/>
                      <a:pt x="246" y="229"/>
                      <a:pt x="258" y="230"/>
                    </a:cubicBezTo>
                    <a:cubicBezTo>
                      <a:pt x="269" y="230"/>
                      <a:pt x="264" y="231"/>
                      <a:pt x="265" y="222"/>
                    </a:cubicBezTo>
                    <a:cubicBezTo>
                      <a:pt x="266" y="213"/>
                      <a:pt x="260" y="207"/>
                      <a:pt x="268" y="206"/>
                    </a:cubicBezTo>
                    <a:cubicBezTo>
                      <a:pt x="277" y="204"/>
                      <a:pt x="284" y="193"/>
                      <a:pt x="288" y="184"/>
                    </a:cubicBezTo>
                    <a:cubicBezTo>
                      <a:pt x="292" y="174"/>
                      <a:pt x="301" y="166"/>
                      <a:pt x="305" y="155"/>
                    </a:cubicBezTo>
                    <a:cubicBezTo>
                      <a:pt x="309" y="144"/>
                      <a:pt x="317" y="132"/>
                      <a:pt x="324" y="127"/>
                    </a:cubicBezTo>
                    <a:cubicBezTo>
                      <a:pt x="330" y="121"/>
                      <a:pt x="330" y="117"/>
                      <a:pt x="329" y="110"/>
                    </a:cubicBezTo>
                    <a:cubicBezTo>
                      <a:pt x="329" y="103"/>
                      <a:pt x="320" y="103"/>
                      <a:pt x="320" y="97"/>
                    </a:cubicBezTo>
                    <a:cubicBezTo>
                      <a:pt x="319" y="91"/>
                      <a:pt x="289" y="90"/>
                      <a:pt x="275" y="90"/>
                    </a:cubicBezTo>
                    <a:cubicBezTo>
                      <a:pt x="261" y="90"/>
                      <a:pt x="240" y="92"/>
                      <a:pt x="227" y="89"/>
                    </a:cubicBezTo>
                    <a:cubicBezTo>
                      <a:pt x="214" y="87"/>
                      <a:pt x="210" y="92"/>
                      <a:pt x="206" y="96"/>
                    </a:cubicBezTo>
                    <a:cubicBezTo>
                      <a:pt x="202" y="100"/>
                      <a:pt x="195" y="100"/>
                      <a:pt x="187" y="101"/>
                    </a:cubicBezTo>
                    <a:cubicBezTo>
                      <a:pt x="178" y="102"/>
                      <a:pt x="166" y="95"/>
                      <a:pt x="174" y="93"/>
                    </a:cubicBezTo>
                    <a:cubicBezTo>
                      <a:pt x="183" y="91"/>
                      <a:pt x="191" y="92"/>
                      <a:pt x="188" y="86"/>
                    </a:cubicBezTo>
                    <a:cubicBezTo>
                      <a:pt x="185" y="81"/>
                      <a:pt x="168" y="83"/>
                      <a:pt x="179" y="76"/>
                    </a:cubicBezTo>
                    <a:cubicBezTo>
                      <a:pt x="190" y="69"/>
                      <a:pt x="196" y="73"/>
                      <a:pt x="200" y="64"/>
                    </a:cubicBezTo>
                    <a:cubicBezTo>
                      <a:pt x="203" y="56"/>
                      <a:pt x="206" y="53"/>
                      <a:pt x="219" y="51"/>
                    </a:cubicBezTo>
                    <a:cubicBezTo>
                      <a:pt x="231" y="49"/>
                      <a:pt x="236" y="39"/>
                      <a:pt x="240" y="35"/>
                    </a:cubicBezTo>
                    <a:cubicBezTo>
                      <a:pt x="245" y="31"/>
                      <a:pt x="252" y="27"/>
                      <a:pt x="243" y="21"/>
                    </a:cubicBezTo>
                    <a:cubicBezTo>
                      <a:pt x="235" y="16"/>
                      <a:pt x="242" y="10"/>
                      <a:pt x="232" y="5"/>
                    </a:cubicBezTo>
                    <a:cubicBezTo>
                      <a:pt x="221" y="0"/>
                      <a:pt x="208" y="0"/>
                      <a:pt x="203" y="5"/>
                    </a:cubicBezTo>
                    <a:cubicBezTo>
                      <a:pt x="197" y="10"/>
                      <a:pt x="187" y="9"/>
                      <a:pt x="176" y="8"/>
                    </a:cubicBezTo>
                    <a:cubicBezTo>
                      <a:pt x="164" y="7"/>
                      <a:pt x="169" y="18"/>
                      <a:pt x="159" y="17"/>
                    </a:cubicBezTo>
                    <a:cubicBezTo>
                      <a:pt x="150" y="16"/>
                      <a:pt x="147" y="20"/>
                      <a:pt x="147" y="14"/>
                    </a:cubicBezTo>
                    <a:cubicBezTo>
                      <a:pt x="146" y="9"/>
                      <a:pt x="145" y="11"/>
                      <a:pt x="135" y="10"/>
                    </a:cubicBezTo>
                    <a:cubicBezTo>
                      <a:pt x="126" y="8"/>
                      <a:pt x="125" y="10"/>
                      <a:pt x="124" y="6"/>
                    </a:cubicBezTo>
                    <a:cubicBezTo>
                      <a:pt x="122" y="2"/>
                      <a:pt x="115" y="4"/>
                      <a:pt x="115" y="10"/>
                    </a:cubicBezTo>
                    <a:cubicBezTo>
                      <a:pt x="115" y="16"/>
                      <a:pt x="116" y="25"/>
                      <a:pt x="111" y="26"/>
                    </a:cubicBezTo>
                    <a:cubicBezTo>
                      <a:pt x="107" y="27"/>
                      <a:pt x="112" y="34"/>
                      <a:pt x="102" y="34"/>
                    </a:cubicBezTo>
                    <a:cubicBezTo>
                      <a:pt x="92" y="35"/>
                      <a:pt x="90" y="41"/>
                      <a:pt x="95" y="45"/>
                    </a:cubicBezTo>
                    <a:cubicBezTo>
                      <a:pt x="100" y="49"/>
                      <a:pt x="100" y="52"/>
                      <a:pt x="99" y="58"/>
                    </a:cubicBezTo>
                    <a:cubicBezTo>
                      <a:pt x="99" y="64"/>
                      <a:pt x="102" y="78"/>
                      <a:pt x="93" y="77"/>
                    </a:cubicBezTo>
                    <a:cubicBezTo>
                      <a:pt x="84" y="76"/>
                      <a:pt x="78" y="72"/>
                      <a:pt x="73" y="75"/>
                    </a:cubicBezTo>
                    <a:cubicBezTo>
                      <a:pt x="68" y="78"/>
                      <a:pt x="63" y="83"/>
                      <a:pt x="66" y="94"/>
                    </a:cubicBezTo>
                    <a:cubicBezTo>
                      <a:pt x="68" y="106"/>
                      <a:pt x="61" y="108"/>
                      <a:pt x="68" y="113"/>
                    </a:cubicBezTo>
                    <a:cubicBezTo>
                      <a:pt x="76" y="119"/>
                      <a:pt x="81" y="124"/>
                      <a:pt x="74" y="129"/>
                    </a:cubicBezTo>
                    <a:cubicBezTo>
                      <a:pt x="67" y="135"/>
                      <a:pt x="60" y="135"/>
                      <a:pt x="57" y="128"/>
                    </a:cubicBezTo>
                    <a:cubicBezTo>
                      <a:pt x="55" y="120"/>
                      <a:pt x="57" y="120"/>
                      <a:pt x="51" y="113"/>
                    </a:cubicBezTo>
                    <a:cubicBezTo>
                      <a:pt x="45" y="107"/>
                      <a:pt x="51" y="104"/>
                      <a:pt x="43" y="98"/>
                    </a:cubicBezTo>
                    <a:cubicBezTo>
                      <a:pt x="34" y="91"/>
                      <a:pt x="27" y="93"/>
                      <a:pt x="26" y="101"/>
                    </a:cubicBezTo>
                    <a:cubicBezTo>
                      <a:pt x="24" y="108"/>
                      <a:pt x="0" y="106"/>
                      <a:pt x="10" y="118"/>
                    </a:cubicBezTo>
                    <a:cubicBezTo>
                      <a:pt x="21" y="130"/>
                      <a:pt x="31" y="148"/>
                      <a:pt x="46" y="151"/>
                    </a:cubicBezTo>
                    <a:cubicBezTo>
                      <a:pt x="60" y="155"/>
                      <a:pt x="65" y="150"/>
                      <a:pt x="66" y="157"/>
                    </a:cubicBezTo>
                    <a:cubicBezTo>
                      <a:pt x="67" y="164"/>
                      <a:pt x="67" y="172"/>
                      <a:pt x="61" y="174"/>
                    </a:cubicBezTo>
                    <a:cubicBezTo>
                      <a:pt x="55" y="176"/>
                      <a:pt x="39" y="182"/>
                      <a:pt x="40" y="191"/>
                    </a:cubicBezTo>
                    <a:cubicBezTo>
                      <a:pt x="42" y="199"/>
                      <a:pt x="39" y="199"/>
                      <a:pt x="44" y="202"/>
                    </a:cubicBezTo>
                    <a:cubicBezTo>
                      <a:pt x="49" y="204"/>
                      <a:pt x="55" y="209"/>
                      <a:pt x="48" y="211"/>
                    </a:cubicBezTo>
                    <a:cubicBezTo>
                      <a:pt x="41" y="214"/>
                      <a:pt x="35" y="216"/>
                      <a:pt x="42" y="221"/>
                    </a:cubicBezTo>
                    <a:cubicBezTo>
                      <a:pt x="49" y="225"/>
                      <a:pt x="54" y="224"/>
                      <a:pt x="61" y="224"/>
                    </a:cubicBezTo>
                    <a:cubicBezTo>
                      <a:pt x="67" y="224"/>
                      <a:pt x="72" y="228"/>
                      <a:pt x="73" y="219"/>
                    </a:cubicBezTo>
                    <a:cubicBezTo>
                      <a:pt x="75" y="211"/>
                      <a:pt x="76" y="210"/>
                      <a:pt x="81" y="206"/>
                    </a:cubicBezTo>
                    <a:cubicBezTo>
                      <a:pt x="87" y="202"/>
                      <a:pt x="84" y="193"/>
                      <a:pt x="91" y="202"/>
                    </a:cubicBezTo>
                    <a:cubicBezTo>
                      <a:pt x="97" y="211"/>
                      <a:pt x="92" y="211"/>
                      <a:pt x="86" y="212"/>
                    </a:cubicBezTo>
                    <a:cubicBezTo>
                      <a:pt x="81" y="214"/>
                      <a:pt x="81" y="216"/>
                      <a:pt x="80" y="221"/>
                    </a:cubicBezTo>
                    <a:cubicBezTo>
                      <a:pt x="79" y="226"/>
                      <a:pt x="77" y="230"/>
                      <a:pt x="71" y="232"/>
                    </a:cubicBezTo>
                    <a:cubicBezTo>
                      <a:pt x="65" y="235"/>
                      <a:pt x="57" y="240"/>
                      <a:pt x="54" y="248"/>
                    </a:cubicBezTo>
                    <a:cubicBezTo>
                      <a:pt x="51" y="255"/>
                      <a:pt x="42" y="257"/>
                      <a:pt x="35" y="258"/>
                    </a:cubicBezTo>
                    <a:cubicBezTo>
                      <a:pt x="28" y="260"/>
                      <a:pt x="24" y="259"/>
                      <a:pt x="24" y="267"/>
                    </a:cubicBezTo>
                    <a:cubicBezTo>
                      <a:pt x="24" y="275"/>
                      <a:pt x="19" y="273"/>
                      <a:pt x="26" y="278"/>
                    </a:cubicBezTo>
                    <a:cubicBezTo>
                      <a:pt x="34" y="284"/>
                      <a:pt x="33" y="288"/>
                      <a:pt x="40" y="289"/>
                    </a:cubicBezTo>
                    <a:cubicBezTo>
                      <a:pt x="47" y="289"/>
                      <a:pt x="47" y="285"/>
                      <a:pt x="47" y="279"/>
                    </a:cubicBezTo>
                    <a:cubicBezTo>
                      <a:pt x="48" y="273"/>
                      <a:pt x="49" y="278"/>
                      <a:pt x="56" y="270"/>
                    </a:cubicBezTo>
                    <a:cubicBezTo>
                      <a:pt x="62" y="262"/>
                      <a:pt x="65" y="264"/>
                      <a:pt x="68" y="259"/>
                    </a:cubicBezTo>
                    <a:cubicBezTo>
                      <a:pt x="70" y="253"/>
                      <a:pt x="79" y="250"/>
                      <a:pt x="79" y="258"/>
                    </a:cubicBezTo>
                    <a:cubicBezTo>
                      <a:pt x="79" y="266"/>
                      <a:pt x="80" y="273"/>
                      <a:pt x="75" y="280"/>
                    </a:cubicBezTo>
                    <a:cubicBezTo>
                      <a:pt x="70" y="287"/>
                      <a:pt x="66" y="293"/>
                      <a:pt x="66" y="299"/>
                    </a:cubicBezTo>
                    <a:cubicBezTo>
                      <a:pt x="66" y="304"/>
                      <a:pt x="61" y="311"/>
                      <a:pt x="70" y="313"/>
                    </a:cubicBezTo>
                    <a:cubicBezTo>
                      <a:pt x="79" y="314"/>
                      <a:pt x="81" y="309"/>
                      <a:pt x="86" y="305"/>
                    </a:cubicBezTo>
                    <a:cubicBezTo>
                      <a:pt x="91" y="301"/>
                      <a:pt x="85" y="289"/>
                      <a:pt x="92" y="289"/>
                    </a:cubicBezTo>
                    <a:cubicBezTo>
                      <a:pt x="100" y="289"/>
                      <a:pt x="94" y="295"/>
                      <a:pt x="100" y="296"/>
                    </a:cubicBezTo>
                    <a:cubicBezTo>
                      <a:pt x="107" y="298"/>
                      <a:pt x="109" y="298"/>
                      <a:pt x="112" y="295"/>
                    </a:cubicBezTo>
                    <a:cubicBezTo>
                      <a:pt x="116" y="292"/>
                      <a:pt x="122" y="288"/>
                      <a:pt x="111" y="282"/>
                    </a:cubicBezTo>
                    <a:cubicBezTo>
                      <a:pt x="100" y="276"/>
                      <a:pt x="98" y="273"/>
                      <a:pt x="98" y="265"/>
                    </a:cubicBezTo>
                    <a:cubicBezTo>
                      <a:pt x="98" y="258"/>
                      <a:pt x="96" y="250"/>
                      <a:pt x="102" y="250"/>
                    </a:cubicBezTo>
                    <a:cubicBezTo>
                      <a:pt x="109" y="250"/>
                      <a:pt x="108" y="251"/>
                      <a:pt x="109" y="258"/>
                    </a:cubicBezTo>
                    <a:cubicBezTo>
                      <a:pt x="110" y="265"/>
                      <a:pt x="113" y="266"/>
                      <a:pt x="118" y="268"/>
                    </a:cubicBezTo>
                    <a:cubicBezTo>
                      <a:pt x="124" y="270"/>
                      <a:pt x="114" y="275"/>
                      <a:pt x="124" y="277"/>
                    </a:cubicBezTo>
                    <a:cubicBezTo>
                      <a:pt x="135" y="280"/>
                      <a:pt x="133" y="281"/>
                      <a:pt x="132" y="291"/>
                    </a:cubicBezTo>
                    <a:cubicBezTo>
                      <a:pt x="131" y="301"/>
                      <a:pt x="131" y="306"/>
                      <a:pt x="125" y="313"/>
                    </a:cubicBezTo>
                    <a:cubicBezTo>
                      <a:pt x="118" y="320"/>
                      <a:pt x="108" y="332"/>
                      <a:pt x="107" y="338"/>
                    </a:cubicBezTo>
                    <a:cubicBezTo>
                      <a:pt x="106" y="344"/>
                      <a:pt x="102" y="351"/>
                      <a:pt x="111" y="357"/>
                    </a:cubicBezTo>
                    <a:cubicBezTo>
                      <a:pt x="120" y="363"/>
                      <a:pt x="124" y="359"/>
                      <a:pt x="124" y="369"/>
                    </a:cubicBezTo>
                    <a:cubicBezTo>
                      <a:pt x="124" y="378"/>
                      <a:pt x="129" y="379"/>
                      <a:pt x="131" y="370"/>
                    </a:cubicBezTo>
                    <a:cubicBezTo>
                      <a:pt x="133" y="361"/>
                      <a:pt x="132" y="356"/>
                      <a:pt x="136" y="357"/>
                    </a:cubicBezTo>
                    <a:cubicBezTo>
                      <a:pt x="141" y="358"/>
                      <a:pt x="137" y="364"/>
                      <a:pt x="144" y="363"/>
                    </a:cubicBezTo>
                    <a:cubicBezTo>
                      <a:pt x="151" y="363"/>
                      <a:pt x="160" y="368"/>
                      <a:pt x="162" y="362"/>
                    </a:cubicBezTo>
                    <a:cubicBezTo>
                      <a:pt x="163" y="357"/>
                      <a:pt x="164" y="355"/>
                      <a:pt x="167" y="355"/>
                    </a:cubicBezTo>
                    <a:cubicBezTo>
                      <a:pt x="170" y="355"/>
                      <a:pt x="174" y="355"/>
                      <a:pt x="173" y="360"/>
                    </a:cubicBezTo>
                    <a:cubicBezTo>
                      <a:pt x="172" y="364"/>
                      <a:pt x="177" y="364"/>
                      <a:pt x="184" y="364"/>
                    </a:cubicBezTo>
                    <a:cubicBezTo>
                      <a:pt x="190" y="364"/>
                      <a:pt x="185" y="356"/>
                      <a:pt x="194" y="355"/>
                    </a:cubicBezTo>
                    <a:cubicBezTo>
                      <a:pt x="203" y="355"/>
                      <a:pt x="198" y="348"/>
                      <a:pt x="207" y="346"/>
                    </a:cubicBezTo>
                    <a:cubicBezTo>
                      <a:pt x="216" y="345"/>
                      <a:pt x="213" y="338"/>
                      <a:pt x="220" y="339"/>
                    </a:cubicBezTo>
                    <a:cubicBezTo>
                      <a:pt x="227" y="339"/>
                      <a:pt x="230" y="340"/>
                      <a:pt x="230" y="344"/>
                    </a:cubicBezTo>
                    <a:cubicBezTo>
                      <a:pt x="230" y="348"/>
                      <a:pt x="225" y="352"/>
                      <a:pt x="219" y="354"/>
                    </a:cubicBezTo>
                    <a:cubicBezTo>
                      <a:pt x="213" y="356"/>
                      <a:pt x="205" y="365"/>
                      <a:pt x="207" y="374"/>
                    </a:cubicBezTo>
                    <a:cubicBezTo>
                      <a:pt x="208" y="383"/>
                      <a:pt x="210" y="392"/>
                      <a:pt x="221" y="399"/>
                    </a:cubicBezTo>
                    <a:cubicBezTo>
                      <a:pt x="231" y="406"/>
                      <a:pt x="233" y="420"/>
                      <a:pt x="241" y="420"/>
                    </a:cubicBezTo>
                    <a:cubicBezTo>
                      <a:pt x="249" y="420"/>
                      <a:pt x="255" y="416"/>
                      <a:pt x="255" y="422"/>
                    </a:cubicBezTo>
                    <a:cubicBezTo>
                      <a:pt x="255" y="428"/>
                      <a:pt x="252" y="430"/>
                      <a:pt x="248" y="431"/>
                    </a:cubicBezTo>
                    <a:cubicBezTo>
                      <a:pt x="244" y="432"/>
                      <a:pt x="240" y="440"/>
                      <a:pt x="242" y="444"/>
                    </a:cubicBezTo>
                    <a:cubicBezTo>
                      <a:pt x="244" y="447"/>
                      <a:pt x="252" y="453"/>
                      <a:pt x="247" y="454"/>
                    </a:cubicBezTo>
                    <a:cubicBezTo>
                      <a:pt x="241" y="455"/>
                      <a:pt x="241" y="456"/>
                      <a:pt x="240" y="460"/>
                    </a:cubicBezTo>
                    <a:cubicBezTo>
                      <a:pt x="240" y="464"/>
                      <a:pt x="240" y="470"/>
                      <a:pt x="240" y="479"/>
                    </a:cubicBezTo>
                    <a:cubicBezTo>
                      <a:pt x="240" y="487"/>
                      <a:pt x="239" y="488"/>
                      <a:pt x="235" y="487"/>
                    </a:cubicBezTo>
                    <a:cubicBezTo>
                      <a:pt x="231" y="486"/>
                      <a:pt x="236" y="480"/>
                      <a:pt x="230" y="480"/>
                    </a:cubicBezTo>
                    <a:cubicBezTo>
                      <a:pt x="224" y="480"/>
                      <a:pt x="213" y="478"/>
                      <a:pt x="212" y="481"/>
                    </a:cubicBezTo>
                    <a:cubicBezTo>
                      <a:pt x="210" y="484"/>
                      <a:pt x="208" y="485"/>
                      <a:pt x="202" y="485"/>
                    </a:cubicBezTo>
                    <a:cubicBezTo>
                      <a:pt x="196" y="485"/>
                      <a:pt x="181" y="486"/>
                      <a:pt x="178" y="486"/>
                    </a:cubicBezTo>
                    <a:cubicBezTo>
                      <a:pt x="175" y="486"/>
                      <a:pt x="171" y="483"/>
                      <a:pt x="169" y="480"/>
                    </a:cubicBezTo>
                    <a:cubicBezTo>
                      <a:pt x="167" y="477"/>
                      <a:pt x="164" y="472"/>
                      <a:pt x="159" y="472"/>
                    </a:cubicBezTo>
                    <a:cubicBezTo>
                      <a:pt x="153" y="472"/>
                      <a:pt x="160" y="481"/>
                      <a:pt x="151" y="483"/>
                    </a:cubicBezTo>
                    <a:cubicBezTo>
                      <a:pt x="141" y="485"/>
                      <a:pt x="140" y="493"/>
                      <a:pt x="144" y="496"/>
                    </a:cubicBezTo>
                    <a:cubicBezTo>
                      <a:pt x="149" y="499"/>
                      <a:pt x="148" y="501"/>
                      <a:pt x="153" y="502"/>
                    </a:cubicBezTo>
                    <a:cubicBezTo>
                      <a:pt x="157" y="502"/>
                      <a:pt x="161" y="510"/>
                      <a:pt x="157" y="513"/>
                    </a:cubicBezTo>
                    <a:cubicBezTo>
                      <a:pt x="154" y="516"/>
                      <a:pt x="144" y="525"/>
                      <a:pt x="152" y="527"/>
                    </a:cubicBezTo>
                    <a:cubicBezTo>
                      <a:pt x="159" y="529"/>
                      <a:pt x="160" y="528"/>
                      <a:pt x="168" y="528"/>
                    </a:cubicBezTo>
                    <a:cubicBezTo>
                      <a:pt x="176" y="528"/>
                      <a:pt x="176" y="539"/>
                      <a:pt x="186" y="544"/>
                    </a:cubicBezTo>
                    <a:cubicBezTo>
                      <a:pt x="195" y="549"/>
                      <a:pt x="190" y="555"/>
                      <a:pt x="188" y="561"/>
                    </a:cubicBezTo>
                    <a:cubicBezTo>
                      <a:pt x="185" y="568"/>
                      <a:pt x="176" y="570"/>
                      <a:pt x="166" y="570"/>
                    </a:cubicBezTo>
                    <a:cubicBezTo>
                      <a:pt x="155" y="570"/>
                      <a:pt x="138" y="569"/>
                      <a:pt x="138" y="575"/>
                    </a:cubicBezTo>
                    <a:cubicBezTo>
                      <a:pt x="137" y="581"/>
                      <a:pt x="128" y="586"/>
                      <a:pt x="123" y="588"/>
                    </a:cubicBezTo>
                    <a:cubicBezTo>
                      <a:pt x="117" y="589"/>
                      <a:pt x="113" y="592"/>
                      <a:pt x="108" y="596"/>
                    </a:cubicBezTo>
                    <a:cubicBezTo>
                      <a:pt x="103" y="600"/>
                      <a:pt x="108" y="605"/>
                      <a:pt x="101" y="605"/>
                    </a:cubicBezTo>
                    <a:cubicBezTo>
                      <a:pt x="95" y="605"/>
                      <a:pt x="98" y="606"/>
                      <a:pt x="98" y="613"/>
                    </a:cubicBezTo>
                    <a:cubicBezTo>
                      <a:pt x="98" y="621"/>
                      <a:pt x="97" y="628"/>
                      <a:pt x="102" y="628"/>
                    </a:cubicBezTo>
                    <a:cubicBezTo>
                      <a:pt x="107" y="628"/>
                      <a:pt x="111" y="627"/>
                      <a:pt x="114" y="631"/>
                    </a:cubicBezTo>
                    <a:cubicBezTo>
                      <a:pt x="117" y="636"/>
                      <a:pt x="129" y="639"/>
                      <a:pt x="131" y="637"/>
                    </a:cubicBezTo>
                    <a:cubicBezTo>
                      <a:pt x="134" y="634"/>
                      <a:pt x="132" y="631"/>
                      <a:pt x="138" y="630"/>
                    </a:cubicBezTo>
                    <a:cubicBezTo>
                      <a:pt x="143" y="629"/>
                      <a:pt x="147" y="628"/>
                      <a:pt x="148" y="623"/>
                    </a:cubicBezTo>
                    <a:cubicBezTo>
                      <a:pt x="148" y="618"/>
                      <a:pt x="155" y="613"/>
                      <a:pt x="156" y="620"/>
                    </a:cubicBezTo>
                    <a:cubicBezTo>
                      <a:pt x="156" y="628"/>
                      <a:pt x="154" y="637"/>
                      <a:pt x="162" y="637"/>
                    </a:cubicBezTo>
                    <a:cubicBezTo>
                      <a:pt x="169" y="637"/>
                      <a:pt x="185" y="630"/>
                      <a:pt x="186" y="635"/>
                    </a:cubicBezTo>
                    <a:cubicBezTo>
                      <a:pt x="188" y="640"/>
                      <a:pt x="189" y="643"/>
                      <a:pt x="195" y="643"/>
                    </a:cubicBezTo>
                    <a:cubicBezTo>
                      <a:pt x="201" y="644"/>
                      <a:pt x="202" y="652"/>
                      <a:pt x="209" y="651"/>
                    </a:cubicBezTo>
                    <a:cubicBezTo>
                      <a:pt x="217" y="651"/>
                      <a:pt x="235" y="653"/>
                      <a:pt x="236" y="649"/>
                    </a:cubicBezTo>
                    <a:cubicBezTo>
                      <a:pt x="238" y="645"/>
                      <a:pt x="236" y="643"/>
                      <a:pt x="244" y="643"/>
                    </a:cubicBezTo>
                    <a:cubicBezTo>
                      <a:pt x="253" y="643"/>
                      <a:pt x="248" y="647"/>
                      <a:pt x="249" y="652"/>
                    </a:cubicBezTo>
                    <a:cubicBezTo>
                      <a:pt x="249" y="657"/>
                      <a:pt x="242" y="664"/>
                      <a:pt x="233" y="665"/>
                    </a:cubicBezTo>
                    <a:cubicBezTo>
                      <a:pt x="223" y="666"/>
                      <a:pt x="220" y="670"/>
                      <a:pt x="215" y="665"/>
                    </a:cubicBezTo>
                    <a:cubicBezTo>
                      <a:pt x="211" y="661"/>
                      <a:pt x="207" y="665"/>
                      <a:pt x="204" y="659"/>
                    </a:cubicBezTo>
                    <a:cubicBezTo>
                      <a:pt x="201" y="653"/>
                      <a:pt x="191" y="652"/>
                      <a:pt x="188" y="657"/>
                    </a:cubicBezTo>
                    <a:cubicBezTo>
                      <a:pt x="185" y="662"/>
                      <a:pt x="179" y="665"/>
                      <a:pt x="172" y="669"/>
                    </a:cubicBezTo>
                    <a:cubicBezTo>
                      <a:pt x="166" y="672"/>
                      <a:pt x="166" y="677"/>
                      <a:pt x="156" y="676"/>
                    </a:cubicBezTo>
                    <a:cubicBezTo>
                      <a:pt x="146" y="676"/>
                      <a:pt x="148" y="680"/>
                      <a:pt x="146" y="686"/>
                    </a:cubicBezTo>
                    <a:cubicBezTo>
                      <a:pt x="144" y="692"/>
                      <a:pt x="139" y="693"/>
                      <a:pt x="139" y="699"/>
                    </a:cubicBezTo>
                    <a:cubicBezTo>
                      <a:pt x="138" y="704"/>
                      <a:pt x="130" y="704"/>
                      <a:pt x="128" y="71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1" name="Freeform 154">
                <a:extLst>
                  <a:ext uri="{FF2B5EF4-FFF2-40B4-BE49-F238E27FC236}">
                    <a16:creationId xmlns:a16="http://schemas.microsoft.com/office/drawing/2014/main" id="{24A860F4-831E-384D-957B-BC9D125D4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3" y="1598"/>
                <a:ext cx="9" cy="10"/>
              </a:xfrm>
              <a:custGeom>
                <a:avLst/>
                <a:gdLst>
                  <a:gd name="T0" fmla="*/ 19 w 36"/>
                  <a:gd name="T1" fmla="*/ 4 h 39"/>
                  <a:gd name="T2" fmla="*/ 15 w 36"/>
                  <a:gd name="T3" fmla="*/ 16 h 39"/>
                  <a:gd name="T4" fmla="*/ 4 w 36"/>
                  <a:gd name="T5" fmla="*/ 26 h 39"/>
                  <a:gd name="T6" fmla="*/ 5 w 36"/>
                  <a:gd name="T7" fmla="*/ 37 h 39"/>
                  <a:gd name="T8" fmla="*/ 19 w 36"/>
                  <a:gd name="T9" fmla="*/ 37 h 39"/>
                  <a:gd name="T10" fmla="*/ 24 w 36"/>
                  <a:gd name="T11" fmla="*/ 30 h 39"/>
                  <a:gd name="T12" fmla="*/ 36 w 36"/>
                  <a:gd name="T13" fmla="*/ 16 h 39"/>
                  <a:gd name="T14" fmla="*/ 33 w 36"/>
                  <a:gd name="T15" fmla="*/ 3 h 39"/>
                  <a:gd name="T16" fmla="*/ 19 w 36"/>
                  <a:gd name="T17" fmla="*/ 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39">
                    <a:moveTo>
                      <a:pt x="19" y="4"/>
                    </a:moveTo>
                    <a:cubicBezTo>
                      <a:pt x="19" y="4"/>
                      <a:pt x="21" y="13"/>
                      <a:pt x="15" y="16"/>
                    </a:cubicBezTo>
                    <a:cubicBezTo>
                      <a:pt x="8" y="19"/>
                      <a:pt x="6" y="23"/>
                      <a:pt x="4" y="26"/>
                    </a:cubicBezTo>
                    <a:cubicBezTo>
                      <a:pt x="3" y="29"/>
                      <a:pt x="0" y="36"/>
                      <a:pt x="5" y="37"/>
                    </a:cubicBezTo>
                    <a:cubicBezTo>
                      <a:pt x="11" y="38"/>
                      <a:pt x="18" y="39"/>
                      <a:pt x="19" y="37"/>
                    </a:cubicBezTo>
                    <a:cubicBezTo>
                      <a:pt x="20" y="34"/>
                      <a:pt x="20" y="32"/>
                      <a:pt x="24" y="30"/>
                    </a:cubicBezTo>
                    <a:cubicBezTo>
                      <a:pt x="28" y="29"/>
                      <a:pt x="35" y="24"/>
                      <a:pt x="36" y="16"/>
                    </a:cubicBezTo>
                    <a:cubicBezTo>
                      <a:pt x="36" y="9"/>
                      <a:pt x="36" y="5"/>
                      <a:pt x="33" y="3"/>
                    </a:cubicBezTo>
                    <a:cubicBezTo>
                      <a:pt x="29" y="2"/>
                      <a:pt x="18" y="0"/>
                      <a:pt x="19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2" name="Freeform 155">
                <a:extLst>
                  <a:ext uri="{FF2B5EF4-FFF2-40B4-BE49-F238E27FC236}">
                    <a16:creationId xmlns:a16="http://schemas.microsoft.com/office/drawing/2014/main" id="{C42294FC-3A7D-A543-97AE-D6073727D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0" y="1532"/>
                <a:ext cx="6" cy="5"/>
              </a:xfrm>
              <a:custGeom>
                <a:avLst/>
                <a:gdLst>
                  <a:gd name="T0" fmla="*/ 12 w 24"/>
                  <a:gd name="T1" fmla="*/ 1 h 18"/>
                  <a:gd name="T2" fmla="*/ 2 w 24"/>
                  <a:gd name="T3" fmla="*/ 3 h 18"/>
                  <a:gd name="T4" fmla="*/ 4 w 24"/>
                  <a:gd name="T5" fmla="*/ 13 h 18"/>
                  <a:gd name="T6" fmla="*/ 20 w 24"/>
                  <a:gd name="T7" fmla="*/ 16 h 18"/>
                  <a:gd name="T8" fmla="*/ 22 w 24"/>
                  <a:gd name="T9" fmla="*/ 7 h 18"/>
                  <a:gd name="T10" fmla="*/ 12 w 24"/>
                  <a:gd name="T11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18">
                    <a:moveTo>
                      <a:pt x="12" y="1"/>
                    </a:moveTo>
                    <a:cubicBezTo>
                      <a:pt x="12" y="1"/>
                      <a:pt x="3" y="0"/>
                      <a:pt x="2" y="3"/>
                    </a:cubicBezTo>
                    <a:cubicBezTo>
                      <a:pt x="2" y="6"/>
                      <a:pt x="0" y="10"/>
                      <a:pt x="4" y="13"/>
                    </a:cubicBezTo>
                    <a:cubicBezTo>
                      <a:pt x="8" y="15"/>
                      <a:pt x="18" y="18"/>
                      <a:pt x="20" y="16"/>
                    </a:cubicBezTo>
                    <a:cubicBezTo>
                      <a:pt x="22" y="13"/>
                      <a:pt x="24" y="10"/>
                      <a:pt x="22" y="7"/>
                    </a:cubicBezTo>
                    <a:cubicBezTo>
                      <a:pt x="20" y="3"/>
                      <a:pt x="15" y="1"/>
                      <a:pt x="12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3" name="Freeform 156">
                <a:extLst>
                  <a:ext uri="{FF2B5EF4-FFF2-40B4-BE49-F238E27FC236}">
                    <a16:creationId xmlns:a16="http://schemas.microsoft.com/office/drawing/2014/main" id="{751EC7EA-2A8F-0347-A5AA-60D714E77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0" y="1524"/>
                <a:ext cx="4" cy="4"/>
              </a:xfrm>
              <a:custGeom>
                <a:avLst/>
                <a:gdLst>
                  <a:gd name="T0" fmla="*/ 11 w 14"/>
                  <a:gd name="T1" fmla="*/ 4 h 17"/>
                  <a:gd name="T2" fmla="*/ 7 w 14"/>
                  <a:gd name="T3" fmla="*/ 7 h 17"/>
                  <a:gd name="T4" fmla="*/ 2 w 14"/>
                  <a:gd name="T5" fmla="*/ 14 h 17"/>
                  <a:gd name="T6" fmla="*/ 9 w 14"/>
                  <a:gd name="T7" fmla="*/ 17 h 17"/>
                  <a:gd name="T8" fmla="*/ 14 w 14"/>
                  <a:gd name="T9" fmla="*/ 11 h 17"/>
                  <a:gd name="T10" fmla="*/ 11 w 14"/>
                  <a:gd name="T11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17">
                    <a:moveTo>
                      <a:pt x="11" y="4"/>
                    </a:moveTo>
                    <a:cubicBezTo>
                      <a:pt x="11" y="4"/>
                      <a:pt x="11" y="6"/>
                      <a:pt x="7" y="7"/>
                    </a:cubicBezTo>
                    <a:cubicBezTo>
                      <a:pt x="3" y="8"/>
                      <a:pt x="0" y="12"/>
                      <a:pt x="2" y="14"/>
                    </a:cubicBezTo>
                    <a:cubicBezTo>
                      <a:pt x="3" y="17"/>
                      <a:pt x="5" y="17"/>
                      <a:pt x="9" y="17"/>
                    </a:cubicBezTo>
                    <a:cubicBezTo>
                      <a:pt x="13" y="17"/>
                      <a:pt x="14" y="16"/>
                      <a:pt x="14" y="11"/>
                    </a:cubicBezTo>
                    <a:cubicBezTo>
                      <a:pt x="14" y="6"/>
                      <a:pt x="13" y="0"/>
                      <a:pt x="11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4" name="Freeform 157">
                <a:extLst>
                  <a:ext uri="{FF2B5EF4-FFF2-40B4-BE49-F238E27FC236}">
                    <a16:creationId xmlns:a16="http://schemas.microsoft.com/office/drawing/2014/main" id="{3ED6101B-56F4-2D4B-91DF-1CF55B2F6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4" y="1505"/>
                <a:ext cx="19" cy="19"/>
              </a:xfrm>
              <a:custGeom>
                <a:avLst/>
                <a:gdLst>
                  <a:gd name="T0" fmla="*/ 7 w 76"/>
                  <a:gd name="T1" fmla="*/ 29 h 76"/>
                  <a:gd name="T2" fmla="*/ 11 w 76"/>
                  <a:gd name="T3" fmla="*/ 50 h 76"/>
                  <a:gd name="T4" fmla="*/ 13 w 76"/>
                  <a:gd name="T5" fmla="*/ 58 h 76"/>
                  <a:gd name="T6" fmla="*/ 8 w 76"/>
                  <a:gd name="T7" fmla="*/ 71 h 76"/>
                  <a:gd name="T8" fmla="*/ 23 w 76"/>
                  <a:gd name="T9" fmla="*/ 72 h 76"/>
                  <a:gd name="T10" fmla="*/ 38 w 76"/>
                  <a:gd name="T11" fmla="*/ 59 h 76"/>
                  <a:gd name="T12" fmla="*/ 55 w 76"/>
                  <a:gd name="T13" fmla="*/ 53 h 76"/>
                  <a:gd name="T14" fmla="*/ 61 w 76"/>
                  <a:gd name="T15" fmla="*/ 34 h 76"/>
                  <a:gd name="T16" fmla="*/ 68 w 76"/>
                  <a:gd name="T17" fmla="*/ 19 h 76"/>
                  <a:gd name="T18" fmla="*/ 73 w 76"/>
                  <a:gd name="T19" fmla="*/ 10 h 76"/>
                  <a:gd name="T20" fmla="*/ 61 w 76"/>
                  <a:gd name="T21" fmla="*/ 0 h 76"/>
                  <a:gd name="T22" fmla="*/ 53 w 76"/>
                  <a:gd name="T23" fmla="*/ 10 h 76"/>
                  <a:gd name="T24" fmla="*/ 37 w 76"/>
                  <a:gd name="T25" fmla="*/ 13 h 76"/>
                  <a:gd name="T26" fmla="*/ 27 w 76"/>
                  <a:gd name="T27" fmla="*/ 25 h 76"/>
                  <a:gd name="T28" fmla="*/ 7 w 76"/>
                  <a:gd name="T29" fmla="*/ 2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76">
                    <a:moveTo>
                      <a:pt x="7" y="29"/>
                    </a:moveTo>
                    <a:cubicBezTo>
                      <a:pt x="7" y="29"/>
                      <a:pt x="5" y="49"/>
                      <a:pt x="11" y="50"/>
                    </a:cubicBezTo>
                    <a:cubicBezTo>
                      <a:pt x="17" y="51"/>
                      <a:pt x="17" y="54"/>
                      <a:pt x="13" y="58"/>
                    </a:cubicBezTo>
                    <a:cubicBezTo>
                      <a:pt x="10" y="62"/>
                      <a:pt x="0" y="66"/>
                      <a:pt x="8" y="71"/>
                    </a:cubicBezTo>
                    <a:cubicBezTo>
                      <a:pt x="16" y="76"/>
                      <a:pt x="20" y="76"/>
                      <a:pt x="23" y="72"/>
                    </a:cubicBezTo>
                    <a:cubicBezTo>
                      <a:pt x="25" y="67"/>
                      <a:pt x="29" y="59"/>
                      <a:pt x="38" y="59"/>
                    </a:cubicBezTo>
                    <a:cubicBezTo>
                      <a:pt x="46" y="59"/>
                      <a:pt x="55" y="63"/>
                      <a:pt x="55" y="53"/>
                    </a:cubicBezTo>
                    <a:cubicBezTo>
                      <a:pt x="56" y="43"/>
                      <a:pt x="55" y="37"/>
                      <a:pt x="61" y="34"/>
                    </a:cubicBezTo>
                    <a:cubicBezTo>
                      <a:pt x="67" y="32"/>
                      <a:pt x="65" y="21"/>
                      <a:pt x="68" y="19"/>
                    </a:cubicBezTo>
                    <a:cubicBezTo>
                      <a:pt x="71" y="17"/>
                      <a:pt x="76" y="14"/>
                      <a:pt x="73" y="10"/>
                    </a:cubicBezTo>
                    <a:cubicBezTo>
                      <a:pt x="70" y="5"/>
                      <a:pt x="66" y="0"/>
                      <a:pt x="61" y="0"/>
                    </a:cubicBezTo>
                    <a:cubicBezTo>
                      <a:pt x="56" y="0"/>
                      <a:pt x="62" y="12"/>
                      <a:pt x="53" y="10"/>
                    </a:cubicBezTo>
                    <a:cubicBezTo>
                      <a:pt x="44" y="8"/>
                      <a:pt x="40" y="10"/>
                      <a:pt x="37" y="13"/>
                    </a:cubicBezTo>
                    <a:cubicBezTo>
                      <a:pt x="34" y="16"/>
                      <a:pt x="35" y="24"/>
                      <a:pt x="27" y="25"/>
                    </a:cubicBezTo>
                    <a:cubicBezTo>
                      <a:pt x="20" y="27"/>
                      <a:pt x="7" y="20"/>
                      <a:pt x="7" y="2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5" name="Freeform 158">
                <a:extLst>
                  <a:ext uri="{FF2B5EF4-FFF2-40B4-BE49-F238E27FC236}">
                    <a16:creationId xmlns:a16="http://schemas.microsoft.com/office/drawing/2014/main" id="{09CF8038-A8E0-CC43-B357-70F2625D5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3" y="1491"/>
                <a:ext cx="15" cy="10"/>
              </a:xfrm>
              <a:custGeom>
                <a:avLst/>
                <a:gdLst>
                  <a:gd name="T0" fmla="*/ 26 w 56"/>
                  <a:gd name="T1" fmla="*/ 0 h 41"/>
                  <a:gd name="T2" fmla="*/ 11 w 56"/>
                  <a:gd name="T3" fmla="*/ 5 h 41"/>
                  <a:gd name="T4" fmla="*/ 9 w 56"/>
                  <a:gd name="T5" fmla="*/ 19 h 41"/>
                  <a:gd name="T6" fmla="*/ 7 w 56"/>
                  <a:gd name="T7" fmla="*/ 34 h 41"/>
                  <a:gd name="T8" fmla="*/ 19 w 56"/>
                  <a:gd name="T9" fmla="*/ 30 h 41"/>
                  <a:gd name="T10" fmla="*/ 25 w 56"/>
                  <a:gd name="T11" fmla="*/ 24 h 41"/>
                  <a:gd name="T12" fmla="*/ 34 w 56"/>
                  <a:gd name="T13" fmla="*/ 27 h 41"/>
                  <a:gd name="T14" fmla="*/ 39 w 56"/>
                  <a:gd name="T15" fmla="*/ 39 h 41"/>
                  <a:gd name="T16" fmla="*/ 44 w 56"/>
                  <a:gd name="T17" fmla="*/ 32 h 41"/>
                  <a:gd name="T18" fmla="*/ 53 w 56"/>
                  <a:gd name="T19" fmla="*/ 21 h 41"/>
                  <a:gd name="T20" fmla="*/ 47 w 56"/>
                  <a:gd name="T21" fmla="*/ 8 h 41"/>
                  <a:gd name="T22" fmla="*/ 31 w 56"/>
                  <a:gd name="T23" fmla="*/ 5 h 41"/>
                  <a:gd name="T24" fmla="*/ 26 w 56"/>
                  <a:gd name="T2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" h="41">
                    <a:moveTo>
                      <a:pt x="26" y="0"/>
                    </a:moveTo>
                    <a:cubicBezTo>
                      <a:pt x="26" y="0"/>
                      <a:pt x="11" y="0"/>
                      <a:pt x="11" y="5"/>
                    </a:cubicBezTo>
                    <a:cubicBezTo>
                      <a:pt x="11" y="11"/>
                      <a:pt x="15" y="15"/>
                      <a:pt x="9" y="19"/>
                    </a:cubicBezTo>
                    <a:cubicBezTo>
                      <a:pt x="2" y="23"/>
                      <a:pt x="0" y="33"/>
                      <a:pt x="7" y="34"/>
                    </a:cubicBezTo>
                    <a:cubicBezTo>
                      <a:pt x="13" y="34"/>
                      <a:pt x="18" y="34"/>
                      <a:pt x="19" y="30"/>
                    </a:cubicBezTo>
                    <a:cubicBezTo>
                      <a:pt x="20" y="26"/>
                      <a:pt x="19" y="24"/>
                      <a:pt x="25" y="24"/>
                    </a:cubicBezTo>
                    <a:cubicBezTo>
                      <a:pt x="30" y="24"/>
                      <a:pt x="34" y="23"/>
                      <a:pt x="34" y="27"/>
                    </a:cubicBezTo>
                    <a:cubicBezTo>
                      <a:pt x="34" y="32"/>
                      <a:pt x="35" y="38"/>
                      <a:pt x="39" y="39"/>
                    </a:cubicBezTo>
                    <a:cubicBezTo>
                      <a:pt x="44" y="41"/>
                      <a:pt x="43" y="38"/>
                      <a:pt x="44" y="32"/>
                    </a:cubicBezTo>
                    <a:cubicBezTo>
                      <a:pt x="45" y="26"/>
                      <a:pt x="53" y="28"/>
                      <a:pt x="53" y="21"/>
                    </a:cubicBezTo>
                    <a:cubicBezTo>
                      <a:pt x="53" y="14"/>
                      <a:pt x="56" y="8"/>
                      <a:pt x="47" y="8"/>
                    </a:cubicBezTo>
                    <a:cubicBezTo>
                      <a:pt x="39" y="8"/>
                      <a:pt x="33" y="8"/>
                      <a:pt x="31" y="5"/>
                    </a:cubicBezTo>
                    <a:cubicBezTo>
                      <a:pt x="29" y="2"/>
                      <a:pt x="30" y="0"/>
                      <a:pt x="26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6" name="Freeform 159">
                <a:extLst>
                  <a:ext uri="{FF2B5EF4-FFF2-40B4-BE49-F238E27FC236}">
                    <a16:creationId xmlns:a16="http://schemas.microsoft.com/office/drawing/2014/main" id="{8C7FF7D9-F24F-704D-BF0C-6F6BDB04E0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4" y="1455"/>
                <a:ext cx="10" cy="17"/>
              </a:xfrm>
              <a:custGeom>
                <a:avLst/>
                <a:gdLst>
                  <a:gd name="T0" fmla="*/ 21 w 38"/>
                  <a:gd name="T1" fmla="*/ 3 h 66"/>
                  <a:gd name="T2" fmla="*/ 8 w 38"/>
                  <a:gd name="T3" fmla="*/ 10 h 66"/>
                  <a:gd name="T4" fmla="*/ 3 w 38"/>
                  <a:gd name="T5" fmla="*/ 27 h 66"/>
                  <a:gd name="T6" fmla="*/ 7 w 38"/>
                  <a:gd name="T7" fmla="*/ 39 h 66"/>
                  <a:gd name="T8" fmla="*/ 16 w 38"/>
                  <a:gd name="T9" fmla="*/ 53 h 66"/>
                  <a:gd name="T10" fmla="*/ 22 w 38"/>
                  <a:gd name="T11" fmla="*/ 66 h 66"/>
                  <a:gd name="T12" fmla="*/ 29 w 38"/>
                  <a:gd name="T13" fmla="*/ 54 h 66"/>
                  <a:gd name="T14" fmla="*/ 32 w 38"/>
                  <a:gd name="T15" fmla="*/ 35 h 66"/>
                  <a:gd name="T16" fmla="*/ 38 w 38"/>
                  <a:gd name="T17" fmla="*/ 21 h 66"/>
                  <a:gd name="T18" fmla="*/ 21 w 38"/>
                  <a:gd name="T19" fmla="*/ 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66">
                    <a:moveTo>
                      <a:pt x="21" y="3"/>
                    </a:moveTo>
                    <a:cubicBezTo>
                      <a:pt x="21" y="3"/>
                      <a:pt x="10" y="1"/>
                      <a:pt x="8" y="10"/>
                    </a:cubicBezTo>
                    <a:cubicBezTo>
                      <a:pt x="7" y="18"/>
                      <a:pt x="6" y="25"/>
                      <a:pt x="3" y="27"/>
                    </a:cubicBezTo>
                    <a:cubicBezTo>
                      <a:pt x="0" y="30"/>
                      <a:pt x="2" y="35"/>
                      <a:pt x="7" y="39"/>
                    </a:cubicBezTo>
                    <a:cubicBezTo>
                      <a:pt x="12" y="44"/>
                      <a:pt x="17" y="45"/>
                      <a:pt x="16" y="53"/>
                    </a:cubicBezTo>
                    <a:cubicBezTo>
                      <a:pt x="14" y="60"/>
                      <a:pt x="18" y="66"/>
                      <a:pt x="22" y="66"/>
                    </a:cubicBezTo>
                    <a:cubicBezTo>
                      <a:pt x="26" y="66"/>
                      <a:pt x="29" y="64"/>
                      <a:pt x="29" y="54"/>
                    </a:cubicBezTo>
                    <a:cubicBezTo>
                      <a:pt x="29" y="44"/>
                      <a:pt x="29" y="38"/>
                      <a:pt x="32" y="35"/>
                    </a:cubicBezTo>
                    <a:cubicBezTo>
                      <a:pt x="36" y="32"/>
                      <a:pt x="38" y="27"/>
                      <a:pt x="38" y="21"/>
                    </a:cubicBezTo>
                    <a:cubicBezTo>
                      <a:pt x="38" y="16"/>
                      <a:pt x="36" y="0"/>
                      <a:pt x="21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7" name="Freeform 160">
                <a:extLst>
                  <a:ext uri="{FF2B5EF4-FFF2-40B4-BE49-F238E27FC236}">
                    <a16:creationId xmlns:a16="http://schemas.microsoft.com/office/drawing/2014/main" id="{6535A629-15FF-2841-950E-D1784A880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4" y="1448"/>
                <a:ext cx="7" cy="8"/>
              </a:xfrm>
              <a:custGeom>
                <a:avLst/>
                <a:gdLst>
                  <a:gd name="T0" fmla="*/ 2 w 26"/>
                  <a:gd name="T1" fmla="*/ 13 h 30"/>
                  <a:gd name="T2" fmla="*/ 0 w 26"/>
                  <a:gd name="T3" fmla="*/ 26 h 30"/>
                  <a:gd name="T4" fmla="*/ 12 w 26"/>
                  <a:gd name="T5" fmla="*/ 24 h 30"/>
                  <a:gd name="T6" fmla="*/ 18 w 26"/>
                  <a:gd name="T7" fmla="*/ 9 h 30"/>
                  <a:gd name="T8" fmla="*/ 22 w 26"/>
                  <a:gd name="T9" fmla="*/ 3 h 30"/>
                  <a:gd name="T10" fmla="*/ 2 w 26"/>
                  <a:gd name="T11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0">
                    <a:moveTo>
                      <a:pt x="2" y="13"/>
                    </a:moveTo>
                    <a:cubicBezTo>
                      <a:pt x="2" y="13"/>
                      <a:pt x="0" y="22"/>
                      <a:pt x="0" y="26"/>
                    </a:cubicBezTo>
                    <a:cubicBezTo>
                      <a:pt x="0" y="30"/>
                      <a:pt x="11" y="30"/>
                      <a:pt x="12" y="24"/>
                    </a:cubicBezTo>
                    <a:cubicBezTo>
                      <a:pt x="14" y="18"/>
                      <a:pt x="15" y="12"/>
                      <a:pt x="18" y="9"/>
                    </a:cubicBezTo>
                    <a:cubicBezTo>
                      <a:pt x="21" y="6"/>
                      <a:pt x="26" y="5"/>
                      <a:pt x="22" y="3"/>
                    </a:cubicBezTo>
                    <a:cubicBezTo>
                      <a:pt x="18" y="0"/>
                      <a:pt x="9" y="1"/>
                      <a:pt x="2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8" name="Freeform 161">
                <a:extLst>
                  <a:ext uri="{FF2B5EF4-FFF2-40B4-BE49-F238E27FC236}">
                    <a16:creationId xmlns:a16="http://schemas.microsoft.com/office/drawing/2014/main" id="{811ED908-F9C1-024E-85F4-DC60A01877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9" y="1484"/>
                <a:ext cx="8" cy="5"/>
              </a:xfrm>
              <a:custGeom>
                <a:avLst/>
                <a:gdLst>
                  <a:gd name="T0" fmla="*/ 12 w 31"/>
                  <a:gd name="T1" fmla="*/ 3 h 19"/>
                  <a:gd name="T2" fmla="*/ 2 w 31"/>
                  <a:gd name="T3" fmla="*/ 4 h 19"/>
                  <a:gd name="T4" fmla="*/ 6 w 31"/>
                  <a:gd name="T5" fmla="*/ 12 h 19"/>
                  <a:gd name="T6" fmla="*/ 17 w 31"/>
                  <a:gd name="T7" fmla="*/ 19 h 19"/>
                  <a:gd name="T8" fmla="*/ 22 w 31"/>
                  <a:gd name="T9" fmla="*/ 12 h 19"/>
                  <a:gd name="T10" fmla="*/ 12 w 31"/>
                  <a:gd name="T11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9">
                    <a:moveTo>
                      <a:pt x="12" y="3"/>
                    </a:moveTo>
                    <a:cubicBezTo>
                      <a:pt x="12" y="3"/>
                      <a:pt x="4" y="0"/>
                      <a:pt x="2" y="4"/>
                    </a:cubicBezTo>
                    <a:cubicBezTo>
                      <a:pt x="0" y="8"/>
                      <a:pt x="4" y="6"/>
                      <a:pt x="6" y="12"/>
                    </a:cubicBezTo>
                    <a:cubicBezTo>
                      <a:pt x="7" y="18"/>
                      <a:pt x="13" y="19"/>
                      <a:pt x="17" y="19"/>
                    </a:cubicBezTo>
                    <a:cubicBezTo>
                      <a:pt x="20" y="18"/>
                      <a:pt x="31" y="14"/>
                      <a:pt x="22" y="12"/>
                    </a:cubicBezTo>
                    <a:cubicBezTo>
                      <a:pt x="13" y="9"/>
                      <a:pt x="13" y="9"/>
                      <a:pt x="12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09" name="Freeform 162">
                <a:extLst>
                  <a:ext uri="{FF2B5EF4-FFF2-40B4-BE49-F238E27FC236}">
                    <a16:creationId xmlns:a16="http://schemas.microsoft.com/office/drawing/2014/main" id="{4D2A79EA-8B72-324B-9D08-A70DEE2DA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" y="1486"/>
                <a:ext cx="4" cy="5"/>
              </a:xfrm>
              <a:custGeom>
                <a:avLst/>
                <a:gdLst>
                  <a:gd name="T0" fmla="*/ 7 w 14"/>
                  <a:gd name="T1" fmla="*/ 5 h 19"/>
                  <a:gd name="T2" fmla="*/ 0 w 14"/>
                  <a:gd name="T3" fmla="*/ 14 h 19"/>
                  <a:gd name="T4" fmla="*/ 9 w 14"/>
                  <a:gd name="T5" fmla="*/ 10 h 19"/>
                  <a:gd name="T6" fmla="*/ 7 w 14"/>
                  <a:gd name="T7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9">
                    <a:moveTo>
                      <a:pt x="7" y="5"/>
                    </a:moveTo>
                    <a:cubicBezTo>
                      <a:pt x="7" y="5"/>
                      <a:pt x="0" y="9"/>
                      <a:pt x="0" y="14"/>
                    </a:cubicBezTo>
                    <a:cubicBezTo>
                      <a:pt x="0" y="19"/>
                      <a:pt x="7" y="18"/>
                      <a:pt x="9" y="10"/>
                    </a:cubicBezTo>
                    <a:cubicBezTo>
                      <a:pt x="12" y="1"/>
                      <a:pt x="14" y="0"/>
                      <a:pt x="7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0" name="Freeform 163">
                <a:extLst>
                  <a:ext uri="{FF2B5EF4-FFF2-40B4-BE49-F238E27FC236}">
                    <a16:creationId xmlns:a16="http://schemas.microsoft.com/office/drawing/2014/main" id="{92F14FB5-FCC2-BA48-BCE4-EDFE7826D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2" y="1548"/>
                <a:ext cx="3" cy="2"/>
              </a:xfrm>
              <a:custGeom>
                <a:avLst/>
                <a:gdLst>
                  <a:gd name="T0" fmla="*/ 9 w 12"/>
                  <a:gd name="T1" fmla="*/ 1 h 9"/>
                  <a:gd name="T2" fmla="*/ 2 w 12"/>
                  <a:gd name="T3" fmla="*/ 2 h 9"/>
                  <a:gd name="T4" fmla="*/ 3 w 12"/>
                  <a:gd name="T5" fmla="*/ 7 h 9"/>
                  <a:gd name="T6" fmla="*/ 9 w 12"/>
                  <a:gd name="T7" fmla="*/ 7 h 9"/>
                  <a:gd name="T8" fmla="*/ 9 w 1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9" y="1"/>
                    </a:moveTo>
                    <a:cubicBezTo>
                      <a:pt x="9" y="1"/>
                      <a:pt x="3" y="0"/>
                      <a:pt x="2" y="2"/>
                    </a:cubicBezTo>
                    <a:cubicBezTo>
                      <a:pt x="2" y="5"/>
                      <a:pt x="0" y="6"/>
                      <a:pt x="3" y="7"/>
                    </a:cubicBezTo>
                    <a:cubicBezTo>
                      <a:pt x="5" y="8"/>
                      <a:pt x="8" y="9"/>
                      <a:pt x="9" y="7"/>
                    </a:cubicBezTo>
                    <a:cubicBezTo>
                      <a:pt x="10" y="5"/>
                      <a:pt x="12" y="2"/>
                      <a:pt x="9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1" name="Freeform 164">
                <a:extLst>
                  <a:ext uri="{FF2B5EF4-FFF2-40B4-BE49-F238E27FC236}">
                    <a16:creationId xmlns:a16="http://schemas.microsoft.com/office/drawing/2014/main" id="{C223EA72-22BE-9D47-A174-63E57DEEE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3" y="1578"/>
                <a:ext cx="51" cy="32"/>
              </a:xfrm>
              <a:custGeom>
                <a:avLst/>
                <a:gdLst>
                  <a:gd name="T0" fmla="*/ 198 w 200"/>
                  <a:gd name="T1" fmla="*/ 79 h 128"/>
                  <a:gd name="T2" fmla="*/ 193 w 200"/>
                  <a:gd name="T3" fmla="*/ 59 h 128"/>
                  <a:gd name="T4" fmla="*/ 178 w 200"/>
                  <a:gd name="T5" fmla="*/ 47 h 128"/>
                  <a:gd name="T6" fmla="*/ 164 w 200"/>
                  <a:gd name="T7" fmla="*/ 23 h 128"/>
                  <a:gd name="T8" fmla="*/ 153 w 200"/>
                  <a:gd name="T9" fmla="*/ 13 h 128"/>
                  <a:gd name="T10" fmla="*/ 126 w 200"/>
                  <a:gd name="T11" fmla="*/ 9 h 128"/>
                  <a:gd name="T12" fmla="*/ 91 w 200"/>
                  <a:gd name="T13" fmla="*/ 8 h 128"/>
                  <a:gd name="T14" fmla="*/ 69 w 200"/>
                  <a:gd name="T15" fmla="*/ 1 h 128"/>
                  <a:gd name="T16" fmla="*/ 73 w 200"/>
                  <a:gd name="T17" fmla="*/ 13 h 128"/>
                  <a:gd name="T18" fmla="*/ 68 w 200"/>
                  <a:gd name="T19" fmla="*/ 24 h 128"/>
                  <a:gd name="T20" fmla="*/ 67 w 200"/>
                  <a:gd name="T21" fmla="*/ 47 h 128"/>
                  <a:gd name="T22" fmla="*/ 47 w 200"/>
                  <a:gd name="T23" fmla="*/ 61 h 128"/>
                  <a:gd name="T24" fmla="*/ 31 w 200"/>
                  <a:gd name="T25" fmla="*/ 79 h 128"/>
                  <a:gd name="T26" fmla="*/ 35 w 200"/>
                  <a:gd name="T27" fmla="*/ 99 h 128"/>
                  <a:gd name="T28" fmla="*/ 80 w 200"/>
                  <a:gd name="T29" fmla="*/ 109 h 128"/>
                  <a:gd name="T30" fmla="*/ 100 w 200"/>
                  <a:gd name="T31" fmla="*/ 93 h 128"/>
                  <a:gd name="T32" fmla="*/ 116 w 200"/>
                  <a:gd name="T33" fmla="*/ 113 h 128"/>
                  <a:gd name="T34" fmla="*/ 134 w 200"/>
                  <a:gd name="T35" fmla="*/ 119 h 128"/>
                  <a:gd name="T36" fmla="*/ 147 w 200"/>
                  <a:gd name="T37" fmla="*/ 115 h 128"/>
                  <a:gd name="T38" fmla="*/ 149 w 200"/>
                  <a:gd name="T39" fmla="*/ 114 h 128"/>
                  <a:gd name="T40" fmla="*/ 162 w 200"/>
                  <a:gd name="T41" fmla="*/ 123 h 128"/>
                  <a:gd name="T42" fmla="*/ 169 w 200"/>
                  <a:gd name="T43" fmla="*/ 115 h 128"/>
                  <a:gd name="T44" fmla="*/ 181 w 200"/>
                  <a:gd name="T45" fmla="*/ 103 h 128"/>
                  <a:gd name="T46" fmla="*/ 193 w 200"/>
                  <a:gd name="T47" fmla="*/ 91 h 128"/>
                  <a:gd name="T48" fmla="*/ 198 w 200"/>
                  <a:gd name="T49" fmla="*/ 79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0" h="128">
                    <a:moveTo>
                      <a:pt x="198" y="79"/>
                    </a:moveTo>
                    <a:cubicBezTo>
                      <a:pt x="198" y="73"/>
                      <a:pt x="198" y="61"/>
                      <a:pt x="193" y="59"/>
                    </a:cubicBezTo>
                    <a:cubicBezTo>
                      <a:pt x="187" y="57"/>
                      <a:pt x="184" y="58"/>
                      <a:pt x="178" y="47"/>
                    </a:cubicBezTo>
                    <a:cubicBezTo>
                      <a:pt x="172" y="37"/>
                      <a:pt x="164" y="32"/>
                      <a:pt x="164" y="23"/>
                    </a:cubicBezTo>
                    <a:cubicBezTo>
                      <a:pt x="164" y="14"/>
                      <a:pt x="156" y="19"/>
                      <a:pt x="153" y="13"/>
                    </a:cubicBezTo>
                    <a:cubicBezTo>
                      <a:pt x="149" y="7"/>
                      <a:pt x="134" y="9"/>
                      <a:pt x="126" y="9"/>
                    </a:cubicBezTo>
                    <a:cubicBezTo>
                      <a:pt x="117" y="9"/>
                      <a:pt x="94" y="13"/>
                      <a:pt x="91" y="8"/>
                    </a:cubicBezTo>
                    <a:cubicBezTo>
                      <a:pt x="88" y="3"/>
                      <a:pt x="75" y="0"/>
                      <a:pt x="69" y="1"/>
                    </a:cubicBezTo>
                    <a:cubicBezTo>
                      <a:pt x="64" y="3"/>
                      <a:pt x="71" y="10"/>
                      <a:pt x="73" y="13"/>
                    </a:cubicBezTo>
                    <a:cubicBezTo>
                      <a:pt x="75" y="15"/>
                      <a:pt x="72" y="20"/>
                      <a:pt x="68" y="24"/>
                    </a:cubicBezTo>
                    <a:cubicBezTo>
                      <a:pt x="71" y="31"/>
                      <a:pt x="74" y="42"/>
                      <a:pt x="67" y="47"/>
                    </a:cubicBezTo>
                    <a:cubicBezTo>
                      <a:pt x="56" y="53"/>
                      <a:pt x="47" y="49"/>
                      <a:pt x="47" y="61"/>
                    </a:cubicBezTo>
                    <a:cubicBezTo>
                      <a:pt x="47" y="73"/>
                      <a:pt x="38" y="79"/>
                      <a:pt x="31" y="79"/>
                    </a:cubicBezTo>
                    <a:cubicBezTo>
                      <a:pt x="24" y="79"/>
                      <a:pt x="0" y="87"/>
                      <a:pt x="35" y="99"/>
                    </a:cubicBezTo>
                    <a:cubicBezTo>
                      <a:pt x="70" y="111"/>
                      <a:pt x="78" y="128"/>
                      <a:pt x="80" y="109"/>
                    </a:cubicBezTo>
                    <a:cubicBezTo>
                      <a:pt x="83" y="91"/>
                      <a:pt x="91" y="80"/>
                      <a:pt x="100" y="93"/>
                    </a:cubicBezTo>
                    <a:cubicBezTo>
                      <a:pt x="110" y="107"/>
                      <a:pt x="115" y="100"/>
                      <a:pt x="116" y="113"/>
                    </a:cubicBezTo>
                    <a:cubicBezTo>
                      <a:pt x="118" y="127"/>
                      <a:pt x="130" y="127"/>
                      <a:pt x="134" y="119"/>
                    </a:cubicBezTo>
                    <a:cubicBezTo>
                      <a:pt x="137" y="112"/>
                      <a:pt x="141" y="108"/>
                      <a:pt x="147" y="115"/>
                    </a:cubicBezTo>
                    <a:cubicBezTo>
                      <a:pt x="148" y="115"/>
                      <a:pt x="148" y="114"/>
                      <a:pt x="149" y="114"/>
                    </a:cubicBezTo>
                    <a:cubicBezTo>
                      <a:pt x="158" y="115"/>
                      <a:pt x="158" y="122"/>
                      <a:pt x="162" y="123"/>
                    </a:cubicBezTo>
                    <a:cubicBezTo>
                      <a:pt x="167" y="124"/>
                      <a:pt x="167" y="120"/>
                      <a:pt x="169" y="115"/>
                    </a:cubicBezTo>
                    <a:cubicBezTo>
                      <a:pt x="172" y="109"/>
                      <a:pt x="175" y="106"/>
                      <a:pt x="181" y="103"/>
                    </a:cubicBezTo>
                    <a:cubicBezTo>
                      <a:pt x="186" y="100"/>
                      <a:pt x="186" y="94"/>
                      <a:pt x="193" y="91"/>
                    </a:cubicBezTo>
                    <a:cubicBezTo>
                      <a:pt x="200" y="89"/>
                      <a:pt x="198" y="86"/>
                      <a:pt x="198" y="7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2" name="Freeform 165">
                <a:extLst>
                  <a:ext uri="{FF2B5EF4-FFF2-40B4-BE49-F238E27FC236}">
                    <a16:creationId xmlns:a16="http://schemas.microsoft.com/office/drawing/2014/main" id="{F1A7F6EF-0B2A-8C46-9CDC-51B472359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3" y="1581"/>
                <a:ext cx="73" cy="84"/>
              </a:xfrm>
              <a:custGeom>
                <a:avLst/>
                <a:gdLst>
                  <a:gd name="T0" fmla="*/ 233 w 287"/>
                  <a:gd name="T1" fmla="*/ 103 h 332"/>
                  <a:gd name="T2" fmla="*/ 197 w 287"/>
                  <a:gd name="T3" fmla="*/ 99 h 332"/>
                  <a:gd name="T4" fmla="*/ 148 w 287"/>
                  <a:gd name="T5" fmla="*/ 69 h 332"/>
                  <a:gd name="T6" fmla="*/ 184 w 287"/>
                  <a:gd name="T7" fmla="*/ 37 h 332"/>
                  <a:gd name="T8" fmla="*/ 179 w 287"/>
                  <a:gd name="T9" fmla="*/ 18 h 332"/>
                  <a:gd name="T10" fmla="*/ 145 w 287"/>
                  <a:gd name="T11" fmla="*/ 1 h 332"/>
                  <a:gd name="T12" fmla="*/ 122 w 287"/>
                  <a:gd name="T13" fmla="*/ 20 h 332"/>
                  <a:gd name="T14" fmla="*/ 107 w 287"/>
                  <a:gd name="T15" fmla="*/ 43 h 332"/>
                  <a:gd name="T16" fmla="*/ 130 w 287"/>
                  <a:gd name="T17" fmla="*/ 57 h 332"/>
                  <a:gd name="T18" fmla="*/ 114 w 287"/>
                  <a:gd name="T19" fmla="*/ 75 h 332"/>
                  <a:gd name="T20" fmla="*/ 87 w 287"/>
                  <a:gd name="T21" fmla="*/ 87 h 332"/>
                  <a:gd name="T22" fmla="*/ 63 w 287"/>
                  <a:gd name="T23" fmla="*/ 83 h 332"/>
                  <a:gd name="T24" fmla="*/ 39 w 287"/>
                  <a:gd name="T25" fmla="*/ 82 h 332"/>
                  <a:gd name="T26" fmla="*/ 26 w 287"/>
                  <a:gd name="T27" fmla="*/ 74 h 332"/>
                  <a:gd name="T28" fmla="*/ 25 w 287"/>
                  <a:gd name="T29" fmla="*/ 97 h 332"/>
                  <a:gd name="T30" fmla="*/ 7 w 287"/>
                  <a:gd name="T31" fmla="*/ 116 h 332"/>
                  <a:gd name="T32" fmla="*/ 31 w 287"/>
                  <a:gd name="T33" fmla="*/ 128 h 332"/>
                  <a:gd name="T34" fmla="*/ 6 w 287"/>
                  <a:gd name="T35" fmla="*/ 165 h 332"/>
                  <a:gd name="T36" fmla="*/ 42 w 287"/>
                  <a:gd name="T37" fmla="*/ 175 h 332"/>
                  <a:gd name="T38" fmla="*/ 48 w 287"/>
                  <a:gd name="T39" fmla="*/ 212 h 332"/>
                  <a:gd name="T40" fmla="*/ 29 w 287"/>
                  <a:gd name="T41" fmla="*/ 241 h 332"/>
                  <a:gd name="T42" fmla="*/ 15 w 287"/>
                  <a:gd name="T43" fmla="*/ 255 h 332"/>
                  <a:gd name="T44" fmla="*/ 4 w 287"/>
                  <a:gd name="T45" fmla="*/ 286 h 332"/>
                  <a:gd name="T46" fmla="*/ 26 w 287"/>
                  <a:gd name="T47" fmla="*/ 308 h 332"/>
                  <a:gd name="T48" fmla="*/ 58 w 287"/>
                  <a:gd name="T49" fmla="*/ 325 h 332"/>
                  <a:gd name="T50" fmla="*/ 81 w 287"/>
                  <a:gd name="T51" fmla="*/ 329 h 332"/>
                  <a:gd name="T52" fmla="*/ 108 w 287"/>
                  <a:gd name="T53" fmla="*/ 318 h 332"/>
                  <a:gd name="T54" fmla="*/ 140 w 287"/>
                  <a:gd name="T55" fmla="*/ 302 h 332"/>
                  <a:gd name="T56" fmla="*/ 170 w 287"/>
                  <a:gd name="T57" fmla="*/ 290 h 332"/>
                  <a:gd name="T58" fmla="*/ 191 w 287"/>
                  <a:gd name="T59" fmla="*/ 300 h 332"/>
                  <a:gd name="T60" fmla="*/ 211 w 287"/>
                  <a:gd name="T61" fmla="*/ 273 h 332"/>
                  <a:gd name="T62" fmla="*/ 258 w 287"/>
                  <a:gd name="T63" fmla="*/ 266 h 332"/>
                  <a:gd name="T64" fmla="*/ 266 w 287"/>
                  <a:gd name="T65" fmla="*/ 236 h 332"/>
                  <a:gd name="T66" fmla="*/ 281 w 287"/>
                  <a:gd name="T67" fmla="*/ 205 h 332"/>
                  <a:gd name="T68" fmla="*/ 272 w 287"/>
                  <a:gd name="T69" fmla="*/ 168 h 332"/>
                  <a:gd name="T70" fmla="*/ 263 w 287"/>
                  <a:gd name="T71" fmla="*/ 134 h 332"/>
                  <a:gd name="T72" fmla="*/ 251 w 287"/>
                  <a:gd name="T73" fmla="*/ 109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7" h="332">
                    <a:moveTo>
                      <a:pt x="251" y="109"/>
                    </a:moveTo>
                    <a:cubicBezTo>
                      <a:pt x="247" y="117"/>
                      <a:pt x="235" y="117"/>
                      <a:pt x="233" y="103"/>
                    </a:cubicBezTo>
                    <a:cubicBezTo>
                      <a:pt x="232" y="90"/>
                      <a:pt x="227" y="97"/>
                      <a:pt x="217" y="83"/>
                    </a:cubicBezTo>
                    <a:cubicBezTo>
                      <a:pt x="208" y="70"/>
                      <a:pt x="200" y="81"/>
                      <a:pt x="197" y="99"/>
                    </a:cubicBezTo>
                    <a:cubicBezTo>
                      <a:pt x="195" y="118"/>
                      <a:pt x="187" y="101"/>
                      <a:pt x="152" y="89"/>
                    </a:cubicBezTo>
                    <a:cubicBezTo>
                      <a:pt x="117" y="77"/>
                      <a:pt x="141" y="69"/>
                      <a:pt x="148" y="69"/>
                    </a:cubicBezTo>
                    <a:cubicBezTo>
                      <a:pt x="155" y="69"/>
                      <a:pt x="164" y="63"/>
                      <a:pt x="164" y="51"/>
                    </a:cubicBezTo>
                    <a:cubicBezTo>
                      <a:pt x="164" y="39"/>
                      <a:pt x="173" y="43"/>
                      <a:pt x="184" y="37"/>
                    </a:cubicBezTo>
                    <a:cubicBezTo>
                      <a:pt x="191" y="32"/>
                      <a:pt x="188" y="21"/>
                      <a:pt x="185" y="14"/>
                    </a:cubicBezTo>
                    <a:cubicBezTo>
                      <a:pt x="184" y="16"/>
                      <a:pt x="181" y="17"/>
                      <a:pt x="179" y="18"/>
                    </a:cubicBezTo>
                    <a:cubicBezTo>
                      <a:pt x="173" y="20"/>
                      <a:pt x="175" y="11"/>
                      <a:pt x="169" y="8"/>
                    </a:cubicBezTo>
                    <a:cubicBezTo>
                      <a:pt x="163" y="4"/>
                      <a:pt x="152" y="0"/>
                      <a:pt x="145" y="1"/>
                    </a:cubicBezTo>
                    <a:cubicBezTo>
                      <a:pt x="138" y="2"/>
                      <a:pt x="131" y="5"/>
                      <a:pt x="127" y="9"/>
                    </a:cubicBezTo>
                    <a:cubicBezTo>
                      <a:pt x="122" y="12"/>
                      <a:pt x="125" y="15"/>
                      <a:pt x="122" y="20"/>
                    </a:cubicBezTo>
                    <a:cubicBezTo>
                      <a:pt x="118" y="25"/>
                      <a:pt x="125" y="34"/>
                      <a:pt x="123" y="38"/>
                    </a:cubicBezTo>
                    <a:cubicBezTo>
                      <a:pt x="122" y="42"/>
                      <a:pt x="108" y="39"/>
                      <a:pt x="107" y="43"/>
                    </a:cubicBezTo>
                    <a:cubicBezTo>
                      <a:pt x="106" y="47"/>
                      <a:pt x="100" y="57"/>
                      <a:pt x="108" y="57"/>
                    </a:cubicBezTo>
                    <a:cubicBezTo>
                      <a:pt x="116" y="57"/>
                      <a:pt x="121" y="57"/>
                      <a:pt x="130" y="57"/>
                    </a:cubicBezTo>
                    <a:cubicBezTo>
                      <a:pt x="139" y="57"/>
                      <a:pt x="146" y="64"/>
                      <a:pt x="136" y="65"/>
                    </a:cubicBezTo>
                    <a:cubicBezTo>
                      <a:pt x="125" y="67"/>
                      <a:pt x="121" y="71"/>
                      <a:pt x="114" y="75"/>
                    </a:cubicBezTo>
                    <a:cubicBezTo>
                      <a:pt x="108" y="79"/>
                      <a:pt x="107" y="83"/>
                      <a:pt x="101" y="83"/>
                    </a:cubicBezTo>
                    <a:cubicBezTo>
                      <a:pt x="95" y="83"/>
                      <a:pt x="87" y="83"/>
                      <a:pt x="87" y="87"/>
                    </a:cubicBezTo>
                    <a:cubicBezTo>
                      <a:pt x="86" y="91"/>
                      <a:pt x="84" y="91"/>
                      <a:pt x="78" y="91"/>
                    </a:cubicBezTo>
                    <a:cubicBezTo>
                      <a:pt x="73" y="90"/>
                      <a:pt x="69" y="84"/>
                      <a:pt x="63" y="83"/>
                    </a:cubicBezTo>
                    <a:cubicBezTo>
                      <a:pt x="58" y="83"/>
                      <a:pt x="60" y="79"/>
                      <a:pt x="54" y="79"/>
                    </a:cubicBezTo>
                    <a:cubicBezTo>
                      <a:pt x="48" y="78"/>
                      <a:pt x="47" y="78"/>
                      <a:pt x="39" y="82"/>
                    </a:cubicBezTo>
                    <a:cubicBezTo>
                      <a:pt x="39" y="82"/>
                      <a:pt x="34" y="84"/>
                      <a:pt x="33" y="80"/>
                    </a:cubicBezTo>
                    <a:cubicBezTo>
                      <a:pt x="32" y="75"/>
                      <a:pt x="28" y="74"/>
                      <a:pt x="26" y="74"/>
                    </a:cubicBezTo>
                    <a:cubicBezTo>
                      <a:pt x="23" y="74"/>
                      <a:pt x="14" y="83"/>
                      <a:pt x="20" y="87"/>
                    </a:cubicBezTo>
                    <a:cubicBezTo>
                      <a:pt x="26" y="91"/>
                      <a:pt x="26" y="92"/>
                      <a:pt x="25" y="97"/>
                    </a:cubicBezTo>
                    <a:cubicBezTo>
                      <a:pt x="24" y="102"/>
                      <a:pt x="27" y="106"/>
                      <a:pt x="19" y="107"/>
                    </a:cubicBezTo>
                    <a:cubicBezTo>
                      <a:pt x="11" y="108"/>
                      <a:pt x="7" y="112"/>
                      <a:pt x="7" y="116"/>
                    </a:cubicBezTo>
                    <a:cubicBezTo>
                      <a:pt x="7" y="120"/>
                      <a:pt x="7" y="123"/>
                      <a:pt x="17" y="123"/>
                    </a:cubicBezTo>
                    <a:cubicBezTo>
                      <a:pt x="26" y="123"/>
                      <a:pt x="30" y="124"/>
                      <a:pt x="31" y="128"/>
                    </a:cubicBezTo>
                    <a:cubicBezTo>
                      <a:pt x="32" y="133"/>
                      <a:pt x="30" y="138"/>
                      <a:pt x="25" y="141"/>
                    </a:cubicBezTo>
                    <a:cubicBezTo>
                      <a:pt x="20" y="145"/>
                      <a:pt x="0" y="158"/>
                      <a:pt x="6" y="165"/>
                    </a:cubicBezTo>
                    <a:cubicBezTo>
                      <a:pt x="13" y="172"/>
                      <a:pt x="20" y="170"/>
                      <a:pt x="26" y="174"/>
                    </a:cubicBezTo>
                    <a:cubicBezTo>
                      <a:pt x="31" y="178"/>
                      <a:pt x="35" y="175"/>
                      <a:pt x="42" y="175"/>
                    </a:cubicBezTo>
                    <a:cubicBezTo>
                      <a:pt x="49" y="175"/>
                      <a:pt x="53" y="169"/>
                      <a:pt x="54" y="180"/>
                    </a:cubicBezTo>
                    <a:cubicBezTo>
                      <a:pt x="55" y="191"/>
                      <a:pt x="52" y="206"/>
                      <a:pt x="48" y="212"/>
                    </a:cubicBezTo>
                    <a:cubicBezTo>
                      <a:pt x="45" y="218"/>
                      <a:pt x="44" y="226"/>
                      <a:pt x="36" y="229"/>
                    </a:cubicBezTo>
                    <a:cubicBezTo>
                      <a:pt x="29" y="233"/>
                      <a:pt x="26" y="240"/>
                      <a:pt x="29" y="241"/>
                    </a:cubicBezTo>
                    <a:cubicBezTo>
                      <a:pt x="33" y="243"/>
                      <a:pt x="33" y="252"/>
                      <a:pt x="33" y="254"/>
                    </a:cubicBezTo>
                    <a:cubicBezTo>
                      <a:pt x="33" y="256"/>
                      <a:pt x="21" y="252"/>
                      <a:pt x="15" y="255"/>
                    </a:cubicBezTo>
                    <a:cubicBezTo>
                      <a:pt x="10" y="257"/>
                      <a:pt x="2" y="268"/>
                      <a:pt x="2" y="272"/>
                    </a:cubicBezTo>
                    <a:cubicBezTo>
                      <a:pt x="2" y="277"/>
                      <a:pt x="7" y="281"/>
                      <a:pt x="4" y="286"/>
                    </a:cubicBezTo>
                    <a:cubicBezTo>
                      <a:pt x="1" y="290"/>
                      <a:pt x="2" y="300"/>
                      <a:pt x="7" y="302"/>
                    </a:cubicBezTo>
                    <a:cubicBezTo>
                      <a:pt x="12" y="304"/>
                      <a:pt x="24" y="303"/>
                      <a:pt x="26" y="308"/>
                    </a:cubicBezTo>
                    <a:cubicBezTo>
                      <a:pt x="28" y="314"/>
                      <a:pt x="30" y="318"/>
                      <a:pt x="39" y="321"/>
                    </a:cubicBezTo>
                    <a:cubicBezTo>
                      <a:pt x="47" y="323"/>
                      <a:pt x="57" y="319"/>
                      <a:pt x="58" y="325"/>
                    </a:cubicBezTo>
                    <a:cubicBezTo>
                      <a:pt x="59" y="331"/>
                      <a:pt x="64" y="330"/>
                      <a:pt x="69" y="330"/>
                    </a:cubicBezTo>
                    <a:cubicBezTo>
                      <a:pt x="74" y="330"/>
                      <a:pt x="80" y="332"/>
                      <a:pt x="81" y="329"/>
                    </a:cubicBezTo>
                    <a:cubicBezTo>
                      <a:pt x="83" y="325"/>
                      <a:pt x="80" y="322"/>
                      <a:pt x="91" y="322"/>
                    </a:cubicBezTo>
                    <a:cubicBezTo>
                      <a:pt x="101" y="322"/>
                      <a:pt x="107" y="322"/>
                      <a:pt x="108" y="318"/>
                    </a:cubicBezTo>
                    <a:cubicBezTo>
                      <a:pt x="110" y="314"/>
                      <a:pt x="121" y="316"/>
                      <a:pt x="123" y="310"/>
                    </a:cubicBezTo>
                    <a:cubicBezTo>
                      <a:pt x="126" y="304"/>
                      <a:pt x="133" y="301"/>
                      <a:pt x="140" y="302"/>
                    </a:cubicBezTo>
                    <a:cubicBezTo>
                      <a:pt x="147" y="303"/>
                      <a:pt x="150" y="308"/>
                      <a:pt x="152" y="301"/>
                    </a:cubicBezTo>
                    <a:cubicBezTo>
                      <a:pt x="154" y="294"/>
                      <a:pt x="163" y="290"/>
                      <a:pt x="170" y="290"/>
                    </a:cubicBezTo>
                    <a:cubicBezTo>
                      <a:pt x="176" y="290"/>
                      <a:pt x="181" y="293"/>
                      <a:pt x="183" y="298"/>
                    </a:cubicBezTo>
                    <a:cubicBezTo>
                      <a:pt x="184" y="303"/>
                      <a:pt x="191" y="308"/>
                      <a:pt x="191" y="300"/>
                    </a:cubicBezTo>
                    <a:cubicBezTo>
                      <a:pt x="191" y="292"/>
                      <a:pt x="186" y="280"/>
                      <a:pt x="194" y="278"/>
                    </a:cubicBezTo>
                    <a:cubicBezTo>
                      <a:pt x="201" y="276"/>
                      <a:pt x="205" y="271"/>
                      <a:pt x="211" y="273"/>
                    </a:cubicBezTo>
                    <a:cubicBezTo>
                      <a:pt x="217" y="276"/>
                      <a:pt x="228" y="274"/>
                      <a:pt x="237" y="274"/>
                    </a:cubicBezTo>
                    <a:cubicBezTo>
                      <a:pt x="246" y="274"/>
                      <a:pt x="260" y="279"/>
                      <a:pt x="258" y="266"/>
                    </a:cubicBezTo>
                    <a:cubicBezTo>
                      <a:pt x="256" y="253"/>
                      <a:pt x="255" y="251"/>
                      <a:pt x="261" y="249"/>
                    </a:cubicBezTo>
                    <a:cubicBezTo>
                      <a:pt x="266" y="247"/>
                      <a:pt x="260" y="240"/>
                      <a:pt x="266" y="236"/>
                    </a:cubicBezTo>
                    <a:cubicBezTo>
                      <a:pt x="272" y="232"/>
                      <a:pt x="272" y="229"/>
                      <a:pt x="274" y="222"/>
                    </a:cubicBezTo>
                    <a:cubicBezTo>
                      <a:pt x="275" y="215"/>
                      <a:pt x="280" y="214"/>
                      <a:pt x="281" y="205"/>
                    </a:cubicBezTo>
                    <a:cubicBezTo>
                      <a:pt x="281" y="195"/>
                      <a:pt x="287" y="189"/>
                      <a:pt x="280" y="183"/>
                    </a:cubicBezTo>
                    <a:cubicBezTo>
                      <a:pt x="272" y="177"/>
                      <a:pt x="272" y="177"/>
                      <a:pt x="272" y="168"/>
                    </a:cubicBezTo>
                    <a:cubicBezTo>
                      <a:pt x="273" y="159"/>
                      <a:pt x="276" y="148"/>
                      <a:pt x="272" y="143"/>
                    </a:cubicBezTo>
                    <a:cubicBezTo>
                      <a:pt x="269" y="137"/>
                      <a:pt x="263" y="143"/>
                      <a:pt x="263" y="134"/>
                    </a:cubicBezTo>
                    <a:cubicBezTo>
                      <a:pt x="263" y="126"/>
                      <a:pt x="258" y="108"/>
                      <a:pt x="264" y="105"/>
                    </a:cubicBezTo>
                    <a:cubicBezTo>
                      <a:pt x="258" y="98"/>
                      <a:pt x="254" y="102"/>
                      <a:pt x="251" y="10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3" name="Freeform 166">
                <a:extLst>
                  <a:ext uri="{FF2B5EF4-FFF2-40B4-BE49-F238E27FC236}">
                    <a16:creationId xmlns:a16="http://schemas.microsoft.com/office/drawing/2014/main" id="{DA0C3D8C-5969-DB4A-919F-1120E2FD8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0" y="1971"/>
                <a:ext cx="5" cy="4"/>
              </a:xfrm>
              <a:custGeom>
                <a:avLst/>
                <a:gdLst>
                  <a:gd name="T0" fmla="*/ 17 w 21"/>
                  <a:gd name="T1" fmla="*/ 8 h 16"/>
                  <a:gd name="T2" fmla="*/ 13 w 21"/>
                  <a:gd name="T3" fmla="*/ 6 h 16"/>
                  <a:gd name="T4" fmla="*/ 9 w 21"/>
                  <a:gd name="T5" fmla="*/ 1 h 16"/>
                  <a:gd name="T6" fmla="*/ 2 w 21"/>
                  <a:gd name="T7" fmla="*/ 4 h 16"/>
                  <a:gd name="T8" fmla="*/ 9 w 21"/>
                  <a:gd name="T9" fmla="*/ 11 h 16"/>
                  <a:gd name="T10" fmla="*/ 15 w 21"/>
                  <a:gd name="T11" fmla="*/ 16 h 16"/>
                  <a:gd name="T12" fmla="*/ 17 w 21"/>
                  <a:gd name="T13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6">
                    <a:moveTo>
                      <a:pt x="17" y="8"/>
                    </a:moveTo>
                    <a:cubicBezTo>
                      <a:pt x="17" y="8"/>
                      <a:pt x="13" y="9"/>
                      <a:pt x="13" y="6"/>
                    </a:cubicBezTo>
                    <a:cubicBezTo>
                      <a:pt x="12" y="3"/>
                      <a:pt x="10" y="3"/>
                      <a:pt x="9" y="1"/>
                    </a:cubicBezTo>
                    <a:cubicBezTo>
                      <a:pt x="7" y="0"/>
                      <a:pt x="0" y="1"/>
                      <a:pt x="2" y="4"/>
                    </a:cubicBezTo>
                    <a:cubicBezTo>
                      <a:pt x="4" y="8"/>
                      <a:pt x="9" y="8"/>
                      <a:pt x="9" y="11"/>
                    </a:cubicBezTo>
                    <a:cubicBezTo>
                      <a:pt x="9" y="15"/>
                      <a:pt x="11" y="16"/>
                      <a:pt x="15" y="16"/>
                    </a:cubicBezTo>
                    <a:cubicBezTo>
                      <a:pt x="19" y="16"/>
                      <a:pt x="21" y="9"/>
                      <a:pt x="17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4" name="Freeform 167">
                <a:extLst>
                  <a:ext uri="{FF2B5EF4-FFF2-40B4-BE49-F238E27FC236}">
                    <a16:creationId xmlns:a16="http://schemas.microsoft.com/office/drawing/2014/main" id="{512A50C0-79B6-E745-8A78-FE0CF3D442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9" y="739"/>
                <a:ext cx="979" cy="734"/>
              </a:xfrm>
              <a:custGeom>
                <a:avLst/>
                <a:gdLst>
                  <a:gd name="T0" fmla="*/ 522 w 3873"/>
                  <a:gd name="T1" fmla="*/ 637 h 2904"/>
                  <a:gd name="T2" fmla="*/ 86 w 3873"/>
                  <a:gd name="T3" fmla="*/ 753 h 2904"/>
                  <a:gd name="T4" fmla="*/ 118 w 3873"/>
                  <a:gd name="T5" fmla="*/ 881 h 2904"/>
                  <a:gd name="T6" fmla="*/ 402 w 3873"/>
                  <a:gd name="T7" fmla="*/ 892 h 2904"/>
                  <a:gd name="T8" fmla="*/ 134 w 3873"/>
                  <a:gd name="T9" fmla="*/ 956 h 2904"/>
                  <a:gd name="T10" fmla="*/ 271 w 3873"/>
                  <a:gd name="T11" fmla="*/ 1038 h 2904"/>
                  <a:gd name="T12" fmla="*/ 445 w 3873"/>
                  <a:gd name="T13" fmla="*/ 1081 h 2904"/>
                  <a:gd name="T14" fmla="*/ 754 w 3873"/>
                  <a:gd name="T15" fmla="*/ 1091 h 2904"/>
                  <a:gd name="T16" fmla="*/ 996 w 3873"/>
                  <a:gd name="T17" fmla="*/ 1255 h 2904"/>
                  <a:gd name="T18" fmla="*/ 1096 w 3873"/>
                  <a:gd name="T19" fmla="*/ 1383 h 2904"/>
                  <a:gd name="T20" fmla="*/ 1151 w 3873"/>
                  <a:gd name="T21" fmla="*/ 1521 h 2904"/>
                  <a:gd name="T22" fmla="*/ 1104 w 3873"/>
                  <a:gd name="T23" fmla="*/ 1660 h 2904"/>
                  <a:gd name="T24" fmla="*/ 1292 w 3873"/>
                  <a:gd name="T25" fmla="*/ 1673 h 2904"/>
                  <a:gd name="T26" fmla="*/ 1403 w 3873"/>
                  <a:gd name="T27" fmla="*/ 1789 h 2904"/>
                  <a:gd name="T28" fmla="*/ 1342 w 3873"/>
                  <a:gd name="T29" fmla="*/ 1844 h 2904"/>
                  <a:gd name="T30" fmla="*/ 1417 w 3873"/>
                  <a:gd name="T31" fmla="*/ 1909 h 2904"/>
                  <a:gd name="T32" fmla="*/ 1281 w 3873"/>
                  <a:gd name="T33" fmla="*/ 2016 h 2904"/>
                  <a:gd name="T34" fmla="*/ 1320 w 3873"/>
                  <a:gd name="T35" fmla="*/ 2059 h 2904"/>
                  <a:gd name="T36" fmla="*/ 1349 w 3873"/>
                  <a:gd name="T37" fmla="*/ 2106 h 2904"/>
                  <a:gd name="T38" fmla="*/ 1272 w 3873"/>
                  <a:gd name="T39" fmla="*/ 2331 h 2904"/>
                  <a:gd name="T40" fmla="*/ 1386 w 3873"/>
                  <a:gd name="T41" fmla="*/ 2454 h 2904"/>
                  <a:gd name="T42" fmla="*/ 1571 w 3873"/>
                  <a:gd name="T43" fmla="*/ 2764 h 2904"/>
                  <a:gd name="T44" fmla="*/ 1813 w 3873"/>
                  <a:gd name="T45" fmla="*/ 2882 h 2904"/>
                  <a:gd name="T46" fmla="*/ 1939 w 3873"/>
                  <a:gd name="T47" fmla="*/ 2779 h 2904"/>
                  <a:gd name="T48" fmla="*/ 1992 w 3873"/>
                  <a:gd name="T49" fmla="*/ 2598 h 2904"/>
                  <a:gd name="T50" fmla="*/ 2069 w 3873"/>
                  <a:gd name="T51" fmla="*/ 2422 h 2904"/>
                  <a:gd name="T52" fmla="*/ 2207 w 3873"/>
                  <a:gd name="T53" fmla="*/ 2311 h 2904"/>
                  <a:gd name="T54" fmla="*/ 2309 w 3873"/>
                  <a:gd name="T55" fmla="*/ 2297 h 2904"/>
                  <a:gd name="T56" fmla="*/ 2607 w 3873"/>
                  <a:gd name="T57" fmla="*/ 2044 h 2904"/>
                  <a:gd name="T58" fmla="*/ 2891 w 3873"/>
                  <a:gd name="T59" fmla="*/ 2013 h 2904"/>
                  <a:gd name="T60" fmla="*/ 3062 w 3873"/>
                  <a:gd name="T61" fmla="*/ 1813 h 2904"/>
                  <a:gd name="T62" fmla="*/ 2991 w 3873"/>
                  <a:gd name="T63" fmla="*/ 1728 h 2904"/>
                  <a:gd name="T64" fmla="*/ 2992 w 3873"/>
                  <a:gd name="T65" fmla="*/ 1715 h 2904"/>
                  <a:gd name="T66" fmla="*/ 3226 w 3873"/>
                  <a:gd name="T67" fmla="*/ 1796 h 2904"/>
                  <a:gd name="T68" fmla="*/ 2985 w 3873"/>
                  <a:gd name="T69" fmla="*/ 1557 h 2904"/>
                  <a:gd name="T70" fmla="*/ 2913 w 3873"/>
                  <a:gd name="T71" fmla="*/ 1453 h 2904"/>
                  <a:gd name="T72" fmla="*/ 3289 w 3873"/>
                  <a:gd name="T73" fmla="*/ 1440 h 2904"/>
                  <a:gd name="T74" fmla="*/ 3325 w 3873"/>
                  <a:gd name="T75" fmla="*/ 1356 h 2904"/>
                  <a:gd name="T76" fmla="*/ 3333 w 3873"/>
                  <a:gd name="T77" fmla="*/ 1200 h 2904"/>
                  <a:gd name="T78" fmla="*/ 3277 w 3873"/>
                  <a:gd name="T79" fmla="*/ 1024 h 2904"/>
                  <a:gd name="T80" fmla="*/ 3464 w 3873"/>
                  <a:gd name="T81" fmla="*/ 940 h 2904"/>
                  <a:gd name="T82" fmla="*/ 3245 w 3873"/>
                  <a:gd name="T83" fmla="*/ 878 h 2904"/>
                  <a:gd name="T84" fmla="*/ 3521 w 3873"/>
                  <a:gd name="T85" fmla="*/ 557 h 2904"/>
                  <a:gd name="T86" fmla="*/ 3598 w 3873"/>
                  <a:gd name="T87" fmla="*/ 501 h 2904"/>
                  <a:gd name="T88" fmla="*/ 3766 w 3873"/>
                  <a:gd name="T89" fmla="*/ 392 h 2904"/>
                  <a:gd name="T90" fmla="*/ 3438 w 3873"/>
                  <a:gd name="T91" fmla="*/ 338 h 2904"/>
                  <a:gd name="T92" fmla="*/ 3169 w 3873"/>
                  <a:gd name="T93" fmla="*/ 394 h 2904"/>
                  <a:gd name="T94" fmla="*/ 3014 w 3873"/>
                  <a:gd name="T95" fmla="*/ 304 h 2904"/>
                  <a:gd name="T96" fmla="*/ 2861 w 3873"/>
                  <a:gd name="T97" fmla="*/ 237 h 2904"/>
                  <a:gd name="T98" fmla="*/ 3031 w 3873"/>
                  <a:gd name="T99" fmla="*/ 79 h 2904"/>
                  <a:gd name="T100" fmla="*/ 2510 w 3873"/>
                  <a:gd name="T101" fmla="*/ 110 h 2904"/>
                  <a:gd name="T102" fmla="*/ 2580 w 3873"/>
                  <a:gd name="T103" fmla="*/ 6 h 2904"/>
                  <a:gd name="T104" fmla="*/ 2181 w 3873"/>
                  <a:gd name="T105" fmla="*/ 100 h 2904"/>
                  <a:gd name="T106" fmla="*/ 2051 w 3873"/>
                  <a:gd name="T107" fmla="*/ 84 h 2904"/>
                  <a:gd name="T108" fmla="*/ 1769 w 3873"/>
                  <a:gd name="T109" fmla="*/ 125 h 2904"/>
                  <a:gd name="T110" fmla="*/ 1810 w 3873"/>
                  <a:gd name="T111" fmla="*/ 144 h 2904"/>
                  <a:gd name="T112" fmla="*/ 1765 w 3873"/>
                  <a:gd name="T113" fmla="*/ 245 h 2904"/>
                  <a:gd name="T114" fmla="*/ 1417 w 3873"/>
                  <a:gd name="T115" fmla="*/ 211 h 2904"/>
                  <a:gd name="T116" fmla="*/ 1262 w 3873"/>
                  <a:gd name="T117" fmla="*/ 297 h 2904"/>
                  <a:gd name="T118" fmla="*/ 884 w 3873"/>
                  <a:gd name="T119" fmla="*/ 268 h 2904"/>
                  <a:gd name="T120" fmla="*/ 763 w 3873"/>
                  <a:gd name="T121" fmla="*/ 390 h 2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873" h="2904">
                    <a:moveTo>
                      <a:pt x="479" y="454"/>
                    </a:moveTo>
                    <a:cubicBezTo>
                      <a:pt x="479" y="454"/>
                      <a:pt x="419" y="474"/>
                      <a:pt x="408" y="478"/>
                    </a:cubicBezTo>
                    <a:cubicBezTo>
                      <a:pt x="397" y="482"/>
                      <a:pt x="402" y="502"/>
                      <a:pt x="376" y="504"/>
                    </a:cubicBezTo>
                    <a:cubicBezTo>
                      <a:pt x="350" y="506"/>
                      <a:pt x="344" y="525"/>
                      <a:pt x="374" y="540"/>
                    </a:cubicBezTo>
                    <a:cubicBezTo>
                      <a:pt x="404" y="555"/>
                      <a:pt x="404" y="564"/>
                      <a:pt x="415" y="555"/>
                    </a:cubicBezTo>
                    <a:cubicBezTo>
                      <a:pt x="425" y="547"/>
                      <a:pt x="438" y="543"/>
                      <a:pt x="443" y="551"/>
                    </a:cubicBezTo>
                    <a:cubicBezTo>
                      <a:pt x="447" y="560"/>
                      <a:pt x="471" y="571"/>
                      <a:pt x="473" y="562"/>
                    </a:cubicBezTo>
                    <a:cubicBezTo>
                      <a:pt x="475" y="553"/>
                      <a:pt x="477" y="555"/>
                      <a:pt x="496" y="553"/>
                    </a:cubicBezTo>
                    <a:cubicBezTo>
                      <a:pt x="516" y="551"/>
                      <a:pt x="565" y="528"/>
                      <a:pt x="565" y="536"/>
                    </a:cubicBezTo>
                    <a:cubicBezTo>
                      <a:pt x="565" y="545"/>
                      <a:pt x="563" y="549"/>
                      <a:pt x="544" y="555"/>
                    </a:cubicBezTo>
                    <a:cubicBezTo>
                      <a:pt x="524" y="562"/>
                      <a:pt x="516" y="564"/>
                      <a:pt x="518" y="577"/>
                    </a:cubicBezTo>
                    <a:cubicBezTo>
                      <a:pt x="520" y="590"/>
                      <a:pt x="514" y="607"/>
                      <a:pt x="520" y="614"/>
                    </a:cubicBezTo>
                    <a:cubicBezTo>
                      <a:pt x="526" y="620"/>
                      <a:pt x="535" y="631"/>
                      <a:pt x="522" y="637"/>
                    </a:cubicBezTo>
                    <a:cubicBezTo>
                      <a:pt x="509" y="644"/>
                      <a:pt x="490" y="654"/>
                      <a:pt x="483" y="665"/>
                    </a:cubicBezTo>
                    <a:cubicBezTo>
                      <a:pt x="477" y="676"/>
                      <a:pt x="475" y="684"/>
                      <a:pt x="453" y="684"/>
                    </a:cubicBezTo>
                    <a:cubicBezTo>
                      <a:pt x="432" y="684"/>
                      <a:pt x="428" y="678"/>
                      <a:pt x="410" y="682"/>
                    </a:cubicBezTo>
                    <a:cubicBezTo>
                      <a:pt x="393" y="687"/>
                      <a:pt x="354" y="684"/>
                      <a:pt x="348" y="690"/>
                    </a:cubicBezTo>
                    <a:cubicBezTo>
                      <a:pt x="342" y="695"/>
                      <a:pt x="340" y="700"/>
                      <a:pt x="325" y="697"/>
                    </a:cubicBezTo>
                    <a:cubicBezTo>
                      <a:pt x="310" y="695"/>
                      <a:pt x="286" y="693"/>
                      <a:pt x="282" y="701"/>
                    </a:cubicBezTo>
                    <a:cubicBezTo>
                      <a:pt x="279" y="708"/>
                      <a:pt x="258" y="701"/>
                      <a:pt x="257" y="708"/>
                    </a:cubicBezTo>
                    <a:cubicBezTo>
                      <a:pt x="256" y="716"/>
                      <a:pt x="258" y="729"/>
                      <a:pt x="236" y="729"/>
                    </a:cubicBezTo>
                    <a:cubicBezTo>
                      <a:pt x="215" y="729"/>
                      <a:pt x="196" y="731"/>
                      <a:pt x="194" y="734"/>
                    </a:cubicBezTo>
                    <a:cubicBezTo>
                      <a:pt x="192" y="737"/>
                      <a:pt x="179" y="738"/>
                      <a:pt x="165" y="743"/>
                    </a:cubicBezTo>
                    <a:cubicBezTo>
                      <a:pt x="151" y="747"/>
                      <a:pt x="146" y="751"/>
                      <a:pt x="133" y="754"/>
                    </a:cubicBezTo>
                    <a:cubicBezTo>
                      <a:pt x="120" y="758"/>
                      <a:pt x="117" y="743"/>
                      <a:pt x="107" y="746"/>
                    </a:cubicBezTo>
                    <a:cubicBezTo>
                      <a:pt x="98" y="749"/>
                      <a:pt x="94" y="761"/>
                      <a:pt x="86" y="753"/>
                    </a:cubicBezTo>
                    <a:cubicBezTo>
                      <a:pt x="77" y="746"/>
                      <a:pt x="65" y="752"/>
                      <a:pt x="59" y="757"/>
                    </a:cubicBezTo>
                    <a:cubicBezTo>
                      <a:pt x="52" y="761"/>
                      <a:pt x="47" y="775"/>
                      <a:pt x="33" y="777"/>
                    </a:cubicBezTo>
                    <a:cubicBezTo>
                      <a:pt x="19" y="779"/>
                      <a:pt x="18" y="786"/>
                      <a:pt x="18" y="792"/>
                    </a:cubicBezTo>
                    <a:cubicBezTo>
                      <a:pt x="18" y="798"/>
                      <a:pt x="19" y="803"/>
                      <a:pt x="14" y="809"/>
                    </a:cubicBezTo>
                    <a:cubicBezTo>
                      <a:pt x="8" y="816"/>
                      <a:pt x="0" y="823"/>
                      <a:pt x="15" y="829"/>
                    </a:cubicBezTo>
                    <a:cubicBezTo>
                      <a:pt x="30" y="834"/>
                      <a:pt x="32" y="841"/>
                      <a:pt x="32" y="845"/>
                    </a:cubicBezTo>
                    <a:cubicBezTo>
                      <a:pt x="32" y="848"/>
                      <a:pt x="34" y="866"/>
                      <a:pt x="42" y="866"/>
                    </a:cubicBezTo>
                    <a:cubicBezTo>
                      <a:pt x="49" y="866"/>
                      <a:pt x="53" y="864"/>
                      <a:pt x="49" y="860"/>
                    </a:cubicBezTo>
                    <a:cubicBezTo>
                      <a:pt x="45" y="855"/>
                      <a:pt x="34" y="845"/>
                      <a:pt x="39" y="845"/>
                    </a:cubicBezTo>
                    <a:cubicBezTo>
                      <a:pt x="45" y="845"/>
                      <a:pt x="52" y="839"/>
                      <a:pt x="57" y="847"/>
                    </a:cubicBezTo>
                    <a:cubicBezTo>
                      <a:pt x="61" y="854"/>
                      <a:pt x="62" y="858"/>
                      <a:pt x="75" y="859"/>
                    </a:cubicBezTo>
                    <a:cubicBezTo>
                      <a:pt x="88" y="860"/>
                      <a:pt x="96" y="861"/>
                      <a:pt x="100" y="865"/>
                    </a:cubicBezTo>
                    <a:cubicBezTo>
                      <a:pt x="103" y="869"/>
                      <a:pt x="110" y="882"/>
                      <a:pt x="118" y="881"/>
                    </a:cubicBezTo>
                    <a:cubicBezTo>
                      <a:pt x="125" y="880"/>
                      <a:pt x="125" y="875"/>
                      <a:pt x="135" y="875"/>
                    </a:cubicBezTo>
                    <a:cubicBezTo>
                      <a:pt x="145" y="875"/>
                      <a:pt x="156" y="870"/>
                      <a:pt x="157" y="877"/>
                    </a:cubicBezTo>
                    <a:cubicBezTo>
                      <a:pt x="158" y="883"/>
                      <a:pt x="160" y="891"/>
                      <a:pt x="171" y="892"/>
                    </a:cubicBezTo>
                    <a:cubicBezTo>
                      <a:pt x="181" y="893"/>
                      <a:pt x="182" y="899"/>
                      <a:pt x="185" y="903"/>
                    </a:cubicBezTo>
                    <a:cubicBezTo>
                      <a:pt x="187" y="906"/>
                      <a:pt x="196" y="910"/>
                      <a:pt x="207" y="919"/>
                    </a:cubicBezTo>
                    <a:cubicBezTo>
                      <a:pt x="218" y="927"/>
                      <a:pt x="224" y="926"/>
                      <a:pt x="233" y="922"/>
                    </a:cubicBezTo>
                    <a:cubicBezTo>
                      <a:pt x="242" y="918"/>
                      <a:pt x="247" y="918"/>
                      <a:pt x="259" y="918"/>
                    </a:cubicBezTo>
                    <a:cubicBezTo>
                      <a:pt x="271" y="918"/>
                      <a:pt x="280" y="920"/>
                      <a:pt x="279" y="913"/>
                    </a:cubicBezTo>
                    <a:cubicBezTo>
                      <a:pt x="278" y="907"/>
                      <a:pt x="281" y="904"/>
                      <a:pt x="292" y="910"/>
                    </a:cubicBezTo>
                    <a:cubicBezTo>
                      <a:pt x="303" y="917"/>
                      <a:pt x="321" y="917"/>
                      <a:pt x="331" y="916"/>
                    </a:cubicBezTo>
                    <a:cubicBezTo>
                      <a:pt x="340" y="915"/>
                      <a:pt x="348" y="916"/>
                      <a:pt x="352" y="909"/>
                    </a:cubicBezTo>
                    <a:cubicBezTo>
                      <a:pt x="357" y="903"/>
                      <a:pt x="380" y="908"/>
                      <a:pt x="381" y="902"/>
                    </a:cubicBezTo>
                    <a:cubicBezTo>
                      <a:pt x="382" y="895"/>
                      <a:pt x="391" y="892"/>
                      <a:pt x="402" y="892"/>
                    </a:cubicBezTo>
                    <a:cubicBezTo>
                      <a:pt x="412" y="892"/>
                      <a:pt x="417" y="897"/>
                      <a:pt x="423" y="898"/>
                    </a:cubicBezTo>
                    <a:cubicBezTo>
                      <a:pt x="430" y="899"/>
                      <a:pt x="439" y="901"/>
                      <a:pt x="440" y="907"/>
                    </a:cubicBezTo>
                    <a:cubicBezTo>
                      <a:pt x="442" y="913"/>
                      <a:pt x="440" y="918"/>
                      <a:pt x="430" y="918"/>
                    </a:cubicBezTo>
                    <a:cubicBezTo>
                      <a:pt x="419" y="918"/>
                      <a:pt x="414" y="920"/>
                      <a:pt x="415" y="924"/>
                    </a:cubicBezTo>
                    <a:cubicBezTo>
                      <a:pt x="416" y="929"/>
                      <a:pt x="412" y="937"/>
                      <a:pt x="400" y="931"/>
                    </a:cubicBezTo>
                    <a:cubicBezTo>
                      <a:pt x="387" y="924"/>
                      <a:pt x="365" y="929"/>
                      <a:pt x="352" y="929"/>
                    </a:cubicBezTo>
                    <a:cubicBezTo>
                      <a:pt x="339" y="929"/>
                      <a:pt x="289" y="925"/>
                      <a:pt x="287" y="929"/>
                    </a:cubicBezTo>
                    <a:cubicBezTo>
                      <a:pt x="285" y="932"/>
                      <a:pt x="282" y="933"/>
                      <a:pt x="272" y="934"/>
                    </a:cubicBezTo>
                    <a:cubicBezTo>
                      <a:pt x="261" y="935"/>
                      <a:pt x="258" y="941"/>
                      <a:pt x="254" y="945"/>
                    </a:cubicBezTo>
                    <a:cubicBezTo>
                      <a:pt x="251" y="948"/>
                      <a:pt x="224" y="955"/>
                      <a:pt x="206" y="952"/>
                    </a:cubicBezTo>
                    <a:cubicBezTo>
                      <a:pt x="188" y="949"/>
                      <a:pt x="197" y="940"/>
                      <a:pt x="184" y="944"/>
                    </a:cubicBezTo>
                    <a:cubicBezTo>
                      <a:pt x="170" y="947"/>
                      <a:pt x="193" y="951"/>
                      <a:pt x="157" y="951"/>
                    </a:cubicBezTo>
                    <a:cubicBezTo>
                      <a:pt x="120" y="951"/>
                      <a:pt x="142" y="949"/>
                      <a:pt x="134" y="956"/>
                    </a:cubicBezTo>
                    <a:cubicBezTo>
                      <a:pt x="127" y="964"/>
                      <a:pt x="117" y="963"/>
                      <a:pt x="110" y="972"/>
                    </a:cubicBezTo>
                    <a:cubicBezTo>
                      <a:pt x="104" y="980"/>
                      <a:pt x="101" y="982"/>
                      <a:pt x="117" y="988"/>
                    </a:cubicBezTo>
                    <a:cubicBezTo>
                      <a:pt x="133" y="993"/>
                      <a:pt x="135" y="997"/>
                      <a:pt x="143" y="1006"/>
                    </a:cubicBezTo>
                    <a:cubicBezTo>
                      <a:pt x="150" y="1015"/>
                      <a:pt x="161" y="1012"/>
                      <a:pt x="166" y="1010"/>
                    </a:cubicBezTo>
                    <a:cubicBezTo>
                      <a:pt x="172" y="1008"/>
                      <a:pt x="180" y="1003"/>
                      <a:pt x="184" y="1002"/>
                    </a:cubicBezTo>
                    <a:cubicBezTo>
                      <a:pt x="187" y="1001"/>
                      <a:pt x="194" y="1007"/>
                      <a:pt x="197" y="1013"/>
                    </a:cubicBezTo>
                    <a:cubicBezTo>
                      <a:pt x="201" y="1020"/>
                      <a:pt x="208" y="1020"/>
                      <a:pt x="215" y="1020"/>
                    </a:cubicBezTo>
                    <a:cubicBezTo>
                      <a:pt x="221" y="1020"/>
                      <a:pt x="236" y="1026"/>
                      <a:pt x="244" y="1026"/>
                    </a:cubicBezTo>
                    <a:cubicBezTo>
                      <a:pt x="251" y="1026"/>
                      <a:pt x="262" y="1027"/>
                      <a:pt x="268" y="1027"/>
                    </a:cubicBezTo>
                    <a:cubicBezTo>
                      <a:pt x="275" y="1027"/>
                      <a:pt x="287" y="1030"/>
                      <a:pt x="291" y="1026"/>
                    </a:cubicBezTo>
                    <a:cubicBezTo>
                      <a:pt x="295" y="1023"/>
                      <a:pt x="311" y="1021"/>
                      <a:pt x="318" y="1022"/>
                    </a:cubicBezTo>
                    <a:cubicBezTo>
                      <a:pt x="324" y="1023"/>
                      <a:pt x="317" y="1033"/>
                      <a:pt x="305" y="1035"/>
                    </a:cubicBezTo>
                    <a:cubicBezTo>
                      <a:pt x="293" y="1037"/>
                      <a:pt x="282" y="1033"/>
                      <a:pt x="271" y="1038"/>
                    </a:cubicBezTo>
                    <a:cubicBezTo>
                      <a:pt x="259" y="1044"/>
                      <a:pt x="257" y="1047"/>
                      <a:pt x="245" y="1050"/>
                    </a:cubicBezTo>
                    <a:cubicBezTo>
                      <a:pt x="233" y="1053"/>
                      <a:pt x="218" y="1060"/>
                      <a:pt x="225" y="1066"/>
                    </a:cubicBezTo>
                    <a:cubicBezTo>
                      <a:pt x="233" y="1073"/>
                      <a:pt x="248" y="1073"/>
                      <a:pt x="259" y="1080"/>
                    </a:cubicBezTo>
                    <a:cubicBezTo>
                      <a:pt x="270" y="1088"/>
                      <a:pt x="288" y="1095"/>
                      <a:pt x="296" y="1097"/>
                    </a:cubicBezTo>
                    <a:cubicBezTo>
                      <a:pt x="305" y="1099"/>
                      <a:pt x="323" y="1106"/>
                      <a:pt x="332" y="1110"/>
                    </a:cubicBezTo>
                    <a:cubicBezTo>
                      <a:pt x="340" y="1114"/>
                      <a:pt x="353" y="1116"/>
                      <a:pt x="369" y="1116"/>
                    </a:cubicBezTo>
                    <a:cubicBezTo>
                      <a:pt x="386" y="1116"/>
                      <a:pt x="408" y="1127"/>
                      <a:pt x="407" y="1121"/>
                    </a:cubicBezTo>
                    <a:cubicBezTo>
                      <a:pt x="406" y="1114"/>
                      <a:pt x="401" y="1109"/>
                      <a:pt x="393" y="1106"/>
                    </a:cubicBezTo>
                    <a:cubicBezTo>
                      <a:pt x="386" y="1103"/>
                      <a:pt x="368" y="1097"/>
                      <a:pt x="374" y="1090"/>
                    </a:cubicBezTo>
                    <a:cubicBezTo>
                      <a:pt x="379" y="1082"/>
                      <a:pt x="386" y="1074"/>
                      <a:pt x="393" y="1082"/>
                    </a:cubicBezTo>
                    <a:cubicBezTo>
                      <a:pt x="401" y="1091"/>
                      <a:pt x="403" y="1098"/>
                      <a:pt x="412" y="1098"/>
                    </a:cubicBezTo>
                    <a:cubicBezTo>
                      <a:pt x="422" y="1098"/>
                      <a:pt x="430" y="1105"/>
                      <a:pt x="430" y="1096"/>
                    </a:cubicBezTo>
                    <a:cubicBezTo>
                      <a:pt x="430" y="1088"/>
                      <a:pt x="432" y="1081"/>
                      <a:pt x="445" y="1081"/>
                    </a:cubicBezTo>
                    <a:cubicBezTo>
                      <a:pt x="458" y="1081"/>
                      <a:pt x="472" y="1075"/>
                      <a:pt x="467" y="1084"/>
                    </a:cubicBezTo>
                    <a:cubicBezTo>
                      <a:pt x="463" y="1094"/>
                      <a:pt x="465" y="1105"/>
                      <a:pt x="471" y="1108"/>
                    </a:cubicBezTo>
                    <a:cubicBezTo>
                      <a:pt x="476" y="1111"/>
                      <a:pt x="489" y="1114"/>
                      <a:pt x="490" y="1107"/>
                    </a:cubicBezTo>
                    <a:cubicBezTo>
                      <a:pt x="491" y="1099"/>
                      <a:pt x="492" y="1096"/>
                      <a:pt x="500" y="1096"/>
                    </a:cubicBezTo>
                    <a:cubicBezTo>
                      <a:pt x="507" y="1096"/>
                      <a:pt x="539" y="1101"/>
                      <a:pt x="541" y="1092"/>
                    </a:cubicBezTo>
                    <a:cubicBezTo>
                      <a:pt x="544" y="1083"/>
                      <a:pt x="546" y="1077"/>
                      <a:pt x="553" y="1078"/>
                    </a:cubicBezTo>
                    <a:cubicBezTo>
                      <a:pt x="561" y="1079"/>
                      <a:pt x="563" y="1081"/>
                      <a:pt x="563" y="1088"/>
                    </a:cubicBezTo>
                    <a:cubicBezTo>
                      <a:pt x="563" y="1094"/>
                      <a:pt x="575" y="1096"/>
                      <a:pt x="579" y="1096"/>
                    </a:cubicBezTo>
                    <a:cubicBezTo>
                      <a:pt x="583" y="1096"/>
                      <a:pt x="597" y="1093"/>
                      <a:pt x="601" y="1085"/>
                    </a:cubicBezTo>
                    <a:cubicBezTo>
                      <a:pt x="604" y="1078"/>
                      <a:pt x="618" y="1068"/>
                      <a:pt x="631" y="1068"/>
                    </a:cubicBezTo>
                    <a:cubicBezTo>
                      <a:pt x="644" y="1068"/>
                      <a:pt x="652" y="1084"/>
                      <a:pt x="669" y="1082"/>
                    </a:cubicBezTo>
                    <a:cubicBezTo>
                      <a:pt x="687" y="1080"/>
                      <a:pt x="702" y="1076"/>
                      <a:pt x="704" y="1083"/>
                    </a:cubicBezTo>
                    <a:cubicBezTo>
                      <a:pt x="706" y="1091"/>
                      <a:pt x="739" y="1089"/>
                      <a:pt x="754" y="1091"/>
                    </a:cubicBezTo>
                    <a:cubicBezTo>
                      <a:pt x="769" y="1093"/>
                      <a:pt x="777" y="1103"/>
                      <a:pt x="777" y="1110"/>
                    </a:cubicBezTo>
                    <a:cubicBezTo>
                      <a:pt x="777" y="1118"/>
                      <a:pt x="799" y="1118"/>
                      <a:pt x="816" y="1114"/>
                    </a:cubicBezTo>
                    <a:cubicBezTo>
                      <a:pt x="832" y="1111"/>
                      <a:pt x="837" y="1106"/>
                      <a:pt x="839" y="1123"/>
                    </a:cubicBezTo>
                    <a:cubicBezTo>
                      <a:pt x="841" y="1140"/>
                      <a:pt x="852" y="1145"/>
                      <a:pt x="863" y="1138"/>
                    </a:cubicBezTo>
                    <a:cubicBezTo>
                      <a:pt x="874" y="1132"/>
                      <a:pt x="883" y="1139"/>
                      <a:pt x="883" y="1144"/>
                    </a:cubicBezTo>
                    <a:cubicBezTo>
                      <a:pt x="883" y="1148"/>
                      <a:pt x="889" y="1156"/>
                      <a:pt x="903" y="1154"/>
                    </a:cubicBezTo>
                    <a:cubicBezTo>
                      <a:pt x="917" y="1152"/>
                      <a:pt x="933" y="1148"/>
                      <a:pt x="936" y="1159"/>
                    </a:cubicBezTo>
                    <a:cubicBezTo>
                      <a:pt x="939" y="1169"/>
                      <a:pt x="949" y="1183"/>
                      <a:pt x="936" y="1187"/>
                    </a:cubicBezTo>
                    <a:cubicBezTo>
                      <a:pt x="923" y="1190"/>
                      <a:pt x="912" y="1190"/>
                      <a:pt x="908" y="1192"/>
                    </a:cubicBezTo>
                    <a:cubicBezTo>
                      <a:pt x="904" y="1194"/>
                      <a:pt x="910" y="1198"/>
                      <a:pt x="919" y="1200"/>
                    </a:cubicBezTo>
                    <a:cubicBezTo>
                      <a:pt x="927" y="1203"/>
                      <a:pt x="935" y="1202"/>
                      <a:pt x="942" y="1213"/>
                    </a:cubicBezTo>
                    <a:cubicBezTo>
                      <a:pt x="950" y="1225"/>
                      <a:pt x="950" y="1236"/>
                      <a:pt x="966" y="1239"/>
                    </a:cubicBezTo>
                    <a:cubicBezTo>
                      <a:pt x="982" y="1242"/>
                      <a:pt x="983" y="1255"/>
                      <a:pt x="996" y="1255"/>
                    </a:cubicBezTo>
                    <a:cubicBezTo>
                      <a:pt x="1009" y="1255"/>
                      <a:pt x="1018" y="1260"/>
                      <a:pt x="1019" y="1268"/>
                    </a:cubicBezTo>
                    <a:cubicBezTo>
                      <a:pt x="1020" y="1277"/>
                      <a:pt x="1008" y="1282"/>
                      <a:pt x="1027" y="1284"/>
                    </a:cubicBezTo>
                    <a:cubicBezTo>
                      <a:pt x="1047" y="1286"/>
                      <a:pt x="1044" y="1292"/>
                      <a:pt x="1042" y="1298"/>
                    </a:cubicBezTo>
                    <a:cubicBezTo>
                      <a:pt x="1041" y="1305"/>
                      <a:pt x="1023" y="1298"/>
                      <a:pt x="1011" y="1298"/>
                    </a:cubicBezTo>
                    <a:cubicBezTo>
                      <a:pt x="999" y="1298"/>
                      <a:pt x="991" y="1308"/>
                      <a:pt x="1006" y="1311"/>
                    </a:cubicBezTo>
                    <a:cubicBezTo>
                      <a:pt x="1021" y="1314"/>
                      <a:pt x="1040" y="1312"/>
                      <a:pt x="1048" y="1319"/>
                    </a:cubicBezTo>
                    <a:cubicBezTo>
                      <a:pt x="1055" y="1325"/>
                      <a:pt x="1059" y="1334"/>
                      <a:pt x="1046" y="1337"/>
                    </a:cubicBezTo>
                    <a:cubicBezTo>
                      <a:pt x="1033" y="1340"/>
                      <a:pt x="1033" y="1343"/>
                      <a:pt x="1022" y="1346"/>
                    </a:cubicBezTo>
                    <a:cubicBezTo>
                      <a:pt x="1011" y="1348"/>
                      <a:pt x="999" y="1359"/>
                      <a:pt x="1021" y="1357"/>
                    </a:cubicBezTo>
                    <a:cubicBezTo>
                      <a:pt x="1042" y="1356"/>
                      <a:pt x="1039" y="1354"/>
                      <a:pt x="1047" y="1350"/>
                    </a:cubicBezTo>
                    <a:cubicBezTo>
                      <a:pt x="1054" y="1346"/>
                      <a:pt x="1069" y="1336"/>
                      <a:pt x="1069" y="1347"/>
                    </a:cubicBezTo>
                    <a:cubicBezTo>
                      <a:pt x="1069" y="1357"/>
                      <a:pt x="1065" y="1367"/>
                      <a:pt x="1079" y="1367"/>
                    </a:cubicBezTo>
                    <a:cubicBezTo>
                      <a:pt x="1093" y="1367"/>
                      <a:pt x="1094" y="1374"/>
                      <a:pt x="1096" y="1383"/>
                    </a:cubicBezTo>
                    <a:cubicBezTo>
                      <a:pt x="1098" y="1393"/>
                      <a:pt x="1094" y="1392"/>
                      <a:pt x="1093" y="1400"/>
                    </a:cubicBezTo>
                    <a:cubicBezTo>
                      <a:pt x="1092" y="1409"/>
                      <a:pt x="1077" y="1409"/>
                      <a:pt x="1082" y="1414"/>
                    </a:cubicBezTo>
                    <a:cubicBezTo>
                      <a:pt x="1088" y="1420"/>
                      <a:pt x="1105" y="1452"/>
                      <a:pt x="1110" y="1443"/>
                    </a:cubicBezTo>
                    <a:cubicBezTo>
                      <a:pt x="1116" y="1435"/>
                      <a:pt x="1126" y="1434"/>
                      <a:pt x="1126" y="1443"/>
                    </a:cubicBezTo>
                    <a:cubicBezTo>
                      <a:pt x="1126" y="1453"/>
                      <a:pt x="1134" y="1462"/>
                      <a:pt x="1122" y="1465"/>
                    </a:cubicBezTo>
                    <a:cubicBezTo>
                      <a:pt x="1110" y="1468"/>
                      <a:pt x="1110" y="1477"/>
                      <a:pt x="1121" y="1484"/>
                    </a:cubicBezTo>
                    <a:cubicBezTo>
                      <a:pt x="1132" y="1492"/>
                      <a:pt x="1140" y="1503"/>
                      <a:pt x="1145" y="1490"/>
                    </a:cubicBezTo>
                    <a:cubicBezTo>
                      <a:pt x="1149" y="1477"/>
                      <a:pt x="1159" y="1481"/>
                      <a:pt x="1160" y="1492"/>
                    </a:cubicBezTo>
                    <a:cubicBezTo>
                      <a:pt x="1161" y="1503"/>
                      <a:pt x="1168" y="1517"/>
                      <a:pt x="1168" y="1523"/>
                    </a:cubicBezTo>
                    <a:cubicBezTo>
                      <a:pt x="1168" y="1529"/>
                      <a:pt x="1146" y="1539"/>
                      <a:pt x="1147" y="1547"/>
                    </a:cubicBezTo>
                    <a:cubicBezTo>
                      <a:pt x="1148" y="1554"/>
                      <a:pt x="1137" y="1558"/>
                      <a:pt x="1132" y="1558"/>
                    </a:cubicBezTo>
                    <a:cubicBezTo>
                      <a:pt x="1126" y="1558"/>
                      <a:pt x="1126" y="1543"/>
                      <a:pt x="1135" y="1535"/>
                    </a:cubicBezTo>
                    <a:cubicBezTo>
                      <a:pt x="1143" y="1526"/>
                      <a:pt x="1150" y="1524"/>
                      <a:pt x="1151" y="1521"/>
                    </a:cubicBezTo>
                    <a:cubicBezTo>
                      <a:pt x="1152" y="1518"/>
                      <a:pt x="1152" y="1510"/>
                      <a:pt x="1143" y="1510"/>
                    </a:cubicBezTo>
                    <a:cubicBezTo>
                      <a:pt x="1135" y="1510"/>
                      <a:pt x="1128" y="1511"/>
                      <a:pt x="1120" y="1517"/>
                    </a:cubicBezTo>
                    <a:cubicBezTo>
                      <a:pt x="1111" y="1522"/>
                      <a:pt x="1098" y="1519"/>
                      <a:pt x="1089" y="1520"/>
                    </a:cubicBezTo>
                    <a:cubicBezTo>
                      <a:pt x="1079" y="1521"/>
                      <a:pt x="1077" y="1534"/>
                      <a:pt x="1091" y="1535"/>
                    </a:cubicBezTo>
                    <a:cubicBezTo>
                      <a:pt x="1105" y="1536"/>
                      <a:pt x="1118" y="1542"/>
                      <a:pt x="1118" y="1548"/>
                    </a:cubicBezTo>
                    <a:cubicBezTo>
                      <a:pt x="1118" y="1553"/>
                      <a:pt x="1113" y="1561"/>
                      <a:pt x="1118" y="1564"/>
                    </a:cubicBezTo>
                    <a:cubicBezTo>
                      <a:pt x="1122" y="1567"/>
                      <a:pt x="1114" y="1576"/>
                      <a:pt x="1108" y="1578"/>
                    </a:cubicBezTo>
                    <a:cubicBezTo>
                      <a:pt x="1102" y="1580"/>
                      <a:pt x="1099" y="1591"/>
                      <a:pt x="1111" y="1592"/>
                    </a:cubicBezTo>
                    <a:cubicBezTo>
                      <a:pt x="1123" y="1593"/>
                      <a:pt x="1134" y="1591"/>
                      <a:pt x="1134" y="1598"/>
                    </a:cubicBezTo>
                    <a:cubicBezTo>
                      <a:pt x="1134" y="1606"/>
                      <a:pt x="1127" y="1606"/>
                      <a:pt x="1124" y="1611"/>
                    </a:cubicBezTo>
                    <a:cubicBezTo>
                      <a:pt x="1121" y="1617"/>
                      <a:pt x="1102" y="1615"/>
                      <a:pt x="1103" y="1623"/>
                    </a:cubicBezTo>
                    <a:cubicBezTo>
                      <a:pt x="1104" y="1630"/>
                      <a:pt x="1109" y="1641"/>
                      <a:pt x="1100" y="1643"/>
                    </a:cubicBezTo>
                    <a:cubicBezTo>
                      <a:pt x="1092" y="1646"/>
                      <a:pt x="1092" y="1650"/>
                      <a:pt x="1104" y="1660"/>
                    </a:cubicBezTo>
                    <a:cubicBezTo>
                      <a:pt x="1116" y="1669"/>
                      <a:pt x="1123" y="1693"/>
                      <a:pt x="1130" y="1684"/>
                    </a:cubicBezTo>
                    <a:cubicBezTo>
                      <a:pt x="1136" y="1676"/>
                      <a:pt x="1155" y="1684"/>
                      <a:pt x="1163" y="1692"/>
                    </a:cubicBezTo>
                    <a:cubicBezTo>
                      <a:pt x="1170" y="1699"/>
                      <a:pt x="1184" y="1698"/>
                      <a:pt x="1188" y="1690"/>
                    </a:cubicBezTo>
                    <a:cubicBezTo>
                      <a:pt x="1191" y="1681"/>
                      <a:pt x="1217" y="1691"/>
                      <a:pt x="1218" y="1673"/>
                    </a:cubicBezTo>
                    <a:cubicBezTo>
                      <a:pt x="1219" y="1656"/>
                      <a:pt x="1222" y="1648"/>
                      <a:pt x="1233" y="1642"/>
                    </a:cubicBezTo>
                    <a:cubicBezTo>
                      <a:pt x="1243" y="1637"/>
                      <a:pt x="1249" y="1641"/>
                      <a:pt x="1252" y="1633"/>
                    </a:cubicBezTo>
                    <a:cubicBezTo>
                      <a:pt x="1255" y="1624"/>
                      <a:pt x="1274" y="1624"/>
                      <a:pt x="1274" y="1629"/>
                    </a:cubicBezTo>
                    <a:cubicBezTo>
                      <a:pt x="1274" y="1635"/>
                      <a:pt x="1269" y="1644"/>
                      <a:pt x="1259" y="1648"/>
                    </a:cubicBezTo>
                    <a:cubicBezTo>
                      <a:pt x="1248" y="1651"/>
                      <a:pt x="1249" y="1667"/>
                      <a:pt x="1260" y="1667"/>
                    </a:cubicBezTo>
                    <a:cubicBezTo>
                      <a:pt x="1270" y="1667"/>
                      <a:pt x="1272" y="1667"/>
                      <a:pt x="1277" y="1660"/>
                    </a:cubicBezTo>
                    <a:cubicBezTo>
                      <a:pt x="1281" y="1652"/>
                      <a:pt x="1289" y="1651"/>
                      <a:pt x="1293" y="1651"/>
                    </a:cubicBezTo>
                    <a:cubicBezTo>
                      <a:pt x="1297" y="1651"/>
                      <a:pt x="1307" y="1650"/>
                      <a:pt x="1306" y="1657"/>
                    </a:cubicBezTo>
                    <a:cubicBezTo>
                      <a:pt x="1305" y="1665"/>
                      <a:pt x="1299" y="1672"/>
                      <a:pt x="1292" y="1673"/>
                    </a:cubicBezTo>
                    <a:cubicBezTo>
                      <a:pt x="1284" y="1675"/>
                      <a:pt x="1286" y="1681"/>
                      <a:pt x="1276" y="1685"/>
                    </a:cubicBezTo>
                    <a:cubicBezTo>
                      <a:pt x="1265" y="1690"/>
                      <a:pt x="1260" y="1692"/>
                      <a:pt x="1269" y="1704"/>
                    </a:cubicBezTo>
                    <a:cubicBezTo>
                      <a:pt x="1279" y="1715"/>
                      <a:pt x="1294" y="1716"/>
                      <a:pt x="1300" y="1708"/>
                    </a:cubicBezTo>
                    <a:cubicBezTo>
                      <a:pt x="1307" y="1699"/>
                      <a:pt x="1322" y="1696"/>
                      <a:pt x="1323" y="1704"/>
                    </a:cubicBezTo>
                    <a:cubicBezTo>
                      <a:pt x="1324" y="1711"/>
                      <a:pt x="1331" y="1713"/>
                      <a:pt x="1335" y="1713"/>
                    </a:cubicBezTo>
                    <a:cubicBezTo>
                      <a:pt x="1339" y="1713"/>
                      <a:pt x="1342" y="1719"/>
                      <a:pt x="1354" y="1718"/>
                    </a:cubicBezTo>
                    <a:cubicBezTo>
                      <a:pt x="1366" y="1716"/>
                      <a:pt x="1379" y="1713"/>
                      <a:pt x="1379" y="1720"/>
                    </a:cubicBezTo>
                    <a:cubicBezTo>
                      <a:pt x="1379" y="1726"/>
                      <a:pt x="1369" y="1729"/>
                      <a:pt x="1361" y="1729"/>
                    </a:cubicBezTo>
                    <a:cubicBezTo>
                      <a:pt x="1352" y="1729"/>
                      <a:pt x="1334" y="1725"/>
                      <a:pt x="1338" y="1733"/>
                    </a:cubicBezTo>
                    <a:cubicBezTo>
                      <a:pt x="1342" y="1740"/>
                      <a:pt x="1354" y="1754"/>
                      <a:pt x="1361" y="1747"/>
                    </a:cubicBezTo>
                    <a:cubicBezTo>
                      <a:pt x="1367" y="1739"/>
                      <a:pt x="1374" y="1743"/>
                      <a:pt x="1381" y="1743"/>
                    </a:cubicBezTo>
                    <a:cubicBezTo>
                      <a:pt x="1389" y="1743"/>
                      <a:pt x="1378" y="1766"/>
                      <a:pt x="1390" y="1767"/>
                    </a:cubicBezTo>
                    <a:cubicBezTo>
                      <a:pt x="1401" y="1768"/>
                      <a:pt x="1393" y="1785"/>
                      <a:pt x="1403" y="1789"/>
                    </a:cubicBezTo>
                    <a:cubicBezTo>
                      <a:pt x="1412" y="1792"/>
                      <a:pt x="1420" y="1796"/>
                      <a:pt x="1417" y="1801"/>
                    </a:cubicBezTo>
                    <a:cubicBezTo>
                      <a:pt x="1413" y="1807"/>
                      <a:pt x="1400" y="1809"/>
                      <a:pt x="1392" y="1804"/>
                    </a:cubicBezTo>
                    <a:cubicBezTo>
                      <a:pt x="1383" y="1798"/>
                      <a:pt x="1378" y="1797"/>
                      <a:pt x="1370" y="1797"/>
                    </a:cubicBezTo>
                    <a:cubicBezTo>
                      <a:pt x="1363" y="1797"/>
                      <a:pt x="1352" y="1784"/>
                      <a:pt x="1343" y="1781"/>
                    </a:cubicBezTo>
                    <a:cubicBezTo>
                      <a:pt x="1335" y="1778"/>
                      <a:pt x="1332" y="1780"/>
                      <a:pt x="1327" y="1771"/>
                    </a:cubicBezTo>
                    <a:cubicBezTo>
                      <a:pt x="1323" y="1763"/>
                      <a:pt x="1296" y="1763"/>
                      <a:pt x="1291" y="1758"/>
                    </a:cubicBezTo>
                    <a:cubicBezTo>
                      <a:pt x="1285" y="1754"/>
                      <a:pt x="1267" y="1753"/>
                      <a:pt x="1250" y="1753"/>
                    </a:cubicBezTo>
                    <a:cubicBezTo>
                      <a:pt x="1233" y="1753"/>
                      <a:pt x="1204" y="1746"/>
                      <a:pt x="1194" y="1751"/>
                    </a:cubicBezTo>
                    <a:cubicBezTo>
                      <a:pt x="1184" y="1756"/>
                      <a:pt x="1175" y="1778"/>
                      <a:pt x="1197" y="1785"/>
                    </a:cubicBezTo>
                    <a:cubicBezTo>
                      <a:pt x="1220" y="1793"/>
                      <a:pt x="1227" y="1794"/>
                      <a:pt x="1238" y="1798"/>
                    </a:cubicBezTo>
                    <a:cubicBezTo>
                      <a:pt x="1249" y="1802"/>
                      <a:pt x="1261" y="1807"/>
                      <a:pt x="1274" y="1807"/>
                    </a:cubicBezTo>
                    <a:cubicBezTo>
                      <a:pt x="1286" y="1807"/>
                      <a:pt x="1300" y="1814"/>
                      <a:pt x="1309" y="1823"/>
                    </a:cubicBezTo>
                    <a:cubicBezTo>
                      <a:pt x="1318" y="1832"/>
                      <a:pt x="1327" y="1848"/>
                      <a:pt x="1342" y="1844"/>
                    </a:cubicBezTo>
                    <a:cubicBezTo>
                      <a:pt x="1357" y="1841"/>
                      <a:pt x="1367" y="1847"/>
                      <a:pt x="1374" y="1849"/>
                    </a:cubicBezTo>
                    <a:cubicBezTo>
                      <a:pt x="1380" y="1851"/>
                      <a:pt x="1386" y="1853"/>
                      <a:pt x="1390" y="1847"/>
                    </a:cubicBezTo>
                    <a:cubicBezTo>
                      <a:pt x="1393" y="1840"/>
                      <a:pt x="1404" y="1841"/>
                      <a:pt x="1407" y="1845"/>
                    </a:cubicBezTo>
                    <a:cubicBezTo>
                      <a:pt x="1410" y="1850"/>
                      <a:pt x="1422" y="1850"/>
                      <a:pt x="1423" y="1845"/>
                    </a:cubicBezTo>
                    <a:cubicBezTo>
                      <a:pt x="1424" y="1841"/>
                      <a:pt x="1443" y="1834"/>
                      <a:pt x="1447" y="1841"/>
                    </a:cubicBezTo>
                    <a:cubicBezTo>
                      <a:pt x="1450" y="1849"/>
                      <a:pt x="1434" y="1852"/>
                      <a:pt x="1440" y="1857"/>
                    </a:cubicBezTo>
                    <a:cubicBezTo>
                      <a:pt x="1447" y="1863"/>
                      <a:pt x="1458" y="1868"/>
                      <a:pt x="1446" y="1870"/>
                    </a:cubicBezTo>
                    <a:cubicBezTo>
                      <a:pt x="1433" y="1872"/>
                      <a:pt x="1425" y="1867"/>
                      <a:pt x="1419" y="1864"/>
                    </a:cubicBezTo>
                    <a:cubicBezTo>
                      <a:pt x="1412" y="1861"/>
                      <a:pt x="1403" y="1852"/>
                      <a:pt x="1394" y="1864"/>
                    </a:cubicBezTo>
                    <a:cubicBezTo>
                      <a:pt x="1385" y="1876"/>
                      <a:pt x="1372" y="1883"/>
                      <a:pt x="1390" y="1892"/>
                    </a:cubicBezTo>
                    <a:cubicBezTo>
                      <a:pt x="1407" y="1900"/>
                      <a:pt x="1406" y="1891"/>
                      <a:pt x="1412" y="1885"/>
                    </a:cubicBezTo>
                    <a:cubicBezTo>
                      <a:pt x="1419" y="1880"/>
                      <a:pt x="1426" y="1883"/>
                      <a:pt x="1426" y="1891"/>
                    </a:cubicBezTo>
                    <a:cubicBezTo>
                      <a:pt x="1426" y="1898"/>
                      <a:pt x="1415" y="1902"/>
                      <a:pt x="1417" y="1909"/>
                    </a:cubicBezTo>
                    <a:cubicBezTo>
                      <a:pt x="1418" y="1915"/>
                      <a:pt x="1401" y="1913"/>
                      <a:pt x="1403" y="1923"/>
                    </a:cubicBezTo>
                    <a:cubicBezTo>
                      <a:pt x="1404" y="1933"/>
                      <a:pt x="1401" y="1938"/>
                      <a:pt x="1399" y="1952"/>
                    </a:cubicBezTo>
                    <a:cubicBezTo>
                      <a:pt x="1397" y="1966"/>
                      <a:pt x="1393" y="1983"/>
                      <a:pt x="1400" y="1984"/>
                    </a:cubicBezTo>
                    <a:cubicBezTo>
                      <a:pt x="1408" y="1985"/>
                      <a:pt x="1415" y="1984"/>
                      <a:pt x="1414" y="1991"/>
                    </a:cubicBezTo>
                    <a:cubicBezTo>
                      <a:pt x="1413" y="1997"/>
                      <a:pt x="1398" y="1993"/>
                      <a:pt x="1397" y="1999"/>
                    </a:cubicBezTo>
                    <a:cubicBezTo>
                      <a:pt x="1396" y="2006"/>
                      <a:pt x="1388" y="2015"/>
                      <a:pt x="1372" y="2012"/>
                    </a:cubicBezTo>
                    <a:cubicBezTo>
                      <a:pt x="1357" y="2009"/>
                      <a:pt x="1351" y="2004"/>
                      <a:pt x="1342" y="2000"/>
                    </a:cubicBezTo>
                    <a:cubicBezTo>
                      <a:pt x="1334" y="1997"/>
                      <a:pt x="1337" y="1988"/>
                      <a:pt x="1323" y="1988"/>
                    </a:cubicBezTo>
                    <a:cubicBezTo>
                      <a:pt x="1309" y="1988"/>
                      <a:pt x="1305" y="1983"/>
                      <a:pt x="1293" y="1986"/>
                    </a:cubicBezTo>
                    <a:cubicBezTo>
                      <a:pt x="1281" y="1990"/>
                      <a:pt x="1270" y="1999"/>
                      <a:pt x="1289" y="1999"/>
                    </a:cubicBezTo>
                    <a:cubicBezTo>
                      <a:pt x="1307" y="1999"/>
                      <a:pt x="1317" y="1998"/>
                      <a:pt x="1317" y="2006"/>
                    </a:cubicBezTo>
                    <a:cubicBezTo>
                      <a:pt x="1317" y="2013"/>
                      <a:pt x="1313" y="2014"/>
                      <a:pt x="1302" y="2019"/>
                    </a:cubicBezTo>
                    <a:cubicBezTo>
                      <a:pt x="1290" y="2023"/>
                      <a:pt x="1283" y="2021"/>
                      <a:pt x="1281" y="2016"/>
                    </a:cubicBezTo>
                    <a:cubicBezTo>
                      <a:pt x="1279" y="2012"/>
                      <a:pt x="1272" y="2017"/>
                      <a:pt x="1268" y="2024"/>
                    </a:cubicBezTo>
                    <a:cubicBezTo>
                      <a:pt x="1264" y="2030"/>
                      <a:pt x="1269" y="2044"/>
                      <a:pt x="1284" y="2037"/>
                    </a:cubicBezTo>
                    <a:cubicBezTo>
                      <a:pt x="1299" y="2029"/>
                      <a:pt x="1303" y="2027"/>
                      <a:pt x="1307" y="2037"/>
                    </a:cubicBezTo>
                    <a:cubicBezTo>
                      <a:pt x="1311" y="2047"/>
                      <a:pt x="1331" y="2054"/>
                      <a:pt x="1337" y="2047"/>
                    </a:cubicBezTo>
                    <a:cubicBezTo>
                      <a:pt x="1343" y="2039"/>
                      <a:pt x="1348" y="2036"/>
                      <a:pt x="1357" y="2037"/>
                    </a:cubicBezTo>
                    <a:cubicBezTo>
                      <a:pt x="1367" y="2038"/>
                      <a:pt x="1380" y="2024"/>
                      <a:pt x="1389" y="2024"/>
                    </a:cubicBezTo>
                    <a:cubicBezTo>
                      <a:pt x="1397" y="2024"/>
                      <a:pt x="1396" y="2031"/>
                      <a:pt x="1393" y="2037"/>
                    </a:cubicBezTo>
                    <a:cubicBezTo>
                      <a:pt x="1390" y="2042"/>
                      <a:pt x="1377" y="2049"/>
                      <a:pt x="1390" y="2051"/>
                    </a:cubicBezTo>
                    <a:cubicBezTo>
                      <a:pt x="1403" y="2053"/>
                      <a:pt x="1413" y="2060"/>
                      <a:pt x="1421" y="2063"/>
                    </a:cubicBezTo>
                    <a:cubicBezTo>
                      <a:pt x="1428" y="2065"/>
                      <a:pt x="1454" y="2072"/>
                      <a:pt x="1449" y="2077"/>
                    </a:cubicBezTo>
                    <a:cubicBezTo>
                      <a:pt x="1443" y="2081"/>
                      <a:pt x="1422" y="2071"/>
                      <a:pt x="1410" y="2067"/>
                    </a:cubicBezTo>
                    <a:cubicBezTo>
                      <a:pt x="1398" y="2063"/>
                      <a:pt x="1377" y="2058"/>
                      <a:pt x="1367" y="2058"/>
                    </a:cubicBezTo>
                    <a:cubicBezTo>
                      <a:pt x="1357" y="2058"/>
                      <a:pt x="1328" y="2065"/>
                      <a:pt x="1320" y="2059"/>
                    </a:cubicBezTo>
                    <a:cubicBezTo>
                      <a:pt x="1311" y="2054"/>
                      <a:pt x="1292" y="2047"/>
                      <a:pt x="1281" y="2052"/>
                    </a:cubicBezTo>
                    <a:cubicBezTo>
                      <a:pt x="1270" y="2057"/>
                      <a:pt x="1272" y="2079"/>
                      <a:pt x="1262" y="2081"/>
                    </a:cubicBezTo>
                    <a:cubicBezTo>
                      <a:pt x="1251" y="2083"/>
                      <a:pt x="1241" y="2082"/>
                      <a:pt x="1241" y="2097"/>
                    </a:cubicBezTo>
                    <a:cubicBezTo>
                      <a:pt x="1241" y="2112"/>
                      <a:pt x="1245" y="2121"/>
                      <a:pt x="1257" y="2107"/>
                    </a:cubicBezTo>
                    <a:cubicBezTo>
                      <a:pt x="1270" y="2093"/>
                      <a:pt x="1265" y="2094"/>
                      <a:pt x="1290" y="2093"/>
                    </a:cubicBezTo>
                    <a:cubicBezTo>
                      <a:pt x="1314" y="2092"/>
                      <a:pt x="1311" y="2084"/>
                      <a:pt x="1320" y="2078"/>
                    </a:cubicBezTo>
                    <a:cubicBezTo>
                      <a:pt x="1328" y="2071"/>
                      <a:pt x="1336" y="2071"/>
                      <a:pt x="1342" y="2079"/>
                    </a:cubicBezTo>
                    <a:cubicBezTo>
                      <a:pt x="1349" y="2086"/>
                      <a:pt x="1360" y="2092"/>
                      <a:pt x="1366" y="2085"/>
                    </a:cubicBezTo>
                    <a:cubicBezTo>
                      <a:pt x="1372" y="2079"/>
                      <a:pt x="1386" y="2074"/>
                      <a:pt x="1392" y="2082"/>
                    </a:cubicBezTo>
                    <a:cubicBezTo>
                      <a:pt x="1397" y="2090"/>
                      <a:pt x="1408" y="2090"/>
                      <a:pt x="1411" y="2095"/>
                    </a:cubicBezTo>
                    <a:cubicBezTo>
                      <a:pt x="1414" y="2100"/>
                      <a:pt x="1400" y="2113"/>
                      <a:pt x="1392" y="2105"/>
                    </a:cubicBezTo>
                    <a:cubicBezTo>
                      <a:pt x="1383" y="2096"/>
                      <a:pt x="1376" y="2093"/>
                      <a:pt x="1376" y="2098"/>
                    </a:cubicBezTo>
                    <a:cubicBezTo>
                      <a:pt x="1376" y="2103"/>
                      <a:pt x="1362" y="2113"/>
                      <a:pt x="1349" y="2106"/>
                    </a:cubicBezTo>
                    <a:cubicBezTo>
                      <a:pt x="1336" y="2098"/>
                      <a:pt x="1322" y="2092"/>
                      <a:pt x="1311" y="2097"/>
                    </a:cubicBezTo>
                    <a:cubicBezTo>
                      <a:pt x="1300" y="2102"/>
                      <a:pt x="1269" y="2107"/>
                      <a:pt x="1267" y="2114"/>
                    </a:cubicBezTo>
                    <a:cubicBezTo>
                      <a:pt x="1265" y="2122"/>
                      <a:pt x="1256" y="2131"/>
                      <a:pt x="1242" y="2133"/>
                    </a:cubicBezTo>
                    <a:cubicBezTo>
                      <a:pt x="1228" y="2134"/>
                      <a:pt x="1223" y="2130"/>
                      <a:pt x="1231" y="2144"/>
                    </a:cubicBezTo>
                    <a:cubicBezTo>
                      <a:pt x="1238" y="2158"/>
                      <a:pt x="1237" y="2179"/>
                      <a:pt x="1249" y="2183"/>
                    </a:cubicBezTo>
                    <a:cubicBezTo>
                      <a:pt x="1261" y="2187"/>
                      <a:pt x="1272" y="2186"/>
                      <a:pt x="1286" y="2186"/>
                    </a:cubicBezTo>
                    <a:cubicBezTo>
                      <a:pt x="1300" y="2186"/>
                      <a:pt x="1312" y="2179"/>
                      <a:pt x="1312" y="2186"/>
                    </a:cubicBezTo>
                    <a:cubicBezTo>
                      <a:pt x="1312" y="2194"/>
                      <a:pt x="1303" y="2203"/>
                      <a:pt x="1281" y="2205"/>
                    </a:cubicBezTo>
                    <a:cubicBezTo>
                      <a:pt x="1260" y="2206"/>
                      <a:pt x="1249" y="2212"/>
                      <a:pt x="1249" y="2222"/>
                    </a:cubicBezTo>
                    <a:cubicBezTo>
                      <a:pt x="1249" y="2231"/>
                      <a:pt x="1231" y="2227"/>
                      <a:pt x="1235" y="2238"/>
                    </a:cubicBezTo>
                    <a:cubicBezTo>
                      <a:pt x="1239" y="2249"/>
                      <a:pt x="1247" y="2263"/>
                      <a:pt x="1249" y="2273"/>
                    </a:cubicBezTo>
                    <a:cubicBezTo>
                      <a:pt x="1251" y="2284"/>
                      <a:pt x="1277" y="2284"/>
                      <a:pt x="1277" y="2297"/>
                    </a:cubicBezTo>
                    <a:cubicBezTo>
                      <a:pt x="1277" y="2310"/>
                      <a:pt x="1266" y="2331"/>
                      <a:pt x="1272" y="2331"/>
                    </a:cubicBezTo>
                    <a:cubicBezTo>
                      <a:pt x="1279" y="2331"/>
                      <a:pt x="1285" y="2329"/>
                      <a:pt x="1289" y="2321"/>
                    </a:cubicBezTo>
                    <a:cubicBezTo>
                      <a:pt x="1292" y="2312"/>
                      <a:pt x="1295" y="2314"/>
                      <a:pt x="1304" y="2329"/>
                    </a:cubicBezTo>
                    <a:cubicBezTo>
                      <a:pt x="1312" y="2344"/>
                      <a:pt x="1313" y="2361"/>
                      <a:pt x="1323" y="2365"/>
                    </a:cubicBezTo>
                    <a:cubicBezTo>
                      <a:pt x="1333" y="2368"/>
                      <a:pt x="1336" y="2372"/>
                      <a:pt x="1334" y="2386"/>
                    </a:cubicBezTo>
                    <a:cubicBezTo>
                      <a:pt x="1332" y="2400"/>
                      <a:pt x="1328" y="2414"/>
                      <a:pt x="1336" y="2415"/>
                    </a:cubicBezTo>
                    <a:cubicBezTo>
                      <a:pt x="1343" y="2416"/>
                      <a:pt x="1346" y="2430"/>
                      <a:pt x="1342" y="2435"/>
                    </a:cubicBezTo>
                    <a:cubicBezTo>
                      <a:pt x="1339" y="2439"/>
                      <a:pt x="1332" y="2464"/>
                      <a:pt x="1346" y="2466"/>
                    </a:cubicBezTo>
                    <a:cubicBezTo>
                      <a:pt x="1360" y="2468"/>
                      <a:pt x="1364" y="2463"/>
                      <a:pt x="1364" y="2456"/>
                    </a:cubicBezTo>
                    <a:cubicBezTo>
                      <a:pt x="1364" y="2450"/>
                      <a:pt x="1377" y="2447"/>
                      <a:pt x="1380" y="2439"/>
                    </a:cubicBezTo>
                    <a:cubicBezTo>
                      <a:pt x="1383" y="2430"/>
                      <a:pt x="1388" y="2422"/>
                      <a:pt x="1399" y="2421"/>
                    </a:cubicBezTo>
                    <a:cubicBezTo>
                      <a:pt x="1411" y="2420"/>
                      <a:pt x="1422" y="2420"/>
                      <a:pt x="1424" y="2423"/>
                    </a:cubicBezTo>
                    <a:cubicBezTo>
                      <a:pt x="1426" y="2426"/>
                      <a:pt x="1428" y="2443"/>
                      <a:pt x="1415" y="2443"/>
                    </a:cubicBezTo>
                    <a:cubicBezTo>
                      <a:pt x="1403" y="2443"/>
                      <a:pt x="1388" y="2449"/>
                      <a:pt x="1386" y="2454"/>
                    </a:cubicBezTo>
                    <a:cubicBezTo>
                      <a:pt x="1385" y="2459"/>
                      <a:pt x="1372" y="2465"/>
                      <a:pt x="1372" y="2480"/>
                    </a:cubicBezTo>
                    <a:cubicBezTo>
                      <a:pt x="1372" y="2495"/>
                      <a:pt x="1379" y="2526"/>
                      <a:pt x="1388" y="2526"/>
                    </a:cubicBezTo>
                    <a:cubicBezTo>
                      <a:pt x="1396" y="2526"/>
                      <a:pt x="1405" y="2530"/>
                      <a:pt x="1405" y="2543"/>
                    </a:cubicBezTo>
                    <a:cubicBezTo>
                      <a:pt x="1405" y="2556"/>
                      <a:pt x="1406" y="2570"/>
                      <a:pt x="1417" y="2570"/>
                    </a:cubicBezTo>
                    <a:cubicBezTo>
                      <a:pt x="1427" y="2570"/>
                      <a:pt x="1438" y="2585"/>
                      <a:pt x="1444" y="2595"/>
                    </a:cubicBezTo>
                    <a:cubicBezTo>
                      <a:pt x="1451" y="2604"/>
                      <a:pt x="1461" y="2607"/>
                      <a:pt x="1458" y="2623"/>
                    </a:cubicBezTo>
                    <a:cubicBezTo>
                      <a:pt x="1456" y="2639"/>
                      <a:pt x="1444" y="2644"/>
                      <a:pt x="1465" y="2654"/>
                    </a:cubicBezTo>
                    <a:cubicBezTo>
                      <a:pt x="1485" y="2664"/>
                      <a:pt x="1497" y="2668"/>
                      <a:pt x="1503" y="2686"/>
                    </a:cubicBezTo>
                    <a:cubicBezTo>
                      <a:pt x="1508" y="2704"/>
                      <a:pt x="1514" y="2693"/>
                      <a:pt x="1527" y="2711"/>
                    </a:cubicBezTo>
                    <a:cubicBezTo>
                      <a:pt x="1540" y="2729"/>
                      <a:pt x="1537" y="2724"/>
                      <a:pt x="1524" y="2725"/>
                    </a:cubicBezTo>
                    <a:cubicBezTo>
                      <a:pt x="1511" y="2726"/>
                      <a:pt x="1519" y="2738"/>
                      <a:pt x="1528" y="2740"/>
                    </a:cubicBezTo>
                    <a:cubicBezTo>
                      <a:pt x="1538" y="2742"/>
                      <a:pt x="1543" y="2743"/>
                      <a:pt x="1548" y="2751"/>
                    </a:cubicBezTo>
                    <a:cubicBezTo>
                      <a:pt x="1552" y="2758"/>
                      <a:pt x="1568" y="2753"/>
                      <a:pt x="1571" y="2764"/>
                    </a:cubicBezTo>
                    <a:cubicBezTo>
                      <a:pt x="1575" y="2774"/>
                      <a:pt x="1595" y="2778"/>
                      <a:pt x="1598" y="2778"/>
                    </a:cubicBezTo>
                    <a:cubicBezTo>
                      <a:pt x="1601" y="2778"/>
                      <a:pt x="1597" y="2795"/>
                      <a:pt x="1589" y="2799"/>
                    </a:cubicBezTo>
                    <a:cubicBezTo>
                      <a:pt x="1580" y="2803"/>
                      <a:pt x="1581" y="2816"/>
                      <a:pt x="1598" y="2816"/>
                    </a:cubicBezTo>
                    <a:cubicBezTo>
                      <a:pt x="1615" y="2816"/>
                      <a:pt x="1607" y="2807"/>
                      <a:pt x="1626" y="2800"/>
                    </a:cubicBezTo>
                    <a:cubicBezTo>
                      <a:pt x="1646" y="2794"/>
                      <a:pt x="1654" y="2794"/>
                      <a:pt x="1658" y="2802"/>
                    </a:cubicBezTo>
                    <a:cubicBezTo>
                      <a:pt x="1663" y="2811"/>
                      <a:pt x="1678" y="2817"/>
                      <a:pt x="1681" y="2807"/>
                    </a:cubicBezTo>
                    <a:cubicBezTo>
                      <a:pt x="1684" y="2796"/>
                      <a:pt x="1690" y="2795"/>
                      <a:pt x="1698" y="2794"/>
                    </a:cubicBezTo>
                    <a:cubicBezTo>
                      <a:pt x="1707" y="2793"/>
                      <a:pt x="1715" y="2794"/>
                      <a:pt x="1716" y="2803"/>
                    </a:cubicBezTo>
                    <a:cubicBezTo>
                      <a:pt x="1718" y="2813"/>
                      <a:pt x="1727" y="2819"/>
                      <a:pt x="1735" y="2818"/>
                    </a:cubicBezTo>
                    <a:cubicBezTo>
                      <a:pt x="1742" y="2817"/>
                      <a:pt x="1748" y="2819"/>
                      <a:pt x="1753" y="2833"/>
                    </a:cubicBezTo>
                    <a:cubicBezTo>
                      <a:pt x="1758" y="2847"/>
                      <a:pt x="1768" y="2845"/>
                      <a:pt x="1776" y="2847"/>
                    </a:cubicBezTo>
                    <a:cubicBezTo>
                      <a:pt x="1783" y="2850"/>
                      <a:pt x="1788" y="2850"/>
                      <a:pt x="1790" y="2862"/>
                    </a:cubicBezTo>
                    <a:cubicBezTo>
                      <a:pt x="1791" y="2875"/>
                      <a:pt x="1800" y="2882"/>
                      <a:pt x="1813" y="2882"/>
                    </a:cubicBezTo>
                    <a:cubicBezTo>
                      <a:pt x="1826" y="2882"/>
                      <a:pt x="1837" y="2876"/>
                      <a:pt x="1837" y="2868"/>
                    </a:cubicBezTo>
                    <a:cubicBezTo>
                      <a:pt x="1837" y="2859"/>
                      <a:pt x="1843" y="2858"/>
                      <a:pt x="1849" y="2859"/>
                    </a:cubicBezTo>
                    <a:cubicBezTo>
                      <a:pt x="1854" y="2860"/>
                      <a:pt x="1853" y="2866"/>
                      <a:pt x="1852" y="2875"/>
                    </a:cubicBezTo>
                    <a:cubicBezTo>
                      <a:pt x="1851" y="2885"/>
                      <a:pt x="1847" y="2902"/>
                      <a:pt x="1855" y="2903"/>
                    </a:cubicBezTo>
                    <a:cubicBezTo>
                      <a:pt x="1864" y="2904"/>
                      <a:pt x="1866" y="2903"/>
                      <a:pt x="1868" y="2894"/>
                    </a:cubicBezTo>
                    <a:cubicBezTo>
                      <a:pt x="1870" y="2884"/>
                      <a:pt x="1870" y="2882"/>
                      <a:pt x="1883" y="2882"/>
                    </a:cubicBezTo>
                    <a:cubicBezTo>
                      <a:pt x="1896" y="2882"/>
                      <a:pt x="1906" y="2875"/>
                      <a:pt x="1906" y="2868"/>
                    </a:cubicBezTo>
                    <a:cubicBezTo>
                      <a:pt x="1906" y="2860"/>
                      <a:pt x="1906" y="2855"/>
                      <a:pt x="1900" y="2851"/>
                    </a:cubicBezTo>
                    <a:cubicBezTo>
                      <a:pt x="1895" y="2846"/>
                      <a:pt x="1892" y="2841"/>
                      <a:pt x="1909" y="2837"/>
                    </a:cubicBezTo>
                    <a:cubicBezTo>
                      <a:pt x="1926" y="2832"/>
                      <a:pt x="1922" y="2823"/>
                      <a:pt x="1923" y="2812"/>
                    </a:cubicBezTo>
                    <a:cubicBezTo>
                      <a:pt x="1924" y="2801"/>
                      <a:pt x="1933" y="2798"/>
                      <a:pt x="1942" y="2797"/>
                    </a:cubicBezTo>
                    <a:cubicBezTo>
                      <a:pt x="1952" y="2796"/>
                      <a:pt x="1941" y="2783"/>
                      <a:pt x="1951" y="2782"/>
                    </a:cubicBezTo>
                    <a:cubicBezTo>
                      <a:pt x="1960" y="2781"/>
                      <a:pt x="1948" y="2779"/>
                      <a:pt x="1939" y="2779"/>
                    </a:cubicBezTo>
                    <a:cubicBezTo>
                      <a:pt x="1930" y="2779"/>
                      <a:pt x="1925" y="2781"/>
                      <a:pt x="1928" y="2771"/>
                    </a:cubicBezTo>
                    <a:cubicBezTo>
                      <a:pt x="1931" y="2761"/>
                      <a:pt x="1944" y="2760"/>
                      <a:pt x="1947" y="2756"/>
                    </a:cubicBezTo>
                    <a:cubicBezTo>
                      <a:pt x="1949" y="2752"/>
                      <a:pt x="1966" y="2752"/>
                      <a:pt x="1957" y="2742"/>
                    </a:cubicBezTo>
                    <a:cubicBezTo>
                      <a:pt x="1949" y="2732"/>
                      <a:pt x="1951" y="2725"/>
                      <a:pt x="1957" y="2724"/>
                    </a:cubicBezTo>
                    <a:cubicBezTo>
                      <a:pt x="1964" y="2723"/>
                      <a:pt x="1969" y="2709"/>
                      <a:pt x="1968" y="2696"/>
                    </a:cubicBezTo>
                    <a:cubicBezTo>
                      <a:pt x="1967" y="2683"/>
                      <a:pt x="1968" y="2669"/>
                      <a:pt x="1962" y="2664"/>
                    </a:cubicBezTo>
                    <a:cubicBezTo>
                      <a:pt x="1955" y="2658"/>
                      <a:pt x="1948" y="2652"/>
                      <a:pt x="1956" y="2651"/>
                    </a:cubicBezTo>
                    <a:cubicBezTo>
                      <a:pt x="1965" y="2650"/>
                      <a:pt x="1970" y="2645"/>
                      <a:pt x="1962" y="2640"/>
                    </a:cubicBezTo>
                    <a:cubicBezTo>
                      <a:pt x="1953" y="2635"/>
                      <a:pt x="1948" y="2621"/>
                      <a:pt x="1940" y="2624"/>
                    </a:cubicBezTo>
                    <a:cubicBezTo>
                      <a:pt x="1933" y="2627"/>
                      <a:pt x="1925" y="2633"/>
                      <a:pt x="1927" y="2621"/>
                    </a:cubicBezTo>
                    <a:cubicBezTo>
                      <a:pt x="1929" y="2608"/>
                      <a:pt x="1942" y="2603"/>
                      <a:pt x="1948" y="2613"/>
                    </a:cubicBezTo>
                    <a:cubicBezTo>
                      <a:pt x="1953" y="2623"/>
                      <a:pt x="1964" y="2626"/>
                      <a:pt x="1968" y="2619"/>
                    </a:cubicBezTo>
                    <a:cubicBezTo>
                      <a:pt x="1972" y="2613"/>
                      <a:pt x="1990" y="2611"/>
                      <a:pt x="1992" y="2598"/>
                    </a:cubicBezTo>
                    <a:cubicBezTo>
                      <a:pt x="1994" y="2585"/>
                      <a:pt x="1985" y="2581"/>
                      <a:pt x="2000" y="2581"/>
                    </a:cubicBezTo>
                    <a:cubicBezTo>
                      <a:pt x="2015" y="2581"/>
                      <a:pt x="2028" y="2581"/>
                      <a:pt x="2028" y="2571"/>
                    </a:cubicBezTo>
                    <a:cubicBezTo>
                      <a:pt x="2028" y="2561"/>
                      <a:pt x="2000" y="2569"/>
                      <a:pt x="2000" y="2559"/>
                    </a:cubicBezTo>
                    <a:cubicBezTo>
                      <a:pt x="2000" y="2550"/>
                      <a:pt x="2002" y="2547"/>
                      <a:pt x="2011" y="2547"/>
                    </a:cubicBezTo>
                    <a:cubicBezTo>
                      <a:pt x="2020" y="2547"/>
                      <a:pt x="2036" y="2554"/>
                      <a:pt x="2038" y="2543"/>
                    </a:cubicBezTo>
                    <a:cubicBezTo>
                      <a:pt x="2040" y="2532"/>
                      <a:pt x="2039" y="2524"/>
                      <a:pt x="2046" y="2521"/>
                    </a:cubicBezTo>
                    <a:cubicBezTo>
                      <a:pt x="2054" y="2517"/>
                      <a:pt x="2066" y="2515"/>
                      <a:pt x="2059" y="2504"/>
                    </a:cubicBezTo>
                    <a:cubicBezTo>
                      <a:pt x="2053" y="2494"/>
                      <a:pt x="2056" y="2473"/>
                      <a:pt x="2046" y="2473"/>
                    </a:cubicBezTo>
                    <a:cubicBezTo>
                      <a:pt x="2037" y="2473"/>
                      <a:pt x="2017" y="2483"/>
                      <a:pt x="2010" y="2478"/>
                    </a:cubicBezTo>
                    <a:cubicBezTo>
                      <a:pt x="2002" y="2472"/>
                      <a:pt x="1977" y="2453"/>
                      <a:pt x="2003" y="2455"/>
                    </a:cubicBezTo>
                    <a:cubicBezTo>
                      <a:pt x="2030" y="2457"/>
                      <a:pt x="2052" y="2467"/>
                      <a:pt x="2052" y="2456"/>
                    </a:cubicBezTo>
                    <a:cubicBezTo>
                      <a:pt x="2052" y="2445"/>
                      <a:pt x="2077" y="2457"/>
                      <a:pt x="2077" y="2445"/>
                    </a:cubicBezTo>
                    <a:cubicBezTo>
                      <a:pt x="2077" y="2434"/>
                      <a:pt x="2078" y="2430"/>
                      <a:pt x="2069" y="2422"/>
                    </a:cubicBezTo>
                    <a:cubicBezTo>
                      <a:pt x="2060" y="2413"/>
                      <a:pt x="2069" y="2402"/>
                      <a:pt x="2052" y="2406"/>
                    </a:cubicBezTo>
                    <a:cubicBezTo>
                      <a:pt x="2035" y="2409"/>
                      <a:pt x="2021" y="2410"/>
                      <a:pt x="2021" y="2398"/>
                    </a:cubicBezTo>
                    <a:cubicBezTo>
                      <a:pt x="2021" y="2386"/>
                      <a:pt x="2028" y="2394"/>
                      <a:pt x="2033" y="2383"/>
                    </a:cubicBezTo>
                    <a:cubicBezTo>
                      <a:pt x="2037" y="2372"/>
                      <a:pt x="2056" y="2374"/>
                      <a:pt x="2063" y="2382"/>
                    </a:cubicBezTo>
                    <a:cubicBezTo>
                      <a:pt x="2069" y="2389"/>
                      <a:pt x="2082" y="2391"/>
                      <a:pt x="2089" y="2380"/>
                    </a:cubicBezTo>
                    <a:cubicBezTo>
                      <a:pt x="2097" y="2369"/>
                      <a:pt x="2103" y="2369"/>
                      <a:pt x="2109" y="2360"/>
                    </a:cubicBezTo>
                    <a:cubicBezTo>
                      <a:pt x="2114" y="2352"/>
                      <a:pt x="2109" y="2352"/>
                      <a:pt x="2098" y="2349"/>
                    </a:cubicBezTo>
                    <a:cubicBezTo>
                      <a:pt x="2087" y="2345"/>
                      <a:pt x="2088" y="2335"/>
                      <a:pt x="2099" y="2330"/>
                    </a:cubicBezTo>
                    <a:cubicBezTo>
                      <a:pt x="2110" y="2326"/>
                      <a:pt x="2119" y="2316"/>
                      <a:pt x="2123" y="2326"/>
                    </a:cubicBezTo>
                    <a:cubicBezTo>
                      <a:pt x="2127" y="2336"/>
                      <a:pt x="2137" y="2338"/>
                      <a:pt x="2140" y="2330"/>
                    </a:cubicBezTo>
                    <a:cubicBezTo>
                      <a:pt x="2143" y="2323"/>
                      <a:pt x="2152" y="2317"/>
                      <a:pt x="2159" y="2324"/>
                    </a:cubicBezTo>
                    <a:cubicBezTo>
                      <a:pt x="2167" y="2330"/>
                      <a:pt x="2178" y="2327"/>
                      <a:pt x="2184" y="2321"/>
                    </a:cubicBezTo>
                    <a:cubicBezTo>
                      <a:pt x="2191" y="2314"/>
                      <a:pt x="2207" y="2320"/>
                      <a:pt x="2207" y="2311"/>
                    </a:cubicBezTo>
                    <a:cubicBezTo>
                      <a:pt x="2207" y="2302"/>
                      <a:pt x="2207" y="2301"/>
                      <a:pt x="2199" y="2298"/>
                    </a:cubicBezTo>
                    <a:cubicBezTo>
                      <a:pt x="2192" y="2295"/>
                      <a:pt x="2184" y="2285"/>
                      <a:pt x="2199" y="2284"/>
                    </a:cubicBezTo>
                    <a:cubicBezTo>
                      <a:pt x="2214" y="2283"/>
                      <a:pt x="2216" y="2283"/>
                      <a:pt x="2221" y="2270"/>
                    </a:cubicBezTo>
                    <a:cubicBezTo>
                      <a:pt x="2225" y="2257"/>
                      <a:pt x="2220" y="2257"/>
                      <a:pt x="2231" y="2255"/>
                    </a:cubicBezTo>
                    <a:cubicBezTo>
                      <a:pt x="2243" y="2253"/>
                      <a:pt x="2253" y="2255"/>
                      <a:pt x="2245" y="2265"/>
                    </a:cubicBezTo>
                    <a:cubicBezTo>
                      <a:pt x="2238" y="2274"/>
                      <a:pt x="2231" y="2280"/>
                      <a:pt x="2231" y="2285"/>
                    </a:cubicBezTo>
                    <a:cubicBezTo>
                      <a:pt x="2231" y="2291"/>
                      <a:pt x="2231" y="2295"/>
                      <a:pt x="2225" y="2302"/>
                    </a:cubicBezTo>
                    <a:cubicBezTo>
                      <a:pt x="2218" y="2310"/>
                      <a:pt x="2221" y="2322"/>
                      <a:pt x="2226" y="2325"/>
                    </a:cubicBezTo>
                    <a:cubicBezTo>
                      <a:pt x="2231" y="2328"/>
                      <a:pt x="2243" y="2323"/>
                      <a:pt x="2249" y="2315"/>
                    </a:cubicBezTo>
                    <a:cubicBezTo>
                      <a:pt x="2254" y="2308"/>
                      <a:pt x="2267" y="2315"/>
                      <a:pt x="2270" y="2303"/>
                    </a:cubicBezTo>
                    <a:cubicBezTo>
                      <a:pt x="2273" y="2292"/>
                      <a:pt x="2284" y="2281"/>
                      <a:pt x="2286" y="2291"/>
                    </a:cubicBezTo>
                    <a:cubicBezTo>
                      <a:pt x="2288" y="2300"/>
                      <a:pt x="2284" y="2307"/>
                      <a:pt x="2292" y="2308"/>
                    </a:cubicBezTo>
                    <a:cubicBezTo>
                      <a:pt x="2299" y="2309"/>
                      <a:pt x="2309" y="2312"/>
                      <a:pt x="2309" y="2297"/>
                    </a:cubicBezTo>
                    <a:cubicBezTo>
                      <a:pt x="2309" y="2282"/>
                      <a:pt x="2317" y="2273"/>
                      <a:pt x="2325" y="2285"/>
                    </a:cubicBezTo>
                    <a:cubicBezTo>
                      <a:pt x="2332" y="2297"/>
                      <a:pt x="2344" y="2291"/>
                      <a:pt x="2352" y="2282"/>
                    </a:cubicBezTo>
                    <a:cubicBezTo>
                      <a:pt x="2359" y="2273"/>
                      <a:pt x="2367" y="2256"/>
                      <a:pt x="2381" y="2256"/>
                    </a:cubicBezTo>
                    <a:cubicBezTo>
                      <a:pt x="2395" y="2256"/>
                      <a:pt x="2421" y="2254"/>
                      <a:pt x="2433" y="2237"/>
                    </a:cubicBezTo>
                    <a:cubicBezTo>
                      <a:pt x="2446" y="2220"/>
                      <a:pt x="2468" y="2223"/>
                      <a:pt x="2469" y="2205"/>
                    </a:cubicBezTo>
                    <a:cubicBezTo>
                      <a:pt x="2470" y="2186"/>
                      <a:pt x="2470" y="2180"/>
                      <a:pt x="2484" y="2178"/>
                    </a:cubicBezTo>
                    <a:cubicBezTo>
                      <a:pt x="2498" y="2176"/>
                      <a:pt x="2502" y="2166"/>
                      <a:pt x="2507" y="2151"/>
                    </a:cubicBezTo>
                    <a:cubicBezTo>
                      <a:pt x="2511" y="2136"/>
                      <a:pt x="2514" y="2108"/>
                      <a:pt x="2538" y="2100"/>
                    </a:cubicBezTo>
                    <a:cubicBezTo>
                      <a:pt x="2561" y="2093"/>
                      <a:pt x="2560" y="2090"/>
                      <a:pt x="2575" y="2084"/>
                    </a:cubicBezTo>
                    <a:cubicBezTo>
                      <a:pt x="2590" y="2079"/>
                      <a:pt x="2593" y="2076"/>
                      <a:pt x="2593" y="2067"/>
                    </a:cubicBezTo>
                    <a:cubicBezTo>
                      <a:pt x="2593" y="2058"/>
                      <a:pt x="2585" y="2048"/>
                      <a:pt x="2582" y="2047"/>
                    </a:cubicBezTo>
                    <a:cubicBezTo>
                      <a:pt x="2579" y="2045"/>
                      <a:pt x="2580" y="2034"/>
                      <a:pt x="2594" y="2034"/>
                    </a:cubicBezTo>
                    <a:cubicBezTo>
                      <a:pt x="2608" y="2034"/>
                      <a:pt x="2600" y="2033"/>
                      <a:pt x="2607" y="2044"/>
                    </a:cubicBezTo>
                    <a:cubicBezTo>
                      <a:pt x="2613" y="2056"/>
                      <a:pt x="2613" y="2048"/>
                      <a:pt x="2629" y="2051"/>
                    </a:cubicBezTo>
                    <a:cubicBezTo>
                      <a:pt x="2645" y="2054"/>
                      <a:pt x="2633" y="2066"/>
                      <a:pt x="2650" y="2065"/>
                    </a:cubicBezTo>
                    <a:cubicBezTo>
                      <a:pt x="2666" y="2064"/>
                      <a:pt x="2697" y="2069"/>
                      <a:pt x="2697" y="2059"/>
                    </a:cubicBezTo>
                    <a:cubicBezTo>
                      <a:pt x="2697" y="2050"/>
                      <a:pt x="2696" y="2045"/>
                      <a:pt x="2707" y="2050"/>
                    </a:cubicBezTo>
                    <a:cubicBezTo>
                      <a:pt x="2717" y="2054"/>
                      <a:pt x="2724" y="2057"/>
                      <a:pt x="2731" y="2054"/>
                    </a:cubicBezTo>
                    <a:cubicBezTo>
                      <a:pt x="2739" y="2051"/>
                      <a:pt x="2740" y="2050"/>
                      <a:pt x="2731" y="2047"/>
                    </a:cubicBezTo>
                    <a:cubicBezTo>
                      <a:pt x="2723" y="2043"/>
                      <a:pt x="2718" y="2033"/>
                      <a:pt x="2726" y="2030"/>
                    </a:cubicBezTo>
                    <a:cubicBezTo>
                      <a:pt x="2733" y="2028"/>
                      <a:pt x="2744" y="2033"/>
                      <a:pt x="2747" y="2038"/>
                    </a:cubicBezTo>
                    <a:cubicBezTo>
                      <a:pt x="2751" y="2043"/>
                      <a:pt x="2764" y="2048"/>
                      <a:pt x="2769" y="2039"/>
                    </a:cubicBezTo>
                    <a:cubicBezTo>
                      <a:pt x="2774" y="2030"/>
                      <a:pt x="2790" y="2029"/>
                      <a:pt x="2797" y="2036"/>
                    </a:cubicBezTo>
                    <a:cubicBezTo>
                      <a:pt x="2803" y="2042"/>
                      <a:pt x="2808" y="2042"/>
                      <a:pt x="2816" y="2033"/>
                    </a:cubicBezTo>
                    <a:cubicBezTo>
                      <a:pt x="2825" y="2023"/>
                      <a:pt x="2827" y="2015"/>
                      <a:pt x="2842" y="2017"/>
                    </a:cubicBezTo>
                    <a:cubicBezTo>
                      <a:pt x="2857" y="2020"/>
                      <a:pt x="2879" y="2021"/>
                      <a:pt x="2891" y="2013"/>
                    </a:cubicBezTo>
                    <a:cubicBezTo>
                      <a:pt x="2904" y="2006"/>
                      <a:pt x="2911" y="1999"/>
                      <a:pt x="2938" y="1998"/>
                    </a:cubicBezTo>
                    <a:cubicBezTo>
                      <a:pt x="2965" y="1997"/>
                      <a:pt x="2962" y="1983"/>
                      <a:pt x="2984" y="1978"/>
                    </a:cubicBezTo>
                    <a:cubicBezTo>
                      <a:pt x="3005" y="1972"/>
                      <a:pt x="3012" y="1967"/>
                      <a:pt x="3027" y="1952"/>
                    </a:cubicBezTo>
                    <a:cubicBezTo>
                      <a:pt x="3042" y="1937"/>
                      <a:pt x="3035" y="1933"/>
                      <a:pt x="3052" y="1930"/>
                    </a:cubicBezTo>
                    <a:cubicBezTo>
                      <a:pt x="3068" y="1928"/>
                      <a:pt x="3062" y="1913"/>
                      <a:pt x="3088" y="1913"/>
                    </a:cubicBezTo>
                    <a:cubicBezTo>
                      <a:pt x="3114" y="1913"/>
                      <a:pt x="3097" y="1902"/>
                      <a:pt x="3115" y="1898"/>
                    </a:cubicBezTo>
                    <a:cubicBezTo>
                      <a:pt x="3133" y="1894"/>
                      <a:pt x="3125" y="1879"/>
                      <a:pt x="3140" y="1879"/>
                    </a:cubicBezTo>
                    <a:cubicBezTo>
                      <a:pt x="3155" y="1879"/>
                      <a:pt x="3167" y="1877"/>
                      <a:pt x="3173" y="1867"/>
                    </a:cubicBezTo>
                    <a:cubicBezTo>
                      <a:pt x="3180" y="1857"/>
                      <a:pt x="3195" y="1867"/>
                      <a:pt x="3204" y="1858"/>
                    </a:cubicBezTo>
                    <a:cubicBezTo>
                      <a:pt x="3214" y="1850"/>
                      <a:pt x="3226" y="1849"/>
                      <a:pt x="3226" y="1842"/>
                    </a:cubicBezTo>
                    <a:cubicBezTo>
                      <a:pt x="3226" y="1836"/>
                      <a:pt x="3221" y="1830"/>
                      <a:pt x="3205" y="1834"/>
                    </a:cubicBezTo>
                    <a:cubicBezTo>
                      <a:pt x="3189" y="1837"/>
                      <a:pt x="3144" y="1844"/>
                      <a:pt x="3117" y="1836"/>
                    </a:cubicBezTo>
                    <a:cubicBezTo>
                      <a:pt x="3090" y="1827"/>
                      <a:pt x="3077" y="1816"/>
                      <a:pt x="3062" y="1813"/>
                    </a:cubicBezTo>
                    <a:cubicBezTo>
                      <a:pt x="3047" y="1810"/>
                      <a:pt x="3037" y="1801"/>
                      <a:pt x="3027" y="1801"/>
                    </a:cubicBezTo>
                    <a:cubicBezTo>
                      <a:pt x="3017" y="1801"/>
                      <a:pt x="3004" y="1799"/>
                      <a:pt x="2996" y="1806"/>
                    </a:cubicBezTo>
                    <a:cubicBezTo>
                      <a:pt x="2987" y="1812"/>
                      <a:pt x="2969" y="1820"/>
                      <a:pt x="2955" y="1820"/>
                    </a:cubicBezTo>
                    <a:cubicBezTo>
                      <a:pt x="2941" y="1820"/>
                      <a:pt x="2923" y="1821"/>
                      <a:pt x="2917" y="1828"/>
                    </a:cubicBezTo>
                    <a:cubicBezTo>
                      <a:pt x="2912" y="1836"/>
                      <a:pt x="2899" y="1845"/>
                      <a:pt x="2886" y="1844"/>
                    </a:cubicBezTo>
                    <a:cubicBezTo>
                      <a:pt x="2873" y="1843"/>
                      <a:pt x="2824" y="1839"/>
                      <a:pt x="2824" y="1839"/>
                    </a:cubicBezTo>
                    <a:cubicBezTo>
                      <a:pt x="2824" y="1839"/>
                      <a:pt x="2831" y="1829"/>
                      <a:pt x="2855" y="1829"/>
                    </a:cubicBezTo>
                    <a:cubicBezTo>
                      <a:pt x="2879" y="1829"/>
                      <a:pt x="2891" y="1832"/>
                      <a:pt x="2896" y="1822"/>
                    </a:cubicBezTo>
                    <a:cubicBezTo>
                      <a:pt x="2900" y="1812"/>
                      <a:pt x="2915" y="1810"/>
                      <a:pt x="2925" y="1810"/>
                    </a:cubicBezTo>
                    <a:cubicBezTo>
                      <a:pt x="2934" y="1810"/>
                      <a:pt x="2956" y="1806"/>
                      <a:pt x="2959" y="1799"/>
                    </a:cubicBezTo>
                    <a:cubicBezTo>
                      <a:pt x="2962" y="1793"/>
                      <a:pt x="2976" y="1787"/>
                      <a:pt x="2997" y="1781"/>
                    </a:cubicBezTo>
                    <a:cubicBezTo>
                      <a:pt x="3017" y="1775"/>
                      <a:pt x="3024" y="1769"/>
                      <a:pt x="3019" y="1753"/>
                    </a:cubicBezTo>
                    <a:cubicBezTo>
                      <a:pt x="3015" y="1737"/>
                      <a:pt x="3024" y="1726"/>
                      <a:pt x="2991" y="1728"/>
                    </a:cubicBezTo>
                    <a:cubicBezTo>
                      <a:pt x="2959" y="1730"/>
                      <a:pt x="2926" y="1738"/>
                      <a:pt x="2909" y="1742"/>
                    </a:cubicBezTo>
                    <a:cubicBezTo>
                      <a:pt x="2891" y="1747"/>
                      <a:pt x="2885" y="1756"/>
                      <a:pt x="2876" y="1767"/>
                    </a:cubicBezTo>
                    <a:cubicBezTo>
                      <a:pt x="2868" y="1778"/>
                      <a:pt x="2836" y="1789"/>
                      <a:pt x="2866" y="1789"/>
                    </a:cubicBezTo>
                    <a:cubicBezTo>
                      <a:pt x="2896" y="1789"/>
                      <a:pt x="2932" y="1771"/>
                      <a:pt x="2931" y="1782"/>
                    </a:cubicBezTo>
                    <a:cubicBezTo>
                      <a:pt x="2930" y="1793"/>
                      <a:pt x="2910" y="1801"/>
                      <a:pt x="2889" y="1800"/>
                    </a:cubicBezTo>
                    <a:cubicBezTo>
                      <a:pt x="2869" y="1799"/>
                      <a:pt x="2866" y="1797"/>
                      <a:pt x="2848" y="1799"/>
                    </a:cubicBezTo>
                    <a:cubicBezTo>
                      <a:pt x="2831" y="1801"/>
                      <a:pt x="2837" y="1795"/>
                      <a:pt x="2815" y="1796"/>
                    </a:cubicBezTo>
                    <a:cubicBezTo>
                      <a:pt x="2794" y="1797"/>
                      <a:pt x="2777" y="1793"/>
                      <a:pt x="2790" y="1786"/>
                    </a:cubicBezTo>
                    <a:cubicBezTo>
                      <a:pt x="2803" y="1780"/>
                      <a:pt x="2838" y="1783"/>
                      <a:pt x="2839" y="1772"/>
                    </a:cubicBezTo>
                    <a:cubicBezTo>
                      <a:pt x="2840" y="1762"/>
                      <a:pt x="2862" y="1768"/>
                      <a:pt x="2855" y="1751"/>
                    </a:cubicBezTo>
                    <a:cubicBezTo>
                      <a:pt x="2847" y="1734"/>
                      <a:pt x="2861" y="1722"/>
                      <a:pt x="2877" y="1729"/>
                    </a:cubicBezTo>
                    <a:cubicBezTo>
                      <a:pt x="2894" y="1737"/>
                      <a:pt x="2906" y="1728"/>
                      <a:pt x="2925" y="1724"/>
                    </a:cubicBezTo>
                    <a:cubicBezTo>
                      <a:pt x="2943" y="1720"/>
                      <a:pt x="2985" y="1722"/>
                      <a:pt x="2992" y="1715"/>
                    </a:cubicBezTo>
                    <a:cubicBezTo>
                      <a:pt x="3000" y="1709"/>
                      <a:pt x="2989" y="1686"/>
                      <a:pt x="2965" y="1686"/>
                    </a:cubicBezTo>
                    <a:cubicBezTo>
                      <a:pt x="2940" y="1686"/>
                      <a:pt x="2923" y="1673"/>
                      <a:pt x="2901" y="1670"/>
                    </a:cubicBezTo>
                    <a:cubicBezTo>
                      <a:pt x="2880" y="1667"/>
                      <a:pt x="2857" y="1669"/>
                      <a:pt x="2844" y="1658"/>
                    </a:cubicBezTo>
                    <a:cubicBezTo>
                      <a:pt x="2831" y="1648"/>
                      <a:pt x="2828" y="1641"/>
                      <a:pt x="2826" y="1632"/>
                    </a:cubicBezTo>
                    <a:cubicBezTo>
                      <a:pt x="2824" y="1622"/>
                      <a:pt x="2848" y="1613"/>
                      <a:pt x="2860" y="1627"/>
                    </a:cubicBezTo>
                    <a:cubicBezTo>
                      <a:pt x="2872" y="1641"/>
                      <a:pt x="2899" y="1663"/>
                      <a:pt x="2929" y="1663"/>
                    </a:cubicBezTo>
                    <a:cubicBezTo>
                      <a:pt x="2959" y="1663"/>
                      <a:pt x="2981" y="1668"/>
                      <a:pt x="2990" y="1670"/>
                    </a:cubicBezTo>
                    <a:cubicBezTo>
                      <a:pt x="3000" y="1672"/>
                      <a:pt x="3010" y="1689"/>
                      <a:pt x="3027" y="1693"/>
                    </a:cubicBezTo>
                    <a:cubicBezTo>
                      <a:pt x="3044" y="1697"/>
                      <a:pt x="3094" y="1710"/>
                      <a:pt x="3094" y="1729"/>
                    </a:cubicBezTo>
                    <a:cubicBezTo>
                      <a:pt x="3094" y="1749"/>
                      <a:pt x="3101" y="1764"/>
                      <a:pt x="3114" y="1776"/>
                    </a:cubicBezTo>
                    <a:cubicBezTo>
                      <a:pt x="3127" y="1787"/>
                      <a:pt x="3153" y="1805"/>
                      <a:pt x="3173" y="1797"/>
                    </a:cubicBezTo>
                    <a:cubicBezTo>
                      <a:pt x="3194" y="1790"/>
                      <a:pt x="3197" y="1752"/>
                      <a:pt x="3203" y="1768"/>
                    </a:cubicBezTo>
                    <a:cubicBezTo>
                      <a:pt x="3210" y="1784"/>
                      <a:pt x="3211" y="1793"/>
                      <a:pt x="3226" y="1796"/>
                    </a:cubicBezTo>
                    <a:cubicBezTo>
                      <a:pt x="3241" y="1799"/>
                      <a:pt x="3260" y="1797"/>
                      <a:pt x="3257" y="1777"/>
                    </a:cubicBezTo>
                    <a:cubicBezTo>
                      <a:pt x="3254" y="1756"/>
                      <a:pt x="3246" y="1739"/>
                      <a:pt x="3254" y="1732"/>
                    </a:cubicBezTo>
                    <a:cubicBezTo>
                      <a:pt x="3261" y="1724"/>
                      <a:pt x="3263" y="1701"/>
                      <a:pt x="3257" y="1691"/>
                    </a:cubicBezTo>
                    <a:cubicBezTo>
                      <a:pt x="3250" y="1680"/>
                      <a:pt x="3239" y="1672"/>
                      <a:pt x="3230" y="1677"/>
                    </a:cubicBezTo>
                    <a:cubicBezTo>
                      <a:pt x="3221" y="1681"/>
                      <a:pt x="3212" y="1692"/>
                      <a:pt x="3209" y="1675"/>
                    </a:cubicBezTo>
                    <a:cubicBezTo>
                      <a:pt x="3205" y="1657"/>
                      <a:pt x="3239" y="1667"/>
                      <a:pt x="3228" y="1652"/>
                    </a:cubicBezTo>
                    <a:cubicBezTo>
                      <a:pt x="3217" y="1637"/>
                      <a:pt x="3211" y="1651"/>
                      <a:pt x="3195" y="1634"/>
                    </a:cubicBezTo>
                    <a:cubicBezTo>
                      <a:pt x="3178" y="1617"/>
                      <a:pt x="3162" y="1617"/>
                      <a:pt x="3141" y="1603"/>
                    </a:cubicBezTo>
                    <a:cubicBezTo>
                      <a:pt x="3119" y="1589"/>
                      <a:pt x="3078" y="1564"/>
                      <a:pt x="3066" y="1564"/>
                    </a:cubicBezTo>
                    <a:cubicBezTo>
                      <a:pt x="3053" y="1564"/>
                      <a:pt x="3042" y="1564"/>
                      <a:pt x="3035" y="1581"/>
                    </a:cubicBezTo>
                    <a:cubicBezTo>
                      <a:pt x="3029" y="1598"/>
                      <a:pt x="3009" y="1603"/>
                      <a:pt x="3011" y="1593"/>
                    </a:cubicBezTo>
                    <a:cubicBezTo>
                      <a:pt x="3013" y="1583"/>
                      <a:pt x="3013" y="1572"/>
                      <a:pt x="2996" y="1571"/>
                    </a:cubicBezTo>
                    <a:cubicBezTo>
                      <a:pt x="2979" y="1570"/>
                      <a:pt x="2962" y="1561"/>
                      <a:pt x="2985" y="1557"/>
                    </a:cubicBezTo>
                    <a:cubicBezTo>
                      <a:pt x="3008" y="1554"/>
                      <a:pt x="3057" y="1561"/>
                      <a:pt x="3057" y="1548"/>
                    </a:cubicBezTo>
                    <a:cubicBezTo>
                      <a:pt x="3057" y="1535"/>
                      <a:pt x="3031" y="1523"/>
                      <a:pt x="3018" y="1522"/>
                    </a:cubicBezTo>
                    <a:cubicBezTo>
                      <a:pt x="3005" y="1521"/>
                      <a:pt x="2985" y="1526"/>
                      <a:pt x="2976" y="1535"/>
                    </a:cubicBezTo>
                    <a:cubicBezTo>
                      <a:pt x="2968" y="1543"/>
                      <a:pt x="2947" y="1538"/>
                      <a:pt x="2927" y="1528"/>
                    </a:cubicBezTo>
                    <a:cubicBezTo>
                      <a:pt x="2906" y="1519"/>
                      <a:pt x="2905" y="1507"/>
                      <a:pt x="2926" y="1508"/>
                    </a:cubicBezTo>
                    <a:cubicBezTo>
                      <a:pt x="2946" y="1509"/>
                      <a:pt x="2971" y="1521"/>
                      <a:pt x="2982" y="1513"/>
                    </a:cubicBezTo>
                    <a:cubicBezTo>
                      <a:pt x="2992" y="1506"/>
                      <a:pt x="3009" y="1504"/>
                      <a:pt x="3017" y="1504"/>
                    </a:cubicBezTo>
                    <a:cubicBezTo>
                      <a:pt x="3026" y="1504"/>
                      <a:pt x="3042" y="1506"/>
                      <a:pt x="3040" y="1495"/>
                    </a:cubicBezTo>
                    <a:cubicBezTo>
                      <a:pt x="3038" y="1484"/>
                      <a:pt x="3006" y="1481"/>
                      <a:pt x="2995" y="1477"/>
                    </a:cubicBezTo>
                    <a:cubicBezTo>
                      <a:pt x="2983" y="1472"/>
                      <a:pt x="2963" y="1472"/>
                      <a:pt x="2948" y="1479"/>
                    </a:cubicBezTo>
                    <a:cubicBezTo>
                      <a:pt x="2933" y="1485"/>
                      <a:pt x="2891" y="1499"/>
                      <a:pt x="2887" y="1486"/>
                    </a:cubicBezTo>
                    <a:cubicBezTo>
                      <a:pt x="2883" y="1474"/>
                      <a:pt x="2897" y="1470"/>
                      <a:pt x="2915" y="1470"/>
                    </a:cubicBezTo>
                    <a:cubicBezTo>
                      <a:pt x="2933" y="1470"/>
                      <a:pt x="2928" y="1458"/>
                      <a:pt x="2913" y="1453"/>
                    </a:cubicBezTo>
                    <a:cubicBezTo>
                      <a:pt x="2898" y="1448"/>
                      <a:pt x="2897" y="1428"/>
                      <a:pt x="2919" y="1440"/>
                    </a:cubicBezTo>
                    <a:cubicBezTo>
                      <a:pt x="2942" y="1452"/>
                      <a:pt x="2989" y="1472"/>
                      <a:pt x="3008" y="1452"/>
                    </a:cubicBezTo>
                    <a:cubicBezTo>
                      <a:pt x="3026" y="1432"/>
                      <a:pt x="3049" y="1447"/>
                      <a:pt x="3048" y="1434"/>
                    </a:cubicBezTo>
                    <a:cubicBezTo>
                      <a:pt x="3047" y="1421"/>
                      <a:pt x="3037" y="1417"/>
                      <a:pt x="3025" y="1410"/>
                    </a:cubicBezTo>
                    <a:cubicBezTo>
                      <a:pt x="3013" y="1404"/>
                      <a:pt x="2998" y="1389"/>
                      <a:pt x="3001" y="1382"/>
                    </a:cubicBezTo>
                    <a:cubicBezTo>
                      <a:pt x="3004" y="1376"/>
                      <a:pt x="3028" y="1392"/>
                      <a:pt x="3040" y="1404"/>
                    </a:cubicBezTo>
                    <a:cubicBezTo>
                      <a:pt x="3052" y="1415"/>
                      <a:pt x="3063" y="1431"/>
                      <a:pt x="3075" y="1426"/>
                    </a:cubicBezTo>
                    <a:cubicBezTo>
                      <a:pt x="3087" y="1422"/>
                      <a:pt x="3082" y="1410"/>
                      <a:pt x="3089" y="1404"/>
                    </a:cubicBezTo>
                    <a:cubicBezTo>
                      <a:pt x="3097" y="1397"/>
                      <a:pt x="3112" y="1396"/>
                      <a:pt x="3112" y="1408"/>
                    </a:cubicBezTo>
                    <a:cubicBezTo>
                      <a:pt x="3112" y="1420"/>
                      <a:pt x="3119" y="1426"/>
                      <a:pt x="3137" y="1434"/>
                    </a:cubicBezTo>
                    <a:cubicBezTo>
                      <a:pt x="3154" y="1441"/>
                      <a:pt x="3156" y="1453"/>
                      <a:pt x="3177" y="1457"/>
                    </a:cubicBezTo>
                    <a:cubicBezTo>
                      <a:pt x="3199" y="1462"/>
                      <a:pt x="3226" y="1474"/>
                      <a:pt x="3235" y="1460"/>
                    </a:cubicBezTo>
                    <a:cubicBezTo>
                      <a:pt x="3245" y="1446"/>
                      <a:pt x="3266" y="1440"/>
                      <a:pt x="3289" y="1440"/>
                    </a:cubicBezTo>
                    <a:cubicBezTo>
                      <a:pt x="3313" y="1440"/>
                      <a:pt x="3336" y="1445"/>
                      <a:pt x="3333" y="1425"/>
                    </a:cubicBezTo>
                    <a:cubicBezTo>
                      <a:pt x="3330" y="1406"/>
                      <a:pt x="3331" y="1409"/>
                      <a:pt x="3340" y="1403"/>
                    </a:cubicBezTo>
                    <a:cubicBezTo>
                      <a:pt x="3348" y="1396"/>
                      <a:pt x="3349" y="1386"/>
                      <a:pt x="3331" y="1385"/>
                    </a:cubicBezTo>
                    <a:cubicBezTo>
                      <a:pt x="3313" y="1384"/>
                      <a:pt x="3315" y="1385"/>
                      <a:pt x="3299" y="1379"/>
                    </a:cubicBezTo>
                    <a:cubicBezTo>
                      <a:pt x="3283" y="1372"/>
                      <a:pt x="3269" y="1368"/>
                      <a:pt x="3255" y="1368"/>
                    </a:cubicBezTo>
                    <a:cubicBezTo>
                      <a:pt x="3241" y="1368"/>
                      <a:pt x="3238" y="1371"/>
                      <a:pt x="3244" y="1382"/>
                    </a:cubicBezTo>
                    <a:cubicBezTo>
                      <a:pt x="3250" y="1393"/>
                      <a:pt x="3263" y="1409"/>
                      <a:pt x="3248" y="1402"/>
                    </a:cubicBezTo>
                    <a:cubicBezTo>
                      <a:pt x="3233" y="1394"/>
                      <a:pt x="3243" y="1375"/>
                      <a:pt x="3226" y="1375"/>
                    </a:cubicBezTo>
                    <a:cubicBezTo>
                      <a:pt x="3209" y="1375"/>
                      <a:pt x="3203" y="1361"/>
                      <a:pt x="3213" y="1357"/>
                    </a:cubicBezTo>
                    <a:cubicBezTo>
                      <a:pt x="3223" y="1354"/>
                      <a:pt x="3226" y="1356"/>
                      <a:pt x="3223" y="1345"/>
                    </a:cubicBezTo>
                    <a:cubicBezTo>
                      <a:pt x="3219" y="1333"/>
                      <a:pt x="3240" y="1323"/>
                      <a:pt x="3246" y="1337"/>
                    </a:cubicBezTo>
                    <a:cubicBezTo>
                      <a:pt x="3253" y="1351"/>
                      <a:pt x="3263" y="1352"/>
                      <a:pt x="3280" y="1354"/>
                    </a:cubicBezTo>
                    <a:cubicBezTo>
                      <a:pt x="3296" y="1356"/>
                      <a:pt x="3311" y="1368"/>
                      <a:pt x="3325" y="1356"/>
                    </a:cubicBezTo>
                    <a:cubicBezTo>
                      <a:pt x="3339" y="1345"/>
                      <a:pt x="3342" y="1349"/>
                      <a:pt x="3360" y="1346"/>
                    </a:cubicBezTo>
                    <a:cubicBezTo>
                      <a:pt x="3378" y="1342"/>
                      <a:pt x="3404" y="1346"/>
                      <a:pt x="3411" y="1328"/>
                    </a:cubicBezTo>
                    <a:cubicBezTo>
                      <a:pt x="3417" y="1311"/>
                      <a:pt x="3416" y="1307"/>
                      <a:pt x="3430" y="1305"/>
                    </a:cubicBezTo>
                    <a:cubicBezTo>
                      <a:pt x="3444" y="1303"/>
                      <a:pt x="3438" y="1292"/>
                      <a:pt x="3429" y="1291"/>
                    </a:cubicBezTo>
                    <a:cubicBezTo>
                      <a:pt x="3420" y="1290"/>
                      <a:pt x="3410" y="1304"/>
                      <a:pt x="3405" y="1294"/>
                    </a:cubicBezTo>
                    <a:cubicBezTo>
                      <a:pt x="3401" y="1284"/>
                      <a:pt x="3397" y="1285"/>
                      <a:pt x="3389" y="1294"/>
                    </a:cubicBezTo>
                    <a:cubicBezTo>
                      <a:pt x="3382" y="1303"/>
                      <a:pt x="3371" y="1297"/>
                      <a:pt x="3362" y="1290"/>
                    </a:cubicBezTo>
                    <a:cubicBezTo>
                      <a:pt x="3354" y="1282"/>
                      <a:pt x="3359" y="1279"/>
                      <a:pt x="3364" y="1274"/>
                    </a:cubicBezTo>
                    <a:cubicBezTo>
                      <a:pt x="3370" y="1268"/>
                      <a:pt x="3373" y="1266"/>
                      <a:pt x="3361" y="1252"/>
                    </a:cubicBezTo>
                    <a:cubicBezTo>
                      <a:pt x="3349" y="1238"/>
                      <a:pt x="3338" y="1236"/>
                      <a:pt x="3329" y="1241"/>
                    </a:cubicBezTo>
                    <a:cubicBezTo>
                      <a:pt x="3320" y="1247"/>
                      <a:pt x="3304" y="1254"/>
                      <a:pt x="3304" y="1239"/>
                    </a:cubicBezTo>
                    <a:cubicBezTo>
                      <a:pt x="3304" y="1224"/>
                      <a:pt x="3324" y="1237"/>
                      <a:pt x="3318" y="1220"/>
                    </a:cubicBezTo>
                    <a:cubicBezTo>
                      <a:pt x="3313" y="1203"/>
                      <a:pt x="3318" y="1200"/>
                      <a:pt x="3333" y="1200"/>
                    </a:cubicBezTo>
                    <a:cubicBezTo>
                      <a:pt x="3348" y="1200"/>
                      <a:pt x="3359" y="1211"/>
                      <a:pt x="3361" y="1219"/>
                    </a:cubicBezTo>
                    <a:cubicBezTo>
                      <a:pt x="3363" y="1226"/>
                      <a:pt x="3388" y="1240"/>
                      <a:pt x="3392" y="1228"/>
                    </a:cubicBezTo>
                    <a:cubicBezTo>
                      <a:pt x="3397" y="1217"/>
                      <a:pt x="3397" y="1189"/>
                      <a:pt x="3403" y="1180"/>
                    </a:cubicBezTo>
                    <a:cubicBezTo>
                      <a:pt x="3410" y="1171"/>
                      <a:pt x="3427" y="1138"/>
                      <a:pt x="3409" y="1127"/>
                    </a:cubicBezTo>
                    <a:cubicBezTo>
                      <a:pt x="3390" y="1117"/>
                      <a:pt x="3388" y="1114"/>
                      <a:pt x="3379" y="1102"/>
                    </a:cubicBezTo>
                    <a:cubicBezTo>
                      <a:pt x="3371" y="1089"/>
                      <a:pt x="3360" y="1081"/>
                      <a:pt x="3345" y="1084"/>
                    </a:cubicBezTo>
                    <a:cubicBezTo>
                      <a:pt x="3330" y="1088"/>
                      <a:pt x="3321" y="1095"/>
                      <a:pt x="3313" y="1083"/>
                    </a:cubicBezTo>
                    <a:cubicBezTo>
                      <a:pt x="3304" y="1071"/>
                      <a:pt x="3295" y="1074"/>
                      <a:pt x="3285" y="1078"/>
                    </a:cubicBezTo>
                    <a:cubicBezTo>
                      <a:pt x="3275" y="1082"/>
                      <a:pt x="3259" y="1088"/>
                      <a:pt x="3259" y="1075"/>
                    </a:cubicBezTo>
                    <a:cubicBezTo>
                      <a:pt x="3259" y="1062"/>
                      <a:pt x="3241" y="1040"/>
                      <a:pt x="3228" y="1036"/>
                    </a:cubicBezTo>
                    <a:cubicBezTo>
                      <a:pt x="3215" y="1032"/>
                      <a:pt x="3189" y="1046"/>
                      <a:pt x="3197" y="1025"/>
                    </a:cubicBezTo>
                    <a:cubicBezTo>
                      <a:pt x="3204" y="1005"/>
                      <a:pt x="3217" y="998"/>
                      <a:pt x="3229" y="1012"/>
                    </a:cubicBezTo>
                    <a:cubicBezTo>
                      <a:pt x="3241" y="1026"/>
                      <a:pt x="3273" y="1037"/>
                      <a:pt x="3277" y="1024"/>
                    </a:cubicBezTo>
                    <a:cubicBezTo>
                      <a:pt x="3282" y="1011"/>
                      <a:pt x="3276" y="1013"/>
                      <a:pt x="3296" y="1011"/>
                    </a:cubicBezTo>
                    <a:cubicBezTo>
                      <a:pt x="3315" y="1009"/>
                      <a:pt x="3342" y="1008"/>
                      <a:pt x="3350" y="1001"/>
                    </a:cubicBezTo>
                    <a:cubicBezTo>
                      <a:pt x="3359" y="993"/>
                      <a:pt x="3363" y="991"/>
                      <a:pt x="3378" y="997"/>
                    </a:cubicBezTo>
                    <a:cubicBezTo>
                      <a:pt x="3393" y="1004"/>
                      <a:pt x="3404" y="1001"/>
                      <a:pt x="3417" y="1004"/>
                    </a:cubicBezTo>
                    <a:cubicBezTo>
                      <a:pt x="3430" y="1007"/>
                      <a:pt x="3446" y="1010"/>
                      <a:pt x="3436" y="1018"/>
                    </a:cubicBezTo>
                    <a:cubicBezTo>
                      <a:pt x="3427" y="1025"/>
                      <a:pt x="3418" y="1040"/>
                      <a:pt x="3422" y="1059"/>
                    </a:cubicBezTo>
                    <a:cubicBezTo>
                      <a:pt x="3427" y="1077"/>
                      <a:pt x="3436" y="1087"/>
                      <a:pt x="3440" y="1099"/>
                    </a:cubicBezTo>
                    <a:cubicBezTo>
                      <a:pt x="3443" y="1112"/>
                      <a:pt x="3465" y="1130"/>
                      <a:pt x="3460" y="1113"/>
                    </a:cubicBezTo>
                    <a:cubicBezTo>
                      <a:pt x="3455" y="1097"/>
                      <a:pt x="3449" y="1085"/>
                      <a:pt x="3449" y="1066"/>
                    </a:cubicBezTo>
                    <a:cubicBezTo>
                      <a:pt x="3449" y="1047"/>
                      <a:pt x="3452" y="1049"/>
                      <a:pt x="3449" y="1034"/>
                    </a:cubicBezTo>
                    <a:cubicBezTo>
                      <a:pt x="3447" y="1019"/>
                      <a:pt x="3441" y="1016"/>
                      <a:pt x="3455" y="1012"/>
                    </a:cubicBezTo>
                    <a:cubicBezTo>
                      <a:pt x="3469" y="1009"/>
                      <a:pt x="3481" y="993"/>
                      <a:pt x="3481" y="978"/>
                    </a:cubicBezTo>
                    <a:cubicBezTo>
                      <a:pt x="3481" y="963"/>
                      <a:pt x="3474" y="941"/>
                      <a:pt x="3464" y="940"/>
                    </a:cubicBezTo>
                    <a:cubicBezTo>
                      <a:pt x="3455" y="939"/>
                      <a:pt x="3432" y="930"/>
                      <a:pt x="3426" y="937"/>
                    </a:cubicBezTo>
                    <a:cubicBezTo>
                      <a:pt x="3419" y="945"/>
                      <a:pt x="3413" y="949"/>
                      <a:pt x="3393" y="938"/>
                    </a:cubicBezTo>
                    <a:cubicBezTo>
                      <a:pt x="3374" y="927"/>
                      <a:pt x="3350" y="931"/>
                      <a:pt x="3339" y="919"/>
                    </a:cubicBezTo>
                    <a:cubicBezTo>
                      <a:pt x="3327" y="907"/>
                      <a:pt x="3334" y="908"/>
                      <a:pt x="3319" y="903"/>
                    </a:cubicBezTo>
                    <a:cubicBezTo>
                      <a:pt x="3304" y="897"/>
                      <a:pt x="3332" y="890"/>
                      <a:pt x="3349" y="890"/>
                    </a:cubicBezTo>
                    <a:cubicBezTo>
                      <a:pt x="3367" y="890"/>
                      <a:pt x="3367" y="896"/>
                      <a:pt x="3385" y="904"/>
                    </a:cubicBezTo>
                    <a:cubicBezTo>
                      <a:pt x="3403" y="911"/>
                      <a:pt x="3413" y="905"/>
                      <a:pt x="3419" y="902"/>
                    </a:cubicBezTo>
                    <a:cubicBezTo>
                      <a:pt x="3426" y="898"/>
                      <a:pt x="3438" y="893"/>
                      <a:pt x="3413" y="880"/>
                    </a:cubicBezTo>
                    <a:cubicBezTo>
                      <a:pt x="3388" y="867"/>
                      <a:pt x="3379" y="862"/>
                      <a:pt x="3366" y="853"/>
                    </a:cubicBezTo>
                    <a:cubicBezTo>
                      <a:pt x="3352" y="845"/>
                      <a:pt x="3349" y="854"/>
                      <a:pt x="3327" y="849"/>
                    </a:cubicBezTo>
                    <a:cubicBezTo>
                      <a:pt x="3304" y="844"/>
                      <a:pt x="3296" y="838"/>
                      <a:pt x="3287" y="851"/>
                    </a:cubicBezTo>
                    <a:cubicBezTo>
                      <a:pt x="3278" y="864"/>
                      <a:pt x="3276" y="896"/>
                      <a:pt x="3264" y="896"/>
                    </a:cubicBezTo>
                    <a:cubicBezTo>
                      <a:pt x="3253" y="896"/>
                      <a:pt x="3239" y="898"/>
                      <a:pt x="3245" y="878"/>
                    </a:cubicBezTo>
                    <a:cubicBezTo>
                      <a:pt x="3252" y="858"/>
                      <a:pt x="3283" y="835"/>
                      <a:pt x="3283" y="812"/>
                    </a:cubicBezTo>
                    <a:cubicBezTo>
                      <a:pt x="3283" y="790"/>
                      <a:pt x="3280" y="795"/>
                      <a:pt x="3289" y="778"/>
                    </a:cubicBezTo>
                    <a:cubicBezTo>
                      <a:pt x="3299" y="761"/>
                      <a:pt x="3285" y="733"/>
                      <a:pt x="3314" y="730"/>
                    </a:cubicBezTo>
                    <a:cubicBezTo>
                      <a:pt x="3343" y="726"/>
                      <a:pt x="3372" y="740"/>
                      <a:pt x="3372" y="717"/>
                    </a:cubicBezTo>
                    <a:cubicBezTo>
                      <a:pt x="3372" y="693"/>
                      <a:pt x="3368" y="696"/>
                      <a:pt x="3386" y="690"/>
                    </a:cubicBezTo>
                    <a:cubicBezTo>
                      <a:pt x="3404" y="683"/>
                      <a:pt x="3422" y="675"/>
                      <a:pt x="3416" y="667"/>
                    </a:cubicBezTo>
                    <a:cubicBezTo>
                      <a:pt x="3410" y="660"/>
                      <a:pt x="3375" y="667"/>
                      <a:pt x="3378" y="655"/>
                    </a:cubicBezTo>
                    <a:cubicBezTo>
                      <a:pt x="3382" y="644"/>
                      <a:pt x="3396" y="639"/>
                      <a:pt x="3396" y="620"/>
                    </a:cubicBezTo>
                    <a:cubicBezTo>
                      <a:pt x="3396" y="601"/>
                      <a:pt x="3398" y="597"/>
                      <a:pt x="3409" y="595"/>
                    </a:cubicBezTo>
                    <a:cubicBezTo>
                      <a:pt x="3419" y="593"/>
                      <a:pt x="3433" y="591"/>
                      <a:pt x="3436" y="596"/>
                    </a:cubicBezTo>
                    <a:cubicBezTo>
                      <a:pt x="3440" y="602"/>
                      <a:pt x="3448" y="608"/>
                      <a:pt x="3465" y="606"/>
                    </a:cubicBezTo>
                    <a:cubicBezTo>
                      <a:pt x="3483" y="604"/>
                      <a:pt x="3496" y="602"/>
                      <a:pt x="3504" y="585"/>
                    </a:cubicBezTo>
                    <a:cubicBezTo>
                      <a:pt x="3513" y="567"/>
                      <a:pt x="3535" y="566"/>
                      <a:pt x="3521" y="557"/>
                    </a:cubicBezTo>
                    <a:cubicBezTo>
                      <a:pt x="3507" y="547"/>
                      <a:pt x="3501" y="549"/>
                      <a:pt x="3481" y="551"/>
                    </a:cubicBezTo>
                    <a:cubicBezTo>
                      <a:pt x="3460" y="553"/>
                      <a:pt x="3442" y="561"/>
                      <a:pt x="3427" y="552"/>
                    </a:cubicBezTo>
                    <a:cubicBezTo>
                      <a:pt x="3412" y="544"/>
                      <a:pt x="3414" y="546"/>
                      <a:pt x="3395" y="548"/>
                    </a:cubicBezTo>
                    <a:cubicBezTo>
                      <a:pt x="3375" y="550"/>
                      <a:pt x="3376" y="547"/>
                      <a:pt x="3368" y="564"/>
                    </a:cubicBezTo>
                    <a:cubicBezTo>
                      <a:pt x="3359" y="581"/>
                      <a:pt x="3345" y="594"/>
                      <a:pt x="3333" y="586"/>
                    </a:cubicBezTo>
                    <a:cubicBezTo>
                      <a:pt x="3321" y="577"/>
                      <a:pt x="3309" y="560"/>
                      <a:pt x="3330" y="549"/>
                    </a:cubicBezTo>
                    <a:cubicBezTo>
                      <a:pt x="3352" y="538"/>
                      <a:pt x="3355" y="538"/>
                      <a:pt x="3360" y="531"/>
                    </a:cubicBezTo>
                    <a:cubicBezTo>
                      <a:pt x="3366" y="523"/>
                      <a:pt x="3379" y="521"/>
                      <a:pt x="3399" y="522"/>
                    </a:cubicBezTo>
                    <a:cubicBezTo>
                      <a:pt x="3418" y="523"/>
                      <a:pt x="3424" y="520"/>
                      <a:pt x="3441" y="528"/>
                    </a:cubicBezTo>
                    <a:cubicBezTo>
                      <a:pt x="3458" y="535"/>
                      <a:pt x="3464" y="536"/>
                      <a:pt x="3477" y="530"/>
                    </a:cubicBezTo>
                    <a:cubicBezTo>
                      <a:pt x="3490" y="523"/>
                      <a:pt x="3503" y="524"/>
                      <a:pt x="3512" y="528"/>
                    </a:cubicBezTo>
                    <a:cubicBezTo>
                      <a:pt x="3520" y="531"/>
                      <a:pt x="3532" y="534"/>
                      <a:pt x="3559" y="524"/>
                    </a:cubicBezTo>
                    <a:cubicBezTo>
                      <a:pt x="3586" y="515"/>
                      <a:pt x="3582" y="511"/>
                      <a:pt x="3598" y="501"/>
                    </a:cubicBezTo>
                    <a:cubicBezTo>
                      <a:pt x="3614" y="490"/>
                      <a:pt x="3613" y="482"/>
                      <a:pt x="3591" y="482"/>
                    </a:cubicBezTo>
                    <a:cubicBezTo>
                      <a:pt x="3570" y="482"/>
                      <a:pt x="3555" y="479"/>
                      <a:pt x="3538" y="474"/>
                    </a:cubicBezTo>
                    <a:cubicBezTo>
                      <a:pt x="3520" y="468"/>
                      <a:pt x="3507" y="476"/>
                      <a:pt x="3495" y="481"/>
                    </a:cubicBezTo>
                    <a:cubicBezTo>
                      <a:pt x="3482" y="487"/>
                      <a:pt x="3454" y="494"/>
                      <a:pt x="3445" y="482"/>
                    </a:cubicBezTo>
                    <a:cubicBezTo>
                      <a:pt x="3436" y="471"/>
                      <a:pt x="3447" y="468"/>
                      <a:pt x="3462" y="466"/>
                    </a:cubicBezTo>
                    <a:cubicBezTo>
                      <a:pt x="3477" y="464"/>
                      <a:pt x="3486" y="467"/>
                      <a:pt x="3490" y="456"/>
                    </a:cubicBezTo>
                    <a:cubicBezTo>
                      <a:pt x="3495" y="444"/>
                      <a:pt x="3511" y="448"/>
                      <a:pt x="3527" y="452"/>
                    </a:cubicBezTo>
                    <a:cubicBezTo>
                      <a:pt x="3543" y="457"/>
                      <a:pt x="3594" y="471"/>
                      <a:pt x="3610" y="461"/>
                    </a:cubicBezTo>
                    <a:cubicBezTo>
                      <a:pt x="3625" y="451"/>
                      <a:pt x="3624" y="444"/>
                      <a:pt x="3647" y="444"/>
                    </a:cubicBezTo>
                    <a:cubicBezTo>
                      <a:pt x="3671" y="444"/>
                      <a:pt x="3713" y="442"/>
                      <a:pt x="3712" y="432"/>
                    </a:cubicBezTo>
                    <a:cubicBezTo>
                      <a:pt x="3711" y="422"/>
                      <a:pt x="3689" y="430"/>
                      <a:pt x="3689" y="413"/>
                    </a:cubicBezTo>
                    <a:cubicBezTo>
                      <a:pt x="3689" y="395"/>
                      <a:pt x="3693" y="396"/>
                      <a:pt x="3715" y="402"/>
                    </a:cubicBezTo>
                    <a:cubicBezTo>
                      <a:pt x="3736" y="407"/>
                      <a:pt x="3757" y="405"/>
                      <a:pt x="3766" y="392"/>
                    </a:cubicBezTo>
                    <a:cubicBezTo>
                      <a:pt x="3776" y="379"/>
                      <a:pt x="3791" y="364"/>
                      <a:pt x="3821" y="357"/>
                    </a:cubicBezTo>
                    <a:cubicBezTo>
                      <a:pt x="3851" y="349"/>
                      <a:pt x="3868" y="346"/>
                      <a:pt x="3866" y="336"/>
                    </a:cubicBezTo>
                    <a:cubicBezTo>
                      <a:pt x="3865" y="327"/>
                      <a:pt x="3873" y="324"/>
                      <a:pt x="3854" y="319"/>
                    </a:cubicBezTo>
                    <a:cubicBezTo>
                      <a:pt x="3834" y="314"/>
                      <a:pt x="3827" y="300"/>
                      <a:pt x="3809" y="300"/>
                    </a:cubicBezTo>
                    <a:cubicBezTo>
                      <a:pt x="3792" y="300"/>
                      <a:pt x="3755" y="293"/>
                      <a:pt x="3740" y="288"/>
                    </a:cubicBezTo>
                    <a:cubicBezTo>
                      <a:pt x="3725" y="282"/>
                      <a:pt x="3685" y="277"/>
                      <a:pt x="3671" y="277"/>
                    </a:cubicBezTo>
                    <a:cubicBezTo>
                      <a:pt x="3657" y="277"/>
                      <a:pt x="3619" y="274"/>
                      <a:pt x="3602" y="275"/>
                    </a:cubicBezTo>
                    <a:cubicBezTo>
                      <a:pt x="3585" y="276"/>
                      <a:pt x="3545" y="281"/>
                      <a:pt x="3535" y="291"/>
                    </a:cubicBezTo>
                    <a:cubicBezTo>
                      <a:pt x="3526" y="301"/>
                      <a:pt x="3525" y="306"/>
                      <a:pt x="3516" y="306"/>
                    </a:cubicBezTo>
                    <a:cubicBezTo>
                      <a:pt x="3507" y="306"/>
                      <a:pt x="3503" y="311"/>
                      <a:pt x="3502" y="318"/>
                    </a:cubicBezTo>
                    <a:cubicBezTo>
                      <a:pt x="3501" y="324"/>
                      <a:pt x="3506" y="334"/>
                      <a:pt x="3495" y="334"/>
                    </a:cubicBezTo>
                    <a:cubicBezTo>
                      <a:pt x="3483" y="334"/>
                      <a:pt x="3493" y="350"/>
                      <a:pt x="3477" y="350"/>
                    </a:cubicBezTo>
                    <a:cubicBezTo>
                      <a:pt x="3461" y="350"/>
                      <a:pt x="3454" y="338"/>
                      <a:pt x="3438" y="338"/>
                    </a:cubicBezTo>
                    <a:cubicBezTo>
                      <a:pt x="3421" y="338"/>
                      <a:pt x="3426" y="327"/>
                      <a:pt x="3404" y="331"/>
                    </a:cubicBezTo>
                    <a:cubicBezTo>
                      <a:pt x="3383" y="335"/>
                      <a:pt x="3381" y="333"/>
                      <a:pt x="3372" y="342"/>
                    </a:cubicBezTo>
                    <a:cubicBezTo>
                      <a:pt x="3363" y="350"/>
                      <a:pt x="3342" y="350"/>
                      <a:pt x="3345" y="338"/>
                    </a:cubicBezTo>
                    <a:cubicBezTo>
                      <a:pt x="3348" y="327"/>
                      <a:pt x="3370" y="315"/>
                      <a:pt x="3358" y="316"/>
                    </a:cubicBezTo>
                    <a:cubicBezTo>
                      <a:pt x="3346" y="317"/>
                      <a:pt x="3321" y="321"/>
                      <a:pt x="3311" y="332"/>
                    </a:cubicBezTo>
                    <a:cubicBezTo>
                      <a:pt x="3300" y="343"/>
                      <a:pt x="3280" y="352"/>
                      <a:pt x="3268" y="365"/>
                    </a:cubicBezTo>
                    <a:cubicBezTo>
                      <a:pt x="3256" y="378"/>
                      <a:pt x="3254" y="389"/>
                      <a:pt x="3233" y="388"/>
                    </a:cubicBezTo>
                    <a:cubicBezTo>
                      <a:pt x="3213" y="387"/>
                      <a:pt x="3205" y="399"/>
                      <a:pt x="3196" y="407"/>
                    </a:cubicBezTo>
                    <a:cubicBezTo>
                      <a:pt x="3186" y="416"/>
                      <a:pt x="3176" y="417"/>
                      <a:pt x="3158" y="429"/>
                    </a:cubicBezTo>
                    <a:cubicBezTo>
                      <a:pt x="3140" y="440"/>
                      <a:pt x="3142" y="445"/>
                      <a:pt x="3131" y="454"/>
                    </a:cubicBezTo>
                    <a:cubicBezTo>
                      <a:pt x="3120" y="464"/>
                      <a:pt x="3103" y="469"/>
                      <a:pt x="3101" y="465"/>
                    </a:cubicBezTo>
                    <a:cubicBezTo>
                      <a:pt x="3099" y="461"/>
                      <a:pt x="3121" y="448"/>
                      <a:pt x="3125" y="435"/>
                    </a:cubicBezTo>
                    <a:cubicBezTo>
                      <a:pt x="3128" y="422"/>
                      <a:pt x="3157" y="407"/>
                      <a:pt x="3169" y="394"/>
                    </a:cubicBezTo>
                    <a:cubicBezTo>
                      <a:pt x="3181" y="381"/>
                      <a:pt x="3212" y="373"/>
                      <a:pt x="3224" y="352"/>
                    </a:cubicBezTo>
                    <a:cubicBezTo>
                      <a:pt x="3235" y="332"/>
                      <a:pt x="3238" y="315"/>
                      <a:pt x="3238" y="294"/>
                    </a:cubicBezTo>
                    <a:cubicBezTo>
                      <a:pt x="3238" y="274"/>
                      <a:pt x="3241" y="263"/>
                      <a:pt x="3223" y="254"/>
                    </a:cubicBezTo>
                    <a:cubicBezTo>
                      <a:pt x="3204" y="246"/>
                      <a:pt x="3204" y="253"/>
                      <a:pt x="3184" y="253"/>
                    </a:cubicBezTo>
                    <a:cubicBezTo>
                      <a:pt x="3163" y="253"/>
                      <a:pt x="3113" y="252"/>
                      <a:pt x="3111" y="272"/>
                    </a:cubicBezTo>
                    <a:cubicBezTo>
                      <a:pt x="3109" y="291"/>
                      <a:pt x="3101" y="313"/>
                      <a:pt x="3084" y="311"/>
                    </a:cubicBezTo>
                    <a:cubicBezTo>
                      <a:pt x="3067" y="310"/>
                      <a:pt x="3038" y="313"/>
                      <a:pt x="3030" y="320"/>
                    </a:cubicBezTo>
                    <a:cubicBezTo>
                      <a:pt x="3023" y="328"/>
                      <a:pt x="2988" y="328"/>
                      <a:pt x="2972" y="333"/>
                    </a:cubicBezTo>
                    <a:cubicBezTo>
                      <a:pt x="2956" y="338"/>
                      <a:pt x="2947" y="347"/>
                      <a:pt x="2931" y="352"/>
                    </a:cubicBezTo>
                    <a:cubicBezTo>
                      <a:pt x="2915" y="358"/>
                      <a:pt x="2899" y="364"/>
                      <a:pt x="2893" y="358"/>
                    </a:cubicBezTo>
                    <a:cubicBezTo>
                      <a:pt x="2886" y="351"/>
                      <a:pt x="2891" y="339"/>
                      <a:pt x="2909" y="336"/>
                    </a:cubicBezTo>
                    <a:cubicBezTo>
                      <a:pt x="2926" y="333"/>
                      <a:pt x="2945" y="330"/>
                      <a:pt x="2956" y="321"/>
                    </a:cubicBezTo>
                    <a:cubicBezTo>
                      <a:pt x="2967" y="313"/>
                      <a:pt x="3000" y="314"/>
                      <a:pt x="3014" y="304"/>
                    </a:cubicBezTo>
                    <a:cubicBezTo>
                      <a:pt x="3028" y="294"/>
                      <a:pt x="3041" y="292"/>
                      <a:pt x="3031" y="279"/>
                    </a:cubicBezTo>
                    <a:cubicBezTo>
                      <a:pt x="3022" y="266"/>
                      <a:pt x="3019" y="268"/>
                      <a:pt x="2991" y="264"/>
                    </a:cubicBezTo>
                    <a:cubicBezTo>
                      <a:pt x="2963" y="260"/>
                      <a:pt x="2925" y="260"/>
                      <a:pt x="2896" y="260"/>
                    </a:cubicBezTo>
                    <a:cubicBezTo>
                      <a:pt x="2867" y="260"/>
                      <a:pt x="2824" y="261"/>
                      <a:pt x="2803" y="265"/>
                    </a:cubicBezTo>
                    <a:cubicBezTo>
                      <a:pt x="2783" y="270"/>
                      <a:pt x="2770" y="274"/>
                      <a:pt x="2743" y="276"/>
                    </a:cubicBezTo>
                    <a:cubicBezTo>
                      <a:pt x="2716" y="278"/>
                      <a:pt x="2688" y="277"/>
                      <a:pt x="2670" y="282"/>
                    </a:cubicBezTo>
                    <a:cubicBezTo>
                      <a:pt x="2652" y="288"/>
                      <a:pt x="2623" y="291"/>
                      <a:pt x="2608" y="295"/>
                    </a:cubicBezTo>
                    <a:cubicBezTo>
                      <a:pt x="2593" y="300"/>
                      <a:pt x="2582" y="301"/>
                      <a:pt x="2571" y="306"/>
                    </a:cubicBezTo>
                    <a:cubicBezTo>
                      <a:pt x="2560" y="311"/>
                      <a:pt x="2539" y="310"/>
                      <a:pt x="2538" y="300"/>
                    </a:cubicBezTo>
                    <a:cubicBezTo>
                      <a:pt x="2537" y="289"/>
                      <a:pt x="2541" y="278"/>
                      <a:pt x="2560" y="278"/>
                    </a:cubicBezTo>
                    <a:cubicBezTo>
                      <a:pt x="2580" y="278"/>
                      <a:pt x="2647" y="268"/>
                      <a:pt x="2655" y="264"/>
                    </a:cubicBezTo>
                    <a:cubicBezTo>
                      <a:pt x="2662" y="260"/>
                      <a:pt x="2723" y="251"/>
                      <a:pt x="2739" y="244"/>
                    </a:cubicBezTo>
                    <a:cubicBezTo>
                      <a:pt x="2755" y="236"/>
                      <a:pt x="2824" y="235"/>
                      <a:pt x="2861" y="237"/>
                    </a:cubicBezTo>
                    <a:cubicBezTo>
                      <a:pt x="2899" y="239"/>
                      <a:pt x="3034" y="247"/>
                      <a:pt x="3060" y="239"/>
                    </a:cubicBezTo>
                    <a:cubicBezTo>
                      <a:pt x="3086" y="232"/>
                      <a:pt x="3099" y="222"/>
                      <a:pt x="3133" y="221"/>
                    </a:cubicBezTo>
                    <a:cubicBezTo>
                      <a:pt x="3168" y="220"/>
                      <a:pt x="3217" y="209"/>
                      <a:pt x="3239" y="195"/>
                    </a:cubicBezTo>
                    <a:cubicBezTo>
                      <a:pt x="3260" y="181"/>
                      <a:pt x="3295" y="175"/>
                      <a:pt x="3266" y="164"/>
                    </a:cubicBezTo>
                    <a:cubicBezTo>
                      <a:pt x="3237" y="153"/>
                      <a:pt x="3218" y="143"/>
                      <a:pt x="3200" y="142"/>
                    </a:cubicBezTo>
                    <a:cubicBezTo>
                      <a:pt x="3182" y="141"/>
                      <a:pt x="3174" y="149"/>
                      <a:pt x="3166" y="141"/>
                    </a:cubicBezTo>
                    <a:cubicBezTo>
                      <a:pt x="3157" y="132"/>
                      <a:pt x="3148" y="127"/>
                      <a:pt x="3139" y="134"/>
                    </a:cubicBezTo>
                    <a:cubicBezTo>
                      <a:pt x="3129" y="142"/>
                      <a:pt x="3121" y="149"/>
                      <a:pt x="3114" y="141"/>
                    </a:cubicBezTo>
                    <a:cubicBezTo>
                      <a:pt x="3106" y="132"/>
                      <a:pt x="3103" y="124"/>
                      <a:pt x="3088" y="123"/>
                    </a:cubicBezTo>
                    <a:cubicBezTo>
                      <a:pt x="3073" y="122"/>
                      <a:pt x="3070" y="117"/>
                      <a:pt x="3061" y="128"/>
                    </a:cubicBezTo>
                    <a:cubicBezTo>
                      <a:pt x="3053" y="138"/>
                      <a:pt x="3039" y="142"/>
                      <a:pt x="3039" y="131"/>
                    </a:cubicBezTo>
                    <a:cubicBezTo>
                      <a:pt x="3039" y="120"/>
                      <a:pt x="3054" y="113"/>
                      <a:pt x="3051" y="102"/>
                    </a:cubicBezTo>
                    <a:cubicBezTo>
                      <a:pt x="3047" y="91"/>
                      <a:pt x="3048" y="78"/>
                      <a:pt x="3031" y="79"/>
                    </a:cubicBezTo>
                    <a:cubicBezTo>
                      <a:pt x="3014" y="80"/>
                      <a:pt x="2994" y="87"/>
                      <a:pt x="2979" y="91"/>
                    </a:cubicBezTo>
                    <a:cubicBezTo>
                      <a:pt x="2963" y="95"/>
                      <a:pt x="2943" y="96"/>
                      <a:pt x="2920" y="99"/>
                    </a:cubicBezTo>
                    <a:cubicBezTo>
                      <a:pt x="2898" y="101"/>
                      <a:pt x="2852" y="102"/>
                      <a:pt x="2834" y="100"/>
                    </a:cubicBezTo>
                    <a:cubicBezTo>
                      <a:pt x="2817" y="98"/>
                      <a:pt x="2794" y="92"/>
                      <a:pt x="2775" y="91"/>
                    </a:cubicBezTo>
                    <a:cubicBezTo>
                      <a:pt x="2757" y="90"/>
                      <a:pt x="2713" y="94"/>
                      <a:pt x="2693" y="98"/>
                    </a:cubicBezTo>
                    <a:cubicBezTo>
                      <a:pt x="2672" y="101"/>
                      <a:pt x="2651" y="104"/>
                      <a:pt x="2638" y="110"/>
                    </a:cubicBezTo>
                    <a:cubicBezTo>
                      <a:pt x="2625" y="117"/>
                      <a:pt x="2599" y="117"/>
                      <a:pt x="2580" y="115"/>
                    </a:cubicBezTo>
                    <a:cubicBezTo>
                      <a:pt x="2560" y="113"/>
                      <a:pt x="2525" y="113"/>
                      <a:pt x="2512" y="121"/>
                    </a:cubicBezTo>
                    <a:cubicBezTo>
                      <a:pt x="2499" y="130"/>
                      <a:pt x="2479" y="123"/>
                      <a:pt x="2461" y="122"/>
                    </a:cubicBezTo>
                    <a:cubicBezTo>
                      <a:pt x="2444" y="121"/>
                      <a:pt x="2392" y="152"/>
                      <a:pt x="2387" y="138"/>
                    </a:cubicBezTo>
                    <a:cubicBezTo>
                      <a:pt x="2383" y="124"/>
                      <a:pt x="2377" y="123"/>
                      <a:pt x="2398" y="119"/>
                    </a:cubicBezTo>
                    <a:cubicBezTo>
                      <a:pt x="2420" y="115"/>
                      <a:pt x="2446" y="107"/>
                      <a:pt x="2464" y="110"/>
                    </a:cubicBezTo>
                    <a:cubicBezTo>
                      <a:pt x="2481" y="114"/>
                      <a:pt x="2499" y="119"/>
                      <a:pt x="2510" y="110"/>
                    </a:cubicBezTo>
                    <a:cubicBezTo>
                      <a:pt x="2521" y="102"/>
                      <a:pt x="2545" y="100"/>
                      <a:pt x="2566" y="100"/>
                    </a:cubicBezTo>
                    <a:cubicBezTo>
                      <a:pt x="2586" y="100"/>
                      <a:pt x="2615" y="105"/>
                      <a:pt x="2637" y="96"/>
                    </a:cubicBezTo>
                    <a:cubicBezTo>
                      <a:pt x="2658" y="88"/>
                      <a:pt x="2685" y="85"/>
                      <a:pt x="2710" y="81"/>
                    </a:cubicBezTo>
                    <a:cubicBezTo>
                      <a:pt x="2734" y="78"/>
                      <a:pt x="2790" y="79"/>
                      <a:pt x="2818" y="82"/>
                    </a:cubicBezTo>
                    <a:cubicBezTo>
                      <a:pt x="2846" y="86"/>
                      <a:pt x="2943" y="84"/>
                      <a:pt x="2961" y="78"/>
                    </a:cubicBezTo>
                    <a:cubicBezTo>
                      <a:pt x="2980" y="73"/>
                      <a:pt x="3008" y="62"/>
                      <a:pt x="2989" y="53"/>
                    </a:cubicBezTo>
                    <a:cubicBezTo>
                      <a:pt x="2971" y="45"/>
                      <a:pt x="2961" y="45"/>
                      <a:pt x="2951" y="45"/>
                    </a:cubicBezTo>
                    <a:cubicBezTo>
                      <a:pt x="2940" y="45"/>
                      <a:pt x="2932" y="34"/>
                      <a:pt x="2912" y="33"/>
                    </a:cubicBezTo>
                    <a:cubicBezTo>
                      <a:pt x="2891" y="32"/>
                      <a:pt x="2897" y="23"/>
                      <a:pt x="2876" y="26"/>
                    </a:cubicBezTo>
                    <a:cubicBezTo>
                      <a:pt x="2856" y="28"/>
                      <a:pt x="2832" y="35"/>
                      <a:pt x="2815" y="31"/>
                    </a:cubicBezTo>
                    <a:cubicBezTo>
                      <a:pt x="2798" y="27"/>
                      <a:pt x="2779" y="15"/>
                      <a:pt x="2760" y="15"/>
                    </a:cubicBezTo>
                    <a:cubicBezTo>
                      <a:pt x="2742" y="15"/>
                      <a:pt x="2704" y="9"/>
                      <a:pt x="2680" y="10"/>
                    </a:cubicBezTo>
                    <a:cubicBezTo>
                      <a:pt x="2655" y="12"/>
                      <a:pt x="2597" y="9"/>
                      <a:pt x="2580" y="6"/>
                    </a:cubicBezTo>
                    <a:cubicBezTo>
                      <a:pt x="2562" y="3"/>
                      <a:pt x="2562" y="0"/>
                      <a:pt x="2540" y="0"/>
                    </a:cubicBezTo>
                    <a:cubicBezTo>
                      <a:pt x="2517" y="0"/>
                      <a:pt x="2499" y="5"/>
                      <a:pt x="2493" y="14"/>
                    </a:cubicBezTo>
                    <a:cubicBezTo>
                      <a:pt x="2486" y="22"/>
                      <a:pt x="2467" y="28"/>
                      <a:pt x="2456" y="17"/>
                    </a:cubicBezTo>
                    <a:cubicBezTo>
                      <a:pt x="2445" y="6"/>
                      <a:pt x="2435" y="10"/>
                      <a:pt x="2409" y="14"/>
                    </a:cubicBezTo>
                    <a:cubicBezTo>
                      <a:pt x="2383" y="17"/>
                      <a:pt x="2306" y="8"/>
                      <a:pt x="2307" y="17"/>
                    </a:cubicBezTo>
                    <a:cubicBezTo>
                      <a:pt x="2308" y="26"/>
                      <a:pt x="2308" y="42"/>
                      <a:pt x="2280" y="34"/>
                    </a:cubicBezTo>
                    <a:cubicBezTo>
                      <a:pt x="2252" y="27"/>
                      <a:pt x="2239" y="16"/>
                      <a:pt x="2234" y="27"/>
                    </a:cubicBezTo>
                    <a:cubicBezTo>
                      <a:pt x="2228" y="37"/>
                      <a:pt x="2227" y="50"/>
                      <a:pt x="2211" y="39"/>
                    </a:cubicBezTo>
                    <a:cubicBezTo>
                      <a:pt x="2195" y="29"/>
                      <a:pt x="2172" y="27"/>
                      <a:pt x="2172" y="38"/>
                    </a:cubicBezTo>
                    <a:cubicBezTo>
                      <a:pt x="2172" y="50"/>
                      <a:pt x="2174" y="65"/>
                      <a:pt x="2185" y="69"/>
                    </a:cubicBezTo>
                    <a:cubicBezTo>
                      <a:pt x="2196" y="72"/>
                      <a:pt x="2242" y="71"/>
                      <a:pt x="2242" y="78"/>
                    </a:cubicBezTo>
                    <a:cubicBezTo>
                      <a:pt x="2242" y="86"/>
                      <a:pt x="2221" y="90"/>
                      <a:pt x="2211" y="90"/>
                    </a:cubicBezTo>
                    <a:cubicBezTo>
                      <a:pt x="2201" y="90"/>
                      <a:pt x="2199" y="98"/>
                      <a:pt x="2181" y="100"/>
                    </a:cubicBezTo>
                    <a:cubicBezTo>
                      <a:pt x="2163" y="102"/>
                      <a:pt x="2149" y="105"/>
                      <a:pt x="2158" y="113"/>
                    </a:cubicBezTo>
                    <a:cubicBezTo>
                      <a:pt x="2168" y="120"/>
                      <a:pt x="2184" y="128"/>
                      <a:pt x="2174" y="132"/>
                    </a:cubicBezTo>
                    <a:cubicBezTo>
                      <a:pt x="2165" y="136"/>
                      <a:pt x="2165" y="129"/>
                      <a:pt x="2148" y="123"/>
                    </a:cubicBezTo>
                    <a:cubicBezTo>
                      <a:pt x="2130" y="118"/>
                      <a:pt x="2113" y="113"/>
                      <a:pt x="2129" y="100"/>
                    </a:cubicBezTo>
                    <a:cubicBezTo>
                      <a:pt x="2145" y="87"/>
                      <a:pt x="2153" y="86"/>
                      <a:pt x="2163" y="86"/>
                    </a:cubicBezTo>
                    <a:cubicBezTo>
                      <a:pt x="2172" y="86"/>
                      <a:pt x="2178" y="73"/>
                      <a:pt x="2160" y="73"/>
                    </a:cubicBezTo>
                    <a:cubicBezTo>
                      <a:pt x="2143" y="73"/>
                      <a:pt x="2129" y="65"/>
                      <a:pt x="2119" y="59"/>
                    </a:cubicBezTo>
                    <a:cubicBezTo>
                      <a:pt x="2108" y="52"/>
                      <a:pt x="2096" y="52"/>
                      <a:pt x="2082" y="53"/>
                    </a:cubicBezTo>
                    <a:cubicBezTo>
                      <a:pt x="2068" y="55"/>
                      <a:pt x="2062" y="58"/>
                      <a:pt x="2056" y="61"/>
                    </a:cubicBezTo>
                    <a:cubicBezTo>
                      <a:pt x="2051" y="64"/>
                      <a:pt x="2060" y="69"/>
                      <a:pt x="2078" y="69"/>
                    </a:cubicBezTo>
                    <a:cubicBezTo>
                      <a:pt x="2095" y="69"/>
                      <a:pt x="2099" y="63"/>
                      <a:pt x="2100" y="71"/>
                    </a:cubicBezTo>
                    <a:cubicBezTo>
                      <a:pt x="2101" y="78"/>
                      <a:pt x="2072" y="74"/>
                      <a:pt x="2071" y="81"/>
                    </a:cubicBezTo>
                    <a:cubicBezTo>
                      <a:pt x="2070" y="89"/>
                      <a:pt x="2057" y="90"/>
                      <a:pt x="2051" y="84"/>
                    </a:cubicBezTo>
                    <a:cubicBezTo>
                      <a:pt x="2044" y="77"/>
                      <a:pt x="2025" y="75"/>
                      <a:pt x="2020" y="77"/>
                    </a:cubicBezTo>
                    <a:cubicBezTo>
                      <a:pt x="2014" y="79"/>
                      <a:pt x="2003" y="90"/>
                      <a:pt x="1994" y="85"/>
                    </a:cubicBezTo>
                    <a:cubicBezTo>
                      <a:pt x="1984" y="79"/>
                      <a:pt x="1994" y="74"/>
                      <a:pt x="1974" y="69"/>
                    </a:cubicBezTo>
                    <a:cubicBezTo>
                      <a:pt x="1955" y="63"/>
                      <a:pt x="1921" y="59"/>
                      <a:pt x="1904" y="61"/>
                    </a:cubicBezTo>
                    <a:cubicBezTo>
                      <a:pt x="1886" y="63"/>
                      <a:pt x="1869" y="79"/>
                      <a:pt x="1843" y="79"/>
                    </a:cubicBezTo>
                    <a:cubicBezTo>
                      <a:pt x="1818" y="79"/>
                      <a:pt x="1773" y="78"/>
                      <a:pt x="1767" y="84"/>
                    </a:cubicBezTo>
                    <a:cubicBezTo>
                      <a:pt x="1761" y="89"/>
                      <a:pt x="1773" y="92"/>
                      <a:pt x="1784" y="101"/>
                    </a:cubicBezTo>
                    <a:cubicBezTo>
                      <a:pt x="1795" y="109"/>
                      <a:pt x="1797" y="118"/>
                      <a:pt x="1778" y="112"/>
                    </a:cubicBezTo>
                    <a:cubicBezTo>
                      <a:pt x="1758" y="105"/>
                      <a:pt x="1745" y="98"/>
                      <a:pt x="1725" y="92"/>
                    </a:cubicBezTo>
                    <a:cubicBezTo>
                      <a:pt x="1705" y="87"/>
                      <a:pt x="1708" y="91"/>
                      <a:pt x="1691" y="98"/>
                    </a:cubicBezTo>
                    <a:cubicBezTo>
                      <a:pt x="1673" y="104"/>
                      <a:pt x="1664" y="115"/>
                      <a:pt x="1680" y="119"/>
                    </a:cubicBezTo>
                    <a:cubicBezTo>
                      <a:pt x="1696" y="123"/>
                      <a:pt x="1726" y="139"/>
                      <a:pt x="1733" y="130"/>
                    </a:cubicBezTo>
                    <a:cubicBezTo>
                      <a:pt x="1739" y="120"/>
                      <a:pt x="1753" y="127"/>
                      <a:pt x="1769" y="125"/>
                    </a:cubicBezTo>
                    <a:cubicBezTo>
                      <a:pt x="1785" y="124"/>
                      <a:pt x="1811" y="123"/>
                      <a:pt x="1835" y="127"/>
                    </a:cubicBezTo>
                    <a:cubicBezTo>
                      <a:pt x="1858" y="130"/>
                      <a:pt x="1891" y="130"/>
                      <a:pt x="1922" y="130"/>
                    </a:cubicBezTo>
                    <a:cubicBezTo>
                      <a:pt x="1953" y="130"/>
                      <a:pt x="1977" y="129"/>
                      <a:pt x="1998" y="136"/>
                    </a:cubicBezTo>
                    <a:cubicBezTo>
                      <a:pt x="2020" y="144"/>
                      <a:pt x="2026" y="138"/>
                      <a:pt x="2043" y="144"/>
                    </a:cubicBezTo>
                    <a:cubicBezTo>
                      <a:pt x="2060" y="149"/>
                      <a:pt x="2093" y="152"/>
                      <a:pt x="2099" y="163"/>
                    </a:cubicBezTo>
                    <a:cubicBezTo>
                      <a:pt x="2106" y="174"/>
                      <a:pt x="2112" y="189"/>
                      <a:pt x="2101" y="191"/>
                    </a:cubicBezTo>
                    <a:cubicBezTo>
                      <a:pt x="2091" y="193"/>
                      <a:pt x="2092" y="175"/>
                      <a:pt x="2078" y="174"/>
                    </a:cubicBezTo>
                    <a:cubicBezTo>
                      <a:pt x="2064" y="173"/>
                      <a:pt x="2065" y="166"/>
                      <a:pt x="2042" y="160"/>
                    </a:cubicBezTo>
                    <a:cubicBezTo>
                      <a:pt x="2020" y="153"/>
                      <a:pt x="2007" y="150"/>
                      <a:pt x="1998" y="152"/>
                    </a:cubicBezTo>
                    <a:cubicBezTo>
                      <a:pt x="1990" y="155"/>
                      <a:pt x="2003" y="176"/>
                      <a:pt x="1992" y="176"/>
                    </a:cubicBezTo>
                    <a:cubicBezTo>
                      <a:pt x="1980" y="176"/>
                      <a:pt x="1982" y="153"/>
                      <a:pt x="1966" y="147"/>
                    </a:cubicBezTo>
                    <a:cubicBezTo>
                      <a:pt x="1950" y="141"/>
                      <a:pt x="1925" y="142"/>
                      <a:pt x="1909" y="142"/>
                    </a:cubicBezTo>
                    <a:cubicBezTo>
                      <a:pt x="1893" y="142"/>
                      <a:pt x="1830" y="144"/>
                      <a:pt x="1810" y="144"/>
                    </a:cubicBezTo>
                    <a:cubicBezTo>
                      <a:pt x="1790" y="144"/>
                      <a:pt x="1751" y="136"/>
                      <a:pt x="1754" y="146"/>
                    </a:cubicBezTo>
                    <a:cubicBezTo>
                      <a:pt x="1757" y="156"/>
                      <a:pt x="1769" y="160"/>
                      <a:pt x="1786" y="166"/>
                    </a:cubicBezTo>
                    <a:cubicBezTo>
                      <a:pt x="1804" y="173"/>
                      <a:pt x="1822" y="176"/>
                      <a:pt x="1829" y="186"/>
                    </a:cubicBezTo>
                    <a:cubicBezTo>
                      <a:pt x="1837" y="195"/>
                      <a:pt x="1863" y="193"/>
                      <a:pt x="1863" y="202"/>
                    </a:cubicBezTo>
                    <a:cubicBezTo>
                      <a:pt x="1863" y="210"/>
                      <a:pt x="1855" y="217"/>
                      <a:pt x="1845" y="213"/>
                    </a:cubicBezTo>
                    <a:cubicBezTo>
                      <a:pt x="1836" y="208"/>
                      <a:pt x="1818" y="214"/>
                      <a:pt x="1810" y="204"/>
                    </a:cubicBezTo>
                    <a:cubicBezTo>
                      <a:pt x="1802" y="194"/>
                      <a:pt x="1788" y="184"/>
                      <a:pt x="1773" y="179"/>
                    </a:cubicBezTo>
                    <a:cubicBezTo>
                      <a:pt x="1758" y="175"/>
                      <a:pt x="1744" y="167"/>
                      <a:pt x="1732" y="164"/>
                    </a:cubicBezTo>
                    <a:cubicBezTo>
                      <a:pt x="1719" y="161"/>
                      <a:pt x="1692" y="155"/>
                      <a:pt x="1675" y="155"/>
                    </a:cubicBezTo>
                    <a:cubicBezTo>
                      <a:pt x="1657" y="155"/>
                      <a:pt x="1610" y="158"/>
                      <a:pt x="1625" y="167"/>
                    </a:cubicBezTo>
                    <a:cubicBezTo>
                      <a:pt x="1640" y="177"/>
                      <a:pt x="1651" y="204"/>
                      <a:pt x="1670" y="207"/>
                    </a:cubicBezTo>
                    <a:cubicBezTo>
                      <a:pt x="1690" y="210"/>
                      <a:pt x="1691" y="221"/>
                      <a:pt x="1712" y="221"/>
                    </a:cubicBezTo>
                    <a:cubicBezTo>
                      <a:pt x="1734" y="221"/>
                      <a:pt x="1754" y="242"/>
                      <a:pt x="1765" y="245"/>
                    </a:cubicBezTo>
                    <a:cubicBezTo>
                      <a:pt x="1776" y="248"/>
                      <a:pt x="1807" y="252"/>
                      <a:pt x="1788" y="238"/>
                    </a:cubicBezTo>
                    <a:cubicBezTo>
                      <a:pt x="1770" y="224"/>
                      <a:pt x="1779" y="214"/>
                      <a:pt x="1792" y="218"/>
                    </a:cubicBezTo>
                    <a:cubicBezTo>
                      <a:pt x="1805" y="222"/>
                      <a:pt x="1796" y="227"/>
                      <a:pt x="1806" y="238"/>
                    </a:cubicBezTo>
                    <a:cubicBezTo>
                      <a:pt x="1815" y="250"/>
                      <a:pt x="1804" y="259"/>
                      <a:pt x="1809" y="267"/>
                    </a:cubicBezTo>
                    <a:cubicBezTo>
                      <a:pt x="1814" y="276"/>
                      <a:pt x="1813" y="299"/>
                      <a:pt x="1799" y="299"/>
                    </a:cubicBezTo>
                    <a:cubicBezTo>
                      <a:pt x="1785" y="299"/>
                      <a:pt x="1752" y="276"/>
                      <a:pt x="1737" y="271"/>
                    </a:cubicBezTo>
                    <a:cubicBezTo>
                      <a:pt x="1722" y="265"/>
                      <a:pt x="1718" y="249"/>
                      <a:pt x="1691" y="248"/>
                    </a:cubicBezTo>
                    <a:cubicBezTo>
                      <a:pt x="1664" y="247"/>
                      <a:pt x="1653" y="242"/>
                      <a:pt x="1632" y="233"/>
                    </a:cubicBezTo>
                    <a:cubicBezTo>
                      <a:pt x="1610" y="224"/>
                      <a:pt x="1595" y="221"/>
                      <a:pt x="1577" y="215"/>
                    </a:cubicBezTo>
                    <a:cubicBezTo>
                      <a:pt x="1558" y="208"/>
                      <a:pt x="1556" y="209"/>
                      <a:pt x="1537" y="200"/>
                    </a:cubicBezTo>
                    <a:cubicBezTo>
                      <a:pt x="1518" y="190"/>
                      <a:pt x="1512" y="181"/>
                      <a:pt x="1478" y="181"/>
                    </a:cubicBezTo>
                    <a:cubicBezTo>
                      <a:pt x="1443" y="181"/>
                      <a:pt x="1408" y="176"/>
                      <a:pt x="1400" y="185"/>
                    </a:cubicBezTo>
                    <a:cubicBezTo>
                      <a:pt x="1393" y="193"/>
                      <a:pt x="1413" y="201"/>
                      <a:pt x="1417" y="211"/>
                    </a:cubicBezTo>
                    <a:cubicBezTo>
                      <a:pt x="1420" y="222"/>
                      <a:pt x="1425" y="235"/>
                      <a:pt x="1437" y="241"/>
                    </a:cubicBezTo>
                    <a:cubicBezTo>
                      <a:pt x="1449" y="246"/>
                      <a:pt x="1448" y="263"/>
                      <a:pt x="1465" y="263"/>
                    </a:cubicBezTo>
                    <a:cubicBezTo>
                      <a:pt x="1482" y="263"/>
                      <a:pt x="1493" y="268"/>
                      <a:pt x="1487" y="276"/>
                    </a:cubicBezTo>
                    <a:cubicBezTo>
                      <a:pt x="1482" y="284"/>
                      <a:pt x="1466" y="277"/>
                      <a:pt x="1451" y="276"/>
                    </a:cubicBezTo>
                    <a:cubicBezTo>
                      <a:pt x="1436" y="275"/>
                      <a:pt x="1417" y="266"/>
                      <a:pt x="1409" y="277"/>
                    </a:cubicBezTo>
                    <a:cubicBezTo>
                      <a:pt x="1401" y="288"/>
                      <a:pt x="1398" y="281"/>
                      <a:pt x="1377" y="276"/>
                    </a:cubicBezTo>
                    <a:cubicBezTo>
                      <a:pt x="1355" y="271"/>
                      <a:pt x="1360" y="263"/>
                      <a:pt x="1372" y="261"/>
                    </a:cubicBezTo>
                    <a:cubicBezTo>
                      <a:pt x="1385" y="259"/>
                      <a:pt x="1380" y="245"/>
                      <a:pt x="1361" y="241"/>
                    </a:cubicBezTo>
                    <a:cubicBezTo>
                      <a:pt x="1341" y="236"/>
                      <a:pt x="1324" y="237"/>
                      <a:pt x="1307" y="225"/>
                    </a:cubicBezTo>
                    <a:cubicBezTo>
                      <a:pt x="1290" y="214"/>
                      <a:pt x="1275" y="201"/>
                      <a:pt x="1264" y="209"/>
                    </a:cubicBezTo>
                    <a:cubicBezTo>
                      <a:pt x="1253" y="218"/>
                      <a:pt x="1242" y="221"/>
                      <a:pt x="1261" y="238"/>
                    </a:cubicBezTo>
                    <a:cubicBezTo>
                      <a:pt x="1279" y="256"/>
                      <a:pt x="1281" y="264"/>
                      <a:pt x="1269" y="272"/>
                    </a:cubicBezTo>
                    <a:cubicBezTo>
                      <a:pt x="1257" y="279"/>
                      <a:pt x="1277" y="289"/>
                      <a:pt x="1262" y="297"/>
                    </a:cubicBezTo>
                    <a:cubicBezTo>
                      <a:pt x="1247" y="306"/>
                      <a:pt x="1248" y="334"/>
                      <a:pt x="1236" y="332"/>
                    </a:cubicBezTo>
                    <a:cubicBezTo>
                      <a:pt x="1224" y="330"/>
                      <a:pt x="1223" y="325"/>
                      <a:pt x="1222" y="316"/>
                    </a:cubicBezTo>
                    <a:cubicBezTo>
                      <a:pt x="1221" y="306"/>
                      <a:pt x="1219" y="307"/>
                      <a:pt x="1232" y="294"/>
                    </a:cubicBezTo>
                    <a:cubicBezTo>
                      <a:pt x="1245" y="281"/>
                      <a:pt x="1246" y="273"/>
                      <a:pt x="1240" y="262"/>
                    </a:cubicBezTo>
                    <a:cubicBezTo>
                      <a:pt x="1235" y="251"/>
                      <a:pt x="1245" y="239"/>
                      <a:pt x="1224" y="232"/>
                    </a:cubicBezTo>
                    <a:cubicBezTo>
                      <a:pt x="1204" y="224"/>
                      <a:pt x="1206" y="207"/>
                      <a:pt x="1188" y="207"/>
                    </a:cubicBezTo>
                    <a:cubicBezTo>
                      <a:pt x="1169" y="207"/>
                      <a:pt x="1134" y="200"/>
                      <a:pt x="1124" y="211"/>
                    </a:cubicBezTo>
                    <a:cubicBezTo>
                      <a:pt x="1114" y="223"/>
                      <a:pt x="1090" y="219"/>
                      <a:pt x="1077" y="222"/>
                    </a:cubicBezTo>
                    <a:cubicBezTo>
                      <a:pt x="1064" y="225"/>
                      <a:pt x="1061" y="234"/>
                      <a:pt x="1045" y="230"/>
                    </a:cubicBezTo>
                    <a:cubicBezTo>
                      <a:pt x="1028" y="225"/>
                      <a:pt x="997" y="236"/>
                      <a:pt x="987" y="236"/>
                    </a:cubicBezTo>
                    <a:cubicBezTo>
                      <a:pt x="976" y="236"/>
                      <a:pt x="960" y="237"/>
                      <a:pt x="942" y="241"/>
                    </a:cubicBezTo>
                    <a:cubicBezTo>
                      <a:pt x="925" y="244"/>
                      <a:pt x="911" y="248"/>
                      <a:pt x="894" y="250"/>
                    </a:cubicBezTo>
                    <a:cubicBezTo>
                      <a:pt x="877" y="252"/>
                      <a:pt x="856" y="259"/>
                      <a:pt x="884" y="268"/>
                    </a:cubicBezTo>
                    <a:cubicBezTo>
                      <a:pt x="912" y="278"/>
                      <a:pt x="915" y="268"/>
                      <a:pt x="924" y="281"/>
                    </a:cubicBezTo>
                    <a:cubicBezTo>
                      <a:pt x="934" y="294"/>
                      <a:pt x="939" y="304"/>
                      <a:pt x="950" y="310"/>
                    </a:cubicBezTo>
                    <a:cubicBezTo>
                      <a:pt x="961" y="317"/>
                      <a:pt x="954" y="321"/>
                      <a:pt x="941" y="323"/>
                    </a:cubicBezTo>
                    <a:cubicBezTo>
                      <a:pt x="928" y="325"/>
                      <a:pt x="922" y="311"/>
                      <a:pt x="912" y="304"/>
                    </a:cubicBezTo>
                    <a:cubicBezTo>
                      <a:pt x="903" y="296"/>
                      <a:pt x="902" y="281"/>
                      <a:pt x="889" y="281"/>
                    </a:cubicBezTo>
                    <a:cubicBezTo>
                      <a:pt x="876" y="281"/>
                      <a:pt x="887" y="286"/>
                      <a:pt x="862" y="279"/>
                    </a:cubicBezTo>
                    <a:cubicBezTo>
                      <a:pt x="837" y="273"/>
                      <a:pt x="834" y="263"/>
                      <a:pt x="818" y="266"/>
                    </a:cubicBezTo>
                    <a:cubicBezTo>
                      <a:pt x="802" y="270"/>
                      <a:pt x="787" y="273"/>
                      <a:pt x="776" y="279"/>
                    </a:cubicBezTo>
                    <a:cubicBezTo>
                      <a:pt x="765" y="286"/>
                      <a:pt x="733" y="280"/>
                      <a:pt x="735" y="294"/>
                    </a:cubicBezTo>
                    <a:cubicBezTo>
                      <a:pt x="737" y="308"/>
                      <a:pt x="739" y="317"/>
                      <a:pt x="752" y="321"/>
                    </a:cubicBezTo>
                    <a:cubicBezTo>
                      <a:pt x="765" y="325"/>
                      <a:pt x="782" y="331"/>
                      <a:pt x="772" y="343"/>
                    </a:cubicBezTo>
                    <a:cubicBezTo>
                      <a:pt x="761" y="354"/>
                      <a:pt x="750" y="356"/>
                      <a:pt x="753" y="363"/>
                    </a:cubicBezTo>
                    <a:cubicBezTo>
                      <a:pt x="756" y="371"/>
                      <a:pt x="772" y="383"/>
                      <a:pt x="763" y="390"/>
                    </a:cubicBezTo>
                    <a:cubicBezTo>
                      <a:pt x="754" y="396"/>
                      <a:pt x="743" y="405"/>
                      <a:pt x="725" y="399"/>
                    </a:cubicBezTo>
                    <a:cubicBezTo>
                      <a:pt x="708" y="392"/>
                      <a:pt x="697" y="386"/>
                      <a:pt x="679" y="385"/>
                    </a:cubicBezTo>
                    <a:cubicBezTo>
                      <a:pt x="661" y="383"/>
                      <a:pt x="650" y="373"/>
                      <a:pt x="629" y="385"/>
                    </a:cubicBezTo>
                    <a:cubicBezTo>
                      <a:pt x="607" y="396"/>
                      <a:pt x="590" y="396"/>
                      <a:pt x="575" y="406"/>
                    </a:cubicBezTo>
                    <a:cubicBezTo>
                      <a:pt x="560" y="416"/>
                      <a:pt x="536" y="405"/>
                      <a:pt x="528" y="418"/>
                    </a:cubicBezTo>
                    <a:cubicBezTo>
                      <a:pt x="519" y="431"/>
                      <a:pt x="504" y="440"/>
                      <a:pt x="479" y="45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5" name="Freeform 168">
                <a:extLst>
                  <a:ext uri="{FF2B5EF4-FFF2-40B4-BE49-F238E27FC236}">
                    <a16:creationId xmlns:a16="http://schemas.microsoft.com/office/drawing/2014/main" id="{E334CEB6-FFC2-EC42-9E64-8531AFF79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8" y="1113"/>
                <a:ext cx="54" cy="31"/>
              </a:xfrm>
              <a:custGeom>
                <a:avLst/>
                <a:gdLst>
                  <a:gd name="T0" fmla="*/ 101 w 213"/>
                  <a:gd name="T1" fmla="*/ 5 h 122"/>
                  <a:gd name="T2" fmla="*/ 63 w 213"/>
                  <a:gd name="T3" fmla="*/ 7 h 122"/>
                  <a:gd name="T4" fmla="*/ 16 w 213"/>
                  <a:gd name="T5" fmla="*/ 27 h 122"/>
                  <a:gd name="T6" fmla="*/ 62 w 213"/>
                  <a:gd name="T7" fmla="*/ 66 h 122"/>
                  <a:gd name="T8" fmla="*/ 116 w 213"/>
                  <a:gd name="T9" fmla="*/ 93 h 122"/>
                  <a:gd name="T10" fmla="*/ 167 w 213"/>
                  <a:gd name="T11" fmla="*/ 116 h 122"/>
                  <a:gd name="T12" fmla="*/ 181 w 213"/>
                  <a:gd name="T13" fmla="*/ 104 h 122"/>
                  <a:gd name="T14" fmla="*/ 166 w 213"/>
                  <a:gd name="T15" fmla="*/ 85 h 122"/>
                  <a:gd name="T16" fmla="*/ 186 w 213"/>
                  <a:gd name="T17" fmla="*/ 70 h 122"/>
                  <a:gd name="T18" fmla="*/ 151 w 213"/>
                  <a:gd name="T19" fmla="*/ 52 h 122"/>
                  <a:gd name="T20" fmla="*/ 188 w 213"/>
                  <a:gd name="T21" fmla="*/ 48 h 122"/>
                  <a:gd name="T22" fmla="*/ 192 w 213"/>
                  <a:gd name="T23" fmla="*/ 16 h 122"/>
                  <a:gd name="T24" fmla="*/ 150 w 213"/>
                  <a:gd name="T25" fmla="*/ 8 h 122"/>
                  <a:gd name="T26" fmla="*/ 101 w 213"/>
                  <a:gd name="T27" fmla="*/ 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3" h="122">
                    <a:moveTo>
                      <a:pt x="101" y="5"/>
                    </a:moveTo>
                    <a:cubicBezTo>
                      <a:pt x="101" y="5"/>
                      <a:pt x="81" y="0"/>
                      <a:pt x="63" y="7"/>
                    </a:cubicBezTo>
                    <a:cubicBezTo>
                      <a:pt x="44" y="15"/>
                      <a:pt x="0" y="7"/>
                      <a:pt x="16" y="27"/>
                    </a:cubicBezTo>
                    <a:cubicBezTo>
                      <a:pt x="32" y="46"/>
                      <a:pt x="48" y="59"/>
                      <a:pt x="62" y="66"/>
                    </a:cubicBezTo>
                    <a:cubicBezTo>
                      <a:pt x="75" y="74"/>
                      <a:pt x="100" y="84"/>
                      <a:pt x="116" y="93"/>
                    </a:cubicBezTo>
                    <a:cubicBezTo>
                      <a:pt x="132" y="101"/>
                      <a:pt x="149" y="111"/>
                      <a:pt x="167" y="116"/>
                    </a:cubicBezTo>
                    <a:cubicBezTo>
                      <a:pt x="185" y="122"/>
                      <a:pt x="197" y="112"/>
                      <a:pt x="181" y="104"/>
                    </a:cubicBezTo>
                    <a:cubicBezTo>
                      <a:pt x="165" y="95"/>
                      <a:pt x="147" y="84"/>
                      <a:pt x="166" y="85"/>
                    </a:cubicBezTo>
                    <a:cubicBezTo>
                      <a:pt x="185" y="86"/>
                      <a:pt x="206" y="78"/>
                      <a:pt x="186" y="70"/>
                    </a:cubicBezTo>
                    <a:cubicBezTo>
                      <a:pt x="167" y="63"/>
                      <a:pt x="137" y="57"/>
                      <a:pt x="151" y="52"/>
                    </a:cubicBezTo>
                    <a:cubicBezTo>
                      <a:pt x="165" y="48"/>
                      <a:pt x="185" y="55"/>
                      <a:pt x="188" y="48"/>
                    </a:cubicBezTo>
                    <a:cubicBezTo>
                      <a:pt x="190" y="40"/>
                      <a:pt x="213" y="18"/>
                      <a:pt x="192" y="16"/>
                    </a:cubicBezTo>
                    <a:cubicBezTo>
                      <a:pt x="170" y="14"/>
                      <a:pt x="163" y="13"/>
                      <a:pt x="150" y="8"/>
                    </a:cubicBezTo>
                    <a:cubicBezTo>
                      <a:pt x="137" y="4"/>
                      <a:pt x="127" y="6"/>
                      <a:pt x="101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6" name="Freeform 169">
                <a:extLst>
                  <a:ext uri="{FF2B5EF4-FFF2-40B4-BE49-F238E27FC236}">
                    <a16:creationId xmlns:a16="http://schemas.microsoft.com/office/drawing/2014/main" id="{29A9A829-CA42-3748-A679-19AB01FE92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6" y="1103"/>
                <a:ext cx="27" cy="9"/>
              </a:xfrm>
              <a:custGeom>
                <a:avLst/>
                <a:gdLst>
                  <a:gd name="T0" fmla="*/ 39 w 106"/>
                  <a:gd name="T1" fmla="*/ 0 h 36"/>
                  <a:gd name="T2" fmla="*/ 11 w 106"/>
                  <a:gd name="T3" fmla="*/ 11 h 36"/>
                  <a:gd name="T4" fmla="*/ 17 w 106"/>
                  <a:gd name="T5" fmla="*/ 33 h 36"/>
                  <a:gd name="T6" fmla="*/ 71 w 106"/>
                  <a:gd name="T7" fmla="*/ 24 h 36"/>
                  <a:gd name="T8" fmla="*/ 106 w 106"/>
                  <a:gd name="T9" fmla="*/ 29 h 36"/>
                  <a:gd name="T10" fmla="*/ 81 w 106"/>
                  <a:gd name="T11" fmla="*/ 11 h 36"/>
                  <a:gd name="T12" fmla="*/ 39 w 106"/>
                  <a:gd name="T1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36">
                    <a:moveTo>
                      <a:pt x="39" y="0"/>
                    </a:moveTo>
                    <a:cubicBezTo>
                      <a:pt x="39" y="0"/>
                      <a:pt x="15" y="1"/>
                      <a:pt x="11" y="11"/>
                    </a:cubicBezTo>
                    <a:cubicBezTo>
                      <a:pt x="6" y="20"/>
                      <a:pt x="0" y="33"/>
                      <a:pt x="17" y="33"/>
                    </a:cubicBezTo>
                    <a:cubicBezTo>
                      <a:pt x="34" y="33"/>
                      <a:pt x="53" y="14"/>
                      <a:pt x="71" y="24"/>
                    </a:cubicBezTo>
                    <a:cubicBezTo>
                      <a:pt x="88" y="33"/>
                      <a:pt x="106" y="36"/>
                      <a:pt x="106" y="29"/>
                    </a:cubicBezTo>
                    <a:cubicBezTo>
                      <a:pt x="106" y="22"/>
                      <a:pt x="96" y="12"/>
                      <a:pt x="81" y="11"/>
                    </a:cubicBezTo>
                    <a:cubicBezTo>
                      <a:pt x="66" y="10"/>
                      <a:pt x="59" y="1"/>
                      <a:pt x="39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7" name="Freeform 170">
                <a:extLst>
                  <a:ext uri="{FF2B5EF4-FFF2-40B4-BE49-F238E27FC236}">
                    <a16:creationId xmlns:a16="http://schemas.microsoft.com/office/drawing/2014/main" id="{205497E1-9D2F-5C4F-8C52-CA3814ACB8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039"/>
                <a:ext cx="26" cy="18"/>
              </a:xfrm>
              <a:custGeom>
                <a:avLst/>
                <a:gdLst>
                  <a:gd name="T0" fmla="*/ 36 w 105"/>
                  <a:gd name="T1" fmla="*/ 11 h 69"/>
                  <a:gd name="T2" fmla="*/ 0 w 105"/>
                  <a:gd name="T3" fmla="*/ 13 h 69"/>
                  <a:gd name="T4" fmla="*/ 7 w 105"/>
                  <a:gd name="T5" fmla="*/ 32 h 69"/>
                  <a:gd name="T6" fmla="*/ 7 w 105"/>
                  <a:gd name="T7" fmla="*/ 56 h 69"/>
                  <a:gd name="T8" fmla="*/ 56 w 105"/>
                  <a:gd name="T9" fmla="*/ 57 h 69"/>
                  <a:gd name="T10" fmla="*/ 83 w 105"/>
                  <a:gd name="T11" fmla="*/ 63 h 69"/>
                  <a:gd name="T12" fmla="*/ 101 w 105"/>
                  <a:gd name="T13" fmla="*/ 59 h 69"/>
                  <a:gd name="T14" fmla="*/ 94 w 105"/>
                  <a:gd name="T15" fmla="*/ 35 h 69"/>
                  <a:gd name="T16" fmla="*/ 72 w 105"/>
                  <a:gd name="T17" fmla="*/ 42 h 69"/>
                  <a:gd name="T18" fmla="*/ 66 w 105"/>
                  <a:gd name="T19" fmla="*/ 24 h 69"/>
                  <a:gd name="T20" fmla="*/ 77 w 105"/>
                  <a:gd name="T21" fmla="*/ 9 h 69"/>
                  <a:gd name="T22" fmla="*/ 55 w 105"/>
                  <a:gd name="T23" fmla="*/ 11 h 69"/>
                  <a:gd name="T24" fmla="*/ 36 w 105"/>
                  <a:gd name="T25" fmla="*/ 1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5" h="69">
                    <a:moveTo>
                      <a:pt x="36" y="11"/>
                    </a:moveTo>
                    <a:cubicBezTo>
                      <a:pt x="36" y="11"/>
                      <a:pt x="0" y="3"/>
                      <a:pt x="0" y="13"/>
                    </a:cubicBezTo>
                    <a:cubicBezTo>
                      <a:pt x="0" y="23"/>
                      <a:pt x="12" y="27"/>
                      <a:pt x="7" y="32"/>
                    </a:cubicBezTo>
                    <a:cubicBezTo>
                      <a:pt x="1" y="38"/>
                      <a:pt x="0" y="56"/>
                      <a:pt x="7" y="56"/>
                    </a:cubicBezTo>
                    <a:cubicBezTo>
                      <a:pt x="13" y="56"/>
                      <a:pt x="49" y="56"/>
                      <a:pt x="56" y="57"/>
                    </a:cubicBezTo>
                    <a:cubicBezTo>
                      <a:pt x="62" y="58"/>
                      <a:pt x="77" y="58"/>
                      <a:pt x="83" y="63"/>
                    </a:cubicBezTo>
                    <a:cubicBezTo>
                      <a:pt x="90" y="69"/>
                      <a:pt x="96" y="69"/>
                      <a:pt x="101" y="59"/>
                    </a:cubicBezTo>
                    <a:cubicBezTo>
                      <a:pt x="105" y="49"/>
                      <a:pt x="102" y="35"/>
                      <a:pt x="94" y="35"/>
                    </a:cubicBezTo>
                    <a:cubicBezTo>
                      <a:pt x="87" y="35"/>
                      <a:pt x="82" y="50"/>
                      <a:pt x="72" y="42"/>
                    </a:cubicBezTo>
                    <a:cubicBezTo>
                      <a:pt x="61" y="33"/>
                      <a:pt x="56" y="26"/>
                      <a:pt x="66" y="24"/>
                    </a:cubicBezTo>
                    <a:cubicBezTo>
                      <a:pt x="77" y="22"/>
                      <a:pt x="83" y="14"/>
                      <a:pt x="77" y="9"/>
                    </a:cubicBezTo>
                    <a:cubicBezTo>
                      <a:pt x="71" y="3"/>
                      <a:pt x="55" y="0"/>
                      <a:pt x="55" y="11"/>
                    </a:cubicBezTo>
                    <a:cubicBezTo>
                      <a:pt x="55" y="22"/>
                      <a:pt x="44" y="16"/>
                      <a:pt x="36" y="1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8" name="Freeform 171">
                <a:extLst>
                  <a:ext uri="{FF2B5EF4-FFF2-40B4-BE49-F238E27FC236}">
                    <a16:creationId xmlns:a16="http://schemas.microsoft.com/office/drawing/2014/main" id="{D1228045-C0E0-B148-9A2A-B1CBAE2A8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7" y="1164"/>
                <a:ext cx="9" cy="12"/>
              </a:xfrm>
              <a:custGeom>
                <a:avLst/>
                <a:gdLst>
                  <a:gd name="T0" fmla="*/ 19 w 37"/>
                  <a:gd name="T1" fmla="*/ 13 h 48"/>
                  <a:gd name="T2" fmla="*/ 8 w 37"/>
                  <a:gd name="T3" fmla="*/ 21 h 48"/>
                  <a:gd name="T4" fmla="*/ 7 w 37"/>
                  <a:gd name="T5" fmla="*/ 35 h 48"/>
                  <a:gd name="T6" fmla="*/ 23 w 37"/>
                  <a:gd name="T7" fmla="*/ 45 h 48"/>
                  <a:gd name="T8" fmla="*/ 37 w 37"/>
                  <a:gd name="T9" fmla="*/ 32 h 48"/>
                  <a:gd name="T10" fmla="*/ 19 w 37"/>
                  <a:gd name="T11" fmla="*/ 1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8">
                    <a:moveTo>
                      <a:pt x="19" y="13"/>
                    </a:moveTo>
                    <a:cubicBezTo>
                      <a:pt x="19" y="13"/>
                      <a:pt x="16" y="21"/>
                      <a:pt x="8" y="21"/>
                    </a:cubicBezTo>
                    <a:cubicBezTo>
                      <a:pt x="0" y="21"/>
                      <a:pt x="1" y="32"/>
                      <a:pt x="7" y="35"/>
                    </a:cubicBezTo>
                    <a:cubicBezTo>
                      <a:pt x="12" y="38"/>
                      <a:pt x="15" y="48"/>
                      <a:pt x="23" y="45"/>
                    </a:cubicBezTo>
                    <a:cubicBezTo>
                      <a:pt x="31" y="43"/>
                      <a:pt x="37" y="42"/>
                      <a:pt x="37" y="32"/>
                    </a:cubicBezTo>
                    <a:cubicBezTo>
                      <a:pt x="37" y="22"/>
                      <a:pt x="22" y="0"/>
                      <a:pt x="19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19" name="Freeform 172">
                <a:extLst>
                  <a:ext uri="{FF2B5EF4-FFF2-40B4-BE49-F238E27FC236}">
                    <a16:creationId xmlns:a16="http://schemas.microsoft.com/office/drawing/2014/main" id="{4CD41F63-865D-0946-8D80-21F5ADBC4C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6" y="1188"/>
                <a:ext cx="8" cy="7"/>
              </a:xfrm>
              <a:custGeom>
                <a:avLst/>
                <a:gdLst>
                  <a:gd name="T0" fmla="*/ 17 w 32"/>
                  <a:gd name="T1" fmla="*/ 9 h 29"/>
                  <a:gd name="T2" fmla="*/ 11 w 32"/>
                  <a:gd name="T3" fmla="*/ 27 h 29"/>
                  <a:gd name="T4" fmla="*/ 32 w 32"/>
                  <a:gd name="T5" fmla="*/ 19 h 29"/>
                  <a:gd name="T6" fmla="*/ 17 w 32"/>
                  <a:gd name="T7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29">
                    <a:moveTo>
                      <a:pt x="17" y="9"/>
                    </a:moveTo>
                    <a:cubicBezTo>
                      <a:pt x="17" y="9"/>
                      <a:pt x="0" y="24"/>
                      <a:pt x="11" y="27"/>
                    </a:cubicBezTo>
                    <a:cubicBezTo>
                      <a:pt x="22" y="29"/>
                      <a:pt x="32" y="28"/>
                      <a:pt x="32" y="19"/>
                    </a:cubicBezTo>
                    <a:cubicBezTo>
                      <a:pt x="31" y="11"/>
                      <a:pt x="21" y="0"/>
                      <a:pt x="17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0" name="Freeform 173">
                <a:extLst>
                  <a:ext uri="{FF2B5EF4-FFF2-40B4-BE49-F238E27FC236}">
                    <a16:creationId xmlns:a16="http://schemas.microsoft.com/office/drawing/2014/main" id="{5438CF70-0FF8-7149-A86B-F7F0CF91B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9" y="1195"/>
                <a:ext cx="50" cy="33"/>
              </a:xfrm>
              <a:custGeom>
                <a:avLst/>
                <a:gdLst>
                  <a:gd name="T0" fmla="*/ 63 w 200"/>
                  <a:gd name="T1" fmla="*/ 6 h 129"/>
                  <a:gd name="T2" fmla="*/ 29 w 200"/>
                  <a:gd name="T3" fmla="*/ 9 h 129"/>
                  <a:gd name="T4" fmla="*/ 15 w 200"/>
                  <a:gd name="T5" fmla="*/ 28 h 129"/>
                  <a:gd name="T6" fmla="*/ 19 w 200"/>
                  <a:gd name="T7" fmla="*/ 48 h 129"/>
                  <a:gd name="T8" fmla="*/ 12 w 200"/>
                  <a:gd name="T9" fmla="*/ 65 h 129"/>
                  <a:gd name="T10" fmla="*/ 26 w 200"/>
                  <a:gd name="T11" fmla="*/ 88 h 129"/>
                  <a:gd name="T12" fmla="*/ 72 w 200"/>
                  <a:gd name="T13" fmla="*/ 87 h 129"/>
                  <a:gd name="T14" fmla="*/ 69 w 200"/>
                  <a:gd name="T15" fmla="*/ 108 h 129"/>
                  <a:gd name="T16" fmla="*/ 83 w 200"/>
                  <a:gd name="T17" fmla="*/ 129 h 129"/>
                  <a:gd name="T18" fmla="*/ 124 w 200"/>
                  <a:gd name="T19" fmla="*/ 116 h 129"/>
                  <a:gd name="T20" fmla="*/ 155 w 200"/>
                  <a:gd name="T21" fmla="*/ 108 h 129"/>
                  <a:gd name="T22" fmla="*/ 194 w 200"/>
                  <a:gd name="T23" fmla="*/ 92 h 129"/>
                  <a:gd name="T24" fmla="*/ 189 w 200"/>
                  <a:gd name="T25" fmla="*/ 61 h 129"/>
                  <a:gd name="T26" fmla="*/ 142 w 200"/>
                  <a:gd name="T27" fmla="*/ 39 h 129"/>
                  <a:gd name="T28" fmla="*/ 93 w 200"/>
                  <a:gd name="T29" fmla="*/ 11 h 129"/>
                  <a:gd name="T30" fmla="*/ 63 w 200"/>
                  <a:gd name="T31" fmla="*/ 6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0" h="129">
                    <a:moveTo>
                      <a:pt x="63" y="6"/>
                    </a:moveTo>
                    <a:cubicBezTo>
                      <a:pt x="63" y="6"/>
                      <a:pt x="40" y="0"/>
                      <a:pt x="29" y="9"/>
                    </a:cubicBezTo>
                    <a:cubicBezTo>
                      <a:pt x="19" y="17"/>
                      <a:pt x="3" y="17"/>
                      <a:pt x="15" y="28"/>
                    </a:cubicBezTo>
                    <a:cubicBezTo>
                      <a:pt x="27" y="39"/>
                      <a:pt x="32" y="43"/>
                      <a:pt x="19" y="48"/>
                    </a:cubicBezTo>
                    <a:cubicBezTo>
                      <a:pt x="6" y="53"/>
                      <a:pt x="0" y="60"/>
                      <a:pt x="12" y="65"/>
                    </a:cubicBezTo>
                    <a:cubicBezTo>
                      <a:pt x="24" y="71"/>
                      <a:pt x="12" y="90"/>
                      <a:pt x="26" y="88"/>
                    </a:cubicBezTo>
                    <a:cubicBezTo>
                      <a:pt x="40" y="87"/>
                      <a:pt x="61" y="79"/>
                      <a:pt x="72" y="87"/>
                    </a:cubicBezTo>
                    <a:cubicBezTo>
                      <a:pt x="82" y="95"/>
                      <a:pt x="81" y="105"/>
                      <a:pt x="69" y="108"/>
                    </a:cubicBezTo>
                    <a:cubicBezTo>
                      <a:pt x="56" y="112"/>
                      <a:pt x="61" y="129"/>
                      <a:pt x="83" y="129"/>
                    </a:cubicBezTo>
                    <a:cubicBezTo>
                      <a:pt x="106" y="129"/>
                      <a:pt x="110" y="114"/>
                      <a:pt x="124" y="116"/>
                    </a:cubicBezTo>
                    <a:cubicBezTo>
                      <a:pt x="137" y="119"/>
                      <a:pt x="145" y="108"/>
                      <a:pt x="155" y="108"/>
                    </a:cubicBezTo>
                    <a:cubicBezTo>
                      <a:pt x="164" y="108"/>
                      <a:pt x="189" y="102"/>
                      <a:pt x="194" y="92"/>
                    </a:cubicBezTo>
                    <a:cubicBezTo>
                      <a:pt x="200" y="82"/>
                      <a:pt x="196" y="64"/>
                      <a:pt x="189" y="61"/>
                    </a:cubicBezTo>
                    <a:cubicBezTo>
                      <a:pt x="182" y="57"/>
                      <a:pt x="156" y="50"/>
                      <a:pt x="142" y="39"/>
                    </a:cubicBezTo>
                    <a:cubicBezTo>
                      <a:pt x="129" y="27"/>
                      <a:pt x="103" y="13"/>
                      <a:pt x="93" y="11"/>
                    </a:cubicBezTo>
                    <a:cubicBezTo>
                      <a:pt x="83" y="10"/>
                      <a:pt x="83" y="10"/>
                      <a:pt x="63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1" name="Freeform 174">
                <a:extLst>
                  <a:ext uri="{FF2B5EF4-FFF2-40B4-BE49-F238E27FC236}">
                    <a16:creationId xmlns:a16="http://schemas.microsoft.com/office/drawing/2014/main" id="{A47AC56F-22C9-8D4D-B4B2-C49558D2A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919"/>
                <a:ext cx="10" cy="10"/>
              </a:xfrm>
              <a:custGeom>
                <a:avLst/>
                <a:gdLst>
                  <a:gd name="T0" fmla="*/ 28 w 43"/>
                  <a:gd name="T1" fmla="*/ 8 h 40"/>
                  <a:gd name="T2" fmla="*/ 12 w 43"/>
                  <a:gd name="T3" fmla="*/ 16 h 40"/>
                  <a:gd name="T4" fmla="*/ 2 w 43"/>
                  <a:gd name="T5" fmla="*/ 25 h 40"/>
                  <a:gd name="T6" fmla="*/ 15 w 43"/>
                  <a:gd name="T7" fmla="*/ 34 h 40"/>
                  <a:gd name="T8" fmla="*/ 33 w 43"/>
                  <a:gd name="T9" fmla="*/ 33 h 40"/>
                  <a:gd name="T10" fmla="*/ 42 w 43"/>
                  <a:gd name="T11" fmla="*/ 22 h 40"/>
                  <a:gd name="T12" fmla="*/ 28 w 43"/>
                  <a:gd name="T13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40">
                    <a:moveTo>
                      <a:pt x="28" y="8"/>
                    </a:moveTo>
                    <a:cubicBezTo>
                      <a:pt x="28" y="8"/>
                      <a:pt x="14" y="13"/>
                      <a:pt x="12" y="16"/>
                    </a:cubicBezTo>
                    <a:cubicBezTo>
                      <a:pt x="10" y="19"/>
                      <a:pt x="0" y="17"/>
                      <a:pt x="2" y="25"/>
                    </a:cubicBezTo>
                    <a:cubicBezTo>
                      <a:pt x="4" y="33"/>
                      <a:pt x="10" y="28"/>
                      <a:pt x="15" y="34"/>
                    </a:cubicBezTo>
                    <a:cubicBezTo>
                      <a:pt x="20" y="40"/>
                      <a:pt x="29" y="36"/>
                      <a:pt x="33" y="33"/>
                    </a:cubicBezTo>
                    <a:cubicBezTo>
                      <a:pt x="36" y="30"/>
                      <a:pt x="42" y="33"/>
                      <a:pt x="42" y="22"/>
                    </a:cubicBezTo>
                    <a:cubicBezTo>
                      <a:pt x="43" y="11"/>
                      <a:pt x="38" y="0"/>
                      <a:pt x="28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2" name="Freeform 175">
                <a:extLst>
                  <a:ext uri="{FF2B5EF4-FFF2-40B4-BE49-F238E27FC236}">
                    <a16:creationId xmlns:a16="http://schemas.microsoft.com/office/drawing/2014/main" id="{5022A714-EE7F-F947-A59A-4A59B4B30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937"/>
                <a:ext cx="6" cy="7"/>
              </a:xfrm>
              <a:custGeom>
                <a:avLst/>
                <a:gdLst>
                  <a:gd name="T0" fmla="*/ 4 w 25"/>
                  <a:gd name="T1" fmla="*/ 6 h 28"/>
                  <a:gd name="T2" fmla="*/ 7 w 25"/>
                  <a:gd name="T3" fmla="*/ 16 h 28"/>
                  <a:gd name="T4" fmla="*/ 14 w 25"/>
                  <a:gd name="T5" fmla="*/ 27 h 28"/>
                  <a:gd name="T6" fmla="*/ 20 w 25"/>
                  <a:gd name="T7" fmla="*/ 19 h 28"/>
                  <a:gd name="T8" fmla="*/ 4 w 25"/>
                  <a:gd name="T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8">
                    <a:moveTo>
                      <a:pt x="4" y="6"/>
                    </a:moveTo>
                    <a:cubicBezTo>
                      <a:pt x="4" y="6"/>
                      <a:pt x="0" y="12"/>
                      <a:pt x="7" y="16"/>
                    </a:cubicBezTo>
                    <a:cubicBezTo>
                      <a:pt x="14" y="20"/>
                      <a:pt x="8" y="25"/>
                      <a:pt x="14" y="27"/>
                    </a:cubicBezTo>
                    <a:cubicBezTo>
                      <a:pt x="20" y="28"/>
                      <a:pt x="25" y="27"/>
                      <a:pt x="20" y="19"/>
                    </a:cubicBezTo>
                    <a:cubicBezTo>
                      <a:pt x="16" y="12"/>
                      <a:pt x="10" y="0"/>
                      <a:pt x="4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3" name="Freeform 176">
                <a:extLst>
                  <a:ext uri="{FF2B5EF4-FFF2-40B4-BE49-F238E27FC236}">
                    <a16:creationId xmlns:a16="http://schemas.microsoft.com/office/drawing/2014/main" id="{96AE1AA8-1DD9-CF4F-8993-9DC64B421A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" y="937"/>
                <a:ext cx="9" cy="8"/>
              </a:xfrm>
              <a:custGeom>
                <a:avLst/>
                <a:gdLst>
                  <a:gd name="T0" fmla="*/ 16 w 38"/>
                  <a:gd name="T1" fmla="*/ 3 h 32"/>
                  <a:gd name="T2" fmla="*/ 5 w 38"/>
                  <a:gd name="T3" fmla="*/ 10 h 32"/>
                  <a:gd name="T4" fmla="*/ 8 w 38"/>
                  <a:gd name="T5" fmla="*/ 17 h 32"/>
                  <a:gd name="T6" fmla="*/ 19 w 38"/>
                  <a:gd name="T7" fmla="*/ 31 h 32"/>
                  <a:gd name="T8" fmla="*/ 30 w 38"/>
                  <a:gd name="T9" fmla="*/ 24 h 32"/>
                  <a:gd name="T10" fmla="*/ 31 w 38"/>
                  <a:gd name="T11" fmla="*/ 16 h 32"/>
                  <a:gd name="T12" fmla="*/ 22 w 38"/>
                  <a:gd name="T13" fmla="*/ 12 h 32"/>
                  <a:gd name="T14" fmla="*/ 16 w 38"/>
                  <a:gd name="T15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32">
                    <a:moveTo>
                      <a:pt x="16" y="3"/>
                    </a:moveTo>
                    <a:cubicBezTo>
                      <a:pt x="14" y="4"/>
                      <a:pt x="10" y="9"/>
                      <a:pt x="5" y="10"/>
                    </a:cubicBezTo>
                    <a:cubicBezTo>
                      <a:pt x="0" y="12"/>
                      <a:pt x="4" y="16"/>
                      <a:pt x="8" y="17"/>
                    </a:cubicBezTo>
                    <a:cubicBezTo>
                      <a:pt x="11" y="19"/>
                      <a:pt x="11" y="31"/>
                      <a:pt x="19" y="31"/>
                    </a:cubicBezTo>
                    <a:cubicBezTo>
                      <a:pt x="26" y="32"/>
                      <a:pt x="25" y="24"/>
                      <a:pt x="30" y="24"/>
                    </a:cubicBezTo>
                    <a:cubicBezTo>
                      <a:pt x="35" y="24"/>
                      <a:pt x="38" y="17"/>
                      <a:pt x="31" y="16"/>
                    </a:cubicBezTo>
                    <a:cubicBezTo>
                      <a:pt x="23" y="16"/>
                      <a:pt x="23" y="18"/>
                      <a:pt x="22" y="12"/>
                    </a:cubicBezTo>
                    <a:cubicBezTo>
                      <a:pt x="20" y="5"/>
                      <a:pt x="21" y="0"/>
                      <a:pt x="16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4" name="Freeform 177">
                <a:extLst>
                  <a:ext uri="{FF2B5EF4-FFF2-40B4-BE49-F238E27FC236}">
                    <a16:creationId xmlns:a16="http://schemas.microsoft.com/office/drawing/2014/main" id="{E47D3A80-5221-A241-A51D-52A5FC0B9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3" y="944"/>
                <a:ext cx="7" cy="8"/>
              </a:xfrm>
              <a:custGeom>
                <a:avLst/>
                <a:gdLst>
                  <a:gd name="T0" fmla="*/ 12 w 28"/>
                  <a:gd name="T1" fmla="*/ 9 h 32"/>
                  <a:gd name="T2" fmla="*/ 7 w 28"/>
                  <a:gd name="T3" fmla="*/ 21 h 32"/>
                  <a:gd name="T4" fmla="*/ 2 w 28"/>
                  <a:gd name="T5" fmla="*/ 29 h 32"/>
                  <a:gd name="T6" fmla="*/ 21 w 28"/>
                  <a:gd name="T7" fmla="*/ 19 h 32"/>
                  <a:gd name="T8" fmla="*/ 12 w 28"/>
                  <a:gd name="T9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2">
                    <a:moveTo>
                      <a:pt x="12" y="9"/>
                    </a:moveTo>
                    <a:cubicBezTo>
                      <a:pt x="12" y="9"/>
                      <a:pt x="11" y="18"/>
                      <a:pt x="7" y="21"/>
                    </a:cubicBezTo>
                    <a:cubicBezTo>
                      <a:pt x="3" y="24"/>
                      <a:pt x="0" y="26"/>
                      <a:pt x="2" y="29"/>
                    </a:cubicBezTo>
                    <a:cubicBezTo>
                      <a:pt x="5" y="32"/>
                      <a:pt x="14" y="21"/>
                      <a:pt x="21" y="19"/>
                    </a:cubicBezTo>
                    <a:cubicBezTo>
                      <a:pt x="28" y="17"/>
                      <a:pt x="14" y="0"/>
                      <a:pt x="12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5" name="Freeform 178">
                <a:extLst>
                  <a:ext uri="{FF2B5EF4-FFF2-40B4-BE49-F238E27FC236}">
                    <a16:creationId xmlns:a16="http://schemas.microsoft.com/office/drawing/2014/main" id="{393BFC6E-55CB-324A-8E4A-F28E6DEEA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" y="955"/>
                <a:ext cx="11" cy="12"/>
              </a:xfrm>
              <a:custGeom>
                <a:avLst/>
                <a:gdLst>
                  <a:gd name="T0" fmla="*/ 21 w 42"/>
                  <a:gd name="T1" fmla="*/ 5 h 48"/>
                  <a:gd name="T2" fmla="*/ 7 w 42"/>
                  <a:gd name="T3" fmla="*/ 16 h 48"/>
                  <a:gd name="T4" fmla="*/ 2 w 42"/>
                  <a:gd name="T5" fmla="*/ 35 h 48"/>
                  <a:gd name="T6" fmla="*/ 18 w 42"/>
                  <a:gd name="T7" fmla="*/ 43 h 48"/>
                  <a:gd name="T8" fmla="*/ 28 w 42"/>
                  <a:gd name="T9" fmla="*/ 36 h 48"/>
                  <a:gd name="T10" fmla="*/ 40 w 42"/>
                  <a:gd name="T11" fmla="*/ 25 h 48"/>
                  <a:gd name="T12" fmla="*/ 34 w 42"/>
                  <a:gd name="T13" fmla="*/ 5 h 48"/>
                  <a:gd name="T14" fmla="*/ 21 w 42"/>
                  <a:gd name="T15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8">
                    <a:moveTo>
                      <a:pt x="21" y="5"/>
                    </a:moveTo>
                    <a:cubicBezTo>
                      <a:pt x="21" y="5"/>
                      <a:pt x="14" y="12"/>
                      <a:pt x="7" y="16"/>
                    </a:cubicBezTo>
                    <a:cubicBezTo>
                      <a:pt x="1" y="20"/>
                      <a:pt x="0" y="28"/>
                      <a:pt x="2" y="35"/>
                    </a:cubicBezTo>
                    <a:cubicBezTo>
                      <a:pt x="3" y="42"/>
                      <a:pt x="14" y="48"/>
                      <a:pt x="18" y="43"/>
                    </a:cubicBezTo>
                    <a:cubicBezTo>
                      <a:pt x="22" y="38"/>
                      <a:pt x="23" y="36"/>
                      <a:pt x="28" y="36"/>
                    </a:cubicBezTo>
                    <a:cubicBezTo>
                      <a:pt x="33" y="36"/>
                      <a:pt x="41" y="33"/>
                      <a:pt x="40" y="25"/>
                    </a:cubicBezTo>
                    <a:cubicBezTo>
                      <a:pt x="39" y="17"/>
                      <a:pt x="42" y="7"/>
                      <a:pt x="34" y="5"/>
                    </a:cubicBezTo>
                    <a:cubicBezTo>
                      <a:pt x="25" y="4"/>
                      <a:pt x="26" y="0"/>
                      <a:pt x="21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6" name="Freeform 179">
                <a:extLst>
                  <a:ext uri="{FF2B5EF4-FFF2-40B4-BE49-F238E27FC236}">
                    <a16:creationId xmlns:a16="http://schemas.microsoft.com/office/drawing/2014/main" id="{4118F99B-CAD3-5E4D-B71D-21758D5F6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7" y="927"/>
                <a:ext cx="11" cy="6"/>
              </a:xfrm>
              <a:custGeom>
                <a:avLst/>
                <a:gdLst>
                  <a:gd name="T0" fmla="*/ 23 w 42"/>
                  <a:gd name="T1" fmla="*/ 6 h 24"/>
                  <a:gd name="T2" fmla="*/ 8 w 42"/>
                  <a:gd name="T3" fmla="*/ 16 h 24"/>
                  <a:gd name="T4" fmla="*/ 14 w 42"/>
                  <a:gd name="T5" fmla="*/ 24 h 24"/>
                  <a:gd name="T6" fmla="*/ 31 w 42"/>
                  <a:gd name="T7" fmla="*/ 15 h 24"/>
                  <a:gd name="T8" fmla="*/ 36 w 42"/>
                  <a:gd name="T9" fmla="*/ 3 h 24"/>
                  <a:gd name="T10" fmla="*/ 23 w 42"/>
                  <a:gd name="T11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24">
                    <a:moveTo>
                      <a:pt x="23" y="6"/>
                    </a:moveTo>
                    <a:cubicBezTo>
                      <a:pt x="23" y="6"/>
                      <a:pt x="16" y="12"/>
                      <a:pt x="8" y="16"/>
                    </a:cubicBezTo>
                    <a:cubicBezTo>
                      <a:pt x="0" y="21"/>
                      <a:pt x="4" y="24"/>
                      <a:pt x="14" y="24"/>
                    </a:cubicBezTo>
                    <a:cubicBezTo>
                      <a:pt x="23" y="24"/>
                      <a:pt x="23" y="15"/>
                      <a:pt x="31" y="15"/>
                    </a:cubicBezTo>
                    <a:cubicBezTo>
                      <a:pt x="38" y="15"/>
                      <a:pt x="42" y="6"/>
                      <a:pt x="36" y="3"/>
                    </a:cubicBezTo>
                    <a:cubicBezTo>
                      <a:pt x="29" y="0"/>
                      <a:pt x="29" y="0"/>
                      <a:pt x="23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7" name="Freeform 180">
                <a:extLst>
                  <a:ext uri="{FF2B5EF4-FFF2-40B4-BE49-F238E27FC236}">
                    <a16:creationId xmlns:a16="http://schemas.microsoft.com/office/drawing/2014/main" id="{8DEB42DA-1B3C-E549-A39A-11CF47BCF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5" y="922"/>
                <a:ext cx="5" cy="5"/>
              </a:xfrm>
              <a:custGeom>
                <a:avLst/>
                <a:gdLst>
                  <a:gd name="T0" fmla="*/ 12 w 21"/>
                  <a:gd name="T1" fmla="*/ 1 h 22"/>
                  <a:gd name="T2" fmla="*/ 6 w 21"/>
                  <a:gd name="T3" fmla="*/ 11 h 22"/>
                  <a:gd name="T4" fmla="*/ 13 w 21"/>
                  <a:gd name="T5" fmla="*/ 19 h 22"/>
                  <a:gd name="T6" fmla="*/ 21 w 21"/>
                  <a:gd name="T7" fmla="*/ 9 h 22"/>
                  <a:gd name="T8" fmla="*/ 12 w 21"/>
                  <a:gd name="T9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2">
                    <a:moveTo>
                      <a:pt x="12" y="1"/>
                    </a:moveTo>
                    <a:cubicBezTo>
                      <a:pt x="12" y="1"/>
                      <a:pt x="0" y="8"/>
                      <a:pt x="6" y="11"/>
                    </a:cubicBezTo>
                    <a:cubicBezTo>
                      <a:pt x="11" y="13"/>
                      <a:pt x="8" y="15"/>
                      <a:pt x="13" y="19"/>
                    </a:cubicBezTo>
                    <a:cubicBezTo>
                      <a:pt x="17" y="22"/>
                      <a:pt x="21" y="15"/>
                      <a:pt x="21" y="9"/>
                    </a:cubicBezTo>
                    <a:cubicBezTo>
                      <a:pt x="21" y="3"/>
                      <a:pt x="20" y="0"/>
                      <a:pt x="12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8" name="Freeform 181">
                <a:extLst>
                  <a:ext uri="{FF2B5EF4-FFF2-40B4-BE49-F238E27FC236}">
                    <a16:creationId xmlns:a16="http://schemas.microsoft.com/office/drawing/2014/main" id="{B5E8011F-D50C-3340-80D8-FA9C77591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0" y="909"/>
                <a:ext cx="12" cy="11"/>
              </a:xfrm>
              <a:custGeom>
                <a:avLst/>
                <a:gdLst>
                  <a:gd name="T0" fmla="*/ 7 w 47"/>
                  <a:gd name="T1" fmla="*/ 8 h 44"/>
                  <a:gd name="T2" fmla="*/ 0 w 47"/>
                  <a:gd name="T3" fmla="*/ 20 h 44"/>
                  <a:gd name="T4" fmla="*/ 4 w 47"/>
                  <a:gd name="T5" fmla="*/ 38 h 44"/>
                  <a:gd name="T6" fmla="*/ 16 w 47"/>
                  <a:gd name="T7" fmla="*/ 37 h 44"/>
                  <a:gd name="T8" fmla="*/ 24 w 47"/>
                  <a:gd name="T9" fmla="*/ 29 h 44"/>
                  <a:gd name="T10" fmla="*/ 34 w 47"/>
                  <a:gd name="T11" fmla="*/ 22 h 44"/>
                  <a:gd name="T12" fmla="*/ 42 w 47"/>
                  <a:gd name="T13" fmla="*/ 15 h 44"/>
                  <a:gd name="T14" fmla="*/ 30 w 47"/>
                  <a:gd name="T15" fmla="*/ 5 h 44"/>
                  <a:gd name="T16" fmla="*/ 7 w 47"/>
                  <a:gd name="T17" fmla="*/ 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44">
                    <a:moveTo>
                      <a:pt x="7" y="8"/>
                    </a:moveTo>
                    <a:cubicBezTo>
                      <a:pt x="7" y="8"/>
                      <a:pt x="0" y="11"/>
                      <a:pt x="0" y="20"/>
                    </a:cubicBezTo>
                    <a:cubicBezTo>
                      <a:pt x="0" y="29"/>
                      <a:pt x="0" y="34"/>
                      <a:pt x="4" y="38"/>
                    </a:cubicBezTo>
                    <a:cubicBezTo>
                      <a:pt x="8" y="42"/>
                      <a:pt x="15" y="44"/>
                      <a:pt x="16" y="37"/>
                    </a:cubicBezTo>
                    <a:cubicBezTo>
                      <a:pt x="17" y="29"/>
                      <a:pt x="17" y="32"/>
                      <a:pt x="24" y="29"/>
                    </a:cubicBezTo>
                    <a:cubicBezTo>
                      <a:pt x="32" y="26"/>
                      <a:pt x="29" y="23"/>
                      <a:pt x="34" y="22"/>
                    </a:cubicBezTo>
                    <a:cubicBezTo>
                      <a:pt x="39" y="22"/>
                      <a:pt x="47" y="20"/>
                      <a:pt x="42" y="15"/>
                    </a:cubicBezTo>
                    <a:cubicBezTo>
                      <a:pt x="37" y="11"/>
                      <a:pt x="32" y="10"/>
                      <a:pt x="30" y="5"/>
                    </a:cubicBezTo>
                    <a:cubicBezTo>
                      <a:pt x="29" y="0"/>
                      <a:pt x="18" y="0"/>
                      <a:pt x="7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29" name="Freeform 182">
                <a:extLst>
                  <a:ext uri="{FF2B5EF4-FFF2-40B4-BE49-F238E27FC236}">
                    <a16:creationId xmlns:a16="http://schemas.microsoft.com/office/drawing/2014/main" id="{17275879-267E-7949-8BF8-6E625F28E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" y="798"/>
                <a:ext cx="18" cy="14"/>
              </a:xfrm>
              <a:custGeom>
                <a:avLst/>
                <a:gdLst>
                  <a:gd name="T0" fmla="*/ 41 w 70"/>
                  <a:gd name="T1" fmla="*/ 17 h 57"/>
                  <a:gd name="T2" fmla="*/ 19 w 70"/>
                  <a:gd name="T3" fmla="*/ 2 h 57"/>
                  <a:gd name="T4" fmla="*/ 1 w 70"/>
                  <a:gd name="T5" fmla="*/ 16 h 57"/>
                  <a:gd name="T6" fmla="*/ 23 w 70"/>
                  <a:gd name="T7" fmla="*/ 40 h 57"/>
                  <a:gd name="T8" fmla="*/ 47 w 70"/>
                  <a:gd name="T9" fmla="*/ 56 h 57"/>
                  <a:gd name="T10" fmla="*/ 63 w 70"/>
                  <a:gd name="T11" fmla="*/ 49 h 57"/>
                  <a:gd name="T12" fmla="*/ 63 w 70"/>
                  <a:gd name="T13" fmla="*/ 36 h 57"/>
                  <a:gd name="T14" fmla="*/ 41 w 70"/>
                  <a:gd name="T15" fmla="*/ 1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57">
                    <a:moveTo>
                      <a:pt x="41" y="17"/>
                    </a:moveTo>
                    <a:cubicBezTo>
                      <a:pt x="41" y="17"/>
                      <a:pt x="28" y="0"/>
                      <a:pt x="19" y="2"/>
                    </a:cubicBezTo>
                    <a:cubicBezTo>
                      <a:pt x="10" y="5"/>
                      <a:pt x="1" y="5"/>
                      <a:pt x="1" y="16"/>
                    </a:cubicBezTo>
                    <a:cubicBezTo>
                      <a:pt x="0" y="28"/>
                      <a:pt x="15" y="31"/>
                      <a:pt x="23" y="40"/>
                    </a:cubicBezTo>
                    <a:cubicBezTo>
                      <a:pt x="32" y="49"/>
                      <a:pt x="40" y="55"/>
                      <a:pt x="47" y="56"/>
                    </a:cubicBezTo>
                    <a:cubicBezTo>
                      <a:pt x="54" y="57"/>
                      <a:pt x="56" y="50"/>
                      <a:pt x="63" y="49"/>
                    </a:cubicBezTo>
                    <a:cubicBezTo>
                      <a:pt x="70" y="48"/>
                      <a:pt x="69" y="43"/>
                      <a:pt x="63" y="36"/>
                    </a:cubicBezTo>
                    <a:cubicBezTo>
                      <a:pt x="57" y="30"/>
                      <a:pt x="52" y="30"/>
                      <a:pt x="41" y="1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0" name="Freeform 183">
                <a:extLst>
                  <a:ext uri="{FF2B5EF4-FFF2-40B4-BE49-F238E27FC236}">
                    <a16:creationId xmlns:a16="http://schemas.microsoft.com/office/drawing/2014/main" id="{E6B2F48C-57B7-404B-9EA5-326BB0446B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1" y="810"/>
                <a:ext cx="18" cy="11"/>
              </a:xfrm>
              <a:custGeom>
                <a:avLst/>
                <a:gdLst>
                  <a:gd name="T0" fmla="*/ 27 w 71"/>
                  <a:gd name="T1" fmla="*/ 6 h 43"/>
                  <a:gd name="T2" fmla="*/ 12 w 71"/>
                  <a:gd name="T3" fmla="*/ 14 h 43"/>
                  <a:gd name="T4" fmla="*/ 8 w 71"/>
                  <a:gd name="T5" fmla="*/ 25 h 43"/>
                  <a:gd name="T6" fmla="*/ 24 w 71"/>
                  <a:gd name="T7" fmla="*/ 33 h 43"/>
                  <a:gd name="T8" fmla="*/ 40 w 71"/>
                  <a:gd name="T9" fmla="*/ 40 h 43"/>
                  <a:gd name="T10" fmla="*/ 56 w 71"/>
                  <a:gd name="T11" fmla="*/ 37 h 43"/>
                  <a:gd name="T12" fmla="*/ 61 w 71"/>
                  <a:gd name="T13" fmla="*/ 25 h 43"/>
                  <a:gd name="T14" fmla="*/ 42 w 71"/>
                  <a:gd name="T15" fmla="*/ 14 h 43"/>
                  <a:gd name="T16" fmla="*/ 27 w 71"/>
                  <a:gd name="T17" fmla="*/ 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43">
                    <a:moveTo>
                      <a:pt x="27" y="6"/>
                    </a:moveTo>
                    <a:cubicBezTo>
                      <a:pt x="27" y="6"/>
                      <a:pt x="19" y="14"/>
                      <a:pt x="12" y="14"/>
                    </a:cubicBezTo>
                    <a:cubicBezTo>
                      <a:pt x="6" y="15"/>
                      <a:pt x="0" y="23"/>
                      <a:pt x="8" y="25"/>
                    </a:cubicBezTo>
                    <a:cubicBezTo>
                      <a:pt x="16" y="27"/>
                      <a:pt x="20" y="28"/>
                      <a:pt x="24" y="33"/>
                    </a:cubicBezTo>
                    <a:cubicBezTo>
                      <a:pt x="28" y="38"/>
                      <a:pt x="31" y="40"/>
                      <a:pt x="40" y="40"/>
                    </a:cubicBezTo>
                    <a:cubicBezTo>
                      <a:pt x="48" y="40"/>
                      <a:pt x="53" y="43"/>
                      <a:pt x="56" y="37"/>
                    </a:cubicBezTo>
                    <a:cubicBezTo>
                      <a:pt x="60" y="32"/>
                      <a:pt x="71" y="29"/>
                      <a:pt x="61" y="25"/>
                    </a:cubicBezTo>
                    <a:cubicBezTo>
                      <a:pt x="51" y="22"/>
                      <a:pt x="47" y="18"/>
                      <a:pt x="42" y="14"/>
                    </a:cubicBezTo>
                    <a:cubicBezTo>
                      <a:pt x="37" y="10"/>
                      <a:pt x="33" y="0"/>
                      <a:pt x="27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1" name="Freeform 184">
                <a:extLst>
                  <a:ext uri="{FF2B5EF4-FFF2-40B4-BE49-F238E27FC236}">
                    <a16:creationId xmlns:a16="http://schemas.microsoft.com/office/drawing/2014/main" id="{FDFDEBB9-CD18-0D44-9107-81797CD4F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3" y="768"/>
                <a:ext cx="16" cy="7"/>
              </a:xfrm>
              <a:custGeom>
                <a:avLst/>
                <a:gdLst>
                  <a:gd name="T0" fmla="*/ 36 w 62"/>
                  <a:gd name="T1" fmla="*/ 5 h 29"/>
                  <a:gd name="T2" fmla="*/ 19 w 62"/>
                  <a:gd name="T3" fmla="*/ 1 h 29"/>
                  <a:gd name="T4" fmla="*/ 6 w 62"/>
                  <a:gd name="T5" fmla="*/ 16 h 29"/>
                  <a:gd name="T6" fmla="*/ 33 w 62"/>
                  <a:gd name="T7" fmla="*/ 26 h 29"/>
                  <a:gd name="T8" fmla="*/ 56 w 62"/>
                  <a:gd name="T9" fmla="*/ 23 h 29"/>
                  <a:gd name="T10" fmla="*/ 54 w 62"/>
                  <a:gd name="T11" fmla="*/ 10 h 29"/>
                  <a:gd name="T12" fmla="*/ 36 w 62"/>
                  <a:gd name="T13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29">
                    <a:moveTo>
                      <a:pt x="36" y="5"/>
                    </a:moveTo>
                    <a:cubicBezTo>
                      <a:pt x="36" y="5"/>
                      <a:pt x="28" y="2"/>
                      <a:pt x="19" y="1"/>
                    </a:cubicBezTo>
                    <a:cubicBezTo>
                      <a:pt x="9" y="0"/>
                      <a:pt x="0" y="8"/>
                      <a:pt x="6" y="16"/>
                    </a:cubicBezTo>
                    <a:cubicBezTo>
                      <a:pt x="13" y="23"/>
                      <a:pt x="25" y="26"/>
                      <a:pt x="33" y="26"/>
                    </a:cubicBezTo>
                    <a:cubicBezTo>
                      <a:pt x="42" y="26"/>
                      <a:pt x="52" y="29"/>
                      <a:pt x="56" y="23"/>
                    </a:cubicBezTo>
                    <a:cubicBezTo>
                      <a:pt x="59" y="17"/>
                      <a:pt x="62" y="10"/>
                      <a:pt x="54" y="10"/>
                    </a:cubicBezTo>
                    <a:cubicBezTo>
                      <a:pt x="46" y="9"/>
                      <a:pt x="53" y="9"/>
                      <a:pt x="36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2" name="Freeform 185">
                <a:extLst>
                  <a:ext uri="{FF2B5EF4-FFF2-40B4-BE49-F238E27FC236}">
                    <a16:creationId xmlns:a16="http://schemas.microsoft.com/office/drawing/2014/main" id="{1CDC2612-354E-2046-BCF4-14FA017F41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6" y="970"/>
                <a:ext cx="22" cy="6"/>
              </a:xfrm>
              <a:custGeom>
                <a:avLst/>
                <a:gdLst>
                  <a:gd name="T0" fmla="*/ 39 w 86"/>
                  <a:gd name="T1" fmla="*/ 4 h 24"/>
                  <a:gd name="T2" fmla="*/ 11 w 86"/>
                  <a:gd name="T3" fmla="*/ 1 h 24"/>
                  <a:gd name="T4" fmla="*/ 6 w 86"/>
                  <a:gd name="T5" fmla="*/ 10 h 24"/>
                  <a:gd name="T6" fmla="*/ 16 w 86"/>
                  <a:gd name="T7" fmla="*/ 15 h 24"/>
                  <a:gd name="T8" fmla="*/ 35 w 86"/>
                  <a:gd name="T9" fmla="*/ 20 h 24"/>
                  <a:gd name="T10" fmla="*/ 69 w 86"/>
                  <a:gd name="T11" fmla="*/ 18 h 24"/>
                  <a:gd name="T12" fmla="*/ 78 w 86"/>
                  <a:gd name="T13" fmla="*/ 9 h 24"/>
                  <a:gd name="T14" fmla="*/ 39 w 86"/>
                  <a:gd name="T15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24">
                    <a:moveTo>
                      <a:pt x="39" y="4"/>
                    </a:moveTo>
                    <a:cubicBezTo>
                      <a:pt x="39" y="4"/>
                      <a:pt x="20" y="0"/>
                      <a:pt x="11" y="1"/>
                    </a:cubicBezTo>
                    <a:cubicBezTo>
                      <a:pt x="3" y="3"/>
                      <a:pt x="0" y="10"/>
                      <a:pt x="6" y="10"/>
                    </a:cubicBezTo>
                    <a:cubicBezTo>
                      <a:pt x="12" y="10"/>
                      <a:pt x="16" y="12"/>
                      <a:pt x="16" y="15"/>
                    </a:cubicBezTo>
                    <a:cubicBezTo>
                      <a:pt x="17" y="19"/>
                      <a:pt x="24" y="20"/>
                      <a:pt x="35" y="20"/>
                    </a:cubicBezTo>
                    <a:cubicBezTo>
                      <a:pt x="46" y="20"/>
                      <a:pt x="65" y="24"/>
                      <a:pt x="69" y="18"/>
                    </a:cubicBezTo>
                    <a:cubicBezTo>
                      <a:pt x="72" y="13"/>
                      <a:pt x="86" y="15"/>
                      <a:pt x="78" y="9"/>
                    </a:cubicBezTo>
                    <a:cubicBezTo>
                      <a:pt x="70" y="2"/>
                      <a:pt x="54" y="4"/>
                      <a:pt x="39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3" name="Freeform 186">
                <a:extLst>
                  <a:ext uri="{FF2B5EF4-FFF2-40B4-BE49-F238E27FC236}">
                    <a16:creationId xmlns:a16="http://schemas.microsoft.com/office/drawing/2014/main" id="{DA6E42CC-8CA1-5C4B-B8D0-60A3B1AD0D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7" y="970"/>
                <a:ext cx="19" cy="8"/>
              </a:xfrm>
              <a:custGeom>
                <a:avLst/>
                <a:gdLst>
                  <a:gd name="T0" fmla="*/ 41 w 78"/>
                  <a:gd name="T1" fmla="*/ 4 h 33"/>
                  <a:gd name="T2" fmla="*/ 19 w 78"/>
                  <a:gd name="T3" fmla="*/ 5 h 33"/>
                  <a:gd name="T4" fmla="*/ 8 w 78"/>
                  <a:gd name="T5" fmla="*/ 11 h 33"/>
                  <a:gd name="T6" fmla="*/ 8 w 78"/>
                  <a:gd name="T7" fmla="*/ 20 h 33"/>
                  <a:gd name="T8" fmla="*/ 19 w 78"/>
                  <a:gd name="T9" fmla="*/ 26 h 33"/>
                  <a:gd name="T10" fmla="*/ 42 w 78"/>
                  <a:gd name="T11" fmla="*/ 28 h 33"/>
                  <a:gd name="T12" fmla="*/ 70 w 78"/>
                  <a:gd name="T13" fmla="*/ 27 h 33"/>
                  <a:gd name="T14" fmla="*/ 78 w 78"/>
                  <a:gd name="T15" fmla="*/ 19 h 33"/>
                  <a:gd name="T16" fmla="*/ 69 w 78"/>
                  <a:gd name="T17" fmla="*/ 10 h 33"/>
                  <a:gd name="T18" fmla="*/ 57 w 78"/>
                  <a:gd name="T19" fmla="*/ 7 h 33"/>
                  <a:gd name="T20" fmla="*/ 41 w 78"/>
                  <a:gd name="T21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" h="33">
                    <a:moveTo>
                      <a:pt x="41" y="4"/>
                    </a:moveTo>
                    <a:cubicBezTo>
                      <a:pt x="41" y="4"/>
                      <a:pt x="22" y="0"/>
                      <a:pt x="19" y="5"/>
                    </a:cubicBezTo>
                    <a:cubicBezTo>
                      <a:pt x="16" y="10"/>
                      <a:pt x="15" y="11"/>
                      <a:pt x="8" y="11"/>
                    </a:cubicBezTo>
                    <a:cubicBezTo>
                      <a:pt x="1" y="11"/>
                      <a:pt x="0" y="19"/>
                      <a:pt x="8" y="20"/>
                    </a:cubicBezTo>
                    <a:cubicBezTo>
                      <a:pt x="15" y="21"/>
                      <a:pt x="17" y="21"/>
                      <a:pt x="19" y="26"/>
                    </a:cubicBezTo>
                    <a:cubicBezTo>
                      <a:pt x="22" y="30"/>
                      <a:pt x="31" y="28"/>
                      <a:pt x="42" y="28"/>
                    </a:cubicBezTo>
                    <a:cubicBezTo>
                      <a:pt x="53" y="28"/>
                      <a:pt x="68" y="33"/>
                      <a:pt x="70" y="27"/>
                    </a:cubicBezTo>
                    <a:cubicBezTo>
                      <a:pt x="72" y="21"/>
                      <a:pt x="78" y="26"/>
                      <a:pt x="78" y="19"/>
                    </a:cubicBezTo>
                    <a:cubicBezTo>
                      <a:pt x="78" y="11"/>
                      <a:pt x="74" y="10"/>
                      <a:pt x="69" y="10"/>
                    </a:cubicBezTo>
                    <a:cubicBezTo>
                      <a:pt x="65" y="11"/>
                      <a:pt x="64" y="10"/>
                      <a:pt x="57" y="7"/>
                    </a:cubicBezTo>
                    <a:cubicBezTo>
                      <a:pt x="50" y="4"/>
                      <a:pt x="48" y="4"/>
                      <a:pt x="41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4" name="Freeform 187">
                <a:extLst>
                  <a:ext uri="{FF2B5EF4-FFF2-40B4-BE49-F238E27FC236}">
                    <a16:creationId xmlns:a16="http://schemas.microsoft.com/office/drawing/2014/main" id="{98A55D0D-283C-B040-A563-44B7C782A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1561"/>
                <a:ext cx="28" cy="36"/>
              </a:xfrm>
              <a:custGeom>
                <a:avLst/>
                <a:gdLst>
                  <a:gd name="T0" fmla="*/ 32 w 113"/>
                  <a:gd name="T1" fmla="*/ 26 h 141"/>
                  <a:gd name="T2" fmla="*/ 22 w 113"/>
                  <a:gd name="T3" fmla="*/ 36 h 141"/>
                  <a:gd name="T4" fmla="*/ 6 w 113"/>
                  <a:gd name="T5" fmla="*/ 52 h 141"/>
                  <a:gd name="T6" fmla="*/ 26 w 113"/>
                  <a:gd name="T7" fmla="*/ 79 h 141"/>
                  <a:gd name="T8" fmla="*/ 48 w 113"/>
                  <a:gd name="T9" fmla="*/ 95 h 141"/>
                  <a:gd name="T10" fmla="*/ 58 w 113"/>
                  <a:gd name="T11" fmla="*/ 112 h 141"/>
                  <a:gd name="T12" fmla="*/ 39 w 113"/>
                  <a:gd name="T13" fmla="*/ 112 h 141"/>
                  <a:gd name="T14" fmla="*/ 22 w 113"/>
                  <a:gd name="T15" fmla="*/ 105 h 141"/>
                  <a:gd name="T16" fmla="*/ 5 w 113"/>
                  <a:gd name="T17" fmla="*/ 113 h 141"/>
                  <a:gd name="T18" fmla="*/ 12 w 113"/>
                  <a:gd name="T19" fmla="*/ 126 h 141"/>
                  <a:gd name="T20" fmla="*/ 37 w 113"/>
                  <a:gd name="T21" fmla="*/ 137 h 141"/>
                  <a:gd name="T22" fmla="*/ 56 w 113"/>
                  <a:gd name="T23" fmla="*/ 133 h 141"/>
                  <a:gd name="T24" fmla="*/ 75 w 113"/>
                  <a:gd name="T25" fmla="*/ 131 h 141"/>
                  <a:gd name="T26" fmla="*/ 85 w 113"/>
                  <a:gd name="T27" fmla="*/ 111 h 141"/>
                  <a:gd name="T28" fmla="*/ 104 w 113"/>
                  <a:gd name="T29" fmla="*/ 106 h 141"/>
                  <a:gd name="T30" fmla="*/ 87 w 113"/>
                  <a:gd name="T31" fmla="*/ 100 h 141"/>
                  <a:gd name="T32" fmla="*/ 88 w 113"/>
                  <a:gd name="T33" fmla="*/ 85 h 141"/>
                  <a:gd name="T34" fmla="*/ 101 w 113"/>
                  <a:gd name="T35" fmla="*/ 74 h 141"/>
                  <a:gd name="T36" fmla="*/ 96 w 113"/>
                  <a:gd name="T37" fmla="*/ 60 h 141"/>
                  <a:gd name="T38" fmla="*/ 97 w 113"/>
                  <a:gd name="T39" fmla="*/ 51 h 141"/>
                  <a:gd name="T40" fmla="*/ 113 w 113"/>
                  <a:gd name="T41" fmla="*/ 46 h 141"/>
                  <a:gd name="T42" fmla="*/ 105 w 113"/>
                  <a:gd name="T43" fmla="*/ 33 h 141"/>
                  <a:gd name="T44" fmla="*/ 101 w 113"/>
                  <a:gd name="T45" fmla="*/ 13 h 141"/>
                  <a:gd name="T46" fmla="*/ 80 w 113"/>
                  <a:gd name="T47" fmla="*/ 4 h 141"/>
                  <a:gd name="T48" fmla="*/ 58 w 113"/>
                  <a:gd name="T49" fmla="*/ 15 h 141"/>
                  <a:gd name="T50" fmla="*/ 43 w 113"/>
                  <a:gd name="T51" fmla="*/ 23 h 141"/>
                  <a:gd name="T52" fmla="*/ 32 w 113"/>
                  <a:gd name="T53" fmla="*/ 26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141">
                    <a:moveTo>
                      <a:pt x="32" y="26"/>
                    </a:moveTo>
                    <a:cubicBezTo>
                      <a:pt x="32" y="26"/>
                      <a:pt x="31" y="35"/>
                      <a:pt x="22" y="36"/>
                    </a:cubicBezTo>
                    <a:cubicBezTo>
                      <a:pt x="13" y="36"/>
                      <a:pt x="0" y="43"/>
                      <a:pt x="6" y="52"/>
                    </a:cubicBezTo>
                    <a:cubicBezTo>
                      <a:pt x="13" y="60"/>
                      <a:pt x="12" y="75"/>
                      <a:pt x="26" y="79"/>
                    </a:cubicBezTo>
                    <a:cubicBezTo>
                      <a:pt x="39" y="82"/>
                      <a:pt x="40" y="90"/>
                      <a:pt x="48" y="95"/>
                    </a:cubicBezTo>
                    <a:cubicBezTo>
                      <a:pt x="56" y="99"/>
                      <a:pt x="64" y="108"/>
                      <a:pt x="58" y="112"/>
                    </a:cubicBezTo>
                    <a:cubicBezTo>
                      <a:pt x="52" y="117"/>
                      <a:pt x="45" y="118"/>
                      <a:pt x="39" y="112"/>
                    </a:cubicBezTo>
                    <a:cubicBezTo>
                      <a:pt x="32" y="106"/>
                      <a:pt x="31" y="105"/>
                      <a:pt x="22" y="105"/>
                    </a:cubicBezTo>
                    <a:cubicBezTo>
                      <a:pt x="14" y="105"/>
                      <a:pt x="7" y="107"/>
                      <a:pt x="5" y="113"/>
                    </a:cubicBezTo>
                    <a:cubicBezTo>
                      <a:pt x="3" y="119"/>
                      <a:pt x="1" y="119"/>
                      <a:pt x="12" y="126"/>
                    </a:cubicBezTo>
                    <a:cubicBezTo>
                      <a:pt x="23" y="133"/>
                      <a:pt x="30" y="141"/>
                      <a:pt x="37" y="137"/>
                    </a:cubicBezTo>
                    <a:cubicBezTo>
                      <a:pt x="43" y="133"/>
                      <a:pt x="50" y="128"/>
                      <a:pt x="56" y="133"/>
                    </a:cubicBezTo>
                    <a:cubicBezTo>
                      <a:pt x="61" y="138"/>
                      <a:pt x="75" y="140"/>
                      <a:pt x="75" y="131"/>
                    </a:cubicBezTo>
                    <a:cubicBezTo>
                      <a:pt x="76" y="122"/>
                      <a:pt x="77" y="112"/>
                      <a:pt x="85" y="111"/>
                    </a:cubicBezTo>
                    <a:cubicBezTo>
                      <a:pt x="92" y="110"/>
                      <a:pt x="103" y="110"/>
                      <a:pt x="104" y="106"/>
                    </a:cubicBezTo>
                    <a:cubicBezTo>
                      <a:pt x="104" y="102"/>
                      <a:pt x="95" y="100"/>
                      <a:pt x="87" y="100"/>
                    </a:cubicBezTo>
                    <a:cubicBezTo>
                      <a:pt x="79" y="100"/>
                      <a:pt x="79" y="85"/>
                      <a:pt x="88" y="85"/>
                    </a:cubicBezTo>
                    <a:cubicBezTo>
                      <a:pt x="97" y="84"/>
                      <a:pt x="101" y="82"/>
                      <a:pt x="101" y="74"/>
                    </a:cubicBezTo>
                    <a:cubicBezTo>
                      <a:pt x="101" y="66"/>
                      <a:pt x="100" y="58"/>
                      <a:pt x="96" y="60"/>
                    </a:cubicBezTo>
                    <a:cubicBezTo>
                      <a:pt x="91" y="62"/>
                      <a:pt x="88" y="51"/>
                      <a:pt x="97" y="51"/>
                    </a:cubicBezTo>
                    <a:cubicBezTo>
                      <a:pt x="106" y="51"/>
                      <a:pt x="113" y="52"/>
                      <a:pt x="113" y="46"/>
                    </a:cubicBezTo>
                    <a:cubicBezTo>
                      <a:pt x="113" y="39"/>
                      <a:pt x="108" y="39"/>
                      <a:pt x="105" y="33"/>
                    </a:cubicBezTo>
                    <a:cubicBezTo>
                      <a:pt x="102" y="28"/>
                      <a:pt x="102" y="20"/>
                      <a:pt x="101" y="13"/>
                    </a:cubicBezTo>
                    <a:cubicBezTo>
                      <a:pt x="100" y="7"/>
                      <a:pt x="89" y="0"/>
                      <a:pt x="80" y="4"/>
                    </a:cubicBezTo>
                    <a:cubicBezTo>
                      <a:pt x="71" y="8"/>
                      <a:pt x="58" y="7"/>
                      <a:pt x="58" y="15"/>
                    </a:cubicBezTo>
                    <a:cubicBezTo>
                      <a:pt x="58" y="23"/>
                      <a:pt x="49" y="25"/>
                      <a:pt x="43" y="23"/>
                    </a:cubicBezTo>
                    <a:cubicBezTo>
                      <a:pt x="36" y="22"/>
                      <a:pt x="32" y="26"/>
                      <a:pt x="32" y="2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5" name="Freeform 188">
                <a:extLst>
                  <a:ext uri="{FF2B5EF4-FFF2-40B4-BE49-F238E27FC236}">
                    <a16:creationId xmlns:a16="http://schemas.microsoft.com/office/drawing/2014/main" id="{D7B7D244-E5B3-B045-B11F-8236BD8C6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9" y="1521"/>
                <a:ext cx="6" cy="5"/>
              </a:xfrm>
              <a:custGeom>
                <a:avLst/>
                <a:gdLst>
                  <a:gd name="T0" fmla="*/ 14 w 24"/>
                  <a:gd name="T1" fmla="*/ 5 h 19"/>
                  <a:gd name="T2" fmla="*/ 3 w 24"/>
                  <a:gd name="T3" fmla="*/ 10 h 19"/>
                  <a:gd name="T4" fmla="*/ 6 w 24"/>
                  <a:gd name="T5" fmla="*/ 19 h 19"/>
                  <a:gd name="T6" fmla="*/ 14 w 24"/>
                  <a:gd name="T7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19">
                    <a:moveTo>
                      <a:pt x="14" y="5"/>
                    </a:moveTo>
                    <a:cubicBezTo>
                      <a:pt x="14" y="5"/>
                      <a:pt x="5" y="7"/>
                      <a:pt x="3" y="10"/>
                    </a:cubicBezTo>
                    <a:cubicBezTo>
                      <a:pt x="1" y="12"/>
                      <a:pt x="0" y="19"/>
                      <a:pt x="6" y="19"/>
                    </a:cubicBezTo>
                    <a:cubicBezTo>
                      <a:pt x="12" y="19"/>
                      <a:pt x="24" y="0"/>
                      <a:pt x="14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6" name="Freeform 189">
                <a:extLst>
                  <a:ext uri="{FF2B5EF4-FFF2-40B4-BE49-F238E27FC236}">
                    <a16:creationId xmlns:a16="http://schemas.microsoft.com/office/drawing/2014/main" id="{9C6126B8-A47C-5D44-B12F-062AB00AED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5" y="1531"/>
                <a:ext cx="5" cy="6"/>
              </a:xfrm>
              <a:custGeom>
                <a:avLst/>
                <a:gdLst>
                  <a:gd name="T0" fmla="*/ 14 w 21"/>
                  <a:gd name="T1" fmla="*/ 7 h 24"/>
                  <a:gd name="T2" fmla="*/ 8 w 21"/>
                  <a:gd name="T3" fmla="*/ 16 h 24"/>
                  <a:gd name="T4" fmla="*/ 13 w 21"/>
                  <a:gd name="T5" fmla="*/ 24 h 24"/>
                  <a:gd name="T6" fmla="*/ 21 w 21"/>
                  <a:gd name="T7" fmla="*/ 15 h 24"/>
                  <a:gd name="T8" fmla="*/ 14 w 21"/>
                  <a:gd name="T9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4">
                    <a:moveTo>
                      <a:pt x="14" y="7"/>
                    </a:moveTo>
                    <a:cubicBezTo>
                      <a:pt x="14" y="7"/>
                      <a:pt x="15" y="15"/>
                      <a:pt x="8" y="16"/>
                    </a:cubicBezTo>
                    <a:cubicBezTo>
                      <a:pt x="0" y="17"/>
                      <a:pt x="4" y="24"/>
                      <a:pt x="13" y="24"/>
                    </a:cubicBezTo>
                    <a:cubicBezTo>
                      <a:pt x="21" y="24"/>
                      <a:pt x="21" y="21"/>
                      <a:pt x="21" y="15"/>
                    </a:cubicBezTo>
                    <a:cubicBezTo>
                      <a:pt x="21" y="9"/>
                      <a:pt x="14" y="0"/>
                      <a:pt x="14" y="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7" name="Freeform 190">
                <a:extLst>
                  <a:ext uri="{FF2B5EF4-FFF2-40B4-BE49-F238E27FC236}">
                    <a16:creationId xmlns:a16="http://schemas.microsoft.com/office/drawing/2014/main" id="{876B81CF-6DBA-4145-B9B9-197200DFF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" y="1526"/>
                <a:ext cx="50" cy="66"/>
              </a:xfrm>
              <a:custGeom>
                <a:avLst/>
                <a:gdLst>
                  <a:gd name="T0" fmla="*/ 40 w 198"/>
                  <a:gd name="T1" fmla="*/ 241 h 262"/>
                  <a:gd name="T2" fmla="*/ 67 w 198"/>
                  <a:gd name="T3" fmla="*/ 256 h 262"/>
                  <a:gd name="T4" fmla="*/ 97 w 198"/>
                  <a:gd name="T5" fmla="*/ 259 h 262"/>
                  <a:gd name="T6" fmla="*/ 115 w 198"/>
                  <a:gd name="T7" fmla="*/ 254 h 262"/>
                  <a:gd name="T8" fmla="*/ 134 w 198"/>
                  <a:gd name="T9" fmla="*/ 261 h 262"/>
                  <a:gd name="T10" fmla="*/ 134 w 198"/>
                  <a:gd name="T11" fmla="*/ 254 h 262"/>
                  <a:gd name="T12" fmla="*/ 110 w 198"/>
                  <a:gd name="T13" fmla="*/ 229 h 262"/>
                  <a:gd name="T14" fmla="*/ 116 w 198"/>
                  <a:gd name="T15" fmla="*/ 201 h 262"/>
                  <a:gd name="T16" fmla="*/ 143 w 198"/>
                  <a:gd name="T17" fmla="*/ 226 h 262"/>
                  <a:gd name="T18" fmla="*/ 182 w 198"/>
                  <a:gd name="T19" fmla="*/ 241 h 262"/>
                  <a:gd name="T20" fmla="*/ 185 w 198"/>
                  <a:gd name="T21" fmla="*/ 208 h 262"/>
                  <a:gd name="T22" fmla="*/ 147 w 198"/>
                  <a:gd name="T23" fmla="*/ 189 h 262"/>
                  <a:gd name="T24" fmla="*/ 134 w 198"/>
                  <a:gd name="T25" fmla="*/ 172 h 262"/>
                  <a:gd name="T26" fmla="*/ 173 w 198"/>
                  <a:gd name="T27" fmla="*/ 152 h 262"/>
                  <a:gd name="T28" fmla="*/ 190 w 198"/>
                  <a:gd name="T29" fmla="*/ 122 h 262"/>
                  <a:gd name="T30" fmla="*/ 167 w 198"/>
                  <a:gd name="T31" fmla="*/ 105 h 262"/>
                  <a:gd name="T32" fmla="*/ 156 w 198"/>
                  <a:gd name="T33" fmla="*/ 96 h 262"/>
                  <a:gd name="T34" fmla="*/ 156 w 198"/>
                  <a:gd name="T35" fmla="*/ 57 h 262"/>
                  <a:gd name="T36" fmla="*/ 170 w 198"/>
                  <a:gd name="T37" fmla="*/ 29 h 262"/>
                  <a:gd name="T38" fmla="*/ 157 w 198"/>
                  <a:gd name="T39" fmla="*/ 0 h 262"/>
                  <a:gd name="T40" fmla="*/ 117 w 198"/>
                  <a:gd name="T41" fmla="*/ 27 h 262"/>
                  <a:gd name="T42" fmla="*/ 89 w 198"/>
                  <a:gd name="T43" fmla="*/ 62 h 262"/>
                  <a:gd name="T44" fmla="*/ 76 w 198"/>
                  <a:gd name="T45" fmla="*/ 83 h 262"/>
                  <a:gd name="T46" fmla="*/ 66 w 198"/>
                  <a:gd name="T47" fmla="*/ 60 h 262"/>
                  <a:gd name="T48" fmla="*/ 34 w 198"/>
                  <a:gd name="T49" fmla="*/ 67 h 262"/>
                  <a:gd name="T50" fmla="*/ 13 w 198"/>
                  <a:gd name="T51" fmla="*/ 119 h 262"/>
                  <a:gd name="T52" fmla="*/ 13 w 198"/>
                  <a:gd name="T53" fmla="*/ 178 h 262"/>
                  <a:gd name="T54" fmla="*/ 37 w 198"/>
                  <a:gd name="T55" fmla="*/ 202 h 262"/>
                  <a:gd name="T56" fmla="*/ 34 w 198"/>
                  <a:gd name="T57" fmla="*/ 234 h 262"/>
                  <a:gd name="T58" fmla="*/ 33 w 198"/>
                  <a:gd name="T59" fmla="*/ 234 h 262"/>
                  <a:gd name="T60" fmla="*/ 40 w 198"/>
                  <a:gd name="T61" fmla="*/ 241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8" h="262">
                    <a:moveTo>
                      <a:pt x="40" y="241"/>
                    </a:moveTo>
                    <a:cubicBezTo>
                      <a:pt x="47" y="250"/>
                      <a:pt x="54" y="258"/>
                      <a:pt x="67" y="256"/>
                    </a:cubicBezTo>
                    <a:cubicBezTo>
                      <a:pt x="80" y="255"/>
                      <a:pt x="88" y="262"/>
                      <a:pt x="97" y="259"/>
                    </a:cubicBezTo>
                    <a:cubicBezTo>
                      <a:pt x="106" y="255"/>
                      <a:pt x="108" y="249"/>
                      <a:pt x="115" y="254"/>
                    </a:cubicBezTo>
                    <a:cubicBezTo>
                      <a:pt x="120" y="258"/>
                      <a:pt x="128" y="260"/>
                      <a:pt x="134" y="261"/>
                    </a:cubicBezTo>
                    <a:cubicBezTo>
                      <a:pt x="134" y="259"/>
                      <a:pt x="134" y="256"/>
                      <a:pt x="134" y="254"/>
                    </a:cubicBezTo>
                    <a:cubicBezTo>
                      <a:pt x="134" y="231"/>
                      <a:pt x="116" y="245"/>
                      <a:pt x="110" y="229"/>
                    </a:cubicBezTo>
                    <a:cubicBezTo>
                      <a:pt x="104" y="214"/>
                      <a:pt x="107" y="204"/>
                      <a:pt x="116" y="201"/>
                    </a:cubicBezTo>
                    <a:cubicBezTo>
                      <a:pt x="124" y="198"/>
                      <a:pt x="134" y="218"/>
                      <a:pt x="143" y="226"/>
                    </a:cubicBezTo>
                    <a:cubicBezTo>
                      <a:pt x="152" y="235"/>
                      <a:pt x="166" y="238"/>
                      <a:pt x="182" y="241"/>
                    </a:cubicBezTo>
                    <a:cubicBezTo>
                      <a:pt x="198" y="244"/>
                      <a:pt x="186" y="226"/>
                      <a:pt x="185" y="208"/>
                    </a:cubicBezTo>
                    <a:cubicBezTo>
                      <a:pt x="183" y="189"/>
                      <a:pt x="162" y="192"/>
                      <a:pt x="147" y="189"/>
                    </a:cubicBezTo>
                    <a:cubicBezTo>
                      <a:pt x="133" y="186"/>
                      <a:pt x="134" y="182"/>
                      <a:pt x="134" y="172"/>
                    </a:cubicBezTo>
                    <a:cubicBezTo>
                      <a:pt x="134" y="162"/>
                      <a:pt x="155" y="155"/>
                      <a:pt x="173" y="152"/>
                    </a:cubicBezTo>
                    <a:cubicBezTo>
                      <a:pt x="192" y="149"/>
                      <a:pt x="188" y="136"/>
                      <a:pt x="190" y="122"/>
                    </a:cubicBezTo>
                    <a:cubicBezTo>
                      <a:pt x="193" y="107"/>
                      <a:pt x="182" y="105"/>
                      <a:pt x="167" y="105"/>
                    </a:cubicBezTo>
                    <a:cubicBezTo>
                      <a:pt x="153" y="105"/>
                      <a:pt x="156" y="103"/>
                      <a:pt x="156" y="96"/>
                    </a:cubicBezTo>
                    <a:cubicBezTo>
                      <a:pt x="156" y="89"/>
                      <a:pt x="150" y="63"/>
                      <a:pt x="156" y="57"/>
                    </a:cubicBezTo>
                    <a:cubicBezTo>
                      <a:pt x="162" y="52"/>
                      <a:pt x="170" y="43"/>
                      <a:pt x="170" y="29"/>
                    </a:cubicBezTo>
                    <a:cubicBezTo>
                      <a:pt x="170" y="14"/>
                      <a:pt x="167" y="0"/>
                      <a:pt x="157" y="0"/>
                    </a:cubicBezTo>
                    <a:cubicBezTo>
                      <a:pt x="147" y="0"/>
                      <a:pt x="126" y="9"/>
                      <a:pt x="117" y="27"/>
                    </a:cubicBezTo>
                    <a:cubicBezTo>
                      <a:pt x="109" y="46"/>
                      <a:pt x="90" y="43"/>
                      <a:pt x="89" y="62"/>
                    </a:cubicBezTo>
                    <a:cubicBezTo>
                      <a:pt x="87" y="80"/>
                      <a:pt x="80" y="95"/>
                      <a:pt x="76" y="83"/>
                    </a:cubicBezTo>
                    <a:cubicBezTo>
                      <a:pt x="71" y="72"/>
                      <a:pt x="66" y="79"/>
                      <a:pt x="66" y="60"/>
                    </a:cubicBezTo>
                    <a:cubicBezTo>
                      <a:pt x="66" y="42"/>
                      <a:pt x="56" y="52"/>
                      <a:pt x="34" y="67"/>
                    </a:cubicBezTo>
                    <a:cubicBezTo>
                      <a:pt x="13" y="83"/>
                      <a:pt x="26" y="96"/>
                      <a:pt x="13" y="119"/>
                    </a:cubicBezTo>
                    <a:cubicBezTo>
                      <a:pt x="0" y="142"/>
                      <a:pt x="13" y="163"/>
                      <a:pt x="13" y="178"/>
                    </a:cubicBezTo>
                    <a:cubicBezTo>
                      <a:pt x="13" y="192"/>
                      <a:pt x="21" y="193"/>
                      <a:pt x="37" y="202"/>
                    </a:cubicBezTo>
                    <a:cubicBezTo>
                      <a:pt x="53" y="211"/>
                      <a:pt x="50" y="222"/>
                      <a:pt x="34" y="234"/>
                    </a:cubicBezTo>
                    <a:cubicBezTo>
                      <a:pt x="34" y="234"/>
                      <a:pt x="34" y="234"/>
                      <a:pt x="33" y="234"/>
                    </a:cubicBezTo>
                    <a:cubicBezTo>
                      <a:pt x="36" y="236"/>
                      <a:pt x="38" y="238"/>
                      <a:pt x="40" y="24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8" name="Freeform 191">
                <a:extLst>
                  <a:ext uri="{FF2B5EF4-FFF2-40B4-BE49-F238E27FC236}">
                    <a16:creationId xmlns:a16="http://schemas.microsoft.com/office/drawing/2014/main" id="{2BE67322-9581-B743-8174-4AB62CF5AE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4" y="1596"/>
                <a:ext cx="8" cy="8"/>
              </a:xfrm>
              <a:custGeom>
                <a:avLst/>
                <a:gdLst>
                  <a:gd name="T0" fmla="*/ 9 w 32"/>
                  <a:gd name="T1" fmla="*/ 3 h 32"/>
                  <a:gd name="T2" fmla="*/ 1 w 32"/>
                  <a:gd name="T3" fmla="*/ 10 h 32"/>
                  <a:gd name="T4" fmla="*/ 12 w 32"/>
                  <a:gd name="T5" fmla="*/ 24 h 32"/>
                  <a:gd name="T6" fmla="*/ 28 w 32"/>
                  <a:gd name="T7" fmla="*/ 23 h 32"/>
                  <a:gd name="T8" fmla="*/ 9 w 32"/>
                  <a:gd name="T9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2">
                    <a:moveTo>
                      <a:pt x="9" y="3"/>
                    </a:moveTo>
                    <a:cubicBezTo>
                      <a:pt x="9" y="3"/>
                      <a:pt x="0" y="5"/>
                      <a:pt x="1" y="10"/>
                    </a:cubicBezTo>
                    <a:cubicBezTo>
                      <a:pt x="2" y="15"/>
                      <a:pt x="5" y="22"/>
                      <a:pt x="12" y="24"/>
                    </a:cubicBezTo>
                    <a:cubicBezTo>
                      <a:pt x="19" y="27"/>
                      <a:pt x="26" y="32"/>
                      <a:pt x="28" y="23"/>
                    </a:cubicBezTo>
                    <a:cubicBezTo>
                      <a:pt x="30" y="14"/>
                      <a:pt x="32" y="0"/>
                      <a:pt x="9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39" name="Freeform 192">
                <a:extLst>
                  <a:ext uri="{FF2B5EF4-FFF2-40B4-BE49-F238E27FC236}">
                    <a16:creationId xmlns:a16="http://schemas.microsoft.com/office/drawing/2014/main" id="{975EAEE9-5D18-A243-9169-88D6B026B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5" y="1585"/>
                <a:ext cx="146" cy="167"/>
              </a:xfrm>
              <a:custGeom>
                <a:avLst/>
                <a:gdLst>
                  <a:gd name="T0" fmla="*/ 562 w 577"/>
                  <a:gd name="T1" fmla="*/ 318 h 660"/>
                  <a:gd name="T2" fmla="*/ 558 w 577"/>
                  <a:gd name="T3" fmla="*/ 280 h 660"/>
                  <a:gd name="T4" fmla="*/ 550 w 577"/>
                  <a:gd name="T5" fmla="*/ 238 h 660"/>
                  <a:gd name="T6" fmla="*/ 526 w 577"/>
                  <a:gd name="T7" fmla="*/ 188 h 660"/>
                  <a:gd name="T8" fmla="*/ 534 w 577"/>
                  <a:gd name="T9" fmla="*/ 145 h 660"/>
                  <a:gd name="T10" fmla="*/ 529 w 577"/>
                  <a:gd name="T11" fmla="*/ 97 h 660"/>
                  <a:gd name="T12" fmla="*/ 477 w 577"/>
                  <a:gd name="T13" fmla="*/ 73 h 660"/>
                  <a:gd name="T14" fmla="*/ 414 w 577"/>
                  <a:gd name="T15" fmla="*/ 50 h 660"/>
                  <a:gd name="T16" fmla="*/ 348 w 577"/>
                  <a:gd name="T17" fmla="*/ 99 h 660"/>
                  <a:gd name="T18" fmla="*/ 308 w 577"/>
                  <a:gd name="T19" fmla="*/ 66 h 660"/>
                  <a:gd name="T20" fmla="*/ 259 w 577"/>
                  <a:gd name="T21" fmla="*/ 27 h 660"/>
                  <a:gd name="T22" fmla="*/ 222 w 577"/>
                  <a:gd name="T23" fmla="*/ 25 h 660"/>
                  <a:gd name="T24" fmla="*/ 165 w 577"/>
                  <a:gd name="T25" fmla="*/ 7 h 660"/>
                  <a:gd name="T26" fmla="*/ 186 w 577"/>
                  <a:gd name="T27" fmla="*/ 35 h 660"/>
                  <a:gd name="T28" fmla="*/ 186 w 577"/>
                  <a:gd name="T29" fmla="*/ 74 h 660"/>
                  <a:gd name="T30" fmla="*/ 163 w 577"/>
                  <a:gd name="T31" fmla="*/ 123 h 660"/>
                  <a:gd name="T32" fmla="*/ 82 w 577"/>
                  <a:gd name="T33" fmla="*/ 119 h 660"/>
                  <a:gd name="T34" fmla="*/ 70 w 577"/>
                  <a:gd name="T35" fmla="*/ 144 h 660"/>
                  <a:gd name="T36" fmla="*/ 84 w 577"/>
                  <a:gd name="T37" fmla="*/ 180 h 660"/>
                  <a:gd name="T38" fmla="*/ 62 w 577"/>
                  <a:gd name="T39" fmla="*/ 213 h 660"/>
                  <a:gd name="T40" fmla="*/ 58 w 577"/>
                  <a:gd name="T41" fmla="*/ 234 h 660"/>
                  <a:gd name="T42" fmla="*/ 58 w 577"/>
                  <a:gd name="T43" fmla="*/ 259 h 660"/>
                  <a:gd name="T44" fmla="*/ 17 w 577"/>
                  <a:gd name="T45" fmla="*/ 284 h 660"/>
                  <a:gd name="T46" fmla="*/ 6 w 577"/>
                  <a:gd name="T47" fmla="*/ 306 h 660"/>
                  <a:gd name="T48" fmla="*/ 9 w 577"/>
                  <a:gd name="T49" fmla="*/ 341 h 660"/>
                  <a:gd name="T50" fmla="*/ 17 w 577"/>
                  <a:gd name="T51" fmla="*/ 390 h 660"/>
                  <a:gd name="T52" fmla="*/ 18 w 577"/>
                  <a:gd name="T53" fmla="*/ 418 h 660"/>
                  <a:gd name="T54" fmla="*/ 24 w 577"/>
                  <a:gd name="T55" fmla="*/ 450 h 660"/>
                  <a:gd name="T56" fmla="*/ 32 w 577"/>
                  <a:gd name="T57" fmla="*/ 484 h 660"/>
                  <a:gd name="T58" fmla="*/ 58 w 577"/>
                  <a:gd name="T59" fmla="*/ 509 h 660"/>
                  <a:gd name="T60" fmla="*/ 100 w 577"/>
                  <a:gd name="T61" fmla="*/ 514 h 660"/>
                  <a:gd name="T62" fmla="*/ 141 w 577"/>
                  <a:gd name="T63" fmla="*/ 529 h 660"/>
                  <a:gd name="T64" fmla="*/ 114 w 577"/>
                  <a:gd name="T65" fmla="*/ 562 h 660"/>
                  <a:gd name="T66" fmla="*/ 102 w 577"/>
                  <a:gd name="T67" fmla="*/ 600 h 660"/>
                  <a:gd name="T68" fmla="*/ 102 w 577"/>
                  <a:gd name="T69" fmla="*/ 639 h 660"/>
                  <a:gd name="T70" fmla="*/ 145 w 577"/>
                  <a:gd name="T71" fmla="*/ 640 h 660"/>
                  <a:gd name="T72" fmla="*/ 172 w 577"/>
                  <a:gd name="T73" fmla="*/ 626 h 660"/>
                  <a:gd name="T74" fmla="*/ 208 w 577"/>
                  <a:gd name="T75" fmla="*/ 637 h 660"/>
                  <a:gd name="T76" fmla="*/ 260 w 577"/>
                  <a:gd name="T77" fmla="*/ 649 h 660"/>
                  <a:gd name="T78" fmla="*/ 282 w 577"/>
                  <a:gd name="T79" fmla="*/ 650 h 660"/>
                  <a:gd name="T80" fmla="*/ 308 w 577"/>
                  <a:gd name="T81" fmla="*/ 642 h 660"/>
                  <a:gd name="T82" fmla="*/ 335 w 577"/>
                  <a:gd name="T83" fmla="*/ 656 h 660"/>
                  <a:gd name="T84" fmla="*/ 367 w 577"/>
                  <a:gd name="T85" fmla="*/ 635 h 660"/>
                  <a:gd name="T86" fmla="*/ 407 w 577"/>
                  <a:gd name="T87" fmla="*/ 635 h 660"/>
                  <a:gd name="T88" fmla="*/ 447 w 577"/>
                  <a:gd name="T89" fmla="*/ 641 h 660"/>
                  <a:gd name="T90" fmla="*/ 443 w 577"/>
                  <a:gd name="T91" fmla="*/ 612 h 660"/>
                  <a:gd name="T92" fmla="*/ 453 w 577"/>
                  <a:gd name="T93" fmla="*/ 583 h 660"/>
                  <a:gd name="T94" fmla="*/ 484 w 577"/>
                  <a:gd name="T95" fmla="*/ 554 h 660"/>
                  <a:gd name="T96" fmla="*/ 493 w 577"/>
                  <a:gd name="T97" fmla="*/ 534 h 660"/>
                  <a:gd name="T98" fmla="*/ 460 w 577"/>
                  <a:gd name="T99" fmla="*/ 511 h 660"/>
                  <a:gd name="T100" fmla="*/ 418 w 577"/>
                  <a:gd name="T101" fmla="*/ 476 h 660"/>
                  <a:gd name="T102" fmla="*/ 408 w 577"/>
                  <a:gd name="T103" fmla="*/ 438 h 660"/>
                  <a:gd name="T104" fmla="*/ 401 w 577"/>
                  <a:gd name="T105" fmla="*/ 414 h 660"/>
                  <a:gd name="T106" fmla="*/ 434 w 577"/>
                  <a:gd name="T107" fmla="*/ 404 h 660"/>
                  <a:gd name="T108" fmla="*/ 469 w 577"/>
                  <a:gd name="T109" fmla="*/ 389 h 660"/>
                  <a:gd name="T110" fmla="*/ 506 w 577"/>
                  <a:gd name="T111" fmla="*/ 374 h 660"/>
                  <a:gd name="T112" fmla="*/ 532 w 577"/>
                  <a:gd name="T113" fmla="*/ 353 h 660"/>
                  <a:gd name="T114" fmla="*/ 564 w 577"/>
                  <a:gd name="T115" fmla="*/ 367 h 660"/>
                  <a:gd name="T116" fmla="*/ 572 w 577"/>
                  <a:gd name="T117" fmla="*/ 338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77" h="660">
                    <a:moveTo>
                      <a:pt x="572" y="338"/>
                    </a:moveTo>
                    <a:cubicBezTo>
                      <a:pt x="573" y="327"/>
                      <a:pt x="570" y="319"/>
                      <a:pt x="562" y="318"/>
                    </a:cubicBezTo>
                    <a:cubicBezTo>
                      <a:pt x="554" y="316"/>
                      <a:pt x="552" y="308"/>
                      <a:pt x="554" y="297"/>
                    </a:cubicBezTo>
                    <a:cubicBezTo>
                      <a:pt x="556" y="286"/>
                      <a:pt x="554" y="284"/>
                      <a:pt x="558" y="280"/>
                    </a:cubicBezTo>
                    <a:cubicBezTo>
                      <a:pt x="562" y="276"/>
                      <a:pt x="563" y="267"/>
                      <a:pt x="558" y="260"/>
                    </a:cubicBezTo>
                    <a:cubicBezTo>
                      <a:pt x="554" y="254"/>
                      <a:pt x="550" y="252"/>
                      <a:pt x="550" y="238"/>
                    </a:cubicBezTo>
                    <a:cubicBezTo>
                      <a:pt x="550" y="224"/>
                      <a:pt x="546" y="212"/>
                      <a:pt x="535" y="204"/>
                    </a:cubicBezTo>
                    <a:cubicBezTo>
                      <a:pt x="524" y="196"/>
                      <a:pt x="520" y="192"/>
                      <a:pt x="526" y="188"/>
                    </a:cubicBezTo>
                    <a:cubicBezTo>
                      <a:pt x="531" y="184"/>
                      <a:pt x="537" y="182"/>
                      <a:pt x="540" y="170"/>
                    </a:cubicBezTo>
                    <a:cubicBezTo>
                      <a:pt x="544" y="157"/>
                      <a:pt x="544" y="153"/>
                      <a:pt x="534" y="145"/>
                    </a:cubicBezTo>
                    <a:cubicBezTo>
                      <a:pt x="525" y="137"/>
                      <a:pt x="528" y="131"/>
                      <a:pt x="528" y="122"/>
                    </a:cubicBezTo>
                    <a:cubicBezTo>
                      <a:pt x="527" y="116"/>
                      <a:pt x="528" y="105"/>
                      <a:pt x="529" y="97"/>
                    </a:cubicBezTo>
                    <a:cubicBezTo>
                      <a:pt x="523" y="95"/>
                      <a:pt x="517" y="90"/>
                      <a:pt x="510" y="87"/>
                    </a:cubicBezTo>
                    <a:cubicBezTo>
                      <a:pt x="496" y="80"/>
                      <a:pt x="483" y="84"/>
                      <a:pt x="477" y="73"/>
                    </a:cubicBezTo>
                    <a:cubicBezTo>
                      <a:pt x="472" y="61"/>
                      <a:pt x="462" y="67"/>
                      <a:pt x="447" y="61"/>
                    </a:cubicBezTo>
                    <a:cubicBezTo>
                      <a:pt x="433" y="56"/>
                      <a:pt x="421" y="38"/>
                      <a:pt x="414" y="50"/>
                    </a:cubicBezTo>
                    <a:cubicBezTo>
                      <a:pt x="407" y="61"/>
                      <a:pt x="394" y="77"/>
                      <a:pt x="380" y="76"/>
                    </a:cubicBezTo>
                    <a:cubicBezTo>
                      <a:pt x="366" y="74"/>
                      <a:pt x="371" y="100"/>
                      <a:pt x="348" y="99"/>
                    </a:cubicBezTo>
                    <a:cubicBezTo>
                      <a:pt x="325" y="97"/>
                      <a:pt x="325" y="86"/>
                      <a:pt x="331" y="70"/>
                    </a:cubicBezTo>
                    <a:cubicBezTo>
                      <a:pt x="337" y="54"/>
                      <a:pt x="321" y="63"/>
                      <a:pt x="308" y="66"/>
                    </a:cubicBezTo>
                    <a:cubicBezTo>
                      <a:pt x="295" y="68"/>
                      <a:pt x="294" y="61"/>
                      <a:pt x="274" y="58"/>
                    </a:cubicBezTo>
                    <a:cubicBezTo>
                      <a:pt x="256" y="56"/>
                      <a:pt x="259" y="45"/>
                      <a:pt x="259" y="27"/>
                    </a:cubicBezTo>
                    <a:cubicBezTo>
                      <a:pt x="253" y="26"/>
                      <a:pt x="245" y="24"/>
                      <a:pt x="240" y="20"/>
                    </a:cubicBezTo>
                    <a:cubicBezTo>
                      <a:pt x="233" y="15"/>
                      <a:pt x="231" y="21"/>
                      <a:pt x="222" y="25"/>
                    </a:cubicBezTo>
                    <a:cubicBezTo>
                      <a:pt x="213" y="28"/>
                      <a:pt x="205" y="21"/>
                      <a:pt x="192" y="22"/>
                    </a:cubicBezTo>
                    <a:cubicBezTo>
                      <a:pt x="179" y="24"/>
                      <a:pt x="172" y="16"/>
                      <a:pt x="165" y="7"/>
                    </a:cubicBezTo>
                    <a:cubicBezTo>
                      <a:pt x="163" y="4"/>
                      <a:pt x="161" y="2"/>
                      <a:pt x="158" y="0"/>
                    </a:cubicBezTo>
                    <a:cubicBezTo>
                      <a:pt x="144" y="12"/>
                      <a:pt x="170" y="30"/>
                      <a:pt x="186" y="35"/>
                    </a:cubicBezTo>
                    <a:cubicBezTo>
                      <a:pt x="204" y="41"/>
                      <a:pt x="189" y="50"/>
                      <a:pt x="178" y="56"/>
                    </a:cubicBezTo>
                    <a:cubicBezTo>
                      <a:pt x="166" y="61"/>
                      <a:pt x="173" y="73"/>
                      <a:pt x="186" y="74"/>
                    </a:cubicBezTo>
                    <a:cubicBezTo>
                      <a:pt x="199" y="76"/>
                      <a:pt x="192" y="104"/>
                      <a:pt x="185" y="104"/>
                    </a:cubicBezTo>
                    <a:cubicBezTo>
                      <a:pt x="178" y="104"/>
                      <a:pt x="168" y="106"/>
                      <a:pt x="163" y="123"/>
                    </a:cubicBezTo>
                    <a:cubicBezTo>
                      <a:pt x="159" y="140"/>
                      <a:pt x="142" y="137"/>
                      <a:pt x="136" y="121"/>
                    </a:cubicBezTo>
                    <a:cubicBezTo>
                      <a:pt x="131" y="106"/>
                      <a:pt x="93" y="121"/>
                      <a:pt x="82" y="119"/>
                    </a:cubicBezTo>
                    <a:cubicBezTo>
                      <a:pt x="70" y="116"/>
                      <a:pt x="59" y="121"/>
                      <a:pt x="69" y="134"/>
                    </a:cubicBezTo>
                    <a:cubicBezTo>
                      <a:pt x="73" y="140"/>
                      <a:pt x="73" y="143"/>
                      <a:pt x="70" y="144"/>
                    </a:cubicBezTo>
                    <a:cubicBezTo>
                      <a:pt x="73" y="148"/>
                      <a:pt x="77" y="153"/>
                      <a:pt x="78" y="157"/>
                    </a:cubicBezTo>
                    <a:cubicBezTo>
                      <a:pt x="80" y="165"/>
                      <a:pt x="87" y="174"/>
                      <a:pt x="84" y="180"/>
                    </a:cubicBezTo>
                    <a:cubicBezTo>
                      <a:pt x="80" y="187"/>
                      <a:pt x="72" y="198"/>
                      <a:pt x="72" y="202"/>
                    </a:cubicBezTo>
                    <a:cubicBezTo>
                      <a:pt x="72" y="206"/>
                      <a:pt x="70" y="211"/>
                      <a:pt x="62" y="213"/>
                    </a:cubicBezTo>
                    <a:cubicBezTo>
                      <a:pt x="55" y="215"/>
                      <a:pt x="50" y="219"/>
                      <a:pt x="50" y="225"/>
                    </a:cubicBezTo>
                    <a:cubicBezTo>
                      <a:pt x="51" y="231"/>
                      <a:pt x="50" y="234"/>
                      <a:pt x="58" y="234"/>
                    </a:cubicBezTo>
                    <a:cubicBezTo>
                      <a:pt x="67" y="234"/>
                      <a:pt x="74" y="240"/>
                      <a:pt x="74" y="244"/>
                    </a:cubicBezTo>
                    <a:cubicBezTo>
                      <a:pt x="73" y="248"/>
                      <a:pt x="60" y="251"/>
                      <a:pt x="58" y="259"/>
                    </a:cubicBezTo>
                    <a:cubicBezTo>
                      <a:pt x="55" y="267"/>
                      <a:pt x="48" y="278"/>
                      <a:pt x="40" y="280"/>
                    </a:cubicBezTo>
                    <a:cubicBezTo>
                      <a:pt x="31" y="283"/>
                      <a:pt x="27" y="286"/>
                      <a:pt x="17" y="284"/>
                    </a:cubicBezTo>
                    <a:cubicBezTo>
                      <a:pt x="7" y="283"/>
                      <a:pt x="1" y="284"/>
                      <a:pt x="1" y="291"/>
                    </a:cubicBezTo>
                    <a:cubicBezTo>
                      <a:pt x="1" y="298"/>
                      <a:pt x="0" y="302"/>
                      <a:pt x="6" y="306"/>
                    </a:cubicBezTo>
                    <a:cubicBezTo>
                      <a:pt x="11" y="310"/>
                      <a:pt x="23" y="314"/>
                      <a:pt x="16" y="322"/>
                    </a:cubicBezTo>
                    <a:cubicBezTo>
                      <a:pt x="8" y="330"/>
                      <a:pt x="12" y="332"/>
                      <a:pt x="9" y="341"/>
                    </a:cubicBezTo>
                    <a:cubicBezTo>
                      <a:pt x="6" y="350"/>
                      <a:pt x="10" y="358"/>
                      <a:pt x="10" y="368"/>
                    </a:cubicBezTo>
                    <a:cubicBezTo>
                      <a:pt x="10" y="378"/>
                      <a:pt x="12" y="382"/>
                      <a:pt x="17" y="390"/>
                    </a:cubicBezTo>
                    <a:cubicBezTo>
                      <a:pt x="22" y="397"/>
                      <a:pt x="24" y="401"/>
                      <a:pt x="26" y="407"/>
                    </a:cubicBezTo>
                    <a:cubicBezTo>
                      <a:pt x="27" y="413"/>
                      <a:pt x="22" y="416"/>
                      <a:pt x="18" y="418"/>
                    </a:cubicBezTo>
                    <a:cubicBezTo>
                      <a:pt x="13" y="419"/>
                      <a:pt x="4" y="429"/>
                      <a:pt x="9" y="437"/>
                    </a:cubicBezTo>
                    <a:cubicBezTo>
                      <a:pt x="14" y="445"/>
                      <a:pt x="16" y="448"/>
                      <a:pt x="24" y="450"/>
                    </a:cubicBezTo>
                    <a:cubicBezTo>
                      <a:pt x="31" y="452"/>
                      <a:pt x="32" y="463"/>
                      <a:pt x="34" y="470"/>
                    </a:cubicBezTo>
                    <a:cubicBezTo>
                      <a:pt x="35" y="475"/>
                      <a:pt x="33" y="478"/>
                      <a:pt x="32" y="484"/>
                    </a:cubicBezTo>
                    <a:cubicBezTo>
                      <a:pt x="36" y="485"/>
                      <a:pt x="40" y="487"/>
                      <a:pt x="42" y="492"/>
                    </a:cubicBezTo>
                    <a:cubicBezTo>
                      <a:pt x="48" y="504"/>
                      <a:pt x="48" y="506"/>
                      <a:pt x="58" y="509"/>
                    </a:cubicBezTo>
                    <a:cubicBezTo>
                      <a:pt x="67" y="512"/>
                      <a:pt x="73" y="517"/>
                      <a:pt x="79" y="514"/>
                    </a:cubicBezTo>
                    <a:cubicBezTo>
                      <a:pt x="85" y="510"/>
                      <a:pt x="96" y="510"/>
                      <a:pt x="100" y="514"/>
                    </a:cubicBezTo>
                    <a:cubicBezTo>
                      <a:pt x="104" y="518"/>
                      <a:pt x="106" y="522"/>
                      <a:pt x="117" y="522"/>
                    </a:cubicBezTo>
                    <a:cubicBezTo>
                      <a:pt x="128" y="522"/>
                      <a:pt x="142" y="520"/>
                      <a:pt x="141" y="529"/>
                    </a:cubicBezTo>
                    <a:cubicBezTo>
                      <a:pt x="140" y="538"/>
                      <a:pt x="139" y="542"/>
                      <a:pt x="131" y="546"/>
                    </a:cubicBezTo>
                    <a:cubicBezTo>
                      <a:pt x="123" y="549"/>
                      <a:pt x="114" y="556"/>
                      <a:pt x="114" y="562"/>
                    </a:cubicBezTo>
                    <a:cubicBezTo>
                      <a:pt x="114" y="568"/>
                      <a:pt x="117" y="577"/>
                      <a:pt x="112" y="582"/>
                    </a:cubicBezTo>
                    <a:cubicBezTo>
                      <a:pt x="106" y="586"/>
                      <a:pt x="102" y="593"/>
                      <a:pt x="102" y="600"/>
                    </a:cubicBezTo>
                    <a:cubicBezTo>
                      <a:pt x="103" y="608"/>
                      <a:pt x="100" y="616"/>
                      <a:pt x="101" y="622"/>
                    </a:cubicBezTo>
                    <a:cubicBezTo>
                      <a:pt x="102" y="626"/>
                      <a:pt x="103" y="633"/>
                      <a:pt x="102" y="639"/>
                    </a:cubicBezTo>
                    <a:cubicBezTo>
                      <a:pt x="106" y="638"/>
                      <a:pt x="113" y="637"/>
                      <a:pt x="120" y="637"/>
                    </a:cubicBezTo>
                    <a:cubicBezTo>
                      <a:pt x="134" y="638"/>
                      <a:pt x="140" y="637"/>
                      <a:pt x="145" y="640"/>
                    </a:cubicBezTo>
                    <a:cubicBezTo>
                      <a:pt x="151" y="643"/>
                      <a:pt x="166" y="656"/>
                      <a:pt x="167" y="645"/>
                    </a:cubicBezTo>
                    <a:cubicBezTo>
                      <a:pt x="168" y="634"/>
                      <a:pt x="166" y="626"/>
                      <a:pt x="172" y="626"/>
                    </a:cubicBezTo>
                    <a:cubicBezTo>
                      <a:pt x="179" y="627"/>
                      <a:pt x="185" y="640"/>
                      <a:pt x="190" y="637"/>
                    </a:cubicBezTo>
                    <a:cubicBezTo>
                      <a:pt x="195" y="635"/>
                      <a:pt x="203" y="631"/>
                      <a:pt x="208" y="637"/>
                    </a:cubicBezTo>
                    <a:cubicBezTo>
                      <a:pt x="214" y="642"/>
                      <a:pt x="223" y="641"/>
                      <a:pt x="232" y="642"/>
                    </a:cubicBezTo>
                    <a:cubicBezTo>
                      <a:pt x="240" y="643"/>
                      <a:pt x="256" y="643"/>
                      <a:pt x="260" y="649"/>
                    </a:cubicBezTo>
                    <a:cubicBezTo>
                      <a:pt x="264" y="656"/>
                      <a:pt x="266" y="660"/>
                      <a:pt x="272" y="660"/>
                    </a:cubicBezTo>
                    <a:cubicBezTo>
                      <a:pt x="277" y="659"/>
                      <a:pt x="279" y="657"/>
                      <a:pt x="282" y="650"/>
                    </a:cubicBezTo>
                    <a:cubicBezTo>
                      <a:pt x="284" y="644"/>
                      <a:pt x="287" y="644"/>
                      <a:pt x="293" y="643"/>
                    </a:cubicBezTo>
                    <a:cubicBezTo>
                      <a:pt x="298" y="642"/>
                      <a:pt x="302" y="637"/>
                      <a:pt x="308" y="642"/>
                    </a:cubicBezTo>
                    <a:cubicBezTo>
                      <a:pt x="314" y="646"/>
                      <a:pt x="320" y="650"/>
                      <a:pt x="320" y="650"/>
                    </a:cubicBezTo>
                    <a:cubicBezTo>
                      <a:pt x="320" y="650"/>
                      <a:pt x="329" y="658"/>
                      <a:pt x="335" y="656"/>
                    </a:cubicBezTo>
                    <a:cubicBezTo>
                      <a:pt x="342" y="654"/>
                      <a:pt x="347" y="652"/>
                      <a:pt x="350" y="647"/>
                    </a:cubicBezTo>
                    <a:cubicBezTo>
                      <a:pt x="352" y="641"/>
                      <a:pt x="359" y="635"/>
                      <a:pt x="367" y="635"/>
                    </a:cubicBezTo>
                    <a:cubicBezTo>
                      <a:pt x="374" y="635"/>
                      <a:pt x="381" y="637"/>
                      <a:pt x="392" y="640"/>
                    </a:cubicBezTo>
                    <a:cubicBezTo>
                      <a:pt x="403" y="643"/>
                      <a:pt x="406" y="646"/>
                      <a:pt x="407" y="635"/>
                    </a:cubicBezTo>
                    <a:cubicBezTo>
                      <a:pt x="408" y="623"/>
                      <a:pt x="423" y="633"/>
                      <a:pt x="428" y="636"/>
                    </a:cubicBezTo>
                    <a:cubicBezTo>
                      <a:pt x="433" y="639"/>
                      <a:pt x="443" y="649"/>
                      <a:pt x="447" y="641"/>
                    </a:cubicBezTo>
                    <a:cubicBezTo>
                      <a:pt x="451" y="633"/>
                      <a:pt x="457" y="631"/>
                      <a:pt x="451" y="627"/>
                    </a:cubicBezTo>
                    <a:cubicBezTo>
                      <a:pt x="445" y="622"/>
                      <a:pt x="449" y="617"/>
                      <a:pt x="443" y="612"/>
                    </a:cubicBezTo>
                    <a:cubicBezTo>
                      <a:pt x="437" y="607"/>
                      <a:pt x="435" y="607"/>
                      <a:pt x="437" y="598"/>
                    </a:cubicBezTo>
                    <a:cubicBezTo>
                      <a:pt x="440" y="588"/>
                      <a:pt x="442" y="583"/>
                      <a:pt x="453" y="583"/>
                    </a:cubicBezTo>
                    <a:cubicBezTo>
                      <a:pt x="463" y="583"/>
                      <a:pt x="470" y="582"/>
                      <a:pt x="472" y="571"/>
                    </a:cubicBezTo>
                    <a:cubicBezTo>
                      <a:pt x="474" y="560"/>
                      <a:pt x="476" y="555"/>
                      <a:pt x="484" y="554"/>
                    </a:cubicBezTo>
                    <a:cubicBezTo>
                      <a:pt x="491" y="554"/>
                      <a:pt x="502" y="552"/>
                      <a:pt x="513" y="553"/>
                    </a:cubicBezTo>
                    <a:cubicBezTo>
                      <a:pt x="508" y="543"/>
                      <a:pt x="499" y="536"/>
                      <a:pt x="493" y="534"/>
                    </a:cubicBezTo>
                    <a:cubicBezTo>
                      <a:pt x="486" y="531"/>
                      <a:pt x="485" y="526"/>
                      <a:pt x="480" y="522"/>
                    </a:cubicBezTo>
                    <a:cubicBezTo>
                      <a:pt x="474" y="519"/>
                      <a:pt x="467" y="514"/>
                      <a:pt x="460" y="511"/>
                    </a:cubicBezTo>
                    <a:cubicBezTo>
                      <a:pt x="454" y="508"/>
                      <a:pt x="447" y="503"/>
                      <a:pt x="442" y="498"/>
                    </a:cubicBezTo>
                    <a:cubicBezTo>
                      <a:pt x="436" y="492"/>
                      <a:pt x="423" y="481"/>
                      <a:pt x="418" y="476"/>
                    </a:cubicBezTo>
                    <a:cubicBezTo>
                      <a:pt x="414" y="472"/>
                      <a:pt x="416" y="460"/>
                      <a:pt x="416" y="454"/>
                    </a:cubicBezTo>
                    <a:cubicBezTo>
                      <a:pt x="416" y="447"/>
                      <a:pt x="416" y="439"/>
                      <a:pt x="408" y="438"/>
                    </a:cubicBezTo>
                    <a:cubicBezTo>
                      <a:pt x="401" y="438"/>
                      <a:pt x="406" y="431"/>
                      <a:pt x="394" y="424"/>
                    </a:cubicBezTo>
                    <a:cubicBezTo>
                      <a:pt x="382" y="416"/>
                      <a:pt x="390" y="413"/>
                      <a:pt x="401" y="414"/>
                    </a:cubicBezTo>
                    <a:cubicBezTo>
                      <a:pt x="412" y="414"/>
                      <a:pt x="405" y="409"/>
                      <a:pt x="412" y="406"/>
                    </a:cubicBezTo>
                    <a:cubicBezTo>
                      <a:pt x="418" y="404"/>
                      <a:pt x="430" y="404"/>
                      <a:pt x="434" y="404"/>
                    </a:cubicBezTo>
                    <a:cubicBezTo>
                      <a:pt x="438" y="404"/>
                      <a:pt x="448" y="402"/>
                      <a:pt x="454" y="397"/>
                    </a:cubicBezTo>
                    <a:cubicBezTo>
                      <a:pt x="460" y="392"/>
                      <a:pt x="462" y="389"/>
                      <a:pt x="469" y="389"/>
                    </a:cubicBezTo>
                    <a:cubicBezTo>
                      <a:pt x="476" y="389"/>
                      <a:pt x="482" y="387"/>
                      <a:pt x="484" y="381"/>
                    </a:cubicBezTo>
                    <a:cubicBezTo>
                      <a:pt x="487" y="375"/>
                      <a:pt x="500" y="380"/>
                      <a:pt x="506" y="374"/>
                    </a:cubicBezTo>
                    <a:cubicBezTo>
                      <a:pt x="511" y="369"/>
                      <a:pt x="515" y="368"/>
                      <a:pt x="522" y="368"/>
                    </a:cubicBezTo>
                    <a:cubicBezTo>
                      <a:pt x="530" y="368"/>
                      <a:pt x="532" y="357"/>
                      <a:pt x="532" y="353"/>
                    </a:cubicBezTo>
                    <a:cubicBezTo>
                      <a:pt x="533" y="349"/>
                      <a:pt x="543" y="351"/>
                      <a:pt x="545" y="356"/>
                    </a:cubicBezTo>
                    <a:cubicBezTo>
                      <a:pt x="547" y="362"/>
                      <a:pt x="554" y="366"/>
                      <a:pt x="564" y="367"/>
                    </a:cubicBezTo>
                    <a:cubicBezTo>
                      <a:pt x="571" y="367"/>
                      <a:pt x="575" y="362"/>
                      <a:pt x="577" y="357"/>
                    </a:cubicBezTo>
                    <a:cubicBezTo>
                      <a:pt x="573" y="354"/>
                      <a:pt x="572" y="347"/>
                      <a:pt x="572" y="33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0" name="Freeform 193">
                <a:extLst>
                  <a:ext uri="{FF2B5EF4-FFF2-40B4-BE49-F238E27FC236}">
                    <a16:creationId xmlns:a16="http://schemas.microsoft.com/office/drawing/2014/main" id="{036304DA-96BD-534E-BA02-7D519061A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9" y="1175"/>
                <a:ext cx="423" cy="345"/>
              </a:xfrm>
              <a:custGeom>
                <a:avLst/>
                <a:gdLst>
                  <a:gd name="T0" fmla="*/ 441 w 1670"/>
                  <a:gd name="T1" fmla="*/ 1193 h 1366"/>
                  <a:gd name="T2" fmla="*/ 469 w 1670"/>
                  <a:gd name="T3" fmla="*/ 1088 h 1366"/>
                  <a:gd name="T4" fmla="*/ 459 w 1670"/>
                  <a:gd name="T5" fmla="*/ 987 h 1366"/>
                  <a:gd name="T6" fmla="*/ 453 w 1670"/>
                  <a:gd name="T7" fmla="*/ 852 h 1366"/>
                  <a:gd name="T8" fmla="*/ 583 w 1670"/>
                  <a:gd name="T9" fmla="*/ 760 h 1366"/>
                  <a:gd name="T10" fmla="*/ 610 w 1670"/>
                  <a:gd name="T11" fmla="*/ 621 h 1366"/>
                  <a:gd name="T12" fmla="*/ 714 w 1670"/>
                  <a:gd name="T13" fmla="*/ 475 h 1366"/>
                  <a:gd name="T14" fmla="*/ 760 w 1670"/>
                  <a:gd name="T15" fmla="*/ 365 h 1366"/>
                  <a:gd name="T16" fmla="*/ 839 w 1670"/>
                  <a:gd name="T17" fmla="*/ 319 h 1366"/>
                  <a:gd name="T18" fmla="*/ 966 w 1670"/>
                  <a:gd name="T19" fmla="*/ 300 h 1366"/>
                  <a:gd name="T20" fmla="*/ 1024 w 1670"/>
                  <a:gd name="T21" fmla="*/ 234 h 1366"/>
                  <a:gd name="T22" fmla="*/ 1216 w 1670"/>
                  <a:gd name="T23" fmla="*/ 270 h 1366"/>
                  <a:gd name="T24" fmla="*/ 1327 w 1670"/>
                  <a:gd name="T25" fmla="*/ 247 h 1366"/>
                  <a:gd name="T26" fmla="*/ 1458 w 1670"/>
                  <a:gd name="T27" fmla="*/ 129 h 1366"/>
                  <a:gd name="T28" fmla="*/ 1552 w 1670"/>
                  <a:gd name="T29" fmla="*/ 235 h 1366"/>
                  <a:gd name="T30" fmla="*/ 1655 w 1670"/>
                  <a:gd name="T31" fmla="*/ 180 h 1366"/>
                  <a:gd name="T32" fmla="*/ 1568 w 1670"/>
                  <a:gd name="T33" fmla="*/ 134 h 1366"/>
                  <a:gd name="T34" fmla="*/ 1620 w 1670"/>
                  <a:gd name="T35" fmla="*/ 64 h 1366"/>
                  <a:gd name="T36" fmla="*/ 1488 w 1670"/>
                  <a:gd name="T37" fmla="*/ 74 h 1366"/>
                  <a:gd name="T38" fmla="*/ 1427 w 1670"/>
                  <a:gd name="T39" fmla="*/ 30 h 1366"/>
                  <a:gd name="T40" fmla="*/ 1375 w 1670"/>
                  <a:gd name="T41" fmla="*/ 25 h 1366"/>
                  <a:gd name="T42" fmla="*/ 1318 w 1670"/>
                  <a:gd name="T43" fmla="*/ 54 h 1366"/>
                  <a:gd name="T44" fmla="*/ 1290 w 1670"/>
                  <a:gd name="T45" fmla="*/ 25 h 1366"/>
                  <a:gd name="T46" fmla="*/ 1233 w 1670"/>
                  <a:gd name="T47" fmla="*/ 56 h 1366"/>
                  <a:gd name="T48" fmla="*/ 1177 w 1670"/>
                  <a:gd name="T49" fmla="*/ 110 h 1366"/>
                  <a:gd name="T50" fmla="*/ 1171 w 1670"/>
                  <a:gd name="T51" fmla="*/ 38 h 1366"/>
                  <a:gd name="T52" fmla="*/ 1118 w 1670"/>
                  <a:gd name="T53" fmla="*/ 100 h 1366"/>
                  <a:gd name="T54" fmla="*/ 1080 w 1670"/>
                  <a:gd name="T55" fmla="*/ 142 h 1366"/>
                  <a:gd name="T56" fmla="*/ 1011 w 1670"/>
                  <a:gd name="T57" fmla="*/ 133 h 1366"/>
                  <a:gd name="T58" fmla="*/ 978 w 1670"/>
                  <a:gd name="T59" fmla="*/ 136 h 1366"/>
                  <a:gd name="T60" fmla="*/ 936 w 1670"/>
                  <a:gd name="T61" fmla="*/ 107 h 1366"/>
                  <a:gd name="T62" fmla="*/ 889 w 1670"/>
                  <a:gd name="T63" fmla="*/ 142 h 1366"/>
                  <a:gd name="T64" fmla="*/ 865 w 1670"/>
                  <a:gd name="T65" fmla="*/ 154 h 1366"/>
                  <a:gd name="T66" fmla="*/ 813 w 1670"/>
                  <a:gd name="T67" fmla="*/ 176 h 1366"/>
                  <a:gd name="T68" fmla="*/ 772 w 1670"/>
                  <a:gd name="T69" fmla="*/ 240 h 1366"/>
                  <a:gd name="T70" fmla="*/ 779 w 1670"/>
                  <a:gd name="T71" fmla="*/ 256 h 1366"/>
                  <a:gd name="T72" fmla="*/ 708 w 1670"/>
                  <a:gd name="T73" fmla="*/ 269 h 1366"/>
                  <a:gd name="T74" fmla="*/ 660 w 1670"/>
                  <a:gd name="T75" fmla="*/ 252 h 1366"/>
                  <a:gd name="T76" fmla="*/ 635 w 1670"/>
                  <a:gd name="T77" fmla="*/ 295 h 1366"/>
                  <a:gd name="T78" fmla="*/ 612 w 1670"/>
                  <a:gd name="T79" fmla="*/ 331 h 1366"/>
                  <a:gd name="T80" fmla="*/ 769 w 1670"/>
                  <a:gd name="T81" fmla="*/ 312 h 1366"/>
                  <a:gd name="T82" fmla="*/ 707 w 1670"/>
                  <a:gd name="T83" fmla="*/ 339 h 1366"/>
                  <a:gd name="T84" fmla="*/ 654 w 1670"/>
                  <a:gd name="T85" fmla="*/ 382 h 1366"/>
                  <a:gd name="T86" fmla="*/ 597 w 1670"/>
                  <a:gd name="T87" fmla="*/ 434 h 1366"/>
                  <a:gd name="T88" fmla="*/ 542 w 1670"/>
                  <a:gd name="T89" fmla="*/ 539 h 1366"/>
                  <a:gd name="T90" fmla="*/ 472 w 1670"/>
                  <a:gd name="T91" fmla="*/ 576 h 1366"/>
                  <a:gd name="T92" fmla="*/ 462 w 1670"/>
                  <a:gd name="T93" fmla="*/ 656 h 1366"/>
                  <a:gd name="T94" fmla="*/ 362 w 1670"/>
                  <a:gd name="T95" fmla="*/ 693 h 1366"/>
                  <a:gd name="T96" fmla="*/ 362 w 1670"/>
                  <a:gd name="T97" fmla="*/ 732 h 1366"/>
                  <a:gd name="T98" fmla="*/ 268 w 1670"/>
                  <a:gd name="T99" fmla="*/ 822 h 1366"/>
                  <a:gd name="T100" fmla="*/ 231 w 1670"/>
                  <a:gd name="T101" fmla="*/ 850 h 1366"/>
                  <a:gd name="T102" fmla="*/ 191 w 1670"/>
                  <a:gd name="T103" fmla="*/ 855 h 1366"/>
                  <a:gd name="T104" fmla="*/ 200 w 1670"/>
                  <a:gd name="T105" fmla="*/ 894 h 1366"/>
                  <a:gd name="T106" fmla="*/ 171 w 1670"/>
                  <a:gd name="T107" fmla="*/ 918 h 1366"/>
                  <a:gd name="T108" fmla="*/ 75 w 1670"/>
                  <a:gd name="T109" fmla="*/ 944 h 1366"/>
                  <a:gd name="T110" fmla="*/ 12 w 1670"/>
                  <a:gd name="T111" fmla="*/ 980 h 1366"/>
                  <a:gd name="T112" fmla="*/ 16 w 1670"/>
                  <a:gd name="T113" fmla="*/ 1093 h 1366"/>
                  <a:gd name="T114" fmla="*/ 51 w 1670"/>
                  <a:gd name="T115" fmla="*/ 1168 h 1366"/>
                  <a:gd name="T116" fmla="*/ 22 w 1670"/>
                  <a:gd name="T117" fmla="*/ 1201 h 1366"/>
                  <a:gd name="T118" fmla="*/ 65 w 1670"/>
                  <a:gd name="T119" fmla="*/ 1219 h 1366"/>
                  <a:gd name="T120" fmla="*/ 71 w 1670"/>
                  <a:gd name="T121" fmla="*/ 1317 h 1366"/>
                  <a:gd name="T122" fmla="*/ 293 w 1670"/>
                  <a:gd name="T123" fmla="*/ 1277 h 1366"/>
                  <a:gd name="T124" fmla="*/ 392 w 1670"/>
                  <a:gd name="T125" fmla="*/ 1260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0" h="1366">
                    <a:moveTo>
                      <a:pt x="405" y="1260"/>
                    </a:moveTo>
                    <a:cubicBezTo>
                      <a:pt x="414" y="1273"/>
                      <a:pt x="417" y="1278"/>
                      <a:pt x="426" y="1272"/>
                    </a:cubicBezTo>
                    <a:cubicBezTo>
                      <a:pt x="434" y="1266"/>
                      <a:pt x="441" y="1259"/>
                      <a:pt x="439" y="1247"/>
                    </a:cubicBezTo>
                    <a:cubicBezTo>
                      <a:pt x="436" y="1236"/>
                      <a:pt x="422" y="1235"/>
                      <a:pt x="429" y="1223"/>
                    </a:cubicBezTo>
                    <a:cubicBezTo>
                      <a:pt x="437" y="1212"/>
                      <a:pt x="439" y="1203"/>
                      <a:pt x="441" y="1193"/>
                    </a:cubicBezTo>
                    <a:cubicBezTo>
                      <a:pt x="443" y="1184"/>
                      <a:pt x="447" y="1180"/>
                      <a:pt x="459" y="1180"/>
                    </a:cubicBezTo>
                    <a:cubicBezTo>
                      <a:pt x="471" y="1180"/>
                      <a:pt x="478" y="1173"/>
                      <a:pt x="480" y="1165"/>
                    </a:cubicBezTo>
                    <a:cubicBezTo>
                      <a:pt x="483" y="1156"/>
                      <a:pt x="483" y="1141"/>
                      <a:pt x="485" y="1134"/>
                    </a:cubicBezTo>
                    <a:cubicBezTo>
                      <a:pt x="486" y="1126"/>
                      <a:pt x="492" y="1124"/>
                      <a:pt x="483" y="1116"/>
                    </a:cubicBezTo>
                    <a:cubicBezTo>
                      <a:pt x="474" y="1107"/>
                      <a:pt x="464" y="1099"/>
                      <a:pt x="469" y="1088"/>
                    </a:cubicBezTo>
                    <a:cubicBezTo>
                      <a:pt x="473" y="1078"/>
                      <a:pt x="471" y="1073"/>
                      <a:pt x="481" y="1072"/>
                    </a:cubicBezTo>
                    <a:cubicBezTo>
                      <a:pt x="492" y="1070"/>
                      <a:pt x="502" y="1064"/>
                      <a:pt x="505" y="1055"/>
                    </a:cubicBezTo>
                    <a:cubicBezTo>
                      <a:pt x="509" y="1045"/>
                      <a:pt x="508" y="1035"/>
                      <a:pt x="496" y="1031"/>
                    </a:cubicBezTo>
                    <a:cubicBezTo>
                      <a:pt x="484" y="1028"/>
                      <a:pt x="469" y="1023"/>
                      <a:pt x="467" y="1011"/>
                    </a:cubicBezTo>
                    <a:cubicBezTo>
                      <a:pt x="466" y="998"/>
                      <a:pt x="457" y="1000"/>
                      <a:pt x="459" y="987"/>
                    </a:cubicBezTo>
                    <a:cubicBezTo>
                      <a:pt x="462" y="974"/>
                      <a:pt x="466" y="974"/>
                      <a:pt x="466" y="961"/>
                    </a:cubicBezTo>
                    <a:cubicBezTo>
                      <a:pt x="466" y="948"/>
                      <a:pt x="467" y="944"/>
                      <a:pt x="461" y="938"/>
                    </a:cubicBezTo>
                    <a:cubicBezTo>
                      <a:pt x="456" y="932"/>
                      <a:pt x="457" y="921"/>
                      <a:pt x="457" y="908"/>
                    </a:cubicBezTo>
                    <a:cubicBezTo>
                      <a:pt x="457" y="894"/>
                      <a:pt x="470" y="884"/>
                      <a:pt x="465" y="876"/>
                    </a:cubicBezTo>
                    <a:cubicBezTo>
                      <a:pt x="461" y="867"/>
                      <a:pt x="451" y="864"/>
                      <a:pt x="453" y="852"/>
                    </a:cubicBezTo>
                    <a:cubicBezTo>
                      <a:pt x="454" y="840"/>
                      <a:pt x="460" y="830"/>
                      <a:pt x="466" y="822"/>
                    </a:cubicBezTo>
                    <a:cubicBezTo>
                      <a:pt x="473" y="813"/>
                      <a:pt x="486" y="790"/>
                      <a:pt x="493" y="785"/>
                    </a:cubicBezTo>
                    <a:cubicBezTo>
                      <a:pt x="500" y="781"/>
                      <a:pt x="505" y="769"/>
                      <a:pt x="524" y="773"/>
                    </a:cubicBezTo>
                    <a:cubicBezTo>
                      <a:pt x="543" y="777"/>
                      <a:pt x="563" y="774"/>
                      <a:pt x="570" y="774"/>
                    </a:cubicBezTo>
                    <a:cubicBezTo>
                      <a:pt x="578" y="774"/>
                      <a:pt x="577" y="760"/>
                      <a:pt x="583" y="760"/>
                    </a:cubicBezTo>
                    <a:cubicBezTo>
                      <a:pt x="589" y="760"/>
                      <a:pt x="593" y="754"/>
                      <a:pt x="590" y="747"/>
                    </a:cubicBezTo>
                    <a:cubicBezTo>
                      <a:pt x="587" y="740"/>
                      <a:pt x="590" y="734"/>
                      <a:pt x="577" y="730"/>
                    </a:cubicBezTo>
                    <a:cubicBezTo>
                      <a:pt x="565" y="727"/>
                      <a:pt x="544" y="720"/>
                      <a:pt x="563" y="707"/>
                    </a:cubicBezTo>
                    <a:cubicBezTo>
                      <a:pt x="582" y="694"/>
                      <a:pt x="605" y="665"/>
                      <a:pt x="604" y="651"/>
                    </a:cubicBezTo>
                    <a:cubicBezTo>
                      <a:pt x="602" y="636"/>
                      <a:pt x="605" y="634"/>
                      <a:pt x="610" y="621"/>
                    </a:cubicBezTo>
                    <a:cubicBezTo>
                      <a:pt x="614" y="609"/>
                      <a:pt x="617" y="606"/>
                      <a:pt x="617" y="594"/>
                    </a:cubicBezTo>
                    <a:cubicBezTo>
                      <a:pt x="617" y="582"/>
                      <a:pt x="600" y="558"/>
                      <a:pt x="618" y="558"/>
                    </a:cubicBezTo>
                    <a:cubicBezTo>
                      <a:pt x="637" y="557"/>
                      <a:pt x="679" y="543"/>
                      <a:pt x="678" y="530"/>
                    </a:cubicBezTo>
                    <a:cubicBezTo>
                      <a:pt x="677" y="516"/>
                      <a:pt x="666" y="517"/>
                      <a:pt x="683" y="509"/>
                    </a:cubicBezTo>
                    <a:cubicBezTo>
                      <a:pt x="700" y="501"/>
                      <a:pt x="701" y="483"/>
                      <a:pt x="714" y="475"/>
                    </a:cubicBezTo>
                    <a:cubicBezTo>
                      <a:pt x="727" y="467"/>
                      <a:pt x="729" y="465"/>
                      <a:pt x="729" y="455"/>
                    </a:cubicBezTo>
                    <a:cubicBezTo>
                      <a:pt x="730" y="446"/>
                      <a:pt x="733" y="437"/>
                      <a:pt x="724" y="432"/>
                    </a:cubicBezTo>
                    <a:cubicBezTo>
                      <a:pt x="715" y="426"/>
                      <a:pt x="707" y="415"/>
                      <a:pt x="720" y="412"/>
                    </a:cubicBezTo>
                    <a:cubicBezTo>
                      <a:pt x="732" y="409"/>
                      <a:pt x="737" y="413"/>
                      <a:pt x="740" y="399"/>
                    </a:cubicBezTo>
                    <a:cubicBezTo>
                      <a:pt x="743" y="386"/>
                      <a:pt x="749" y="371"/>
                      <a:pt x="760" y="365"/>
                    </a:cubicBezTo>
                    <a:cubicBezTo>
                      <a:pt x="770" y="359"/>
                      <a:pt x="770" y="344"/>
                      <a:pt x="783" y="343"/>
                    </a:cubicBezTo>
                    <a:cubicBezTo>
                      <a:pt x="796" y="343"/>
                      <a:pt x="800" y="342"/>
                      <a:pt x="802" y="349"/>
                    </a:cubicBezTo>
                    <a:cubicBezTo>
                      <a:pt x="805" y="356"/>
                      <a:pt x="817" y="360"/>
                      <a:pt x="822" y="359"/>
                    </a:cubicBezTo>
                    <a:cubicBezTo>
                      <a:pt x="828" y="358"/>
                      <a:pt x="838" y="353"/>
                      <a:pt x="841" y="344"/>
                    </a:cubicBezTo>
                    <a:cubicBezTo>
                      <a:pt x="845" y="335"/>
                      <a:pt x="839" y="328"/>
                      <a:pt x="839" y="319"/>
                    </a:cubicBezTo>
                    <a:cubicBezTo>
                      <a:pt x="839" y="311"/>
                      <a:pt x="827" y="293"/>
                      <a:pt x="850" y="293"/>
                    </a:cubicBezTo>
                    <a:cubicBezTo>
                      <a:pt x="873" y="293"/>
                      <a:pt x="875" y="302"/>
                      <a:pt x="890" y="304"/>
                    </a:cubicBezTo>
                    <a:cubicBezTo>
                      <a:pt x="904" y="305"/>
                      <a:pt x="923" y="303"/>
                      <a:pt x="930" y="310"/>
                    </a:cubicBezTo>
                    <a:cubicBezTo>
                      <a:pt x="937" y="318"/>
                      <a:pt x="959" y="328"/>
                      <a:pt x="962" y="319"/>
                    </a:cubicBezTo>
                    <a:cubicBezTo>
                      <a:pt x="966" y="310"/>
                      <a:pt x="970" y="303"/>
                      <a:pt x="966" y="300"/>
                    </a:cubicBezTo>
                    <a:cubicBezTo>
                      <a:pt x="961" y="297"/>
                      <a:pt x="964" y="289"/>
                      <a:pt x="971" y="285"/>
                    </a:cubicBezTo>
                    <a:cubicBezTo>
                      <a:pt x="977" y="281"/>
                      <a:pt x="983" y="284"/>
                      <a:pt x="983" y="274"/>
                    </a:cubicBezTo>
                    <a:cubicBezTo>
                      <a:pt x="983" y="263"/>
                      <a:pt x="984" y="258"/>
                      <a:pt x="977" y="254"/>
                    </a:cubicBezTo>
                    <a:cubicBezTo>
                      <a:pt x="970" y="250"/>
                      <a:pt x="948" y="241"/>
                      <a:pt x="973" y="239"/>
                    </a:cubicBezTo>
                    <a:cubicBezTo>
                      <a:pt x="999" y="236"/>
                      <a:pt x="1012" y="249"/>
                      <a:pt x="1024" y="234"/>
                    </a:cubicBezTo>
                    <a:cubicBezTo>
                      <a:pt x="1035" y="218"/>
                      <a:pt x="1055" y="199"/>
                      <a:pt x="1068" y="220"/>
                    </a:cubicBezTo>
                    <a:cubicBezTo>
                      <a:pt x="1082" y="241"/>
                      <a:pt x="1105" y="269"/>
                      <a:pt x="1115" y="275"/>
                    </a:cubicBezTo>
                    <a:cubicBezTo>
                      <a:pt x="1124" y="281"/>
                      <a:pt x="1134" y="284"/>
                      <a:pt x="1145" y="284"/>
                    </a:cubicBezTo>
                    <a:cubicBezTo>
                      <a:pt x="1155" y="284"/>
                      <a:pt x="1186" y="288"/>
                      <a:pt x="1195" y="277"/>
                    </a:cubicBezTo>
                    <a:cubicBezTo>
                      <a:pt x="1203" y="266"/>
                      <a:pt x="1209" y="265"/>
                      <a:pt x="1216" y="270"/>
                    </a:cubicBezTo>
                    <a:cubicBezTo>
                      <a:pt x="1223" y="275"/>
                      <a:pt x="1231" y="280"/>
                      <a:pt x="1241" y="280"/>
                    </a:cubicBezTo>
                    <a:cubicBezTo>
                      <a:pt x="1250" y="280"/>
                      <a:pt x="1256" y="289"/>
                      <a:pt x="1269" y="292"/>
                    </a:cubicBezTo>
                    <a:cubicBezTo>
                      <a:pt x="1281" y="294"/>
                      <a:pt x="1283" y="291"/>
                      <a:pt x="1286" y="281"/>
                    </a:cubicBezTo>
                    <a:cubicBezTo>
                      <a:pt x="1289" y="270"/>
                      <a:pt x="1290" y="263"/>
                      <a:pt x="1301" y="261"/>
                    </a:cubicBezTo>
                    <a:cubicBezTo>
                      <a:pt x="1312" y="259"/>
                      <a:pt x="1324" y="267"/>
                      <a:pt x="1327" y="247"/>
                    </a:cubicBezTo>
                    <a:cubicBezTo>
                      <a:pt x="1329" y="227"/>
                      <a:pt x="1320" y="204"/>
                      <a:pt x="1330" y="196"/>
                    </a:cubicBezTo>
                    <a:cubicBezTo>
                      <a:pt x="1340" y="188"/>
                      <a:pt x="1333" y="175"/>
                      <a:pt x="1349" y="166"/>
                    </a:cubicBezTo>
                    <a:cubicBezTo>
                      <a:pt x="1365" y="158"/>
                      <a:pt x="1375" y="143"/>
                      <a:pt x="1394" y="146"/>
                    </a:cubicBezTo>
                    <a:cubicBezTo>
                      <a:pt x="1414" y="148"/>
                      <a:pt x="1422" y="148"/>
                      <a:pt x="1427" y="140"/>
                    </a:cubicBezTo>
                    <a:cubicBezTo>
                      <a:pt x="1432" y="131"/>
                      <a:pt x="1443" y="118"/>
                      <a:pt x="1458" y="129"/>
                    </a:cubicBezTo>
                    <a:cubicBezTo>
                      <a:pt x="1473" y="140"/>
                      <a:pt x="1494" y="164"/>
                      <a:pt x="1509" y="164"/>
                    </a:cubicBezTo>
                    <a:cubicBezTo>
                      <a:pt x="1525" y="164"/>
                      <a:pt x="1535" y="165"/>
                      <a:pt x="1541" y="175"/>
                    </a:cubicBezTo>
                    <a:cubicBezTo>
                      <a:pt x="1548" y="186"/>
                      <a:pt x="1551" y="195"/>
                      <a:pt x="1547" y="202"/>
                    </a:cubicBezTo>
                    <a:cubicBezTo>
                      <a:pt x="1542" y="209"/>
                      <a:pt x="1521" y="231"/>
                      <a:pt x="1526" y="240"/>
                    </a:cubicBezTo>
                    <a:cubicBezTo>
                      <a:pt x="1531" y="249"/>
                      <a:pt x="1545" y="248"/>
                      <a:pt x="1552" y="235"/>
                    </a:cubicBezTo>
                    <a:cubicBezTo>
                      <a:pt x="1559" y="223"/>
                      <a:pt x="1563" y="210"/>
                      <a:pt x="1573" y="210"/>
                    </a:cubicBezTo>
                    <a:cubicBezTo>
                      <a:pt x="1583" y="209"/>
                      <a:pt x="1593" y="210"/>
                      <a:pt x="1597" y="199"/>
                    </a:cubicBezTo>
                    <a:cubicBezTo>
                      <a:pt x="1601" y="188"/>
                      <a:pt x="1609" y="175"/>
                      <a:pt x="1619" y="179"/>
                    </a:cubicBezTo>
                    <a:cubicBezTo>
                      <a:pt x="1630" y="183"/>
                      <a:pt x="1629" y="188"/>
                      <a:pt x="1639" y="189"/>
                    </a:cubicBezTo>
                    <a:cubicBezTo>
                      <a:pt x="1648" y="189"/>
                      <a:pt x="1657" y="189"/>
                      <a:pt x="1655" y="180"/>
                    </a:cubicBezTo>
                    <a:cubicBezTo>
                      <a:pt x="1653" y="173"/>
                      <a:pt x="1652" y="164"/>
                      <a:pt x="1655" y="157"/>
                    </a:cubicBezTo>
                    <a:cubicBezTo>
                      <a:pt x="1651" y="156"/>
                      <a:pt x="1646" y="155"/>
                      <a:pt x="1640" y="154"/>
                    </a:cubicBezTo>
                    <a:cubicBezTo>
                      <a:pt x="1623" y="153"/>
                      <a:pt x="1622" y="166"/>
                      <a:pt x="1607" y="167"/>
                    </a:cubicBezTo>
                    <a:cubicBezTo>
                      <a:pt x="1593" y="169"/>
                      <a:pt x="1616" y="152"/>
                      <a:pt x="1596" y="152"/>
                    </a:cubicBezTo>
                    <a:cubicBezTo>
                      <a:pt x="1576" y="152"/>
                      <a:pt x="1566" y="144"/>
                      <a:pt x="1568" y="134"/>
                    </a:cubicBezTo>
                    <a:cubicBezTo>
                      <a:pt x="1571" y="124"/>
                      <a:pt x="1589" y="120"/>
                      <a:pt x="1604" y="123"/>
                    </a:cubicBezTo>
                    <a:cubicBezTo>
                      <a:pt x="1620" y="126"/>
                      <a:pt x="1629" y="111"/>
                      <a:pt x="1639" y="107"/>
                    </a:cubicBezTo>
                    <a:cubicBezTo>
                      <a:pt x="1649" y="103"/>
                      <a:pt x="1662" y="104"/>
                      <a:pt x="1666" y="94"/>
                    </a:cubicBezTo>
                    <a:cubicBezTo>
                      <a:pt x="1670" y="84"/>
                      <a:pt x="1649" y="76"/>
                      <a:pt x="1637" y="74"/>
                    </a:cubicBezTo>
                    <a:cubicBezTo>
                      <a:pt x="1626" y="73"/>
                      <a:pt x="1620" y="71"/>
                      <a:pt x="1620" y="64"/>
                    </a:cubicBezTo>
                    <a:cubicBezTo>
                      <a:pt x="1620" y="57"/>
                      <a:pt x="1606" y="56"/>
                      <a:pt x="1593" y="56"/>
                    </a:cubicBezTo>
                    <a:cubicBezTo>
                      <a:pt x="1580" y="56"/>
                      <a:pt x="1560" y="60"/>
                      <a:pt x="1558" y="51"/>
                    </a:cubicBezTo>
                    <a:cubicBezTo>
                      <a:pt x="1557" y="43"/>
                      <a:pt x="1551" y="35"/>
                      <a:pt x="1534" y="33"/>
                    </a:cubicBezTo>
                    <a:cubicBezTo>
                      <a:pt x="1517" y="30"/>
                      <a:pt x="1513" y="38"/>
                      <a:pt x="1508" y="56"/>
                    </a:cubicBezTo>
                    <a:cubicBezTo>
                      <a:pt x="1504" y="73"/>
                      <a:pt x="1507" y="77"/>
                      <a:pt x="1488" y="74"/>
                    </a:cubicBezTo>
                    <a:cubicBezTo>
                      <a:pt x="1470" y="71"/>
                      <a:pt x="1488" y="57"/>
                      <a:pt x="1481" y="57"/>
                    </a:cubicBezTo>
                    <a:cubicBezTo>
                      <a:pt x="1474" y="57"/>
                      <a:pt x="1470" y="33"/>
                      <a:pt x="1485" y="31"/>
                    </a:cubicBezTo>
                    <a:cubicBezTo>
                      <a:pt x="1501" y="30"/>
                      <a:pt x="1495" y="14"/>
                      <a:pt x="1488" y="7"/>
                    </a:cubicBezTo>
                    <a:cubicBezTo>
                      <a:pt x="1481" y="0"/>
                      <a:pt x="1450" y="8"/>
                      <a:pt x="1431" y="13"/>
                    </a:cubicBezTo>
                    <a:cubicBezTo>
                      <a:pt x="1412" y="17"/>
                      <a:pt x="1419" y="27"/>
                      <a:pt x="1427" y="30"/>
                    </a:cubicBezTo>
                    <a:cubicBezTo>
                      <a:pt x="1434" y="33"/>
                      <a:pt x="1435" y="44"/>
                      <a:pt x="1425" y="48"/>
                    </a:cubicBezTo>
                    <a:cubicBezTo>
                      <a:pt x="1415" y="53"/>
                      <a:pt x="1407" y="60"/>
                      <a:pt x="1401" y="74"/>
                    </a:cubicBezTo>
                    <a:cubicBezTo>
                      <a:pt x="1395" y="89"/>
                      <a:pt x="1384" y="86"/>
                      <a:pt x="1384" y="67"/>
                    </a:cubicBezTo>
                    <a:cubicBezTo>
                      <a:pt x="1384" y="48"/>
                      <a:pt x="1382" y="54"/>
                      <a:pt x="1389" y="41"/>
                    </a:cubicBezTo>
                    <a:cubicBezTo>
                      <a:pt x="1396" y="28"/>
                      <a:pt x="1388" y="21"/>
                      <a:pt x="1375" y="25"/>
                    </a:cubicBezTo>
                    <a:cubicBezTo>
                      <a:pt x="1362" y="30"/>
                      <a:pt x="1358" y="44"/>
                      <a:pt x="1345" y="54"/>
                    </a:cubicBezTo>
                    <a:cubicBezTo>
                      <a:pt x="1332" y="64"/>
                      <a:pt x="1331" y="63"/>
                      <a:pt x="1319" y="89"/>
                    </a:cubicBezTo>
                    <a:cubicBezTo>
                      <a:pt x="1308" y="114"/>
                      <a:pt x="1306" y="109"/>
                      <a:pt x="1289" y="111"/>
                    </a:cubicBezTo>
                    <a:cubicBezTo>
                      <a:pt x="1272" y="114"/>
                      <a:pt x="1286" y="91"/>
                      <a:pt x="1290" y="81"/>
                    </a:cubicBezTo>
                    <a:cubicBezTo>
                      <a:pt x="1295" y="71"/>
                      <a:pt x="1298" y="60"/>
                      <a:pt x="1318" y="54"/>
                    </a:cubicBezTo>
                    <a:cubicBezTo>
                      <a:pt x="1338" y="48"/>
                      <a:pt x="1322" y="34"/>
                      <a:pt x="1333" y="27"/>
                    </a:cubicBezTo>
                    <a:cubicBezTo>
                      <a:pt x="1345" y="20"/>
                      <a:pt x="1355" y="14"/>
                      <a:pt x="1349" y="7"/>
                    </a:cubicBezTo>
                    <a:cubicBezTo>
                      <a:pt x="1343" y="0"/>
                      <a:pt x="1325" y="0"/>
                      <a:pt x="1315" y="0"/>
                    </a:cubicBezTo>
                    <a:cubicBezTo>
                      <a:pt x="1305" y="0"/>
                      <a:pt x="1309" y="10"/>
                      <a:pt x="1313" y="23"/>
                    </a:cubicBezTo>
                    <a:cubicBezTo>
                      <a:pt x="1318" y="35"/>
                      <a:pt x="1306" y="24"/>
                      <a:pt x="1290" y="25"/>
                    </a:cubicBezTo>
                    <a:cubicBezTo>
                      <a:pt x="1275" y="27"/>
                      <a:pt x="1276" y="8"/>
                      <a:pt x="1260" y="7"/>
                    </a:cubicBezTo>
                    <a:cubicBezTo>
                      <a:pt x="1245" y="5"/>
                      <a:pt x="1255" y="17"/>
                      <a:pt x="1256" y="33"/>
                    </a:cubicBezTo>
                    <a:cubicBezTo>
                      <a:pt x="1257" y="48"/>
                      <a:pt x="1247" y="34"/>
                      <a:pt x="1240" y="28"/>
                    </a:cubicBezTo>
                    <a:cubicBezTo>
                      <a:pt x="1233" y="23"/>
                      <a:pt x="1233" y="38"/>
                      <a:pt x="1245" y="44"/>
                    </a:cubicBezTo>
                    <a:cubicBezTo>
                      <a:pt x="1256" y="50"/>
                      <a:pt x="1240" y="51"/>
                      <a:pt x="1233" y="56"/>
                    </a:cubicBezTo>
                    <a:cubicBezTo>
                      <a:pt x="1226" y="60"/>
                      <a:pt x="1216" y="61"/>
                      <a:pt x="1216" y="54"/>
                    </a:cubicBezTo>
                    <a:cubicBezTo>
                      <a:pt x="1216" y="47"/>
                      <a:pt x="1197" y="37"/>
                      <a:pt x="1187" y="53"/>
                    </a:cubicBezTo>
                    <a:cubicBezTo>
                      <a:pt x="1177" y="68"/>
                      <a:pt x="1183" y="66"/>
                      <a:pt x="1166" y="70"/>
                    </a:cubicBezTo>
                    <a:cubicBezTo>
                      <a:pt x="1149" y="74"/>
                      <a:pt x="1156" y="86"/>
                      <a:pt x="1163" y="91"/>
                    </a:cubicBezTo>
                    <a:cubicBezTo>
                      <a:pt x="1170" y="97"/>
                      <a:pt x="1179" y="97"/>
                      <a:pt x="1177" y="110"/>
                    </a:cubicBezTo>
                    <a:cubicBezTo>
                      <a:pt x="1176" y="123"/>
                      <a:pt x="1173" y="130"/>
                      <a:pt x="1161" y="129"/>
                    </a:cubicBezTo>
                    <a:cubicBezTo>
                      <a:pt x="1150" y="127"/>
                      <a:pt x="1149" y="107"/>
                      <a:pt x="1144" y="91"/>
                    </a:cubicBezTo>
                    <a:cubicBezTo>
                      <a:pt x="1140" y="76"/>
                      <a:pt x="1128" y="83"/>
                      <a:pt x="1127" y="73"/>
                    </a:cubicBezTo>
                    <a:cubicBezTo>
                      <a:pt x="1126" y="63"/>
                      <a:pt x="1151" y="61"/>
                      <a:pt x="1163" y="57"/>
                    </a:cubicBezTo>
                    <a:cubicBezTo>
                      <a:pt x="1174" y="53"/>
                      <a:pt x="1179" y="40"/>
                      <a:pt x="1171" y="38"/>
                    </a:cubicBezTo>
                    <a:cubicBezTo>
                      <a:pt x="1164" y="37"/>
                      <a:pt x="1154" y="38"/>
                      <a:pt x="1151" y="48"/>
                    </a:cubicBezTo>
                    <a:cubicBezTo>
                      <a:pt x="1149" y="58"/>
                      <a:pt x="1138" y="58"/>
                      <a:pt x="1131" y="47"/>
                    </a:cubicBezTo>
                    <a:cubicBezTo>
                      <a:pt x="1124" y="35"/>
                      <a:pt x="1121" y="54"/>
                      <a:pt x="1098" y="61"/>
                    </a:cubicBezTo>
                    <a:cubicBezTo>
                      <a:pt x="1075" y="68"/>
                      <a:pt x="1103" y="71"/>
                      <a:pt x="1110" y="77"/>
                    </a:cubicBezTo>
                    <a:cubicBezTo>
                      <a:pt x="1117" y="83"/>
                      <a:pt x="1120" y="89"/>
                      <a:pt x="1118" y="100"/>
                    </a:cubicBezTo>
                    <a:cubicBezTo>
                      <a:pt x="1117" y="111"/>
                      <a:pt x="1101" y="106"/>
                      <a:pt x="1093" y="93"/>
                    </a:cubicBezTo>
                    <a:cubicBezTo>
                      <a:pt x="1084" y="80"/>
                      <a:pt x="1064" y="93"/>
                      <a:pt x="1050" y="99"/>
                    </a:cubicBezTo>
                    <a:cubicBezTo>
                      <a:pt x="1035" y="104"/>
                      <a:pt x="1030" y="109"/>
                      <a:pt x="1041" y="109"/>
                    </a:cubicBezTo>
                    <a:cubicBezTo>
                      <a:pt x="1052" y="109"/>
                      <a:pt x="1055" y="121"/>
                      <a:pt x="1068" y="121"/>
                    </a:cubicBezTo>
                    <a:cubicBezTo>
                      <a:pt x="1081" y="121"/>
                      <a:pt x="1084" y="134"/>
                      <a:pt x="1080" y="142"/>
                    </a:cubicBezTo>
                    <a:cubicBezTo>
                      <a:pt x="1075" y="149"/>
                      <a:pt x="1065" y="143"/>
                      <a:pt x="1063" y="133"/>
                    </a:cubicBezTo>
                    <a:cubicBezTo>
                      <a:pt x="1060" y="123"/>
                      <a:pt x="1044" y="130"/>
                      <a:pt x="1037" y="132"/>
                    </a:cubicBezTo>
                    <a:cubicBezTo>
                      <a:pt x="1030" y="133"/>
                      <a:pt x="1020" y="121"/>
                      <a:pt x="1014" y="106"/>
                    </a:cubicBezTo>
                    <a:cubicBezTo>
                      <a:pt x="1008" y="90"/>
                      <a:pt x="991" y="107"/>
                      <a:pt x="991" y="116"/>
                    </a:cubicBezTo>
                    <a:cubicBezTo>
                      <a:pt x="991" y="124"/>
                      <a:pt x="998" y="132"/>
                      <a:pt x="1011" y="133"/>
                    </a:cubicBezTo>
                    <a:cubicBezTo>
                      <a:pt x="1024" y="134"/>
                      <a:pt x="1018" y="149"/>
                      <a:pt x="1014" y="149"/>
                    </a:cubicBezTo>
                    <a:cubicBezTo>
                      <a:pt x="1009" y="149"/>
                      <a:pt x="999" y="152"/>
                      <a:pt x="1005" y="175"/>
                    </a:cubicBezTo>
                    <a:cubicBezTo>
                      <a:pt x="1011" y="197"/>
                      <a:pt x="997" y="187"/>
                      <a:pt x="984" y="185"/>
                    </a:cubicBezTo>
                    <a:cubicBezTo>
                      <a:pt x="971" y="182"/>
                      <a:pt x="985" y="162"/>
                      <a:pt x="988" y="153"/>
                    </a:cubicBezTo>
                    <a:cubicBezTo>
                      <a:pt x="991" y="144"/>
                      <a:pt x="979" y="130"/>
                      <a:pt x="978" y="136"/>
                    </a:cubicBezTo>
                    <a:cubicBezTo>
                      <a:pt x="977" y="142"/>
                      <a:pt x="968" y="137"/>
                      <a:pt x="962" y="149"/>
                    </a:cubicBezTo>
                    <a:cubicBezTo>
                      <a:pt x="956" y="160"/>
                      <a:pt x="954" y="162"/>
                      <a:pt x="944" y="157"/>
                    </a:cubicBezTo>
                    <a:cubicBezTo>
                      <a:pt x="934" y="153"/>
                      <a:pt x="948" y="139"/>
                      <a:pt x="958" y="136"/>
                    </a:cubicBezTo>
                    <a:cubicBezTo>
                      <a:pt x="968" y="133"/>
                      <a:pt x="958" y="113"/>
                      <a:pt x="951" y="104"/>
                    </a:cubicBezTo>
                    <a:cubicBezTo>
                      <a:pt x="944" y="96"/>
                      <a:pt x="923" y="97"/>
                      <a:pt x="936" y="107"/>
                    </a:cubicBezTo>
                    <a:cubicBezTo>
                      <a:pt x="949" y="117"/>
                      <a:pt x="941" y="120"/>
                      <a:pt x="939" y="127"/>
                    </a:cubicBezTo>
                    <a:cubicBezTo>
                      <a:pt x="938" y="134"/>
                      <a:pt x="925" y="127"/>
                      <a:pt x="923" y="120"/>
                    </a:cubicBezTo>
                    <a:cubicBezTo>
                      <a:pt x="922" y="113"/>
                      <a:pt x="915" y="107"/>
                      <a:pt x="908" y="119"/>
                    </a:cubicBezTo>
                    <a:cubicBezTo>
                      <a:pt x="901" y="130"/>
                      <a:pt x="889" y="113"/>
                      <a:pt x="882" y="114"/>
                    </a:cubicBezTo>
                    <a:cubicBezTo>
                      <a:pt x="875" y="116"/>
                      <a:pt x="876" y="134"/>
                      <a:pt x="889" y="142"/>
                    </a:cubicBezTo>
                    <a:cubicBezTo>
                      <a:pt x="902" y="149"/>
                      <a:pt x="891" y="160"/>
                      <a:pt x="902" y="167"/>
                    </a:cubicBezTo>
                    <a:cubicBezTo>
                      <a:pt x="913" y="175"/>
                      <a:pt x="902" y="185"/>
                      <a:pt x="895" y="189"/>
                    </a:cubicBezTo>
                    <a:cubicBezTo>
                      <a:pt x="888" y="193"/>
                      <a:pt x="883" y="190"/>
                      <a:pt x="883" y="175"/>
                    </a:cubicBezTo>
                    <a:cubicBezTo>
                      <a:pt x="883" y="159"/>
                      <a:pt x="882" y="153"/>
                      <a:pt x="882" y="153"/>
                    </a:cubicBezTo>
                    <a:cubicBezTo>
                      <a:pt x="882" y="153"/>
                      <a:pt x="875" y="153"/>
                      <a:pt x="865" y="154"/>
                    </a:cubicBezTo>
                    <a:cubicBezTo>
                      <a:pt x="855" y="156"/>
                      <a:pt x="863" y="172"/>
                      <a:pt x="869" y="187"/>
                    </a:cubicBezTo>
                    <a:cubicBezTo>
                      <a:pt x="875" y="203"/>
                      <a:pt x="865" y="216"/>
                      <a:pt x="860" y="203"/>
                    </a:cubicBezTo>
                    <a:cubicBezTo>
                      <a:pt x="856" y="190"/>
                      <a:pt x="849" y="164"/>
                      <a:pt x="848" y="180"/>
                    </a:cubicBezTo>
                    <a:cubicBezTo>
                      <a:pt x="846" y="196"/>
                      <a:pt x="836" y="192"/>
                      <a:pt x="833" y="185"/>
                    </a:cubicBezTo>
                    <a:cubicBezTo>
                      <a:pt x="830" y="177"/>
                      <a:pt x="825" y="176"/>
                      <a:pt x="813" y="176"/>
                    </a:cubicBezTo>
                    <a:cubicBezTo>
                      <a:pt x="802" y="176"/>
                      <a:pt x="784" y="180"/>
                      <a:pt x="784" y="187"/>
                    </a:cubicBezTo>
                    <a:cubicBezTo>
                      <a:pt x="784" y="195"/>
                      <a:pt x="766" y="190"/>
                      <a:pt x="760" y="200"/>
                    </a:cubicBezTo>
                    <a:cubicBezTo>
                      <a:pt x="754" y="210"/>
                      <a:pt x="774" y="207"/>
                      <a:pt x="779" y="216"/>
                    </a:cubicBezTo>
                    <a:cubicBezTo>
                      <a:pt x="783" y="225"/>
                      <a:pt x="777" y="223"/>
                      <a:pt x="762" y="223"/>
                    </a:cubicBezTo>
                    <a:cubicBezTo>
                      <a:pt x="746" y="223"/>
                      <a:pt x="763" y="235"/>
                      <a:pt x="772" y="240"/>
                    </a:cubicBezTo>
                    <a:cubicBezTo>
                      <a:pt x="780" y="246"/>
                      <a:pt x="790" y="245"/>
                      <a:pt x="793" y="233"/>
                    </a:cubicBezTo>
                    <a:cubicBezTo>
                      <a:pt x="796" y="222"/>
                      <a:pt x="809" y="220"/>
                      <a:pt x="816" y="226"/>
                    </a:cubicBezTo>
                    <a:cubicBezTo>
                      <a:pt x="823" y="232"/>
                      <a:pt x="815" y="233"/>
                      <a:pt x="803" y="239"/>
                    </a:cubicBezTo>
                    <a:cubicBezTo>
                      <a:pt x="792" y="245"/>
                      <a:pt x="803" y="259"/>
                      <a:pt x="802" y="263"/>
                    </a:cubicBezTo>
                    <a:cubicBezTo>
                      <a:pt x="800" y="268"/>
                      <a:pt x="779" y="256"/>
                      <a:pt x="779" y="256"/>
                    </a:cubicBezTo>
                    <a:cubicBezTo>
                      <a:pt x="779" y="256"/>
                      <a:pt x="767" y="261"/>
                      <a:pt x="764" y="269"/>
                    </a:cubicBezTo>
                    <a:cubicBezTo>
                      <a:pt x="762" y="278"/>
                      <a:pt x="753" y="269"/>
                      <a:pt x="747" y="269"/>
                    </a:cubicBezTo>
                    <a:cubicBezTo>
                      <a:pt x="741" y="269"/>
                      <a:pt x="739" y="261"/>
                      <a:pt x="739" y="248"/>
                    </a:cubicBezTo>
                    <a:cubicBezTo>
                      <a:pt x="739" y="235"/>
                      <a:pt x="723" y="242"/>
                      <a:pt x="723" y="255"/>
                    </a:cubicBezTo>
                    <a:cubicBezTo>
                      <a:pt x="723" y="268"/>
                      <a:pt x="720" y="268"/>
                      <a:pt x="708" y="269"/>
                    </a:cubicBezTo>
                    <a:cubicBezTo>
                      <a:pt x="697" y="271"/>
                      <a:pt x="701" y="262"/>
                      <a:pt x="698" y="248"/>
                    </a:cubicBezTo>
                    <a:cubicBezTo>
                      <a:pt x="696" y="233"/>
                      <a:pt x="716" y="229"/>
                      <a:pt x="717" y="216"/>
                    </a:cubicBezTo>
                    <a:cubicBezTo>
                      <a:pt x="719" y="203"/>
                      <a:pt x="698" y="218"/>
                      <a:pt x="683" y="230"/>
                    </a:cubicBezTo>
                    <a:cubicBezTo>
                      <a:pt x="667" y="243"/>
                      <a:pt x="676" y="240"/>
                      <a:pt x="686" y="258"/>
                    </a:cubicBezTo>
                    <a:cubicBezTo>
                      <a:pt x="696" y="275"/>
                      <a:pt x="664" y="262"/>
                      <a:pt x="660" y="252"/>
                    </a:cubicBezTo>
                    <a:cubicBezTo>
                      <a:pt x="655" y="242"/>
                      <a:pt x="653" y="256"/>
                      <a:pt x="644" y="256"/>
                    </a:cubicBezTo>
                    <a:cubicBezTo>
                      <a:pt x="635" y="256"/>
                      <a:pt x="624" y="258"/>
                      <a:pt x="612" y="273"/>
                    </a:cubicBezTo>
                    <a:cubicBezTo>
                      <a:pt x="601" y="289"/>
                      <a:pt x="625" y="278"/>
                      <a:pt x="638" y="278"/>
                    </a:cubicBezTo>
                    <a:cubicBezTo>
                      <a:pt x="651" y="278"/>
                      <a:pt x="661" y="291"/>
                      <a:pt x="661" y="296"/>
                    </a:cubicBezTo>
                    <a:cubicBezTo>
                      <a:pt x="661" y="302"/>
                      <a:pt x="647" y="301"/>
                      <a:pt x="635" y="295"/>
                    </a:cubicBezTo>
                    <a:cubicBezTo>
                      <a:pt x="624" y="289"/>
                      <a:pt x="618" y="293"/>
                      <a:pt x="612" y="308"/>
                    </a:cubicBezTo>
                    <a:cubicBezTo>
                      <a:pt x="607" y="322"/>
                      <a:pt x="588" y="315"/>
                      <a:pt x="567" y="318"/>
                    </a:cubicBezTo>
                    <a:cubicBezTo>
                      <a:pt x="545" y="321"/>
                      <a:pt x="552" y="334"/>
                      <a:pt x="559" y="341"/>
                    </a:cubicBezTo>
                    <a:cubicBezTo>
                      <a:pt x="567" y="348"/>
                      <a:pt x="584" y="338"/>
                      <a:pt x="590" y="334"/>
                    </a:cubicBezTo>
                    <a:cubicBezTo>
                      <a:pt x="595" y="329"/>
                      <a:pt x="598" y="325"/>
                      <a:pt x="612" y="331"/>
                    </a:cubicBezTo>
                    <a:cubicBezTo>
                      <a:pt x="627" y="336"/>
                      <a:pt x="637" y="324"/>
                      <a:pt x="647" y="318"/>
                    </a:cubicBezTo>
                    <a:cubicBezTo>
                      <a:pt x="657" y="312"/>
                      <a:pt x="665" y="309"/>
                      <a:pt x="678" y="314"/>
                    </a:cubicBezTo>
                    <a:cubicBezTo>
                      <a:pt x="691" y="318"/>
                      <a:pt x="706" y="308"/>
                      <a:pt x="716" y="306"/>
                    </a:cubicBezTo>
                    <a:cubicBezTo>
                      <a:pt x="726" y="305"/>
                      <a:pt x="733" y="293"/>
                      <a:pt x="740" y="293"/>
                    </a:cubicBezTo>
                    <a:cubicBezTo>
                      <a:pt x="747" y="293"/>
                      <a:pt x="769" y="304"/>
                      <a:pt x="769" y="312"/>
                    </a:cubicBezTo>
                    <a:cubicBezTo>
                      <a:pt x="769" y="321"/>
                      <a:pt x="754" y="314"/>
                      <a:pt x="746" y="309"/>
                    </a:cubicBezTo>
                    <a:cubicBezTo>
                      <a:pt x="737" y="305"/>
                      <a:pt x="729" y="305"/>
                      <a:pt x="733" y="321"/>
                    </a:cubicBezTo>
                    <a:cubicBezTo>
                      <a:pt x="737" y="336"/>
                      <a:pt x="744" y="349"/>
                      <a:pt x="734" y="354"/>
                    </a:cubicBezTo>
                    <a:cubicBezTo>
                      <a:pt x="724" y="358"/>
                      <a:pt x="717" y="351"/>
                      <a:pt x="717" y="341"/>
                    </a:cubicBezTo>
                    <a:cubicBezTo>
                      <a:pt x="717" y="331"/>
                      <a:pt x="708" y="324"/>
                      <a:pt x="707" y="339"/>
                    </a:cubicBezTo>
                    <a:cubicBezTo>
                      <a:pt x="706" y="355"/>
                      <a:pt x="694" y="351"/>
                      <a:pt x="693" y="338"/>
                    </a:cubicBezTo>
                    <a:cubicBezTo>
                      <a:pt x="691" y="325"/>
                      <a:pt x="670" y="332"/>
                      <a:pt x="670" y="344"/>
                    </a:cubicBezTo>
                    <a:cubicBezTo>
                      <a:pt x="670" y="355"/>
                      <a:pt x="661" y="359"/>
                      <a:pt x="653" y="358"/>
                    </a:cubicBezTo>
                    <a:cubicBezTo>
                      <a:pt x="644" y="357"/>
                      <a:pt x="637" y="368"/>
                      <a:pt x="637" y="377"/>
                    </a:cubicBezTo>
                    <a:cubicBezTo>
                      <a:pt x="637" y="385"/>
                      <a:pt x="644" y="388"/>
                      <a:pt x="654" y="382"/>
                    </a:cubicBezTo>
                    <a:cubicBezTo>
                      <a:pt x="664" y="377"/>
                      <a:pt x="673" y="385"/>
                      <a:pt x="671" y="395"/>
                    </a:cubicBezTo>
                    <a:cubicBezTo>
                      <a:pt x="670" y="405"/>
                      <a:pt x="653" y="395"/>
                      <a:pt x="637" y="395"/>
                    </a:cubicBezTo>
                    <a:cubicBezTo>
                      <a:pt x="621" y="395"/>
                      <a:pt x="630" y="412"/>
                      <a:pt x="624" y="412"/>
                    </a:cubicBezTo>
                    <a:cubicBezTo>
                      <a:pt x="618" y="412"/>
                      <a:pt x="612" y="418"/>
                      <a:pt x="614" y="434"/>
                    </a:cubicBezTo>
                    <a:cubicBezTo>
                      <a:pt x="615" y="450"/>
                      <a:pt x="598" y="444"/>
                      <a:pt x="597" y="434"/>
                    </a:cubicBezTo>
                    <a:cubicBezTo>
                      <a:pt x="595" y="424"/>
                      <a:pt x="579" y="441"/>
                      <a:pt x="578" y="457"/>
                    </a:cubicBezTo>
                    <a:cubicBezTo>
                      <a:pt x="577" y="473"/>
                      <a:pt x="569" y="470"/>
                      <a:pt x="557" y="471"/>
                    </a:cubicBezTo>
                    <a:cubicBezTo>
                      <a:pt x="544" y="473"/>
                      <a:pt x="551" y="484"/>
                      <a:pt x="536" y="493"/>
                    </a:cubicBezTo>
                    <a:cubicBezTo>
                      <a:pt x="522" y="501"/>
                      <a:pt x="521" y="508"/>
                      <a:pt x="519" y="526"/>
                    </a:cubicBezTo>
                    <a:cubicBezTo>
                      <a:pt x="518" y="543"/>
                      <a:pt x="532" y="530"/>
                      <a:pt x="542" y="539"/>
                    </a:cubicBezTo>
                    <a:cubicBezTo>
                      <a:pt x="552" y="547"/>
                      <a:pt x="536" y="549"/>
                      <a:pt x="529" y="549"/>
                    </a:cubicBezTo>
                    <a:cubicBezTo>
                      <a:pt x="522" y="549"/>
                      <a:pt x="511" y="550"/>
                      <a:pt x="511" y="554"/>
                    </a:cubicBezTo>
                    <a:cubicBezTo>
                      <a:pt x="511" y="559"/>
                      <a:pt x="496" y="550"/>
                      <a:pt x="482" y="550"/>
                    </a:cubicBezTo>
                    <a:cubicBezTo>
                      <a:pt x="468" y="550"/>
                      <a:pt x="471" y="559"/>
                      <a:pt x="486" y="563"/>
                    </a:cubicBezTo>
                    <a:cubicBezTo>
                      <a:pt x="502" y="567"/>
                      <a:pt x="475" y="566"/>
                      <a:pt x="472" y="576"/>
                    </a:cubicBezTo>
                    <a:cubicBezTo>
                      <a:pt x="469" y="586"/>
                      <a:pt x="492" y="576"/>
                      <a:pt x="493" y="589"/>
                    </a:cubicBezTo>
                    <a:cubicBezTo>
                      <a:pt x="495" y="602"/>
                      <a:pt x="488" y="597"/>
                      <a:pt x="478" y="602"/>
                    </a:cubicBezTo>
                    <a:cubicBezTo>
                      <a:pt x="468" y="606"/>
                      <a:pt x="465" y="603"/>
                      <a:pt x="476" y="610"/>
                    </a:cubicBezTo>
                    <a:cubicBezTo>
                      <a:pt x="488" y="617"/>
                      <a:pt x="471" y="632"/>
                      <a:pt x="463" y="635"/>
                    </a:cubicBezTo>
                    <a:cubicBezTo>
                      <a:pt x="456" y="637"/>
                      <a:pt x="456" y="645"/>
                      <a:pt x="462" y="656"/>
                    </a:cubicBezTo>
                    <a:cubicBezTo>
                      <a:pt x="468" y="668"/>
                      <a:pt x="456" y="669"/>
                      <a:pt x="446" y="660"/>
                    </a:cubicBezTo>
                    <a:cubicBezTo>
                      <a:pt x="436" y="652"/>
                      <a:pt x="426" y="660"/>
                      <a:pt x="426" y="673"/>
                    </a:cubicBezTo>
                    <a:cubicBezTo>
                      <a:pt x="426" y="686"/>
                      <a:pt x="416" y="683"/>
                      <a:pt x="415" y="676"/>
                    </a:cubicBezTo>
                    <a:cubicBezTo>
                      <a:pt x="413" y="669"/>
                      <a:pt x="402" y="675"/>
                      <a:pt x="386" y="676"/>
                    </a:cubicBezTo>
                    <a:cubicBezTo>
                      <a:pt x="370" y="678"/>
                      <a:pt x="360" y="685"/>
                      <a:pt x="362" y="693"/>
                    </a:cubicBezTo>
                    <a:cubicBezTo>
                      <a:pt x="363" y="702"/>
                      <a:pt x="387" y="686"/>
                      <a:pt x="396" y="686"/>
                    </a:cubicBezTo>
                    <a:cubicBezTo>
                      <a:pt x="405" y="686"/>
                      <a:pt x="409" y="696"/>
                      <a:pt x="420" y="705"/>
                    </a:cubicBezTo>
                    <a:cubicBezTo>
                      <a:pt x="432" y="713"/>
                      <a:pt x="428" y="723"/>
                      <a:pt x="423" y="732"/>
                    </a:cubicBezTo>
                    <a:cubicBezTo>
                      <a:pt x="419" y="741"/>
                      <a:pt x="396" y="723"/>
                      <a:pt x="387" y="721"/>
                    </a:cubicBezTo>
                    <a:cubicBezTo>
                      <a:pt x="379" y="718"/>
                      <a:pt x="380" y="729"/>
                      <a:pt x="362" y="732"/>
                    </a:cubicBezTo>
                    <a:cubicBezTo>
                      <a:pt x="343" y="735"/>
                      <a:pt x="352" y="752"/>
                      <a:pt x="340" y="756"/>
                    </a:cubicBezTo>
                    <a:cubicBezTo>
                      <a:pt x="329" y="761"/>
                      <a:pt x="336" y="788"/>
                      <a:pt x="314" y="797"/>
                    </a:cubicBezTo>
                    <a:cubicBezTo>
                      <a:pt x="293" y="805"/>
                      <a:pt x="296" y="814"/>
                      <a:pt x="287" y="830"/>
                    </a:cubicBezTo>
                    <a:cubicBezTo>
                      <a:pt x="278" y="845"/>
                      <a:pt x="280" y="842"/>
                      <a:pt x="267" y="841"/>
                    </a:cubicBezTo>
                    <a:cubicBezTo>
                      <a:pt x="254" y="840"/>
                      <a:pt x="261" y="830"/>
                      <a:pt x="268" y="822"/>
                    </a:cubicBezTo>
                    <a:cubicBezTo>
                      <a:pt x="276" y="815"/>
                      <a:pt x="254" y="802"/>
                      <a:pt x="246" y="799"/>
                    </a:cubicBezTo>
                    <a:cubicBezTo>
                      <a:pt x="237" y="797"/>
                      <a:pt x="237" y="805"/>
                      <a:pt x="240" y="818"/>
                    </a:cubicBezTo>
                    <a:cubicBezTo>
                      <a:pt x="243" y="831"/>
                      <a:pt x="233" y="821"/>
                      <a:pt x="227" y="828"/>
                    </a:cubicBezTo>
                    <a:cubicBezTo>
                      <a:pt x="221" y="835"/>
                      <a:pt x="228" y="838"/>
                      <a:pt x="238" y="841"/>
                    </a:cubicBezTo>
                    <a:cubicBezTo>
                      <a:pt x="248" y="844"/>
                      <a:pt x="244" y="854"/>
                      <a:pt x="231" y="850"/>
                    </a:cubicBezTo>
                    <a:cubicBezTo>
                      <a:pt x="218" y="845"/>
                      <a:pt x="223" y="848"/>
                      <a:pt x="218" y="837"/>
                    </a:cubicBezTo>
                    <a:cubicBezTo>
                      <a:pt x="214" y="825"/>
                      <a:pt x="197" y="827"/>
                      <a:pt x="195" y="837"/>
                    </a:cubicBezTo>
                    <a:cubicBezTo>
                      <a:pt x="194" y="847"/>
                      <a:pt x="213" y="841"/>
                      <a:pt x="218" y="850"/>
                    </a:cubicBezTo>
                    <a:cubicBezTo>
                      <a:pt x="224" y="858"/>
                      <a:pt x="218" y="871"/>
                      <a:pt x="217" y="867"/>
                    </a:cubicBezTo>
                    <a:cubicBezTo>
                      <a:pt x="215" y="863"/>
                      <a:pt x="205" y="858"/>
                      <a:pt x="191" y="855"/>
                    </a:cubicBezTo>
                    <a:cubicBezTo>
                      <a:pt x="177" y="852"/>
                      <a:pt x="194" y="864"/>
                      <a:pt x="200" y="865"/>
                    </a:cubicBezTo>
                    <a:cubicBezTo>
                      <a:pt x="205" y="867"/>
                      <a:pt x="217" y="880"/>
                      <a:pt x="221" y="891"/>
                    </a:cubicBezTo>
                    <a:cubicBezTo>
                      <a:pt x="225" y="903"/>
                      <a:pt x="213" y="900"/>
                      <a:pt x="207" y="888"/>
                    </a:cubicBezTo>
                    <a:cubicBezTo>
                      <a:pt x="201" y="877"/>
                      <a:pt x="198" y="874"/>
                      <a:pt x="190" y="874"/>
                    </a:cubicBezTo>
                    <a:cubicBezTo>
                      <a:pt x="181" y="874"/>
                      <a:pt x="191" y="881"/>
                      <a:pt x="200" y="894"/>
                    </a:cubicBezTo>
                    <a:cubicBezTo>
                      <a:pt x="208" y="907"/>
                      <a:pt x="194" y="907"/>
                      <a:pt x="188" y="894"/>
                    </a:cubicBezTo>
                    <a:cubicBezTo>
                      <a:pt x="182" y="881"/>
                      <a:pt x="168" y="880"/>
                      <a:pt x="160" y="873"/>
                    </a:cubicBezTo>
                    <a:cubicBezTo>
                      <a:pt x="151" y="865"/>
                      <a:pt x="138" y="870"/>
                      <a:pt x="137" y="884"/>
                    </a:cubicBezTo>
                    <a:cubicBezTo>
                      <a:pt x="135" y="898"/>
                      <a:pt x="139" y="900"/>
                      <a:pt x="152" y="900"/>
                    </a:cubicBezTo>
                    <a:cubicBezTo>
                      <a:pt x="165" y="900"/>
                      <a:pt x="172" y="910"/>
                      <a:pt x="171" y="918"/>
                    </a:cubicBezTo>
                    <a:cubicBezTo>
                      <a:pt x="170" y="927"/>
                      <a:pt x="157" y="923"/>
                      <a:pt x="154" y="918"/>
                    </a:cubicBezTo>
                    <a:cubicBezTo>
                      <a:pt x="151" y="914"/>
                      <a:pt x="135" y="916"/>
                      <a:pt x="118" y="911"/>
                    </a:cubicBezTo>
                    <a:cubicBezTo>
                      <a:pt x="101" y="907"/>
                      <a:pt x="92" y="907"/>
                      <a:pt x="91" y="911"/>
                    </a:cubicBezTo>
                    <a:cubicBezTo>
                      <a:pt x="89" y="916"/>
                      <a:pt x="88" y="927"/>
                      <a:pt x="78" y="927"/>
                    </a:cubicBezTo>
                    <a:cubicBezTo>
                      <a:pt x="68" y="927"/>
                      <a:pt x="71" y="930"/>
                      <a:pt x="75" y="944"/>
                    </a:cubicBezTo>
                    <a:cubicBezTo>
                      <a:pt x="79" y="959"/>
                      <a:pt x="85" y="961"/>
                      <a:pt x="71" y="960"/>
                    </a:cubicBezTo>
                    <a:cubicBezTo>
                      <a:pt x="56" y="959"/>
                      <a:pt x="63" y="954"/>
                      <a:pt x="61" y="946"/>
                    </a:cubicBezTo>
                    <a:cubicBezTo>
                      <a:pt x="58" y="937"/>
                      <a:pt x="48" y="944"/>
                      <a:pt x="49" y="959"/>
                    </a:cubicBezTo>
                    <a:cubicBezTo>
                      <a:pt x="51" y="973"/>
                      <a:pt x="35" y="959"/>
                      <a:pt x="25" y="960"/>
                    </a:cubicBezTo>
                    <a:cubicBezTo>
                      <a:pt x="15" y="961"/>
                      <a:pt x="23" y="974"/>
                      <a:pt x="12" y="980"/>
                    </a:cubicBezTo>
                    <a:cubicBezTo>
                      <a:pt x="0" y="986"/>
                      <a:pt x="12" y="999"/>
                      <a:pt x="18" y="1013"/>
                    </a:cubicBezTo>
                    <a:cubicBezTo>
                      <a:pt x="23" y="1027"/>
                      <a:pt x="12" y="1029"/>
                      <a:pt x="8" y="1037"/>
                    </a:cubicBezTo>
                    <a:cubicBezTo>
                      <a:pt x="3" y="1046"/>
                      <a:pt x="22" y="1049"/>
                      <a:pt x="26" y="1056"/>
                    </a:cubicBezTo>
                    <a:cubicBezTo>
                      <a:pt x="31" y="1063"/>
                      <a:pt x="28" y="1070"/>
                      <a:pt x="18" y="1076"/>
                    </a:cubicBezTo>
                    <a:cubicBezTo>
                      <a:pt x="8" y="1082"/>
                      <a:pt x="9" y="1086"/>
                      <a:pt x="16" y="1093"/>
                    </a:cubicBezTo>
                    <a:cubicBezTo>
                      <a:pt x="23" y="1100"/>
                      <a:pt x="13" y="1106"/>
                      <a:pt x="22" y="1113"/>
                    </a:cubicBezTo>
                    <a:cubicBezTo>
                      <a:pt x="31" y="1121"/>
                      <a:pt x="26" y="1128"/>
                      <a:pt x="19" y="1126"/>
                    </a:cubicBezTo>
                    <a:cubicBezTo>
                      <a:pt x="12" y="1125"/>
                      <a:pt x="6" y="1131"/>
                      <a:pt x="6" y="1143"/>
                    </a:cubicBezTo>
                    <a:cubicBezTo>
                      <a:pt x="6" y="1156"/>
                      <a:pt x="33" y="1149"/>
                      <a:pt x="43" y="1149"/>
                    </a:cubicBezTo>
                    <a:cubicBezTo>
                      <a:pt x="53" y="1149"/>
                      <a:pt x="51" y="1155"/>
                      <a:pt x="51" y="1168"/>
                    </a:cubicBezTo>
                    <a:cubicBezTo>
                      <a:pt x="51" y="1181"/>
                      <a:pt x="51" y="1182"/>
                      <a:pt x="62" y="1192"/>
                    </a:cubicBezTo>
                    <a:cubicBezTo>
                      <a:pt x="74" y="1202"/>
                      <a:pt x="59" y="1202"/>
                      <a:pt x="48" y="1202"/>
                    </a:cubicBezTo>
                    <a:cubicBezTo>
                      <a:pt x="36" y="1202"/>
                      <a:pt x="38" y="1192"/>
                      <a:pt x="38" y="1184"/>
                    </a:cubicBezTo>
                    <a:cubicBezTo>
                      <a:pt x="38" y="1175"/>
                      <a:pt x="29" y="1176"/>
                      <a:pt x="20" y="1185"/>
                    </a:cubicBezTo>
                    <a:cubicBezTo>
                      <a:pt x="12" y="1194"/>
                      <a:pt x="16" y="1199"/>
                      <a:pt x="22" y="1201"/>
                    </a:cubicBezTo>
                    <a:cubicBezTo>
                      <a:pt x="28" y="1202"/>
                      <a:pt x="26" y="1205"/>
                      <a:pt x="29" y="1215"/>
                    </a:cubicBezTo>
                    <a:cubicBezTo>
                      <a:pt x="32" y="1225"/>
                      <a:pt x="15" y="1225"/>
                      <a:pt x="13" y="1238"/>
                    </a:cubicBezTo>
                    <a:cubicBezTo>
                      <a:pt x="12" y="1251"/>
                      <a:pt x="25" y="1251"/>
                      <a:pt x="25" y="1245"/>
                    </a:cubicBezTo>
                    <a:cubicBezTo>
                      <a:pt x="25" y="1239"/>
                      <a:pt x="38" y="1239"/>
                      <a:pt x="48" y="1237"/>
                    </a:cubicBezTo>
                    <a:cubicBezTo>
                      <a:pt x="58" y="1234"/>
                      <a:pt x="61" y="1222"/>
                      <a:pt x="65" y="1219"/>
                    </a:cubicBezTo>
                    <a:cubicBezTo>
                      <a:pt x="69" y="1217"/>
                      <a:pt x="82" y="1217"/>
                      <a:pt x="84" y="1232"/>
                    </a:cubicBezTo>
                    <a:cubicBezTo>
                      <a:pt x="85" y="1248"/>
                      <a:pt x="71" y="1239"/>
                      <a:pt x="71" y="1254"/>
                    </a:cubicBezTo>
                    <a:cubicBezTo>
                      <a:pt x="71" y="1268"/>
                      <a:pt x="61" y="1267"/>
                      <a:pt x="52" y="1267"/>
                    </a:cubicBezTo>
                    <a:cubicBezTo>
                      <a:pt x="43" y="1267"/>
                      <a:pt x="38" y="1275"/>
                      <a:pt x="38" y="1291"/>
                    </a:cubicBezTo>
                    <a:cubicBezTo>
                      <a:pt x="38" y="1307"/>
                      <a:pt x="49" y="1315"/>
                      <a:pt x="71" y="1317"/>
                    </a:cubicBezTo>
                    <a:cubicBezTo>
                      <a:pt x="92" y="1318"/>
                      <a:pt x="95" y="1338"/>
                      <a:pt x="111" y="1341"/>
                    </a:cubicBezTo>
                    <a:cubicBezTo>
                      <a:pt x="127" y="1344"/>
                      <a:pt x="141" y="1351"/>
                      <a:pt x="164" y="1358"/>
                    </a:cubicBezTo>
                    <a:cubicBezTo>
                      <a:pt x="187" y="1366"/>
                      <a:pt x="192" y="1350"/>
                      <a:pt x="204" y="1347"/>
                    </a:cubicBezTo>
                    <a:cubicBezTo>
                      <a:pt x="215" y="1344"/>
                      <a:pt x="256" y="1304"/>
                      <a:pt x="256" y="1304"/>
                    </a:cubicBezTo>
                    <a:cubicBezTo>
                      <a:pt x="277" y="1293"/>
                      <a:pt x="284" y="1294"/>
                      <a:pt x="293" y="1277"/>
                    </a:cubicBezTo>
                    <a:cubicBezTo>
                      <a:pt x="301" y="1260"/>
                      <a:pt x="324" y="1264"/>
                      <a:pt x="339" y="1255"/>
                    </a:cubicBezTo>
                    <a:cubicBezTo>
                      <a:pt x="353" y="1247"/>
                      <a:pt x="350" y="1235"/>
                      <a:pt x="347" y="1217"/>
                    </a:cubicBezTo>
                    <a:cubicBezTo>
                      <a:pt x="344" y="1198"/>
                      <a:pt x="367" y="1207"/>
                      <a:pt x="370" y="1222"/>
                    </a:cubicBezTo>
                    <a:cubicBezTo>
                      <a:pt x="373" y="1238"/>
                      <a:pt x="372" y="1242"/>
                      <a:pt x="383" y="1250"/>
                    </a:cubicBezTo>
                    <a:cubicBezTo>
                      <a:pt x="387" y="1252"/>
                      <a:pt x="390" y="1255"/>
                      <a:pt x="392" y="1260"/>
                    </a:cubicBezTo>
                    <a:cubicBezTo>
                      <a:pt x="395" y="1256"/>
                      <a:pt x="400" y="1254"/>
                      <a:pt x="405" y="126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1" name="Freeform 194">
                <a:extLst>
                  <a:ext uri="{FF2B5EF4-FFF2-40B4-BE49-F238E27FC236}">
                    <a16:creationId xmlns:a16="http://schemas.microsoft.com/office/drawing/2014/main" id="{2A324179-5720-DB49-9159-CB5CBF755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9" y="1259"/>
                <a:ext cx="9" cy="9"/>
              </a:xfrm>
              <a:custGeom>
                <a:avLst/>
                <a:gdLst>
                  <a:gd name="T0" fmla="*/ 26 w 36"/>
                  <a:gd name="T1" fmla="*/ 6 h 38"/>
                  <a:gd name="T2" fmla="*/ 15 w 36"/>
                  <a:gd name="T3" fmla="*/ 17 h 38"/>
                  <a:gd name="T4" fmla="*/ 1 w 36"/>
                  <a:gd name="T5" fmla="*/ 25 h 38"/>
                  <a:gd name="T6" fmla="*/ 7 w 36"/>
                  <a:gd name="T7" fmla="*/ 35 h 38"/>
                  <a:gd name="T8" fmla="*/ 14 w 36"/>
                  <a:gd name="T9" fmla="*/ 26 h 38"/>
                  <a:gd name="T10" fmla="*/ 27 w 36"/>
                  <a:gd name="T11" fmla="*/ 19 h 38"/>
                  <a:gd name="T12" fmla="*/ 35 w 36"/>
                  <a:gd name="T13" fmla="*/ 12 h 38"/>
                  <a:gd name="T14" fmla="*/ 26 w 36"/>
                  <a:gd name="T15" fmla="*/ 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38">
                    <a:moveTo>
                      <a:pt x="26" y="6"/>
                    </a:moveTo>
                    <a:cubicBezTo>
                      <a:pt x="26" y="6"/>
                      <a:pt x="22" y="17"/>
                      <a:pt x="15" y="17"/>
                    </a:cubicBezTo>
                    <a:cubicBezTo>
                      <a:pt x="8" y="17"/>
                      <a:pt x="0" y="19"/>
                      <a:pt x="1" y="25"/>
                    </a:cubicBezTo>
                    <a:cubicBezTo>
                      <a:pt x="1" y="31"/>
                      <a:pt x="2" y="38"/>
                      <a:pt x="7" y="35"/>
                    </a:cubicBezTo>
                    <a:cubicBezTo>
                      <a:pt x="11" y="31"/>
                      <a:pt x="8" y="26"/>
                      <a:pt x="14" y="26"/>
                    </a:cubicBezTo>
                    <a:cubicBezTo>
                      <a:pt x="20" y="26"/>
                      <a:pt x="24" y="22"/>
                      <a:pt x="27" y="19"/>
                    </a:cubicBezTo>
                    <a:cubicBezTo>
                      <a:pt x="29" y="16"/>
                      <a:pt x="35" y="18"/>
                      <a:pt x="35" y="12"/>
                    </a:cubicBezTo>
                    <a:cubicBezTo>
                      <a:pt x="36" y="6"/>
                      <a:pt x="28" y="0"/>
                      <a:pt x="26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2" name="Freeform 195">
                <a:extLst>
                  <a:ext uri="{FF2B5EF4-FFF2-40B4-BE49-F238E27FC236}">
                    <a16:creationId xmlns:a16="http://schemas.microsoft.com/office/drawing/2014/main" id="{074E2319-FA7C-944A-B5A9-41A3212F37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0" y="1326"/>
                <a:ext cx="5" cy="4"/>
              </a:xfrm>
              <a:custGeom>
                <a:avLst/>
                <a:gdLst>
                  <a:gd name="T0" fmla="*/ 11 w 18"/>
                  <a:gd name="T1" fmla="*/ 1 h 19"/>
                  <a:gd name="T2" fmla="*/ 7 w 18"/>
                  <a:gd name="T3" fmla="*/ 6 h 19"/>
                  <a:gd name="T4" fmla="*/ 4 w 18"/>
                  <a:gd name="T5" fmla="*/ 14 h 19"/>
                  <a:gd name="T6" fmla="*/ 14 w 18"/>
                  <a:gd name="T7" fmla="*/ 14 h 19"/>
                  <a:gd name="T8" fmla="*/ 17 w 18"/>
                  <a:gd name="T9" fmla="*/ 5 h 19"/>
                  <a:gd name="T10" fmla="*/ 11 w 18"/>
                  <a:gd name="T11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9">
                    <a:moveTo>
                      <a:pt x="11" y="1"/>
                    </a:moveTo>
                    <a:cubicBezTo>
                      <a:pt x="11" y="1"/>
                      <a:pt x="9" y="2"/>
                      <a:pt x="7" y="6"/>
                    </a:cubicBezTo>
                    <a:cubicBezTo>
                      <a:pt x="6" y="9"/>
                      <a:pt x="0" y="11"/>
                      <a:pt x="4" y="14"/>
                    </a:cubicBezTo>
                    <a:cubicBezTo>
                      <a:pt x="8" y="17"/>
                      <a:pt x="12" y="19"/>
                      <a:pt x="14" y="14"/>
                    </a:cubicBezTo>
                    <a:cubicBezTo>
                      <a:pt x="16" y="10"/>
                      <a:pt x="18" y="8"/>
                      <a:pt x="17" y="5"/>
                    </a:cubicBezTo>
                    <a:cubicBezTo>
                      <a:pt x="16" y="2"/>
                      <a:pt x="15" y="0"/>
                      <a:pt x="11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3" name="Freeform 196">
                <a:extLst>
                  <a:ext uri="{FF2B5EF4-FFF2-40B4-BE49-F238E27FC236}">
                    <a16:creationId xmlns:a16="http://schemas.microsoft.com/office/drawing/2014/main" id="{4228120C-616C-A548-B2EC-35B77A384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" y="1204"/>
                <a:ext cx="175" cy="271"/>
              </a:xfrm>
              <a:custGeom>
                <a:avLst/>
                <a:gdLst>
                  <a:gd name="T0" fmla="*/ 497 w 692"/>
                  <a:gd name="T1" fmla="*/ 962 h 1068"/>
                  <a:gd name="T2" fmla="*/ 673 w 692"/>
                  <a:gd name="T3" fmla="*/ 795 h 1068"/>
                  <a:gd name="T4" fmla="*/ 655 w 692"/>
                  <a:gd name="T5" fmla="*/ 741 h 1068"/>
                  <a:gd name="T6" fmla="*/ 612 w 692"/>
                  <a:gd name="T7" fmla="*/ 668 h 1068"/>
                  <a:gd name="T8" fmla="*/ 604 w 692"/>
                  <a:gd name="T9" fmla="*/ 635 h 1068"/>
                  <a:gd name="T10" fmla="*/ 588 w 692"/>
                  <a:gd name="T11" fmla="*/ 605 h 1068"/>
                  <a:gd name="T12" fmla="*/ 570 w 692"/>
                  <a:gd name="T13" fmla="*/ 584 h 1068"/>
                  <a:gd name="T14" fmla="*/ 570 w 692"/>
                  <a:gd name="T15" fmla="*/ 545 h 1068"/>
                  <a:gd name="T16" fmla="*/ 568 w 692"/>
                  <a:gd name="T17" fmla="*/ 505 h 1068"/>
                  <a:gd name="T18" fmla="*/ 583 w 692"/>
                  <a:gd name="T19" fmla="*/ 459 h 1068"/>
                  <a:gd name="T20" fmla="*/ 550 w 692"/>
                  <a:gd name="T21" fmla="*/ 397 h 1068"/>
                  <a:gd name="T22" fmla="*/ 525 w 692"/>
                  <a:gd name="T23" fmla="*/ 356 h 1068"/>
                  <a:gd name="T24" fmla="*/ 576 w 692"/>
                  <a:gd name="T25" fmla="*/ 294 h 1068"/>
                  <a:gd name="T26" fmla="*/ 549 w 692"/>
                  <a:gd name="T27" fmla="*/ 244 h 1068"/>
                  <a:gd name="T28" fmla="*/ 496 w 692"/>
                  <a:gd name="T29" fmla="*/ 208 h 1068"/>
                  <a:gd name="T30" fmla="*/ 493 w 692"/>
                  <a:gd name="T31" fmla="*/ 170 h 1068"/>
                  <a:gd name="T32" fmla="*/ 492 w 692"/>
                  <a:gd name="T33" fmla="*/ 147 h 1068"/>
                  <a:gd name="T34" fmla="*/ 506 w 692"/>
                  <a:gd name="T35" fmla="*/ 135 h 1068"/>
                  <a:gd name="T36" fmla="*/ 514 w 692"/>
                  <a:gd name="T37" fmla="*/ 122 h 1068"/>
                  <a:gd name="T38" fmla="*/ 529 w 692"/>
                  <a:gd name="T39" fmla="*/ 57 h 1068"/>
                  <a:gd name="T40" fmla="*/ 446 w 692"/>
                  <a:gd name="T41" fmla="*/ 11 h 1068"/>
                  <a:gd name="T42" fmla="*/ 382 w 692"/>
                  <a:gd name="T43" fmla="*/ 28 h 1068"/>
                  <a:gd name="T44" fmla="*/ 318 w 692"/>
                  <a:gd name="T45" fmla="*/ 78 h 1068"/>
                  <a:gd name="T46" fmla="*/ 289 w 692"/>
                  <a:gd name="T47" fmla="*/ 143 h 1068"/>
                  <a:gd name="T48" fmla="*/ 257 w 692"/>
                  <a:gd name="T49" fmla="*/ 174 h 1068"/>
                  <a:gd name="T50" fmla="*/ 204 w 692"/>
                  <a:gd name="T51" fmla="*/ 152 h 1068"/>
                  <a:gd name="T52" fmla="*/ 133 w 692"/>
                  <a:gd name="T53" fmla="*/ 166 h 1068"/>
                  <a:gd name="T54" fmla="*/ 56 w 692"/>
                  <a:gd name="T55" fmla="*/ 102 h 1068"/>
                  <a:gd name="T56" fmla="*/ 0 w 692"/>
                  <a:gd name="T57" fmla="*/ 123 h 1068"/>
                  <a:gd name="T58" fmla="*/ 55 w 692"/>
                  <a:gd name="T59" fmla="*/ 171 h 1068"/>
                  <a:gd name="T60" fmla="*/ 118 w 692"/>
                  <a:gd name="T61" fmla="*/ 194 h 1068"/>
                  <a:gd name="T62" fmla="*/ 174 w 692"/>
                  <a:gd name="T63" fmla="*/ 248 h 1068"/>
                  <a:gd name="T64" fmla="*/ 176 w 692"/>
                  <a:gd name="T65" fmla="*/ 292 h 1068"/>
                  <a:gd name="T66" fmla="*/ 184 w 692"/>
                  <a:gd name="T67" fmla="*/ 345 h 1068"/>
                  <a:gd name="T68" fmla="*/ 188 w 692"/>
                  <a:gd name="T69" fmla="*/ 402 h 1068"/>
                  <a:gd name="T70" fmla="*/ 210 w 692"/>
                  <a:gd name="T71" fmla="*/ 458 h 1068"/>
                  <a:gd name="T72" fmla="*/ 245 w 692"/>
                  <a:gd name="T73" fmla="*/ 484 h 1068"/>
                  <a:gd name="T74" fmla="*/ 287 w 692"/>
                  <a:gd name="T75" fmla="*/ 557 h 1068"/>
                  <a:gd name="T76" fmla="*/ 218 w 692"/>
                  <a:gd name="T77" fmla="*/ 607 h 1068"/>
                  <a:gd name="T78" fmla="*/ 137 w 692"/>
                  <a:gd name="T79" fmla="*/ 679 h 1068"/>
                  <a:gd name="T80" fmla="*/ 56 w 692"/>
                  <a:gd name="T81" fmla="*/ 733 h 1068"/>
                  <a:gd name="T82" fmla="*/ 30 w 692"/>
                  <a:gd name="T83" fmla="*/ 822 h 1068"/>
                  <a:gd name="T84" fmla="*/ 36 w 692"/>
                  <a:gd name="T85" fmla="*/ 872 h 1068"/>
                  <a:gd name="T86" fmla="*/ 35 w 692"/>
                  <a:gd name="T87" fmla="*/ 990 h 1068"/>
                  <a:gd name="T88" fmla="*/ 129 w 692"/>
                  <a:gd name="T89" fmla="*/ 1053 h 1068"/>
                  <a:gd name="T90" fmla="*/ 280 w 692"/>
                  <a:gd name="T91" fmla="*/ 1033 h 1068"/>
                  <a:gd name="T92" fmla="*/ 436 w 692"/>
                  <a:gd name="T93" fmla="*/ 1004 h 1068"/>
                  <a:gd name="T94" fmla="*/ 466 w 692"/>
                  <a:gd name="T95" fmla="*/ 984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2" h="1068">
                    <a:moveTo>
                      <a:pt x="466" y="984"/>
                    </a:moveTo>
                    <a:cubicBezTo>
                      <a:pt x="471" y="980"/>
                      <a:pt x="484" y="967"/>
                      <a:pt x="497" y="962"/>
                    </a:cubicBezTo>
                    <a:cubicBezTo>
                      <a:pt x="509" y="956"/>
                      <a:pt x="556" y="917"/>
                      <a:pt x="571" y="903"/>
                    </a:cubicBezTo>
                    <a:cubicBezTo>
                      <a:pt x="587" y="888"/>
                      <a:pt x="654" y="816"/>
                      <a:pt x="673" y="795"/>
                    </a:cubicBezTo>
                    <a:cubicBezTo>
                      <a:pt x="692" y="775"/>
                      <a:pt x="675" y="763"/>
                      <a:pt x="671" y="757"/>
                    </a:cubicBezTo>
                    <a:cubicBezTo>
                      <a:pt x="666" y="752"/>
                      <a:pt x="664" y="748"/>
                      <a:pt x="655" y="741"/>
                    </a:cubicBezTo>
                    <a:cubicBezTo>
                      <a:pt x="645" y="735"/>
                      <a:pt x="620" y="713"/>
                      <a:pt x="595" y="701"/>
                    </a:cubicBezTo>
                    <a:cubicBezTo>
                      <a:pt x="571" y="689"/>
                      <a:pt x="602" y="671"/>
                      <a:pt x="612" y="668"/>
                    </a:cubicBezTo>
                    <a:cubicBezTo>
                      <a:pt x="622" y="665"/>
                      <a:pt x="622" y="655"/>
                      <a:pt x="622" y="648"/>
                    </a:cubicBezTo>
                    <a:cubicBezTo>
                      <a:pt x="622" y="642"/>
                      <a:pt x="612" y="637"/>
                      <a:pt x="604" y="635"/>
                    </a:cubicBezTo>
                    <a:cubicBezTo>
                      <a:pt x="596" y="634"/>
                      <a:pt x="596" y="628"/>
                      <a:pt x="589" y="623"/>
                    </a:cubicBezTo>
                    <a:cubicBezTo>
                      <a:pt x="582" y="618"/>
                      <a:pt x="580" y="607"/>
                      <a:pt x="588" y="605"/>
                    </a:cubicBezTo>
                    <a:cubicBezTo>
                      <a:pt x="596" y="603"/>
                      <a:pt x="600" y="598"/>
                      <a:pt x="593" y="591"/>
                    </a:cubicBezTo>
                    <a:cubicBezTo>
                      <a:pt x="585" y="584"/>
                      <a:pt x="577" y="584"/>
                      <a:pt x="570" y="584"/>
                    </a:cubicBezTo>
                    <a:cubicBezTo>
                      <a:pt x="563" y="584"/>
                      <a:pt x="561" y="572"/>
                      <a:pt x="561" y="564"/>
                    </a:cubicBezTo>
                    <a:cubicBezTo>
                      <a:pt x="561" y="556"/>
                      <a:pt x="565" y="550"/>
                      <a:pt x="570" y="545"/>
                    </a:cubicBezTo>
                    <a:cubicBezTo>
                      <a:pt x="575" y="540"/>
                      <a:pt x="563" y="531"/>
                      <a:pt x="562" y="525"/>
                    </a:cubicBezTo>
                    <a:cubicBezTo>
                      <a:pt x="560" y="518"/>
                      <a:pt x="568" y="511"/>
                      <a:pt x="568" y="505"/>
                    </a:cubicBezTo>
                    <a:cubicBezTo>
                      <a:pt x="568" y="499"/>
                      <a:pt x="575" y="493"/>
                      <a:pt x="586" y="491"/>
                    </a:cubicBezTo>
                    <a:cubicBezTo>
                      <a:pt x="596" y="489"/>
                      <a:pt x="585" y="464"/>
                      <a:pt x="583" y="459"/>
                    </a:cubicBezTo>
                    <a:cubicBezTo>
                      <a:pt x="581" y="453"/>
                      <a:pt x="574" y="444"/>
                      <a:pt x="569" y="437"/>
                    </a:cubicBezTo>
                    <a:cubicBezTo>
                      <a:pt x="563" y="430"/>
                      <a:pt x="556" y="404"/>
                      <a:pt x="550" y="397"/>
                    </a:cubicBezTo>
                    <a:cubicBezTo>
                      <a:pt x="543" y="389"/>
                      <a:pt x="544" y="385"/>
                      <a:pt x="531" y="380"/>
                    </a:cubicBezTo>
                    <a:cubicBezTo>
                      <a:pt x="519" y="375"/>
                      <a:pt x="527" y="364"/>
                      <a:pt x="525" y="356"/>
                    </a:cubicBezTo>
                    <a:cubicBezTo>
                      <a:pt x="523" y="348"/>
                      <a:pt x="538" y="338"/>
                      <a:pt x="544" y="330"/>
                    </a:cubicBezTo>
                    <a:cubicBezTo>
                      <a:pt x="551" y="322"/>
                      <a:pt x="565" y="304"/>
                      <a:pt x="576" y="294"/>
                    </a:cubicBezTo>
                    <a:cubicBezTo>
                      <a:pt x="586" y="284"/>
                      <a:pt x="583" y="273"/>
                      <a:pt x="577" y="269"/>
                    </a:cubicBezTo>
                    <a:cubicBezTo>
                      <a:pt x="571" y="265"/>
                      <a:pt x="562" y="260"/>
                      <a:pt x="549" y="244"/>
                    </a:cubicBezTo>
                    <a:cubicBezTo>
                      <a:pt x="537" y="228"/>
                      <a:pt x="534" y="227"/>
                      <a:pt x="521" y="227"/>
                    </a:cubicBezTo>
                    <a:cubicBezTo>
                      <a:pt x="508" y="227"/>
                      <a:pt x="505" y="214"/>
                      <a:pt x="496" y="208"/>
                    </a:cubicBezTo>
                    <a:cubicBezTo>
                      <a:pt x="486" y="201"/>
                      <a:pt x="488" y="195"/>
                      <a:pt x="488" y="188"/>
                    </a:cubicBezTo>
                    <a:cubicBezTo>
                      <a:pt x="488" y="180"/>
                      <a:pt x="488" y="173"/>
                      <a:pt x="493" y="170"/>
                    </a:cubicBezTo>
                    <a:cubicBezTo>
                      <a:pt x="499" y="167"/>
                      <a:pt x="503" y="161"/>
                      <a:pt x="504" y="156"/>
                    </a:cubicBezTo>
                    <a:cubicBezTo>
                      <a:pt x="505" y="151"/>
                      <a:pt x="499" y="147"/>
                      <a:pt x="492" y="147"/>
                    </a:cubicBezTo>
                    <a:cubicBezTo>
                      <a:pt x="485" y="146"/>
                      <a:pt x="485" y="142"/>
                      <a:pt x="486" y="139"/>
                    </a:cubicBezTo>
                    <a:cubicBezTo>
                      <a:pt x="487" y="135"/>
                      <a:pt x="498" y="136"/>
                      <a:pt x="506" y="135"/>
                    </a:cubicBezTo>
                    <a:cubicBezTo>
                      <a:pt x="511" y="134"/>
                      <a:pt x="515" y="130"/>
                      <a:pt x="518" y="126"/>
                    </a:cubicBezTo>
                    <a:cubicBezTo>
                      <a:pt x="516" y="125"/>
                      <a:pt x="515" y="124"/>
                      <a:pt x="514" y="122"/>
                    </a:cubicBezTo>
                    <a:cubicBezTo>
                      <a:pt x="509" y="113"/>
                      <a:pt x="530" y="91"/>
                      <a:pt x="535" y="84"/>
                    </a:cubicBezTo>
                    <a:cubicBezTo>
                      <a:pt x="539" y="77"/>
                      <a:pt x="536" y="68"/>
                      <a:pt x="529" y="57"/>
                    </a:cubicBezTo>
                    <a:cubicBezTo>
                      <a:pt x="523" y="47"/>
                      <a:pt x="513" y="46"/>
                      <a:pt x="497" y="46"/>
                    </a:cubicBezTo>
                    <a:cubicBezTo>
                      <a:pt x="482" y="46"/>
                      <a:pt x="461" y="22"/>
                      <a:pt x="446" y="11"/>
                    </a:cubicBezTo>
                    <a:cubicBezTo>
                      <a:pt x="431" y="0"/>
                      <a:pt x="420" y="13"/>
                      <a:pt x="415" y="22"/>
                    </a:cubicBezTo>
                    <a:cubicBezTo>
                      <a:pt x="410" y="30"/>
                      <a:pt x="402" y="30"/>
                      <a:pt x="382" y="28"/>
                    </a:cubicBezTo>
                    <a:cubicBezTo>
                      <a:pt x="363" y="25"/>
                      <a:pt x="353" y="40"/>
                      <a:pt x="337" y="48"/>
                    </a:cubicBezTo>
                    <a:cubicBezTo>
                      <a:pt x="321" y="57"/>
                      <a:pt x="328" y="70"/>
                      <a:pt x="318" y="78"/>
                    </a:cubicBezTo>
                    <a:cubicBezTo>
                      <a:pt x="308" y="86"/>
                      <a:pt x="317" y="109"/>
                      <a:pt x="315" y="129"/>
                    </a:cubicBezTo>
                    <a:cubicBezTo>
                      <a:pt x="312" y="149"/>
                      <a:pt x="300" y="141"/>
                      <a:pt x="289" y="143"/>
                    </a:cubicBezTo>
                    <a:cubicBezTo>
                      <a:pt x="278" y="145"/>
                      <a:pt x="277" y="152"/>
                      <a:pt x="274" y="163"/>
                    </a:cubicBezTo>
                    <a:cubicBezTo>
                      <a:pt x="271" y="173"/>
                      <a:pt x="269" y="176"/>
                      <a:pt x="257" y="174"/>
                    </a:cubicBezTo>
                    <a:cubicBezTo>
                      <a:pt x="244" y="171"/>
                      <a:pt x="238" y="162"/>
                      <a:pt x="229" y="162"/>
                    </a:cubicBezTo>
                    <a:cubicBezTo>
                      <a:pt x="219" y="162"/>
                      <a:pt x="211" y="157"/>
                      <a:pt x="204" y="152"/>
                    </a:cubicBezTo>
                    <a:cubicBezTo>
                      <a:pt x="197" y="147"/>
                      <a:pt x="191" y="148"/>
                      <a:pt x="183" y="159"/>
                    </a:cubicBezTo>
                    <a:cubicBezTo>
                      <a:pt x="174" y="170"/>
                      <a:pt x="143" y="166"/>
                      <a:pt x="133" y="166"/>
                    </a:cubicBezTo>
                    <a:cubicBezTo>
                      <a:pt x="122" y="166"/>
                      <a:pt x="112" y="163"/>
                      <a:pt x="103" y="157"/>
                    </a:cubicBezTo>
                    <a:cubicBezTo>
                      <a:pt x="93" y="151"/>
                      <a:pt x="70" y="123"/>
                      <a:pt x="56" y="102"/>
                    </a:cubicBezTo>
                    <a:cubicBezTo>
                      <a:pt x="43" y="81"/>
                      <a:pt x="23" y="100"/>
                      <a:pt x="12" y="116"/>
                    </a:cubicBezTo>
                    <a:cubicBezTo>
                      <a:pt x="8" y="121"/>
                      <a:pt x="4" y="123"/>
                      <a:pt x="0" y="123"/>
                    </a:cubicBezTo>
                    <a:cubicBezTo>
                      <a:pt x="0" y="131"/>
                      <a:pt x="2" y="141"/>
                      <a:pt x="10" y="143"/>
                    </a:cubicBezTo>
                    <a:cubicBezTo>
                      <a:pt x="24" y="148"/>
                      <a:pt x="49" y="164"/>
                      <a:pt x="55" y="171"/>
                    </a:cubicBezTo>
                    <a:cubicBezTo>
                      <a:pt x="61" y="178"/>
                      <a:pt x="73" y="188"/>
                      <a:pt x="82" y="188"/>
                    </a:cubicBezTo>
                    <a:cubicBezTo>
                      <a:pt x="92" y="188"/>
                      <a:pt x="108" y="188"/>
                      <a:pt x="118" y="194"/>
                    </a:cubicBezTo>
                    <a:cubicBezTo>
                      <a:pt x="128" y="200"/>
                      <a:pt x="134" y="202"/>
                      <a:pt x="146" y="211"/>
                    </a:cubicBezTo>
                    <a:cubicBezTo>
                      <a:pt x="158" y="220"/>
                      <a:pt x="180" y="237"/>
                      <a:pt x="174" y="248"/>
                    </a:cubicBezTo>
                    <a:cubicBezTo>
                      <a:pt x="169" y="258"/>
                      <a:pt x="166" y="266"/>
                      <a:pt x="170" y="273"/>
                    </a:cubicBezTo>
                    <a:cubicBezTo>
                      <a:pt x="173" y="280"/>
                      <a:pt x="171" y="288"/>
                      <a:pt x="176" y="292"/>
                    </a:cubicBezTo>
                    <a:cubicBezTo>
                      <a:pt x="182" y="297"/>
                      <a:pt x="194" y="310"/>
                      <a:pt x="184" y="318"/>
                    </a:cubicBezTo>
                    <a:cubicBezTo>
                      <a:pt x="174" y="327"/>
                      <a:pt x="174" y="336"/>
                      <a:pt x="184" y="345"/>
                    </a:cubicBezTo>
                    <a:cubicBezTo>
                      <a:pt x="194" y="354"/>
                      <a:pt x="205" y="364"/>
                      <a:pt x="200" y="378"/>
                    </a:cubicBezTo>
                    <a:cubicBezTo>
                      <a:pt x="194" y="392"/>
                      <a:pt x="195" y="397"/>
                      <a:pt x="188" y="402"/>
                    </a:cubicBezTo>
                    <a:cubicBezTo>
                      <a:pt x="182" y="406"/>
                      <a:pt x="178" y="426"/>
                      <a:pt x="186" y="433"/>
                    </a:cubicBezTo>
                    <a:cubicBezTo>
                      <a:pt x="195" y="440"/>
                      <a:pt x="208" y="450"/>
                      <a:pt x="210" y="458"/>
                    </a:cubicBezTo>
                    <a:cubicBezTo>
                      <a:pt x="213" y="465"/>
                      <a:pt x="215" y="473"/>
                      <a:pt x="215" y="481"/>
                    </a:cubicBezTo>
                    <a:cubicBezTo>
                      <a:pt x="229" y="479"/>
                      <a:pt x="239" y="475"/>
                      <a:pt x="245" y="484"/>
                    </a:cubicBezTo>
                    <a:cubicBezTo>
                      <a:pt x="254" y="497"/>
                      <a:pt x="261" y="492"/>
                      <a:pt x="280" y="507"/>
                    </a:cubicBezTo>
                    <a:cubicBezTo>
                      <a:pt x="299" y="521"/>
                      <a:pt x="286" y="531"/>
                      <a:pt x="287" y="557"/>
                    </a:cubicBezTo>
                    <a:cubicBezTo>
                      <a:pt x="288" y="583"/>
                      <a:pt x="271" y="570"/>
                      <a:pt x="250" y="577"/>
                    </a:cubicBezTo>
                    <a:cubicBezTo>
                      <a:pt x="228" y="584"/>
                      <a:pt x="237" y="588"/>
                      <a:pt x="218" y="607"/>
                    </a:cubicBezTo>
                    <a:cubicBezTo>
                      <a:pt x="200" y="626"/>
                      <a:pt x="210" y="617"/>
                      <a:pt x="191" y="640"/>
                    </a:cubicBezTo>
                    <a:cubicBezTo>
                      <a:pt x="172" y="663"/>
                      <a:pt x="154" y="673"/>
                      <a:pt x="137" y="679"/>
                    </a:cubicBezTo>
                    <a:cubicBezTo>
                      <a:pt x="119" y="684"/>
                      <a:pt x="109" y="694"/>
                      <a:pt x="102" y="722"/>
                    </a:cubicBezTo>
                    <a:cubicBezTo>
                      <a:pt x="95" y="749"/>
                      <a:pt x="78" y="742"/>
                      <a:pt x="56" y="733"/>
                    </a:cubicBezTo>
                    <a:cubicBezTo>
                      <a:pt x="35" y="724"/>
                      <a:pt x="42" y="765"/>
                      <a:pt x="29" y="779"/>
                    </a:cubicBezTo>
                    <a:cubicBezTo>
                      <a:pt x="16" y="793"/>
                      <a:pt x="20" y="808"/>
                      <a:pt x="30" y="822"/>
                    </a:cubicBezTo>
                    <a:cubicBezTo>
                      <a:pt x="41" y="836"/>
                      <a:pt x="40" y="826"/>
                      <a:pt x="35" y="843"/>
                    </a:cubicBezTo>
                    <a:cubicBezTo>
                      <a:pt x="29" y="861"/>
                      <a:pt x="28" y="858"/>
                      <a:pt x="36" y="872"/>
                    </a:cubicBezTo>
                    <a:cubicBezTo>
                      <a:pt x="45" y="886"/>
                      <a:pt x="45" y="896"/>
                      <a:pt x="51" y="925"/>
                    </a:cubicBezTo>
                    <a:cubicBezTo>
                      <a:pt x="56" y="954"/>
                      <a:pt x="38" y="972"/>
                      <a:pt x="35" y="990"/>
                    </a:cubicBezTo>
                    <a:cubicBezTo>
                      <a:pt x="32" y="1007"/>
                      <a:pt x="68" y="1013"/>
                      <a:pt x="85" y="1017"/>
                    </a:cubicBezTo>
                    <a:cubicBezTo>
                      <a:pt x="102" y="1021"/>
                      <a:pt x="116" y="1037"/>
                      <a:pt x="129" y="1053"/>
                    </a:cubicBezTo>
                    <a:cubicBezTo>
                      <a:pt x="142" y="1068"/>
                      <a:pt x="171" y="1056"/>
                      <a:pt x="202" y="1056"/>
                    </a:cubicBezTo>
                    <a:cubicBezTo>
                      <a:pt x="234" y="1056"/>
                      <a:pt x="241" y="1044"/>
                      <a:pt x="280" y="1033"/>
                    </a:cubicBezTo>
                    <a:cubicBezTo>
                      <a:pt x="319" y="1021"/>
                      <a:pt x="340" y="1020"/>
                      <a:pt x="362" y="1015"/>
                    </a:cubicBezTo>
                    <a:cubicBezTo>
                      <a:pt x="383" y="1011"/>
                      <a:pt x="413" y="1004"/>
                      <a:pt x="436" y="1004"/>
                    </a:cubicBezTo>
                    <a:cubicBezTo>
                      <a:pt x="440" y="1004"/>
                      <a:pt x="444" y="1004"/>
                      <a:pt x="448" y="1004"/>
                    </a:cubicBezTo>
                    <a:cubicBezTo>
                      <a:pt x="455" y="995"/>
                      <a:pt x="463" y="987"/>
                      <a:pt x="466" y="98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4" name="Freeform 197">
                <a:extLst>
                  <a:ext uri="{FF2B5EF4-FFF2-40B4-BE49-F238E27FC236}">
                    <a16:creationId xmlns:a16="http://schemas.microsoft.com/office/drawing/2014/main" id="{80662402-4DDD-134B-8EB2-070E7DCBBA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1387"/>
                <a:ext cx="8" cy="7"/>
              </a:xfrm>
              <a:custGeom>
                <a:avLst/>
                <a:gdLst>
                  <a:gd name="T0" fmla="*/ 12 w 29"/>
                  <a:gd name="T1" fmla="*/ 6 h 27"/>
                  <a:gd name="T2" fmla="*/ 3 w 29"/>
                  <a:gd name="T3" fmla="*/ 3 h 27"/>
                  <a:gd name="T4" fmla="*/ 6 w 29"/>
                  <a:gd name="T5" fmla="*/ 13 h 27"/>
                  <a:gd name="T6" fmla="*/ 12 w 29"/>
                  <a:gd name="T7" fmla="*/ 23 h 27"/>
                  <a:gd name="T8" fmla="*/ 27 w 29"/>
                  <a:gd name="T9" fmla="*/ 21 h 27"/>
                  <a:gd name="T10" fmla="*/ 18 w 29"/>
                  <a:gd name="T11" fmla="*/ 13 h 27"/>
                  <a:gd name="T12" fmla="*/ 12 w 29"/>
                  <a:gd name="T13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27">
                    <a:moveTo>
                      <a:pt x="12" y="6"/>
                    </a:moveTo>
                    <a:cubicBezTo>
                      <a:pt x="12" y="6"/>
                      <a:pt x="4" y="0"/>
                      <a:pt x="3" y="3"/>
                    </a:cubicBezTo>
                    <a:cubicBezTo>
                      <a:pt x="3" y="7"/>
                      <a:pt x="0" y="11"/>
                      <a:pt x="6" y="13"/>
                    </a:cubicBezTo>
                    <a:cubicBezTo>
                      <a:pt x="12" y="16"/>
                      <a:pt x="5" y="22"/>
                      <a:pt x="12" y="23"/>
                    </a:cubicBezTo>
                    <a:cubicBezTo>
                      <a:pt x="19" y="24"/>
                      <a:pt x="29" y="27"/>
                      <a:pt x="27" y="21"/>
                    </a:cubicBezTo>
                    <a:cubicBezTo>
                      <a:pt x="26" y="14"/>
                      <a:pt x="19" y="19"/>
                      <a:pt x="18" y="13"/>
                    </a:cubicBezTo>
                    <a:cubicBezTo>
                      <a:pt x="16" y="8"/>
                      <a:pt x="17" y="9"/>
                      <a:pt x="12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5" name="Freeform 198">
                <a:extLst>
                  <a:ext uri="{FF2B5EF4-FFF2-40B4-BE49-F238E27FC236}">
                    <a16:creationId xmlns:a16="http://schemas.microsoft.com/office/drawing/2014/main" id="{A2D95D9E-9B72-474C-95DF-4F46F40B1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" y="1341"/>
                <a:ext cx="8" cy="6"/>
              </a:xfrm>
              <a:custGeom>
                <a:avLst/>
                <a:gdLst>
                  <a:gd name="T0" fmla="*/ 19 w 32"/>
                  <a:gd name="T1" fmla="*/ 4 h 23"/>
                  <a:gd name="T2" fmla="*/ 13 w 32"/>
                  <a:gd name="T3" fmla="*/ 11 h 23"/>
                  <a:gd name="T4" fmla="*/ 8 w 32"/>
                  <a:gd name="T5" fmla="*/ 21 h 23"/>
                  <a:gd name="T6" fmla="*/ 27 w 32"/>
                  <a:gd name="T7" fmla="*/ 20 h 23"/>
                  <a:gd name="T8" fmla="*/ 27 w 32"/>
                  <a:gd name="T9" fmla="*/ 2 h 23"/>
                  <a:gd name="T10" fmla="*/ 19 w 32"/>
                  <a:gd name="T11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23">
                    <a:moveTo>
                      <a:pt x="19" y="4"/>
                    </a:moveTo>
                    <a:cubicBezTo>
                      <a:pt x="19" y="4"/>
                      <a:pt x="25" y="12"/>
                      <a:pt x="13" y="11"/>
                    </a:cubicBezTo>
                    <a:cubicBezTo>
                      <a:pt x="0" y="11"/>
                      <a:pt x="3" y="20"/>
                      <a:pt x="8" y="21"/>
                    </a:cubicBezTo>
                    <a:cubicBezTo>
                      <a:pt x="13" y="21"/>
                      <a:pt x="26" y="23"/>
                      <a:pt x="27" y="20"/>
                    </a:cubicBezTo>
                    <a:cubicBezTo>
                      <a:pt x="29" y="16"/>
                      <a:pt x="32" y="5"/>
                      <a:pt x="27" y="2"/>
                    </a:cubicBezTo>
                    <a:cubicBezTo>
                      <a:pt x="22" y="0"/>
                      <a:pt x="19" y="1"/>
                      <a:pt x="19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6" name="Freeform 199">
                <a:extLst>
                  <a:ext uri="{FF2B5EF4-FFF2-40B4-BE49-F238E27FC236}">
                    <a16:creationId xmlns:a16="http://schemas.microsoft.com/office/drawing/2014/main" id="{FAE579BD-0F2B-244A-9FD8-64560C177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7" y="1590"/>
                <a:ext cx="161" cy="128"/>
              </a:xfrm>
              <a:custGeom>
                <a:avLst/>
                <a:gdLst>
                  <a:gd name="T0" fmla="*/ 611 w 637"/>
                  <a:gd name="T1" fmla="*/ 315 h 506"/>
                  <a:gd name="T2" fmla="*/ 607 w 637"/>
                  <a:gd name="T3" fmla="*/ 260 h 506"/>
                  <a:gd name="T4" fmla="*/ 576 w 637"/>
                  <a:gd name="T5" fmla="*/ 231 h 506"/>
                  <a:gd name="T6" fmla="*/ 622 w 637"/>
                  <a:gd name="T7" fmla="*/ 188 h 506"/>
                  <a:gd name="T8" fmla="*/ 605 w 637"/>
                  <a:gd name="T9" fmla="*/ 108 h 506"/>
                  <a:gd name="T10" fmla="*/ 593 w 637"/>
                  <a:gd name="T11" fmla="*/ 69 h 506"/>
                  <a:gd name="T12" fmla="*/ 551 w 637"/>
                  <a:gd name="T13" fmla="*/ 47 h 506"/>
                  <a:gd name="T14" fmla="*/ 466 w 637"/>
                  <a:gd name="T15" fmla="*/ 57 h 506"/>
                  <a:gd name="T16" fmla="*/ 403 w 637"/>
                  <a:gd name="T17" fmla="*/ 53 h 506"/>
                  <a:gd name="T18" fmla="*/ 366 w 637"/>
                  <a:gd name="T19" fmla="*/ 24 h 506"/>
                  <a:gd name="T20" fmla="*/ 326 w 637"/>
                  <a:gd name="T21" fmla="*/ 48 h 506"/>
                  <a:gd name="T22" fmla="*/ 261 w 637"/>
                  <a:gd name="T23" fmla="*/ 7 h 506"/>
                  <a:gd name="T24" fmla="*/ 138 w 637"/>
                  <a:gd name="T25" fmla="*/ 49 h 506"/>
                  <a:gd name="T26" fmla="*/ 30 w 637"/>
                  <a:gd name="T27" fmla="*/ 79 h 506"/>
                  <a:gd name="T28" fmla="*/ 8 w 637"/>
                  <a:gd name="T29" fmla="*/ 104 h 506"/>
                  <a:gd name="T30" fmla="*/ 20 w 637"/>
                  <a:gd name="T31" fmla="*/ 152 h 506"/>
                  <a:gd name="T32" fmla="*/ 15 w 637"/>
                  <a:gd name="T33" fmla="*/ 186 h 506"/>
                  <a:gd name="T34" fmla="*/ 38 w 637"/>
                  <a:gd name="T35" fmla="*/ 242 h 506"/>
                  <a:gd name="T36" fmla="*/ 34 w 637"/>
                  <a:gd name="T37" fmla="*/ 279 h 506"/>
                  <a:gd name="T38" fmla="*/ 52 w 637"/>
                  <a:gd name="T39" fmla="*/ 320 h 506"/>
                  <a:gd name="T40" fmla="*/ 75 w 637"/>
                  <a:gd name="T41" fmla="*/ 348 h 506"/>
                  <a:gd name="T42" fmla="*/ 113 w 637"/>
                  <a:gd name="T43" fmla="*/ 365 h 506"/>
                  <a:gd name="T44" fmla="*/ 144 w 637"/>
                  <a:gd name="T45" fmla="*/ 390 h 506"/>
                  <a:gd name="T46" fmla="*/ 176 w 637"/>
                  <a:gd name="T47" fmla="*/ 408 h 506"/>
                  <a:gd name="T48" fmla="*/ 186 w 637"/>
                  <a:gd name="T49" fmla="*/ 387 h 506"/>
                  <a:gd name="T50" fmla="*/ 211 w 637"/>
                  <a:gd name="T51" fmla="*/ 398 h 506"/>
                  <a:gd name="T52" fmla="*/ 247 w 637"/>
                  <a:gd name="T53" fmla="*/ 424 h 506"/>
                  <a:gd name="T54" fmla="*/ 298 w 637"/>
                  <a:gd name="T55" fmla="*/ 460 h 506"/>
                  <a:gd name="T56" fmla="*/ 324 w 637"/>
                  <a:gd name="T57" fmla="*/ 469 h 506"/>
                  <a:gd name="T58" fmla="*/ 350 w 637"/>
                  <a:gd name="T59" fmla="*/ 463 h 506"/>
                  <a:gd name="T60" fmla="*/ 389 w 637"/>
                  <a:gd name="T61" fmla="*/ 477 h 506"/>
                  <a:gd name="T62" fmla="*/ 437 w 637"/>
                  <a:gd name="T63" fmla="*/ 479 h 506"/>
                  <a:gd name="T64" fmla="*/ 492 w 637"/>
                  <a:gd name="T65" fmla="*/ 474 h 506"/>
                  <a:gd name="T66" fmla="*/ 527 w 637"/>
                  <a:gd name="T67" fmla="*/ 498 h 506"/>
                  <a:gd name="T68" fmla="*/ 545 w 637"/>
                  <a:gd name="T69" fmla="*/ 500 h 506"/>
                  <a:gd name="T70" fmla="*/ 562 w 637"/>
                  <a:gd name="T71" fmla="*/ 443 h 506"/>
                  <a:gd name="T72" fmla="*/ 633 w 637"/>
                  <a:gd name="T73" fmla="*/ 375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37" h="506">
                    <a:moveTo>
                      <a:pt x="628" y="340"/>
                    </a:moveTo>
                    <a:cubicBezTo>
                      <a:pt x="619" y="333"/>
                      <a:pt x="612" y="325"/>
                      <a:pt x="611" y="315"/>
                    </a:cubicBezTo>
                    <a:cubicBezTo>
                      <a:pt x="610" y="305"/>
                      <a:pt x="599" y="301"/>
                      <a:pt x="601" y="288"/>
                    </a:cubicBezTo>
                    <a:cubicBezTo>
                      <a:pt x="604" y="275"/>
                      <a:pt x="603" y="267"/>
                      <a:pt x="607" y="260"/>
                    </a:cubicBezTo>
                    <a:cubicBezTo>
                      <a:pt x="610" y="254"/>
                      <a:pt x="602" y="245"/>
                      <a:pt x="596" y="243"/>
                    </a:cubicBezTo>
                    <a:cubicBezTo>
                      <a:pt x="589" y="240"/>
                      <a:pt x="576" y="238"/>
                      <a:pt x="576" y="231"/>
                    </a:cubicBezTo>
                    <a:cubicBezTo>
                      <a:pt x="576" y="225"/>
                      <a:pt x="582" y="217"/>
                      <a:pt x="593" y="211"/>
                    </a:cubicBezTo>
                    <a:cubicBezTo>
                      <a:pt x="604" y="205"/>
                      <a:pt x="621" y="205"/>
                      <a:pt x="622" y="188"/>
                    </a:cubicBezTo>
                    <a:cubicBezTo>
                      <a:pt x="624" y="170"/>
                      <a:pt x="627" y="157"/>
                      <a:pt x="617" y="144"/>
                    </a:cubicBezTo>
                    <a:cubicBezTo>
                      <a:pt x="606" y="131"/>
                      <a:pt x="605" y="119"/>
                      <a:pt x="605" y="108"/>
                    </a:cubicBezTo>
                    <a:cubicBezTo>
                      <a:pt x="606" y="101"/>
                      <a:pt x="604" y="96"/>
                      <a:pt x="606" y="93"/>
                    </a:cubicBezTo>
                    <a:cubicBezTo>
                      <a:pt x="597" y="86"/>
                      <a:pt x="594" y="75"/>
                      <a:pt x="593" y="69"/>
                    </a:cubicBezTo>
                    <a:cubicBezTo>
                      <a:pt x="591" y="63"/>
                      <a:pt x="584" y="61"/>
                      <a:pt x="577" y="54"/>
                    </a:cubicBezTo>
                    <a:cubicBezTo>
                      <a:pt x="570" y="47"/>
                      <a:pt x="559" y="51"/>
                      <a:pt x="551" y="47"/>
                    </a:cubicBezTo>
                    <a:cubicBezTo>
                      <a:pt x="537" y="52"/>
                      <a:pt x="516" y="50"/>
                      <a:pt x="504" y="51"/>
                    </a:cubicBezTo>
                    <a:cubicBezTo>
                      <a:pt x="489" y="51"/>
                      <a:pt x="473" y="55"/>
                      <a:pt x="466" y="57"/>
                    </a:cubicBezTo>
                    <a:cubicBezTo>
                      <a:pt x="458" y="59"/>
                      <a:pt x="451" y="59"/>
                      <a:pt x="438" y="52"/>
                    </a:cubicBezTo>
                    <a:cubicBezTo>
                      <a:pt x="426" y="45"/>
                      <a:pt x="414" y="54"/>
                      <a:pt x="403" y="53"/>
                    </a:cubicBezTo>
                    <a:cubicBezTo>
                      <a:pt x="393" y="52"/>
                      <a:pt x="385" y="51"/>
                      <a:pt x="380" y="37"/>
                    </a:cubicBezTo>
                    <a:cubicBezTo>
                      <a:pt x="377" y="30"/>
                      <a:pt x="371" y="26"/>
                      <a:pt x="366" y="24"/>
                    </a:cubicBezTo>
                    <a:cubicBezTo>
                      <a:pt x="365" y="27"/>
                      <a:pt x="363" y="29"/>
                      <a:pt x="362" y="32"/>
                    </a:cubicBezTo>
                    <a:cubicBezTo>
                      <a:pt x="350" y="46"/>
                      <a:pt x="340" y="46"/>
                      <a:pt x="326" y="48"/>
                    </a:cubicBezTo>
                    <a:cubicBezTo>
                      <a:pt x="311" y="49"/>
                      <a:pt x="297" y="45"/>
                      <a:pt x="298" y="30"/>
                    </a:cubicBezTo>
                    <a:cubicBezTo>
                      <a:pt x="300" y="16"/>
                      <a:pt x="288" y="15"/>
                      <a:pt x="261" y="7"/>
                    </a:cubicBezTo>
                    <a:cubicBezTo>
                      <a:pt x="234" y="0"/>
                      <a:pt x="214" y="15"/>
                      <a:pt x="191" y="19"/>
                    </a:cubicBezTo>
                    <a:cubicBezTo>
                      <a:pt x="168" y="23"/>
                      <a:pt x="158" y="30"/>
                      <a:pt x="138" y="49"/>
                    </a:cubicBezTo>
                    <a:cubicBezTo>
                      <a:pt x="118" y="68"/>
                      <a:pt x="85" y="69"/>
                      <a:pt x="72" y="69"/>
                    </a:cubicBezTo>
                    <a:cubicBezTo>
                      <a:pt x="59" y="69"/>
                      <a:pt x="43" y="70"/>
                      <a:pt x="30" y="79"/>
                    </a:cubicBezTo>
                    <a:cubicBezTo>
                      <a:pt x="24" y="84"/>
                      <a:pt x="17" y="83"/>
                      <a:pt x="9" y="79"/>
                    </a:cubicBezTo>
                    <a:cubicBezTo>
                      <a:pt x="8" y="87"/>
                      <a:pt x="7" y="98"/>
                      <a:pt x="8" y="104"/>
                    </a:cubicBezTo>
                    <a:cubicBezTo>
                      <a:pt x="8" y="113"/>
                      <a:pt x="5" y="119"/>
                      <a:pt x="14" y="127"/>
                    </a:cubicBezTo>
                    <a:cubicBezTo>
                      <a:pt x="24" y="135"/>
                      <a:pt x="24" y="139"/>
                      <a:pt x="20" y="152"/>
                    </a:cubicBezTo>
                    <a:cubicBezTo>
                      <a:pt x="17" y="164"/>
                      <a:pt x="11" y="166"/>
                      <a:pt x="6" y="170"/>
                    </a:cubicBezTo>
                    <a:cubicBezTo>
                      <a:pt x="0" y="174"/>
                      <a:pt x="4" y="178"/>
                      <a:pt x="15" y="186"/>
                    </a:cubicBezTo>
                    <a:cubicBezTo>
                      <a:pt x="26" y="194"/>
                      <a:pt x="30" y="206"/>
                      <a:pt x="30" y="220"/>
                    </a:cubicBezTo>
                    <a:cubicBezTo>
                      <a:pt x="30" y="234"/>
                      <a:pt x="34" y="236"/>
                      <a:pt x="38" y="242"/>
                    </a:cubicBezTo>
                    <a:cubicBezTo>
                      <a:pt x="43" y="249"/>
                      <a:pt x="42" y="258"/>
                      <a:pt x="38" y="262"/>
                    </a:cubicBezTo>
                    <a:cubicBezTo>
                      <a:pt x="34" y="266"/>
                      <a:pt x="36" y="268"/>
                      <a:pt x="34" y="279"/>
                    </a:cubicBezTo>
                    <a:cubicBezTo>
                      <a:pt x="32" y="290"/>
                      <a:pt x="34" y="298"/>
                      <a:pt x="42" y="300"/>
                    </a:cubicBezTo>
                    <a:cubicBezTo>
                      <a:pt x="50" y="301"/>
                      <a:pt x="53" y="309"/>
                      <a:pt x="52" y="320"/>
                    </a:cubicBezTo>
                    <a:cubicBezTo>
                      <a:pt x="52" y="330"/>
                      <a:pt x="53" y="340"/>
                      <a:pt x="60" y="340"/>
                    </a:cubicBezTo>
                    <a:cubicBezTo>
                      <a:pt x="68" y="341"/>
                      <a:pt x="73" y="340"/>
                      <a:pt x="75" y="348"/>
                    </a:cubicBezTo>
                    <a:cubicBezTo>
                      <a:pt x="77" y="356"/>
                      <a:pt x="83" y="360"/>
                      <a:pt x="89" y="360"/>
                    </a:cubicBezTo>
                    <a:cubicBezTo>
                      <a:pt x="95" y="360"/>
                      <a:pt x="104" y="362"/>
                      <a:pt x="113" y="365"/>
                    </a:cubicBezTo>
                    <a:cubicBezTo>
                      <a:pt x="122" y="368"/>
                      <a:pt x="126" y="369"/>
                      <a:pt x="131" y="374"/>
                    </a:cubicBezTo>
                    <a:cubicBezTo>
                      <a:pt x="136" y="380"/>
                      <a:pt x="142" y="384"/>
                      <a:pt x="144" y="390"/>
                    </a:cubicBezTo>
                    <a:cubicBezTo>
                      <a:pt x="147" y="396"/>
                      <a:pt x="145" y="399"/>
                      <a:pt x="154" y="404"/>
                    </a:cubicBezTo>
                    <a:cubicBezTo>
                      <a:pt x="164" y="408"/>
                      <a:pt x="172" y="414"/>
                      <a:pt x="176" y="408"/>
                    </a:cubicBezTo>
                    <a:cubicBezTo>
                      <a:pt x="179" y="401"/>
                      <a:pt x="185" y="403"/>
                      <a:pt x="182" y="398"/>
                    </a:cubicBezTo>
                    <a:cubicBezTo>
                      <a:pt x="178" y="392"/>
                      <a:pt x="179" y="387"/>
                      <a:pt x="186" y="387"/>
                    </a:cubicBezTo>
                    <a:cubicBezTo>
                      <a:pt x="194" y="387"/>
                      <a:pt x="195" y="390"/>
                      <a:pt x="198" y="394"/>
                    </a:cubicBezTo>
                    <a:cubicBezTo>
                      <a:pt x="200" y="397"/>
                      <a:pt x="202" y="397"/>
                      <a:pt x="211" y="398"/>
                    </a:cubicBezTo>
                    <a:cubicBezTo>
                      <a:pt x="220" y="400"/>
                      <a:pt x="226" y="403"/>
                      <a:pt x="228" y="411"/>
                    </a:cubicBezTo>
                    <a:cubicBezTo>
                      <a:pt x="231" y="419"/>
                      <a:pt x="238" y="424"/>
                      <a:pt x="247" y="424"/>
                    </a:cubicBezTo>
                    <a:cubicBezTo>
                      <a:pt x="256" y="424"/>
                      <a:pt x="272" y="423"/>
                      <a:pt x="277" y="431"/>
                    </a:cubicBezTo>
                    <a:cubicBezTo>
                      <a:pt x="281" y="438"/>
                      <a:pt x="293" y="445"/>
                      <a:pt x="298" y="460"/>
                    </a:cubicBezTo>
                    <a:cubicBezTo>
                      <a:pt x="300" y="460"/>
                      <a:pt x="302" y="460"/>
                      <a:pt x="304" y="462"/>
                    </a:cubicBezTo>
                    <a:cubicBezTo>
                      <a:pt x="312" y="469"/>
                      <a:pt x="315" y="471"/>
                      <a:pt x="324" y="469"/>
                    </a:cubicBezTo>
                    <a:cubicBezTo>
                      <a:pt x="332" y="467"/>
                      <a:pt x="332" y="460"/>
                      <a:pt x="337" y="459"/>
                    </a:cubicBezTo>
                    <a:cubicBezTo>
                      <a:pt x="343" y="459"/>
                      <a:pt x="349" y="455"/>
                      <a:pt x="350" y="463"/>
                    </a:cubicBezTo>
                    <a:cubicBezTo>
                      <a:pt x="352" y="471"/>
                      <a:pt x="356" y="474"/>
                      <a:pt x="360" y="475"/>
                    </a:cubicBezTo>
                    <a:cubicBezTo>
                      <a:pt x="363" y="476"/>
                      <a:pt x="380" y="483"/>
                      <a:pt x="389" y="477"/>
                    </a:cubicBezTo>
                    <a:cubicBezTo>
                      <a:pt x="399" y="472"/>
                      <a:pt x="410" y="469"/>
                      <a:pt x="415" y="471"/>
                    </a:cubicBezTo>
                    <a:cubicBezTo>
                      <a:pt x="421" y="472"/>
                      <a:pt x="432" y="482"/>
                      <a:pt x="437" y="479"/>
                    </a:cubicBezTo>
                    <a:cubicBezTo>
                      <a:pt x="442" y="476"/>
                      <a:pt x="448" y="469"/>
                      <a:pt x="454" y="469"/>
                    </a:cubicBezTo>
                    <a:cubicBezTo>
                      <a:pt x="460" y="469"/>
                      <a:pt x="486" y="466"/>
                      <a:pt x="492" y="474"/>
                    </a:cubicBezTo>
                    <a:cubicBezTo>
                      <a:pt x="497" y="483"/>
                      <a:pt x="499" y="487"/>
                      <a:pt x="509" y="489"/>
                    </a:cubicBezTo>
                    <a:cubicBezTo>
                      <a:pt x="518" y="491"/>
                      <a:pt x="525" y="496"/>
                      <a:pt x="527" y="498"/>
                    </a:cubicBezTo>
                    <a:cubicBezTo>
                      <a:pt x="529" y="500"/>
                      <a:pt x="532" y="502"/>
                      <a:pt x="534" y="506"/>
                    </a:cubicBezTo>
                    <a:cubicBezTo>
                      <a:pt x="536" y="502"/>
                      <a:pt x="539" y="502"/>
                      <a:pt x="545" y="500"/>
                    </a:cubicBezTo>
                    <a:cubicBezTo>
                      <a:pt x="553" y="498"/>
                      <a:pt x="551" y="500"/>
                      <a:pt x="549" y="484"/>
                    </a:cubicBezTo>
                    <a:cubicBezTo>
                      <a:pt x="548" y="467"/>
                      <a:pt x="545" y="453"/>
                      <a:pt x="562" y="443"/>
                    </a:cubicBezTo>
                    <a:cubicBezTo>
                      <a:pt x="579" y="432"/>
                      <a:pt x="595" y="406"/>
                      <a:pt x="607" y="400"/>
                    </a:cubicBezTo>
                    <a:cubicBezTo>
                      <a:pt x="620" y="394"/>
                      <a:pt x="631" y="388"/>
                      <a:pt x="633" y="375"/>
                    </a:cubicBezTo>
                    <a:cubicBezTo>
                      <a:pt x="635" y="362"/>
                      <a:pt x="637" y="347"/>
                      <a:pt x="628" y="34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7" name="Freeform 200">
                <a:extLst>
                  <a:ext uri="{FF2B5EF4-FFF2-40B4-BE49-F238E27FC236}">
                    <a16:creationId xmlns:a16="http://schemas.microsoft.com/office/drawing/2014/main" id="{5BBC4384-8E1C-3B4D-8FB4-1447A54279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0" y="1821"/>
                <a:ext cx="203" cy="151"/>
              </a:xfrm>
              <a:custGeom>
                <a:avLst/>
                <a:gdLst>
                  <a:gd name="T0" fmla="*/ 737 w 804"/>
                  <a:gd name="T1" fmla="*/ 115 h 599"/>
                  <a:gd name="T2" fmla="*/ 682 w 804"/>
                  <a:gd name="T3" fmla="*/ 96 h 599"/>
                  <a:gd name="T4" fmla="*/ 638 w 804"/>
                  <a:gd name="T5" fmla="*/ 90 h 599"/>
                  <a:gd name="T6" fmla="*/ 583 w 804"/>
                  <a:gd name="T7" fmla="*/ 88 h 599"/>
                  <a:gd name="T8" fmla="*/ 515 w 804"/>
                  <a:gd name="T9" fmla="*/ 67 h 599"/>
                  <a:gd name="T10" fmla="*/ 473 w 804"/>
                  <a:gd name="T11" fmla="*/ 42 h 599"/>
                  <a:gd name="T12" fmla="*/ 410 w 804"/>
                  <a:gd name="T13" fmla="*/ 34 h 599"/>
                  <a:gd name="T14" fmla="*/ 326 w 804"/>
                  <a:gd name="T15" fmla="*/ 34 h 599"/>
                  <a:gd name="T16" fmla="*/ 159 w 804"/>
                  <a:gd name="T17" fmla="*/ 21 h 599"/>
                  <a:gd name="T18" fmla="*/ 60 w 804"/>
                  <a:gd name="T19" fmla="*/ 30 h 599"/>
                  <a:gd name="T20" fmla="*/ 24 w 804"/>
                  <a:gd name="T21" fmla="*/ 84 h 599"/>
                  <a:gd name="T22" fmla="*/ 25 w 804"/>
                  <a:gd name="T23" fmla="*/ 151 h 599"/>
                  <a:gd name="T24" fmla="*/ 50 w 804"/>
                  <a:gd name="T25" fmla="*/ 136 h 599"/>
                  <a:gd name="T26" fmla="*/ 73 w 804"/>
                  <a:gd name="T27" fmla="*/ 164 h 599"/>
                  <a:gd name="T28" fmla="*/ 126 w 804"/>
                  <a:gd name="T29" fmla="*/ 161 h 599"/>
                  <a:gd name="T30" fmla="*/ 160 w 804"/>
                  <a:gd name="T31" fmla="*/ 151 h 599"/>
                  <a:gd name="T32" fmla="*/ 186 w 804"/>
                  <a:gd name="T33" fmla="*/ 171 h 599"/>
                  <a:gd name="T34" fmla="*/ 180 w 804"/>
                  <a:gd name="T35" fmla="*/ 199 h 599"/>
                  <a:gd name="T36" fmla="*/ 155 w 804"/>
                  <a:gd name="T37" fmla="*/ 216 h 599"/>
                  <a:gd name="T38" fmla="*/ 156 w 804"/>
                  <a:gd name="T39" fmla="*/ 251 h 599"/>
                  <a:gd name="T40" fmla="*/ 149 w 804"/>
                  <a:gd name="T41" fmla="*/ 287 h 599"/>
                  <a:gd name="T42" fmla="*/ 142 w 804"/>
                  <a:gd name="T43" fmla="*/ 322 h 599"/>
                  <a:gd name="T44" fmla="*/ 117 w 804"/>
                  <a:gd name="T45" fmla="*/ 335 h 599"/>
                  <a:gd name="T46" fmla="*/ 135 w 804"/>
                  <a:gd name="T47" fmla="*/ 361 h 599"/>
                  <a:gd name="T48" fmla="*/ 134 w 804"/>
                  <a:gd name="T49" fmla="*/ 390 h 599"/>
                  <a:gd name="T50" fmla="*/ 125 w 804"/>
                  <a:gd name="T51" fmla="*/ 419 h 599"/>
                  <a:gd name="T52" fmla="*/ 134 w 804"/>
                  <a:gd name="T53" fmla="*/ 449 h 599"/>
                  <a:gd name="T54" fmla="*/ 112 w 804"/>
                  <a:gd name="T55" fmla="*/ 488 h 599"/>
                  <a:gd name="T56" fmla="*/ 142 w 804"/>
                  <a:gd name="T57" fmla="*/ 504 h 599"/>
                  <a:gd name="T58" fmla="*/ 195 w 804"/>
                  <a:gd name="T59" fmla="*/ 563 h 599"/>
                  <a:gd name="T60" fmla="*/ 268 w 804"/>
                  <a:gd name="T61" fmla="*/ 572 h 599"/>
                  <a:gd name="T62" fmla="*/ 369 w 804"/>
                  <a:gd name="T63" fmla="*/ 537 h 599"/>
                  <a:gd name="T64" fmla="*/ 445 w 804"/>
                  <a:gd name="T65" fmla="*/ 539 h 599"/>
                  <a:gd name="T66" fmla="*/ 530 w 804"/>
                  <a:gd name="T67" fmla="*/ 474 h 599"/>
                  <a:gd name="T68" fmla="*/ 595 w 804"/>
                  <a:gd name="T69" fmla="*/ 401 h 599"/>
                  <a:gd name="T70" fmla="*/ 580 w 804"/>
                  <a:gd name="T71" fmla="*/ 344 h 599"/>
                  <a:gd name="T72" fmla="*/ 632 w 804"/>
                  <a:gd name="T73" fmla="*/ 255 h 599"/>
                  <a:gd name="T74" fmla="*/ 718 w 804"/>
                  <a:gd name="T75" fmla="*/ 202 h 599"/>
                  <a:gd name="T76" fmla="*/ 802 w 804"/>
                  <a:gd name="T77" fmla="*/ 120 h 599"/>
                  <a:gd name="T78" fmla="*/ 783 w 804"/>
                  <a:gd name="T79" fmla="*/ 113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04" h="599">
                    <a:moveTo>
                      <a:pt x="764" y="121"/>
                    </a:moveTo>
                    <a:cubicBezTo>
                      <a:pt x="758" y="123"/>
                      <a:pt x="746" y="123"/>
                      <a:pt x="737" y="115"/>
                    </a:cubicBezTo>
                    <a:cubicBezTo>
                      <a:pt x="728" y="106"/>
                      <a:pt x="708" y="115"/>
                      <a:pt x="698" y="113"/>
                    </a:cubicBezTo>
                    <a:cubicBezTo>
                      <a:pt x="687" y="111"/>
                      <a:pt x="684" y="103"/>
                      <a:pt x="682" y="96"/>
                    </a:cubicBezTo>
                    <a:cubicBezTo>
                      <a:pt x="680" y="88"/>
                      <a:pt x="664" y="88"/>
                      <a:pt x="658" y="85"/>
                    </a:cubicBezTo>
                    <a:cubicBezTo>
                      <a:pt x="652" y="81"/>
                      <a:pt x="642" y="84"/>
                      <a:pt x="638" y="90"/>
                    </a:cubicBezTo>
                    <a:cubicBezTo>
                      <a:pt x="634" y="95"/>
                      <a:pt x="625" y="95"/>
                      <a:pt x="619" y="95"/>
                    </a:cubicBezTo>
                    <a:cubicBezTo>
                      <a:pt x="613" y="96"/>
                      <a:pt x="594" y="94"/>
                      <a:pt x="583" y="88"/>
                    </a:cubicBezTo>
                    <a:cubicBezTo>
                      <a:pt x="572" y="81"/>
                      <a:pt x="558" y="86"/>
                      <a:pt x="550" y="81"/>
                    </a:cubicBezTo>
                    <a:cubicBezTo>
                      <a:pt x="543" y="77"/>
                      <a:pt x="523" y="69"/>
                      <a:pt x="515" y="67"/>
                    </a:cubicBezTo>
                    <a:cubicBezTo>
                      <a:pt x="508" y="65"/>
                      <a:pt x="498" y="54"/>
                      <a:pt x="489" y="49"/>
                    </a:cubicBezTo>
                    <a:cubicBezTo>
                      <a:pt x="484" y="46"/>
                      <a:pt x="478" y="44"/>
                      <a:pt x="473" y="42"/>
                    </a:cubicBezTo>
                    <a:cubicBezTo>
                      <a:pt x="463" y="49"/>
                      <a:pt x="452" y="43"/>
                      <a:pt x="441" y="37"/>
                    </a:cubicBezTo>
                    <a:cubicBezTo>
                      <a:pt x="428" y="30"/>
                      <a:pt x="418" y="29"/>
                      <a:pt x="410" y="34"/>
                    </a:cubicBezTo>
                    <a:cubicBezTo>
                      <a:pt x="401" y="40"/>
                      <a:pt x="388" y="40"/>
                      <a:pt x="378" y="33"/>
                    </a:cubicBezTo>
                    <a:cubicBezTo>
                      <a:pt x="368" y="26"/>
                      <a:pt x="351" y="29"/>
                      <a:pt x="326" y="34"/>
                    </a:cubicBezTo>
                    <a:cubicBezTo>
                      <a:pt x="302" y="40"/>
                      <a:pt x="258" y="26"/>
                      <a:pt x="249" y="18"/>
                    </a:cubicBezTo>
                    <a:cubicBezTo>
                      <a:pt x="240" y="11"/>
                      <a:pt x="187" y="17"/>
                      <a:pt x="159" y="21"/>
                    </a:cubicBezTo>
                    <a:cubicBezTo>
                      <a:pt x="130" y="26"/>
                      <a:pt x="122" y="17"/>
                      <a:pt x="107" y="8"/>
                    </a:cubicBezTo>
                    <a:cubicBezTo>
                      <a:pt x="93" y="0"/>
                      <a:pt x="67" y="18"/>
                      <a:pt x="60" y="30"/>
                    </a:cubicBezTo>
                    <a:cubicBezTo>
                      <a:pt x="53" y="41"/>
                      <a:pt x="40" y="43"/>
                      <a:pt x="20" y="50"/>
                    </a:cubicBezTo>
                    <a:cubicBezTo>
                      <a:pt x="0" y="57"/>
                      <a:pt x="10" y="80"/>
                      <a:pt x="24" y="84"/>
                    </a:cubicBezTo>
                    <a:cubicBezTo>
                      <a:pt x="38" y="89"/>
                      <a:pt x="28" y="126"/>
                      <a:pt x="25" y="146"/>
                    </a:cubicBezTo>
                    <a:cubicBezTo>
                      <a:pt x="25" y="148"/>
                      <a:pt x="25" y="150"/>
                      <a:pt x="25" y="151"/>
                    </a:cubicBezTo>
                    <a:cubicBezTo>
                      <a:pt x="30" y="152"/>
                      <a:pt x="37" y="152"/>
                      <a:pt x="39" y="148"/>
                    </a:cubicBezTo>
                    <a:cubicBezTo>
                      <a:pt x="41" y="143"/>
                      <a:pt x="42" y="136"/>
                      <a:pt x="50" y="136"/>
                    </a:cubicBezTo>
                    <a:cubicBezTo>
                      <a:pt x="58" y="136"/>
                      <a:pt x="72" y="136"/>
                      <a:pt x="71" y="145"/>
                    </a:cubicBezTo>
                    <a:cubicBezTo>
                      <a:pt x="70" y="155"/>
                      <a:pt x="63" y="162"/>
                      <a:pt x="73" y="164"/>
                    </a:cubicBezTo>
                    <a:cubicBezTo>
                      <a:pt x="83" y="166"/>
                      <a:pt x="88" y="155"/>
                      <a:pt x="100" y="157"/>
                    </a:cubicBezTo>
                    <a:cubicBezTo>
                      <a:pt x="112" y="158"/>
                      <a:pt x="122" y="166"/>
                      <a:pt x="126" y="161"/>
                    </a:cubicBezTo>
                    <a:cubicBezTo>
                      <a:pt x="131" y="157"/>
                      <a:pt x="133" y="153"/>
                      <a:pt x="141" y="152"/>
                    </a:cubicBezTo>
                    <a:cubicBezTo>
                      <a:pt x="148" y="152"/>
                      <a:pt x="149" y="146"/>
                      <a:pt x="160" y="151"/>
                    </a:cubicBezTo>
                    <a:cubicBezTo>
                      <a:pt x="170" y="155"/>
                      <a:pt x="174" y="153"/>
                      <a:pt x="177" y="160"/>
                    </a:cubicBezTo>
                    <a:cubicBezTo>
                      <a:pt x="180" y="167"/>
                      <a:pt x="180" y="169"/>
                      <a:pt x="186" y="171"/>
                    </a:cubicBezTo>
                    <a:cubicBezTo>
                      <a:pt x="191" y="173"/>
                      <a:pt x="196" y="183"/>
                      <a:pt x="194" y="187"/>
                    </a:cubicBezTo>
                    <a:cubicBezTo>
                      <a:pt x="192" y="190"/>
                      <a:pt x="188" y="198"/>
                      <a:pt x="180" y="199"/>
                    </a:cubicBezTo>
                    <a:cubicBezTo>
                      <a:pt x="172" y="200"/>
                      <a:pt x="166" y="201"/>
                      <a:pt x="165" y="204"/>
                    </a:cubicBezTo>
                    <a:cubicBezTo>
                      <a:pt x="163" y="208"/>
                      <a:pt x="158" y="214"/>
                      <a:pt x="155" y="216"/>
                    </a:cubicBezTo>
                    <a:cubicBezTo>
                      <a:pt x="152" y="217"/>
                      <a:pt x="147" y="220"/>
                      <a:pt x="151" y="225"/>
                    </a:cubicBezTo>
                    <a:cubicBezTo>
                      <a:pt x="155" y="230"/>
                      <a:pt x="156" y="244"/>
                      <a:pt x="156" y="251"/>
                    </a:cubicBezTo>
                    <a:cubicBezTo>
                      <a:pt x="156" y="258"/>
                      <a:pt x="157" y="269"/>
                      <a:pt x="154" y="273"/>
                    </a:cubicBezTo>
                    <a:cubicBezTo>
                      <a:pt x="151" y="276"/>
                      <a:pt x="149" y="279"/>
                      <a:pt x="149" y="287"/>
                    </a:cubicBezTo>
                    <a:cubicBezTo>
                      <a:pt x="149" y="295"/>
                      <a:pt x="150" y="302"/>
                      <a:pt x="149" y="307"/>
                    </a:cubicBezTo>
                    <a:cubicBezTo>
                      <a:pt x="148" y="312"/>
                      <a:pt x="151" y="319"/>
                      <a:pt x="142" y="322"/>
                    </a:cubicBezTo>
                    <a:cubicBezTo>
                      <a:pt x="132" y="324"/>
                      <a:pt x="114" y="323"/>
                      <a:pt x="110" y="322"/>
                    </a:cubicBezTo>
                    <a:cubicBezTo>
                      <a:pt x="105" y="321"/>
                      <a:pt x="107" y="329"/>
                      <a:pt x="117" y="335"/>
                    </a:cubicBezTo>
                    <a:cubicBezTo>
                      <a:pt x="127" y="340"/>
                      <a:pt x="128" y="347"/>
                      <a:pt x="129" y="351"/>
                    </a:cubicBezTo>
                    <a:cubicBezTo>
                      <a:pt x="130" y="355"/>
                      <a:pt x="131" y="359"/>
                      <a:pt x="135" y="361"/>
                    </a:cubicBezTo>
                    <a:cubicBezTo>
                      <a:pt x="139" y="363"/>
                      <a:pt x="145" y="369"/>
                      <a:pt x="145" y="374"/>
                    </a:cubicBezTo>
                    <a:cubicBezTo>
                      <a:pt x="145" y="379"/>
                      <a:pt x="141" y="386"/>
                      <a:pt x="134" y="390"/>
                    </a:cubicBezTo>
                    <a:cubicBezTo>
                      <a:pt x="127" y="394"/>
                      <a:pt x="127" y="399"/>
                      <a:pt x="125" y="405"/>
                    </a:cubicBezTo>
                    <a:cubicBezTo>
                      <a:pt x="124" y="410"/>
                      <a:pt x="120" y="415"/>
                      <a:pt x="125" y="419"/>
                    </a:cubicBezTo>
                    <a:cubicBezTo>
                      <a:pt x="130" y="424"/>
                      <a:pt x="136" y="426"/>
                      <a:pt x="139" y="431"/>
                    </a:cubicBezTo>
                    <a:cubicBezTo>
                      <a:pt x="141" y="437"/>
                      <a:pt x="142" y="444"/>
                      <a:pt x="134" y="449"/>
                    </a:cubicBezTo>
                    <a:cubicBezTo>
                      <a:pt x="127" y="454"/>
                      <a:pt x="118" y="457"/>
                      <a:pt x="116" y="466"/>
                    </a:cubicBezTo>
                    <a:cubicBezTo>
                      <a:pt x="114" y="475"/>
                      <a:pt x="109" y="481"/>
                      <a:pt x="112" y="488"/>
                    </a:cubicBezTo>
                    <a:cubicBezTo>
                      <a:pt x="115" y="494"/>
                      <a:pt x="119" y="498"/>
                      <a:pt x="121" y="506"/>
                    </a:cubicBezTo>
                    <a:cubicBezTo>
                      <a:pt x="126" y="505"/>
                      <a:pt x="133" y="504"/>
                      <a:pt x="142" y="504"/>
                    </a:cubicBezTo>
                    <a:cubicBezTo>
                      <a:pt x="162" y="504"/>
                      <a:pt x="157" y="520"/>
                      <a:pt x="175" y="520"/>
                    </a:cubicBezTo>
                    <a:cubicBezTo>
                      <a:pt x="192" y="520"/>
                      <a:pt x="189" y="553"/>
                      <a:pt x="195" y="563"/>
                    </a:cubicBezTo>
                    <a:cubicBezTo>
                      <a:pt x="200" y="573"/>
                      <a:pt x="202" y="579"/>
                      <a:pt x="226" y="589"/>
                    </a:cubicBezTo>
                    <a:cubicBezTo>
                      <a:pt x="251" y="599"/>
                      <a:pt x="256" y="583"/>
                      <a:pt x="268" y="572"/>
                    </a:cubicBezTo>
                    <a:cubicBezTo>
                      <a:pt x="279" y="560"/>
                      <a:pt x="292" y="562"/>
                      <a:pt x="308" y="550"/>
                    </a:cubicBezTo>
                    <a:cubicBezTo>
                      <a:pt x="324" y="539"/>
                      <a:pt x="357" y="539"/>
                      <a:pt x="369" y="537"/>
                    </a:cubicBezTo>
                    <a:cubicBezTo>
                      <a:pt x="382" y="536"/>
                      <a:pt x="407" y="545"/>
                      <a:pt x="415" y="549"/>
                    </a:cubicBezTo>
                    <a:cubicBezTo>
                      <a:pt x="424" y="553"/>
                      <a:pt x="428" y="536"/>
                      <a:pt x="445" y="539"/>
                    </a:cubicBezTo>
                    <a:cubicBezTo>
                      <a:pt x="463" y="542"/>
                      <a:pt x="470" y="530"/>
                      <a:pt x="474" y="510"/>
                    </a:cubicBezTo>
                    <a:cubicBezTo>
                      <a:pt x="478" y="490"/>
                      <a:pt x="507" y="477"/>
                      <a:pt x="530" y="474"/>
                    </a:cubicBezTo>
                    <a:cubicBezTo>
                      <a:pt x="553" y="471"/>
                      <a:pt x="552" y="448"/>
                      <a:pt x="560" y="427"/>
                    </a:cubicBezTo>
                    <a:cubicBezTo>
                      <a:pt x="569" y="405"/>
                      <a:pt x="577" y="407"/>
                      <a:pt x="595" y="401"/>
                    </a:cubicBezTo>
                    <a:cubicBezTo>
                      <a:pt x="612" y="395"/>
                      <a:pt x="600" y="383"/>
                      <a:pt x="589" y="373"/>
                    </a:cubicBezTo>
                    <a:cubicBezTo>
                      <a:pt x="577" y="362"/>
                      <a:pt x="580" y="358"/>
                      <a:pt x="580" y="344"/>
                    </a:cubicBezTo>
                    <a:cubicBezTo>
                      <a:pt x="580" y="330"/>
                      <a:pt x="596" y="305"/>
                      <a:pt x="606" y="291"/>
                    </a:cubicBezTo>
                    <a:cubicBezTo>
                      <a:pt x="616" y="276"/>
                      <a:pt x="612" y="264"/>
                      <a:pt x="632" y="255"/>
                    </a:cubicBezTo>
                    <a:cubicBezTo>
                      <a:pt x="652" y="246"/>
                      <a:pt x="648" y="244"/>
                      <a:pt x="655" y="225"/>
                    </a:cubicBezTo>
                    <a:cubicBezTo>
                      <a:pt x="662" y="206"/>
                      <a:pt x="688" y="209"/>
                      <a:pt x="718" y="202"/>
                    </a:cubicBezTo>
                    <a:cubicBezTo>
                      <a:pt x="748" y="195"/>
                      <a:pt x="752" y="186"/>
                      <a:pt x="775" y="168"/>
                    </a:cubicBezTo>
                    <a:cubicBezTo>
                      <a:pt x="798" y="149"/>
                      <a:pt x="804" y="140"/>
                      <a:pt x="802" y="120"/>
                    </a:cubicBezTo>
                    <a:cubicBezTo>
                      <a:pt x="802" y="116"/>
                      <a:pt x="801" y="112"/>
                      <a:pt x="800" y="109"/>
                    </a:cubicBezTo>
                    <a:cubicBezTo>
                      <a:pt x="791" y="109"/>
                      <a:pt x="790" y="113"/>
                      <a:pt x="783" y="113"/>
                    </a:cubicBezTo>
                    <a:cubicBezTo>
                      <a:pt x="775" y="113"/>
                      <a:pt x="770" y="118"/>
                      <a:pt x="764" y="12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8" name="Freeform 201">
                <a:extLst>
                  <a:ext uri="{FF2B5EF4-FFF2-40B4-BE49-F238E27FC236}">
                    <a16:creationId xmlns:a16="http://schemas.microsoft.com/office/drawing/2014/main" id="{19458EF2-8EBA-0C46-A5E2-EFAAA08AA2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1" y="1893"/>
                <a:ext cx="9" cy="7"/>
              </a:xfrm>
              <a:custGeom>
                <a:avLst/>
                <a:gdLst>
                  <a:gd name="T0" fmla="*/ 23 w 35"/>
                  <a:gd name="T1" fmla="*/ 9 h 26"/>
                  <a:gd name="T2" fmla="*/ 17 w 35"/>
                  <a:gd name="T3" fmla="*/ 3 h 26"/>
                  <a:gd name="T4" fmla="*/ 9 w 35"/>
                  <a:gd name="T5" fmla="*/ 1 h 26"/>
                  <a:gd name="T6" fmla="*/ 0 w 35"/>
                  <a:gd name="T7" fmla="*/ 10 h 26"/>
                  <a:gd name="T8" fmla="*/ 6 w 35"/>
                  <a:gd name="T9" fmla="*/ 18 h 26"/>
                  <a:gd name="T10" fmla="*/ 16 w 35"/>
                  <a:gd name="T11" fmla="*/ 21 h 26"/>
                  <a:gd name="T12" fmla="*/ 26 w 35"/>
                  <a:gd name="T13" fmla="*/ 26 h 26"/>
                  <a:gd name="T14" fmla="*/ 33 w 35"/>
                  <a:gd name="T15" fmla="*/ 22 h 26"/>
                  <a:gd name="T16" fmla="*/ 29 w 35"/>
                  <a:gd name="T17" fmla="*/ 10 h 26"/>
                  <a:gd name="T18" fmla="*/ 23 w 35"/>
                  <a:gd name="T19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26">
                    <a:moveTo>
                      <a:pt x="23" y="9"/>
                    </a:moveTo>
                    <a:cubicBezTo>
                      <a:pt x="23" y="9"/>
                      <a:pt x="17" y="6"/>
                      <a:pt x="17" y="3"/>
                    </a:cubicBezTo>
                    <a:cubicBezTo>
                      <a:pt x="17" y="0"/>
                      <a:pt x="14" y="0"/>
                      <a:pt x="9" y="1"/>
                    </a:cubicBezTo>
                    <a:cubicBezTo>
                      <a:pt x="3" y="3"/>
                      <a:pt x="0" y="5"/>
                      <a:pt x="0" y="10"/>
                    </a:cubicBezTo>
                    <a:cubicBezTo>
                      <a:pt x="1" y="16"/>
                      <a:pt x="0" y="18"/>
                      <a:pt x="6" y="18"/>
                    </a:cubicBezTo>
                    <a:cubicBezTo>
                      <a:pt x="12" y="17"/>
                      <a:pt x="16" y="18"/>
                      <a:pt x="16" y="21"/>
                    </a:cubicBezTo>
                    <a:cubicBezTo>
                      <a:pt x="16" y="25"/>
                      <a:pt x="23" y="26"/>
                      <a:pt x="26" y="26"/>
                    </a:cubicBezTo>
                    <a:cubicBezTo>
                      <a:pt x="29" y="26"/>
                      <a:pt x="32" y="26"/>
                      <a:pt x="33" y="22"/>
                    </a:cubicBezTo>
                    <a:cubicBezTo>
                      <a:pt x="33" y="18"/>
                      <a:pt x="35" y="10"/>
                      <a:pt x="29" y="10"/>
                    </a:cubicBezTo>
                    <a:cubicBezTo>
                      <a:pt x="23" y="11"/>
                      <a:pt x="25" y="10"/>
                      <a:pt x="23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49" name="Freeform 202">
                <a:extLst>
                  <a:ext uri="{FF2B5EF4-FFF2-40B4-BE49-F238E27FC236}">
                    <a16:creationId xmlns:a16="http://schemas.microsoft.com/office/drawing/2014/main" id="{DC7289D0-85D1-6A40-903D-12507F128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8" y="1896"/>
                <a:ext cx="17" cy="15"/>
              </a:xfrm>
              <a:custGeom>
                <a:avLst/>
                <a:gdLst>
                  <a:gd name="T0" fmla="*/ 41 w 69"/>
                  <a:gd name="T1" fmla="*/ 4 h 60"/>
                  <a:gd name="T2" fmla="*/ 32 w 69"/>
                  <a:gd name="T3" fmla="*/ 9 h 60"/>
                  <a:gd name="T4" fmla="*/ 20 w 69"/>
                  <a:gd name="T5" fmla="*/ 17 h 60"/>
                  <a:gd name="T6" fmla="*/ 10 w 69"/>
                  <a:gd name="T7" fmla="*/ 22 h 60"/>
                  <a:gd name="T8" fmla="*/ 4 w 69"/>
                  <a:gd name="T9" fmla="*/ 26 h 60"/>
                  <a:gd name="T10" fmla="*/ 6 w 69"/>
                  <a:gd name="T11" fmla="*/ 35 h 60"/>
                  <a:gd name="T12" fmla="*/ 14 w 69"/>
                  <a:gd name="T13" fmla="*/ 43 h 60"/>
                  <a:gd name="T14" fmla="*/ 26 w 69"/>
                  <a:gd name="T15" fmla="*/ 47 h 60"/>
                  <a:gd name="T16" fmla="*/ 35 w 69"/>
                  <a:gd name="T17" fmla="*/ 52 h 60"/>
                  <a:gd name="T18" fmla="*/ 45 w 69"/>
                  <a:gd name="T19" fmla="*/ 59 h 60"/>
                  <a:gd name="T20" fmla="*/ 51 w 69"/>
                  <a:gd name="T21" fmla="*/ 57 h 60"/>
                  <a:gd name="T22" fmla="*/ 56 w 69"/>
                  <a:gd name="T23" fmla="*/ 51 h 60"/>
                  <a:gd name="T24" fmla="*/ 67 w 69"/>
                  <a:gd name="T25" fmla="*/ 45 h 60"/>
                  <a:gd name="T26" fmla="*/ 68 w 69"/>
                  <a:gd name="T27" fmla="*/ 25 h 60"/>
                  <a:gd name="T28" fmla="*/ 66 w 69"/>
                  <a:gd name="T29" fmla="*/ 18 h 60"/>
                  <a:gd name="T30" fmla="*/ 61 w 69"/>
                  <a:gd name="T31" fmla="*/ 11 h 60"/>
                  <a:gd name="T32" fmla="*/ 54 w 69"/>
                  <a:gd name="T33" fmla="*/ 1 h 60"/>
                  <a:gd name="T34" fmla="*/ 41 w 69"/>
                  <a:gd name="T35" fmla="*/ 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9" h="60">
                    <a:moveTo>
                      <a:pt x="41" y="4"/>
                    </a:moveTo>
                    <a:cubicBezTo>
                      <a:pt x="41" y="4"/>
                      <a:pt x="36" y="10"/>
                      <a:pt x="32" y="9"/>
                    </a:cubicBezTo>
                    <a:cubicBezTo>
                      <a:pt x="29" y="9"/>
                      <a:pt x="26" y="16"/>
                      <a:pt x="20" y="17"/>
                    </a:cubicBezTo>
                    <a:cubicBezTo>
                      <a:pt x="15" y="18"/>
                      <a:pt x="11" y="18"/>
                      <a:pt x="10" y="22"/>
                    </a:cubicBezTo>
                    <a:cubicBezTo>
                      <a:pt x="9" y="25"/>
                      <a:pt x="8" y="25"/>
                      <a:pt x="4" y="26"/>
                    </a:cubicBezTo>
                    <a:cubicBezTo>
                      <a:pt x="0" y="26"/>
                      <a:pt x="2" y="35"/>
                      <a:pt x="6" y="35"/>
                    </a:cubicBezTo>
                    <a:cubicBezTo>
                      <a:pt x="9" y="35"/>
                      <a:pt x="7" y="43"/>
                      <a:pt x="14" y="43"/>
                    </a:cubicBezTo>
                    <a:cubicBezTo>
                      <a:pt x="21" y="43"/>
                      <a:pt x="25" y="42"/>
                      <a:pt x="26" y="47"/>
                    </a:cubicBezTo>
                    <a:cubicBezTo>
                      <a:pt x="27" y="52"/>
                      <a:pt x="31" y="51"/>
                      <a:pt x="35" y="52"/>
                    </a:cubicBezTo>
                    <a:cubicBezTo>
                      <a:pt x="39" y="53"/>
                      <a:pt x="40" y="58"/>
                      <a:pt x="45" y="59"/>
                    </a:cubicBezTo>
                    <a:cubicBezTo>
                      <a:pt x="49" y="59"/>
                      <a:pt x="51" y="60"/>
                      <a:pt x="51" y="57"/>
                    </a:cubicBezTo>
                    <a:cubicBezTo>
                      <a:pt x="52" y="53"/>
                      <a:pt x="51" y="51"/>
                      <a:pt x="56" y="51"/>
                    </a:cubicBezTo>
                    <a:cubicBezTo>
                      <a:pt x="60" y="50"/>
                      <a:pt x="66" y="51"/>
                      <a:pt x="67" y="45"/>
                    </a:cubicBezTo>
                    <a:cubicBezTo>
                      <a:pt x="68" y="40"/>
                      <a:pt x="68" y="29"/>
                      <a:pt x="68" y="25"/>
                    </a:cubicBezTo>
                    <a:cubicBezTo>
                      <a:pt x="68" y="22"/>
                      <a:pt x="69" y="19"/>
                      <a:pt x="66" y="18"/>
                    </a:cubicBezTo>
                    <a:cubicBezTo>
                      <a:pt x="63" y="17"/>
                      <a:pt x="62" y="17"/>
                      <a:pt x="61" y="11"/>
                    </a:cubicBezTo>
                    <a:cubicBezTo>
                      <a:pt x="60" y="5"/>
                      <a:pt x="56" y="2"/>
                      <a:pt x="54" y="1"/>
                    </a:cubicBezTo>
                    <a:cubicBezTo>
                      <a:pt x="51" y="0"/>
                      <a:pt x="44" y="0"/>
                      <a:pt x="41" y="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50" name="Freeform 203">
                <a:extLst>
                  <a:ext uri="{FF2B5EF4-FFF2-40B4-BE49-F238E27FC236}">
                    <a16:creationId xmlns:a16="http://schemas.microsoft.com/office/drawing/2014/main" id="{44D5602F-BE49-514F-A86A-99FC58C6A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1911"/>
                <a:ext cx="5" cy="7"/>
              </a:xfrm>
              <a:custGeom>
                <a:avLst/>
                <a:gdLst>
                  <a:gd name="T0" fmla="*/ 4 w 21"/>
                  <a:gd name="T1" fmla="*/ 5 h 27"/>
                  <a:gd name="T2" fmla="*/ 3 w 21"/>
                  <a:gd name="T3" fmla="*/ 13 h 27"/>
                  <a:gd name="T4" fmla="*/ 5 w 21"/>
                  <a:gd name="T5" fmla="*/ 26 h 27"/>
                  <a:gd name="T6" fmla="*/ 11 w 21"/>
                  <a:gd name="T7" fmla="*/ 23 h 27"/>
                  <a:gd name="T8" fmla="*/ 19 w 21"/>
                  <a:gd name="T9" fmla="*/ 18 h 27"/>
                  <a:gd name="T10" fmla="*/ 16 w 21"/>
                  <a:gd name="T11" fmla="*/ 8 h 27"/>
                  <a:gd name="T12" fmla="*/ 4 w 21"/>
                  <a:gd name="T13" fmla="*/ 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7">
                    <a:moveTo>
                      <a:pt x="4" y="5"/>
                    </a:moveTo>
                    <a:cubicBezTo>
                      <a:pt x="4" y="5"/>
                      <a:pt x="3" y="8"/>
                      <a:pt x="3" y="13"/>
                    </a:cubicBezTo>
                    <a:cubicBezTo>
                      <a:pt x="3" y="19"/>
                      <a:pt x="0" y="25"/>
                      <a:pt x="5" y="26"/>
                    </a:cubicBezTo>
                    <a:cubicBezTo>
                      <a:pt x="10" y="27"/>
                      <a:pt x="10" y="26"/>
                      <a:pt x="11" y="23"/>
                    </a:cubicBezTo>
                    <a:cubicBezTo>
                      <a:pt x="11" y="19"/>
                      <a:pt x="18" y="23"/>
                      <a:pt x="19" y="18"/>
                    </a:cubicBezTo>
                    <a:cubicBezTo>
                      <a:pt x="19" y="13"/>
                      <a:pt x="21" y="9"/>
                      <a:pt x="16" y="8"/>
                    </a:cubicBezTo>
                    <a:cubicBezTo>
                      <a:pt x="11" y="6"/>
                      <a:pt x="5" y="0"/>
                      <a:pt x="4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851" name="Freeform 204">
                <a:extLst>
                  <a:ext uri="{FF2B5EF4-FFF2-40B4-BE49-F238E27FC236}">
                    <a16:creationId xmlns:a16="http://schemas.microsoft.com/office/drawing/2014/main" id="{F1478FCC-7486-1A45-BC8C-7BCAC7C56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0" y="2096"/>
                <a:ext cx="5" cy="10"/>
              </a:xfrm>
              <a:custGeom>
                <a:avLst/>
                <a:gdLst>
                  <a:gd name="T0" fmla="*/ 17 w 23"/>
                  <a:gd name="T1" fmla="*/ 17 h 39"/>
                  <a:gd name="T2" fmla="*/ 9 w 23"/>
                  <a:gd name="T3" fmla="*/ 10 h 39"/>
                  <a:gd name="T4" fmla="*/ 2 w 23"/>
                  <a:gd name="T5" fmla="*/ 6 h 39"/>
                  <a:gd name="T6" fmla="*/ 1 w 23"/>
                  <a:gd name="T7" fmla="*/ 30 h 39"/>
                  <a:gd name="T8" fmla="*/ 18 w 23"/>
                  <a:gd name="T9" fmla="*/ 31 h 39"/>
                  <a:gd name="T10" fmla="*/ 17 w 23"/>
                  <a:gd name="T11" fmla="*/ 1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39">
                    <a:moveTo>
                      <a:pt x="17" y="17"/>
                    </a:moveTo>
                    <a:cubicBezTo>
                      <a:pt x="12" y="16"/>
                      <a:pt x="9" y="16"/>
                      <a:pt x="9" y="10"/>
                    </a:cubicBezTo>
                    <a:cubicBezTo>
                      <a:pt x="9" y="4"/>
                      <a:pt x="4" y="0"/>
                      <a:pt x="2" y="6"/>
                    </a:cubicBezTo>
                    <a:cubicBezTo>
                      <a:pt x="2" y="6"/>
                      <a:pt x="0" y="21"/>
                      <a:pt x="1" y="30"/>
                    </a:cubicBezTo>
                    <a:cubicBezTo>
                      <a:pt x="3" y="38"/>
                      <a:pt x="17" y="39"/>
                      <a:pt x="18" y="31"/>
                    </a:cubicBezTo>
                    <a:cubicBezTo>
                      <a:pt x="19" y="23"/>
                      <a:pt x="23" y="19"/>
                      <a:pt x="17" y="1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</p:grpSp>
        <p:grpSp>
          <p:nvGrpSpPr>
            <p:cNvPr id="2276" name="Group 406">
              <a:extLst>
                <a:ext uri="{FF2B5EF4-FFF2-40B4-BE49-F238E27FC236}">
                  <a16:creationId xmlns:a16="http://schemas.microsoft.com/office/drawing/2014/main" id="{E0407FFE-C7E4-E54C-B063-CFA4EE833F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1164"/>
              <a:ext cx="5042" cy="2001"/>
              <a:chOff x="0" y="1164"/>
              <a:chExt cx="5042" cy="2001"/>
            </a:xfrm>
            <a:grpFill/>
          </p:grpSpPr>
          <p:sp>
            <p:nvSpPr>
              <p:cNvPr id="2452" name="Freeform 206">
                <a:extLst>
                  <a:ext uri="{FF2B5EF4-FFF2-40B4-BE49-F238E27FC236}">
                    <a16:creationId xmlns:a16="http://schemas.microsoft.com/office/drawing/2014/main" id="{C08C9886-1C95-A641-A7A2-D73DF4F2A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116"/>
                <a:ext cx="6" cy="4"/>
              </a:xfrm>
              <a:custGeom>
                <a:avLst/>
                <a:gdLst>
                  <a:gd name="T0" fmla="*/ 19 w 25"/>
                  <a:gd name="T1" fmla="*/ 0 h 17"/>
                  <a:gd name="T2" fmla="*/ 1 w 25"/>
                  <a:gd name="T3" fmla="*/ 8 h 17"/>
                  <a:gd name="T4" fmla="*/ 22 w 25"/>
                  <a:gd name="T5" fmla="*/ 11 h 17"/>
                  <a:gd name="T6" fmla="*/ 19 w 25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17">
                    <a:moveTo>
                      <a:pt x="19" y="0"/>
                    </a:moveTo>
                    <a:cubicBezTo>
                      <a:pt x="19" y="0"/>
                      <a:pt x="0" y="1"/>
                      <a:pt x="1" y="8"/>
                    </a:cubicBezTo>
                    <a:cubicBezTo>
                      <a:pt x="2" y="15"/>
                      <a:pt x="19" y="17"/>
                      <a:pt x="22" y="11"/>
                    </a:cubicBezTo>
                    <a:cubicBezTo>
                      <a:pt x="25" y="4"/>
                      <a:pt x="25" y="0"/>
                      <a:pt x="19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53" name="Freeform 207">
                <a:extLst>
                  <a:ext uri="{FF2B5EF4-FFF2-40B4-BE49-F238E27FC236}">
                    <a16:creationId xmlns:a16="http://schemas.microsoft.com/office/drawing/2014/main" id="{B3214475-2BF8-4F4E-9C5A-7F88B08DA9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1" y="2104"/>
                <a:ext cx="17" cy="11"/>
              </a:xfrm>
              <a:custGeom>
                <a:avLst/>
                <a:gdLst>
                  <a:gd name="T0" fmla="*/ 28 w 70"/>
                  <a:gd name="T1" fmla="*/ 35 h 41"/>
                  <a:gd name="T2" fmla="*/ 51 w 70"/>
                  <a:gd name="T3" fmla="*/ 34 h 41"/>
                  <a:gd name="T4" fmla="*/ 64 w 70"/>
                  <a:gd name="T5" fmla="*/ 19 h 41"/>
                  <a:gd name="T6" fmla="*/ 70 w 70"/>
                  <a:gd name="T7" fmla="*/ 7 h 41"/>
                  <a:gd name="T8" fmla="*/ 38 w 70"/>
                  <a:gd name="T9" fmla="*/ 4 h 41"/>
                  <a:gd name="T10" fmla="*/ 23 w 70"/>
                  <a:gd name="T11" fmla="*/ 14 h 41"/>
                  <a:gd name="T12" fmla="*/ 10 w 70"/>
                  <a:gd name="T13" fmla="*/ 20 h 41"/>
                  <a:gd name="T14" fmla="*/ 2 w 70"/>
                  <a:gd name="T15" fmla="*/ 30 h 41"/>
                  <a:gd name="T16" fmla="*/ 28 w 70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41">
                    <a:moveTo>
                      <a:pt x="28" y="35"/>
                    </a:moveTo>
                    <a:cubicBezTo>
                      <a:pt x="36" y="41"/>
                      <a:pt x="49" y="41"/>
                      <a:pt x="51" y="34"/>
                    </a:cubicBezTo>
                    <a:cubicBezTo>
                      <a:pt x="53" y="26"/>
                      <a:pt x="59" y="23"/>
                      <a:pt x="64" y="19"/>
                    </a:cubicBezTo>
                    <a:cubicBezTo>
                      <a:pt x="69" y="15"/>
                      <a:pt x="70" y="11"/>
                      <a:pt x="70" y="7"/>
                    </a:cubicBezTo>
                    <a:cubicBezTo>
                      <a:pt x="69" y="2"/>
                      <a:pt x="45" y="0"/>
                      <a:pt x="38" y="4"/>
                    </a:cubicBezTo>
                    <a:cubicBezTo>
                      <a:pt x="38" y="4"/>
                      <a:pt x="25" y="5"/>
                      <a:pt x="23" y="14"/>
                    </a:cubicBezTo>
                    <a:cubicBezTo>
                      <a:pt x="21" y="22"/>
                      <a:pt x="18" y="20"/>
                      <a:pt x="10" y="20"/>
                    </a:cubicBezTo>
                    <a:cubicBezTo>
                      <a:pt x="3" y="20"/>
                      <a:pt x="0" y="26"/>
                      <a:pt x="2" y="30"/>
                    </a:cubicBezTo>
                    <a:cubicBezTo>
                      <a:pt x="4" y="33"/>
                      <a:pt x="20" y="28"/>
                      <a:pt x="28" y="3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54" name="Freeform 208">
                <a:extLst>
                  <a:ext uri="{FF2B5EF4-FFF2-40B4-BE49-F238E27FC236}">
                    <a16:creationId xmlns:a16="http://schemas.microsoft.com/office/drawing/2014/main" id="{C0A389E7-7296-AE47-AB10-1199F8AD7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3" y="2108"/>
                <a:ext cx="10" cy="12"/>
              </a:xfrm>
              <a:custGeom>
                <a:avLst/>
                <a:gdLst>
                  <a:gd name="T0" fmla="*/ 8 w 40"/>
                  <a:gd name="T1" fmla="*/ 36 h 44"/>
                  <a:gd name="T2" fmla="*/ 25 w 40"/>
                  <a:gd name="T3" fmla="*/ 44 h 44"/>
                  <a:gd name="T4" fmla="*/ 35 w 40"/>
                  <a:gd name="T5" fmla="*/ 35 h 44"/>
                  <a:gd name="T6" fmla="*/ 38 w 40"/>
                  <a:gd name="T7" fmla="*/ 13 h 44"/>
                  <a:gd name="T8" fmla="*/ 27 w 40"/>
                  <a:gd name="T9" fmla="*/ 5 h 44"/>
                  <a:gd name="T10" fmla="*/ 18 w 40"/>
                  <a:gd name="T11" fmla="*/ 3 h 44"/>
                  <a:gd name="T12" fmla="*/ 11 w 40"/>
                  <a:gd name="T13" fmla="*/ 12 h 44"/>
                  <a:gd name="T14" fmla="*/ 2 w 40"/>
                  <a:gd name="T15" fmla="*/ 24 h 44"/>
                  <a:gd name="T16" fmla="*/ 8 w 40"/>
                  <a:gd name="T17" fmla="*/ 3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4">
                    <a:moveTo>
                      <a:pt x="8" y="36"/>
                    </a:moveTo>
                    <a:cubicBezTo>
                      <a:pt x="17" y="39"/>
                      <a:pt x="17" y="44"/>
                      <a:pt x="25" y="44"/>
                    </a:cubicBezTo>
                    <a:cubicBezTo>
                      <a:pt x="32" y="44"/>
                      <a:pt x="31" y="40"/>
                      <a:pt x="35" y="35"/>
                    </a:cubicBezTo>
                    <a:cubicBezTo>
                      <a:pt x="39" y="29"/>
                      <a:pt x="40" y="17"/>
                      <a:pt x="38" y="13"/>
                    </a:cubicBezTo>
                    <a:cubicBezTo>
                      <a:pt x="37" y="8"/>
                      <a:pt x="26" y="10"/>
                      <a:pt x="27" y="5"/>
                    </a:cubicBezTo>
                    <a:cubicBezTo>
                      <a:pt x="28" y="0"/>
                      <a:pt x="18" y="1"/>
                      <a:pt x="18" y="3"/>
                    </a:cubicBezTo>
                    <a:cubicBezTo>
                      <a:pt x="18" y="3"/>
                      <a:pt x="19" y="10"/>
                      <a:pt x="11" y="12"/>
                    </a:cubicBezTo>
                    <a:cubicBezTo>
                      <a:pt x="4" y="13"/>
                      <a:pt x="1" y="20"/>
                      <a:pt x="2" y="24"/>
                    </a:cubicBezTo>
                    <a:cubicBezTo>
                      <a:pt x="3" y="29"/>
                      <a:pt x="0" y="34"/>
                      <a:pt x="8" y="3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55" name="Freeform 209">
                <a:extLst>
                  <a:ext uri="{FF2B5EF4-FFF2-40B4-BE49-F238E27FC236}">
                    <a16:creationId xmlns:a16="http://schemas.microsoft.com/office/drawing/2014/main" id="{70000F1E-6277-C740-BFAF-288CC3CEF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9" y="2101"/>
                <a:ext cx="8" cy="10"/>
              </a:xfrm>
              <a:custGeom>
                <a:avLst/>
                <a:gdLst>
                  <a:gd name="T0" fmla="*/ 20 w 32"/>
                  <a:gd name="T1" fmla="*/ 35 h 43"/>
                  <a:gd name="T2" fmla="*/ 31 w 32"/>
                  <a:gd name="T3" fmla="*/ 21 h 43"/>
                  <a:gd name="T4" fmla="*/ 21 w 32"/>
                  <a:gd name="T5" fmla="*/ 5 h 43"/>
                  <a:gd name="T6" fmla="*/ 1 w 32"/>
                  <a:gd name="T7" fmla="*/ 29 h 43"/>
                  <a:gd name="T8" fmla="*/ 20 w 32"/>
                  <a:gd name="T9" fmla="*/ 3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3">
                    <a:moveTo>
                      <a:pt x="20" y="35"/>
                    </a:moveTo>
                    <a:cubicBezTo>
                      <a:pt x="28" y="32"/>
                      <a:pt x="29" y="31"/>
                      <a:pt x="31" y="21"/>
                    </a:cubicBezTo>
                    <a:cubicBezTo>
                      <a:pt x="32" y="12"/>
                      <a:pt x="25" y="0"/>
                      <a:pt x="21" y="5"/>
                    </a:cubicBezTo>
                    <a:cubicBezTo>
                      <a:pt x="21" y="5"/>
                      <a:pt x="3" y="14"/>
                      <a:pt x="1" y="29"/>
                    </a:cubicBezTo>
                    <a:cubicBezTo>
                      <a:pt x="0" y="43"/>
                      <a:pt x="12" y="38"/>
                      <a:pt x="20" y="3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56" name="Freeform 210">
                <a:extLst>
                  <a:ext uri="{FF2B5EF4-FFF2-40B4-BE49-F238E27FC236}">
                    <a16:creationId xmlns:a16="http://schemas.microsoft.com/office/drawing/2014/main" id="{BF7843AB-0784-C847-8F4C-5983277D3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2090"/>
                <a:ext cx="11" cy="9"/>
              </a:xfrm>
              <a:custGeom>
                <a:avLst/>
                <a:gdLst>
                  <a:gd name="T0" fmla="*/ 8 w 44"/>
                  <a:gd name="T1" fmla="*/ 15 h 33"/>
                  <a:gd name="T2" fmla="*/ 20 w 44"/>
                  <a:gd name="T3" fmla="*/ 33 h 33"/>
                  <a:gd name="T4" fmla="*/ 38 w 44"/>
                  <a:gd name="T5" fmla="*/ 23 h 33"/>
                  <a:gd name="T6" fmla="*/ 36 w 44"/>
                  <a:gd name="T7" fmla="*/ 8 h 33"/>
                  <a:gd name="T8" fmla="*/ 21 w 44"/>
                  <a:gd name="T9" fmla="*/ 11 h 33"/>
                  <a:gd name="T10" fmla="*/ 6 w 44"/>
                  <a:gd name="T11" fmla="*/ 5 h 33"/>
                  <a:gd name="T12" fmla="*/ 8 w 44"/>
                  <a:gd name="T13" fmla="*/ 1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33">
                    <a:moveTo>
                      <a:pt x="8" y="15"/>
                    </a:moveTo>
                    <a:cubicBezTo>
                      <a:pt x="15" y="16"/>
                      <a:pt x="11" y="33"/>
                      <a:pt x="20" y="33"/>
                    </a:cubicBezTo>
                    <a:cubicBezTo>
                      <a:pt x="30" y="33"/>
                      <a:pt x="33" y="31"/>
                      <a:pt x="38" y="23"/>
                    </a:cubicBezTo>
                    <a:cubicBezTo>
                      <a:pt x="43" y="16"/>
                      <a:pt x="44" y="2"/>
                      <a:pt x="36" y="8"/>
                    </a:cubicBezTo>
                    <a:cubicBezTo>
                      <a:pt x="36" y="8"/>
                      <a:pt x="24" y="16"/>
                      <a:pt x="21" y="11"/>
                    </a:cubicBezTo>
                    <a:cubicBezTo>
                      <a:pt x="17" y="6"/>
                      <a:pt x="9" y="0"/>
                      <a:pt x="6" y="5"/>
                    </a:cubicBezTo>
                    <a:cubicBezTo>
                      <a:pt x="4" y="9"/>
                      <a:pt x="0" y="15"/>
                      <a:pt x="8" y="1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57" name="Freeform 211">
                <a:extLst>
                  <a:ext uri="{FF2B5EF4-FFF2-40B4-BE49-F238E27FC236}">
                    <a16:creationId xmlns:a16="http://schemas.microsoft.com/office/drawing/2014/main" id="{94F1B169-4C97-964F-A6B3-62429EB8D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7" y="1788"/>
                <a:ext cx="4" cy="6"/>
              </a:xfrm>
              <a:custGeom>
                <a:avLst/>
                <a:gdLst>
                  <a:gd name="T0" fmla="*/ 4 w 17"/>
                  <a:gd name="T1" fmla="*/ 5 h 25"/>
                  <a:gd name="T2" fmla="*/ 4 w 17"/>
                  <a:gd name="T3" fmla="*/ 21 h 25"/>
                  <a:gd name="T4" fmla="*/ 4 w 17"/>
                  <a:gd name="T5" fmla="*/ 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25">
                    <a:moveTo>
                      <a:pt x="4" y="5"/>
                    </a:moveTo>
                    <a:cubicBezTo>
                      <a:pt x="4" y="5"/>
                      <a:pt x="0" y="18"/>
                      <a:pt x="4" y="21"/>
                    </a:cubicBezTo>
                    <a:cubicBezTo>
                      <a:pt x="9" y="25"/>
                      <a:pt x="17" y="0"/>
                      <a:pt x="4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58" name="Freeform 212">
                <a:extLst>
                  <a:ext uri="{FF2B5EF4-FFF2-40B4-BE49-F238E27FC236}">
                    <a16:creationId xmlns:a16="http://schemas.microsoft.com/office/drawing/2014/main" id="{C39F9F38-BC98-2C4F-B857-E89498247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" y="1784"/>
                <a:ext cx="93" cy="87"/>
              </a:xfrm>
              <a:custGeom>
                <a:avLst/>
                <a:gdLst>
                  <a:gd name="T0" fmla="*/ 357 w 365"/>
                  <a:gd name="T1" fmla="*/ 196 h 346"/>
                  <a:gd name="T2" fmla="*/ 347 w 365"/>
                  <a:gd name="T3" fmla="*/ 170 h 346"/>
                  <a:gd name="T4" fmla="*/ 348 w 365"/>
                  <a:gd name="T5" fmla="*/ 139 h 346"/>
                  <a:gd name="T6" fmla="*/ 349 w 365"/>
                  <a:gd name="T7" fmla="*/ 113 h 346"/>
                  <a:gd name="T8" fmla="*/ 340 w 365"/>
                  <a:gd name="T9" fmla="*/ 129 h 346"/>
                  <a:gd name="T10" fmla="*/ 314 w 365"/>
                  <a:gd name="T11" fmla="*/ 147 h 346"/>
                  <a:gd name="T12" fmla="*/ 290 w 365"/>
                  <a:gd name="T13" fmla="*/ 139 h 346"/>
                  <a:gd name="T14" fmla="*/ 265 w 365"/>
                  <a:gd name="T15" fmla="*/ 129 h 346"/>
                  <a:gd name="T16" fmla="*/ 221 w 365"/>
                  <a:gd name="T17" fmla="*/ 110 h 346"/>
                  <a:gd name="T18" fmla="*/ 177 w 365"/>
                  <a:gd name="T19" fmla="*/ 64 h 346"/>
                  <a:gd name="T20" fmla="*/ 115 w 365"/>
                  <a:gd name="T21" fmla="*/ 41 h 346"/>
                  <a:gd name="T22" fmla="*/ 118 w 365"/>
                  <a:gd name="T23" fmla="*/ 60 h 346"/>
                  <a:gd name="T24" fmla="*/ 128 w 365"/>
                  <a:gd name="T25" fmla="*/ 80 h 346"/>
                  <a:gd name="T26" fmla="*/ 127 w 365"/>
                  <a:gd name="T27" fmla="*/ 116 h 346"/>
                  <a:gd name="T28" fmla="*/ 115 w 365"/>
                  <a:gd name="T29" fmla="*/ 138 h 346"/>
                  <a:gd name="T30" fmla="*/ 111 w 365"/>
                  <a:gd name="T31" fmla="*/ 158 h 346"/>
                  <a:gd name="T32" fmla="*/ 101 w 365"/>
                  <a:gd name="T33" fmla="*/ 179 h 346"/>
                  <a:gd name="T34" fmla="*/ 94 w 365"/>
                  <a:gd name="T35" fmla="*/ 204 h 346"/>
                  <a:gd name="T36" fmla="*/ 71 w 365"/>
                  <a:gd name="T37" fmla="*/ 200 h 346"/>
                  <a:gd name="T38" fmla="*/ 55 w 365"/>
                  <a:gd name="T39" fmla="*/ 189 h 346"/>
                  <a:gd name="T40" fmla="*/ 38 w 365"/>
                  <a:gd name="T41" fmla="*/ 197 h 346"/>
                  <a:gd name="T42" fmla="*/ 39 w 365"/>
                  <a:gd name="T43" fmla="*/ 214 h 346"/>
                  <a:gd name="T44" fmla="*/ 36 w 365"/>
                  <a:gd name="T45" fmla="*/ 230 h 346"/>
                  <a:gd name="T46" fmla="*/ 9 w 365"/>
                  <a:gd name="T47" fmla="*/ 247 h 346"/>
                  <a:gd name="T48" fmla="*/ 4 w 365"/>
                  <a:gd name="T49" fmla="*/ 274 h 346"/>
                  <a:gd name="T50" fmla="*/ 12 w 365"/>
                  <a:gd name="T51" fmla="*/ 292 h 346"/>
                  <a:gd name="T52" fmla="*/ 22 w 365"/>
                  <a:gd name="T53" fmla="*/ 308 h 346"/>
                  <a:gd name="T54" fmla="*/ 19 w 365"/>
                  <a:gd name="T55" fmla="*/ 333 h 346"/>
                  <a:gd name="T56" fmla="*/ 33 w 365"/>
                  <a:gd name="T57" fmla="*/ 338 h 346"/>
                  <a:gd name="T58" fmla="*/ 49 w 365"/>
                  <a:gd name="T59" fmla="*/ 324 h 346"/>
                  <a:gd name="T60" fmla="*/ 60 w 365"/>
                  <a:gd name="T61" fmla="*/ 315 h 346"/>
                  <a:gd name="T62" fmla="*/ 82 w 365"/>
                  <a:gd name="T63" fmla="*/ 309 h 346"/>
                  <a:gd name="T64" fmla="*/ 65 w 365"/>
                  <a:gd name="T65" fmla="*/ 293 h 346"/>
                  <a:gd name="T66" fmla="*/ 45 w 365"/>
                  <a:gd name="T67" fmla="*/ 284 h 346"/>
                  <a:gd name="T68" fmla="*/ 41 w 365"/>
                  <a:gd name="T69" fmla="*/ 264 h 346"/>
                  <a:gd name="T70" fmla="*/ 65 w 365"/>
                  <a:gd name="T71" fmla="*/ 262 h 346"/>
                  <a:gd name="T72" fmla="*/ 87 w 365"/>
                  <a:gd name="T73" fmla="*/ 265 h 346"/>
                  <a:gd name="T74" fmla="*/ 111 w 365"/>
                  <a:gd name="T75" fmla="*/ 255 h 346"/>
                  <a:gd name="T76" fmla="*/ 141 w 365"/>
                  <a:gd name="T77" fmla="*/ 254 h 346"/>
                  <a:gd name="T78" fmla="*/ 163 w 365"/>
                  <a:gd name="T79" fmla="*/ 275 h 346"/>
                  <a:gd name="T80" fmla="*/ 201 w 365"/>
                  <a:gd name="T81" fmla="*/ 289 h 346"/>
                  <a:gd name="T82" fmla="*/ 231 w 365"/>
                  <a:gd name="T83" fmla="*/ 292 h 346"/>
                  <a:gd name="T84" fmla="*/ 248 w 365"/>
                  <a:gd name="T85" fmla="*/ 253 h 346"/>
                  <a:gd name="T86" fmla="*/ 283 w 365"/>
                  <a:gd name="T87" fmla="*/ 226 h 346"/>
                  <a:gd name="T88" fmla="*/ 332 w 365"/>
                  <a:gd name="T89" fmla="*/ 221 h 346"/>
                  <a:gd name="T90" fmla="*/ 359 w 365"/>
                  <a:gd name="T91" fmla="*/ 210 h 346"/>
                  <a:gd name="T92" fmla="*/ 357 w 365"/>
                  <a:gd name="T93" fmla="*/ 196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65" h="346">
                    <a:moveTo>
                      <a:pt x="357" y="196"/>
                    </a:moveTo>
                    <a:cubicBezTo>
                      <a:pt x="348" y="192"/>
                      <a:pt x="359" y="180"/>
                      <a:pt x="347" y="170"/>
                    </a:cubicBezTo>
                    <a:cubicBezTo>
                      <a:pt x="335" y="160"/>
                      <a:pt x="343" y="152"/>
                      <a:pt x="348" y="139"/>
                    </a:cubicBezTo>
                    <a:cubicBezTo>
                      <a:pt x="354" y="126"/>
                      <a:pt x="358" y="114"/>
                      <a:pt x="349" y="113"/>
                    </a:cubicBezTo>
                    <a:cubicBezTo>
                      <a:pt x="341" y="112"/>
                      <a:pt x="349" y="119"/>
                      <a:pt x="340" y="129"/>
                    </a:cubicBezTo>
                    <a:cubicBezTo>
                      <a:pt x="330" y="140"/>
                      <a:pt x="330" y="147"/>
                      <a:pt x="314" y="147"/>
                    </a:cubicBezTo>
                    <a:cubicBezTo>
                      <a:pt x="298" y="147"/>
                      <a:pt x="296" y="146"/>
                      <a:pt x="290" y="139"/>
                    </a:cubicBezTo>
                    <a:cubicBezTo>
                      <a:pt x="285" y="133"/>
                      <a:pt x="288" y="129"/>
                      <a:pt x="265" y="129"/>
                    </a:cubicBezTo>
                    <a:cubicBezTo>
                      <a:pt x="241" y="129"/>
                      <a:pt x="233" y="122"/>
                      <a:pt x="221" y="110"/>
                    </a:cubicBezTo>
                    <a:cubicBezTo>
                      <a:pt x="209" y="98"/>
                      <a:pt x="183" y="78"/>
                      <a:pt x="177" y="64"/>
                    </a:cubicBezTo>
                    <a:cubicBezTo>
                      <a:pt x="171" y="50"/>
                      <a:pt x="107" y="0"/>
                      <a:pt x="115" y="41"/>
                    </a:cubicBezTo>
                    <a:cubicBezTo>
                      <a:pt x="115" y="41"/>
                      <a:pt x="105" y="58"/>
                      <a:pt x="118" y="60"/>
                    </a:cubicBezTo>
                    <a:cubicBezTo>
                      <a:pt x="131" y="62"/>
                      <a:pt x="128" y="67"/>
                      <a:pt x="128" y="80"/>
                    </a:cubicBezTo>
                    <a:cubicBezTo>
                      <a:pt x="128" y="93"/>
                      <a:pt x="135" y="108"/>
                      <a:pt x="127" y="116"/>
                    </a:cubicBezTo>
                    <a:cubicBezTo>
                      <a:pt x="118" y="123"/>
                      <a:pt x="115" y="129"/>
                      <a:pt x="115" y="138"/>
                    </a:cubicBezTo>
                    <a:cubicBezTo>
                      <a:pt x="115" y="147"/>
                      <a:pt x="118" y="151"/>
                      <a:pt x="111" y="158"/>
                    </a:cubicBezTo>
                    <a:cubicBezTo>
                      <a:pt x="103" y="166"/>
                      <a:pt x="99" y="173"/>
                      <a:pt x="101" y="179"/>
                    </a:cubicBezTo>
                    <a:cubicBezTo>
                      <a:pt x="103" y="184"/>
                      <a:pt x="109" y="202"/>
                      <a:pt x="94" y="204"/>
                    </a:cubicBezTo>
                    <a:cubicBezTo>
                      <a:pt x="79" y="207"/>
                      <a:pt x="78" y="210"/>
                      <a:pt x="71" y="200"/>
                    </a:cubicBezTo>
                    <a:cubicBezTo>
                      <a:pt x="65" y="190"/>
                      <a:pt x="59" y="195"/>
                      <a:pt x="55" y="189"/>
                    </a:cubicBezTo>
                    <a:cubicBezTo>
                      <a:pt x="51" y="184"/>
                      <a:pt x="44" y="189"/>
                      <a:pt x="38" y="197"/>
                    </a:cubicBezTo>
                    <a:cubicBezTo>
                      <a:pt x="31" y="204"/>
                      <a:pt x="37" y="208"/>
                      <a:pt x="39" y="214"/>
                    </a:cubicBezTo>
                    <a:cubicBezTo>
                      <a:pt x="41" y="220"/>
                      <a:pt x="48" y="226"/>
                      <a:pt x="36" y="230"/>
                    </a:cubicBezTo>
                    <a:cubicBezTo>
                      <a:pt x="24" y="234"/>
                      <a:pt x="13" y="235"/>
                      <a:pt x="9" y="247"/>
                    </a:cubicBezTo>
                    <a:cubicBezTo>
                      <a:pt x="5" y="259"/>
                      <a:pt x="0" y="266"/>
                      <a:pt x="4" y="274"/>
                    </a:cubicBezTo>
                    <a:cubicBezTo>
                      <a:pt x="7" y="281"/>
                      <a:pt x="3" y="288"/>
                      <a:pt x="12" y="292"/>
                    </a:cubicBezTo>
                    <a:cubicBezTo>
                      <a:pt x="22" y="296"/>
                      <a:pt x="25" y="303"/>
                      <a:pt x="22" y="308"/>
                    </a:cubicBezTo>
                    <a:cubicBezTo>
                      <a:pt x="19" y="314"/>
                      <a:pt x="15" y="325"/>
                      <a:pt x="19" y="333"/>
                    </a:cubicBezTo>
                    <a:cubicBezTo>
                      <a:pt x="22" y="340"/>
                      <a:pt x="29" y="346"/>
                      <a:pt x="33" y="338"/>
                    </a:cubicBezTo>
                    <a:cubicBezTo>
                      <a:pt x="36" y="331"/>
                      <a:pt x="50" y="337"/>
                      <a:pt x="49" y="324"/>
                    </a:cubicBezTo>
                    <a:cubicBezTo>
                      <a:pt x="48" y="311"/>
                      <a:pt x="42" y="311"/>
                      <a:pt x="60" y="315"/>
                    </a:cubicBezTo>
                    <a:cubicBezTo>
                      <a:pt x="79" y="318"/>
                      <a:pt x="82" y="319"/>
                      <a:pt x="82" y="309"/>
                    </a:cubicBezTo>
                    <a:cubicBezTo>
                      <a:pt x="82" y="300"/>
                      <a:pt x="76" y="295"/>
                      <a:pt x="65" y="293"/>
                    </a:cubicBezTo>
                    <a:cubicBezTo>
                      <a:pt x="53" y="291"/>
                      <a:pt x="52" y="290"/>
                      <a:pt x="45" y="284"/>
                    </a:cubicBezTo>
                    <a:cubicBezTo>
                      <a:pt x="39" y="277"/>
                      <a:pt x="33" y="272"/>
                      <a:pt x="41" y="264"/>
                    </a:cubicBezTo>
                    <a:cubicBezTo>
                      <a:pt x="50" y="257"/>
                      <a:pt x="60" y="255"/>
                      <a:pt x="65" y="262"/>
                    </a:cubicBezTo>
                    <a:cubicBezTo>
                      <a:pt x="69" y="270"/>
                      <a:pt x="81" y="271"/>
                      <a:pt x="87" y="265"/>
                    </a:cubicBezTo>
                    <a:cubicBezTo>
                      <a:pt x="94" y="260"/>
                      <a:pt x="106" y="265"/>
                      <a:pt x="111" y="255"/>
                    </a:cubicBezTo>
                    <a:cubicBezTo>
                      <a:pt x="115" y="244"/>
                      <a:pt x="135" y="245"/>
                      <a:pt x="141" y="254"/>
                    </a:cubicBezTo>
                    <a:cubicBezTo>
                      <a:pt x="146" y="262"/>
                      <a:pt x="149" y="272"/>
                      <a:pt x="163" y="275"/>
                    </a:cubicBezTo>
                    <a:cubicBezTo>
                      <a:pt x="177" y="278"/>
                      <a:pt x="198" y="286"/>
                      <a:pt x="201" y="289"/>
                    </a:cubicBezTo>
                    <a:cubicBezTo>
                      <a:pt x="203" y="292"/>
                      <a:pt x="231" y="315"/>
                      <a:pt x="231" y="292"/>
                    </a:cubicBezTo>
                    <a:cubicBezTo>
                      <a:pt x="231" y="270"/>
                      <a:pt x="237" y="266"/>
                      <a:pt x="248" y="253"/>
                    </a:cubicBezTo>
                    <a:cubicBezTo>
                      <a:pt x="258" y="239"/>
                      <a:pt x="266" y="226"/>
                      <a:pt x="283" y="226"/>
                    </a:cubicBezTo>
                    <a:cubicBezTo>
                      <a:pt x="300" y="226"/>
                      <a:pt x="325" y="231"/>
                      <a:pt x="332" y="221"/>
                    </a:cubicBezTo>
                    <a:cubicBezTo>
                      <a:pt x="340" y="212"/>
                      <a:pt x="354" y="216"/>
                      <a:pt x="359" y="210"/>
                    </a:cubicBezTo>
                    <a:cubicBezTo>
                      <a:pt x="364" y="203"/>
                      <a:pt x="365" y="200"/>
                      <a:pt x="357" y="19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59" name="Freeform 213">
                <a:extLst>
                  <a:ext uri="{FF2B5EF4-FFF2-40B4-BE49-F238E27FC236}">
                    <a16:creationId xmlns:a16="http://schemas.microsoft.com/office/drawing/2014/main" id="{AA3562A1-20EF-0247-B5AD-B040A62ED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2" y="1852"/>
                <a:ext cx="4" cy="7"/>
              </a:xfrm>
              <a:custGeom>
                <a:avLst/>
                <a:gdLst>
                  <a:gd name="T0" fmla="*/ 11 w 15"/>
                  <a:gd name="T1" fmla="*/ 14 h 25"/>
                  <a:gd name="T2" fmla="*/ 3 w 15"/>
                  <a:gd name="T3" fmla="*/ 10 h 25"/>
                  <a:gd name="T4" fmla="*/ 7 w 15"/>
                  <a:gd name="T5" fmla="*/ 23 h 25"/>
                  <a:gd name="T6" fmla="*/ 11 w 15"/>
                  <a:gd name="T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25">
                    <a:moveTo>
                      <a:pt x="11" y="14"/>
                    </a:moveTo>
                    <a:cubicBezTo>
                      <a:pt x="11" y="7"/>
                      <a:pt x="4" y="0"/>
                      <a:pt x="3" y="10"/>
                    </a:cubicBezTo>
                    <a:cubicBezTo>
                      <a:pt x="3" y="10"/>
                      <a:pt x="0" y="21"/>
                      <a:pt x="7" y="23"/>
                    </a:cubicBezTo>
                    <a:cubicBezTo>
                      <a:pt x="15" y="25"/>
                      <a:pt x="11" y="20"/>
                      <a:pt x="11" y="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0" name="Freeform 214">
                <a:extLst>
                  <a:ext uri="{FF2B5EF4-FFF2-40B4-BE49-F238E27FC236}">
                    <a16:creationId xmlns:a16="http://schemas.microsoft.com/office/drawing/2014/main" id="{63767B70-52F0-594E-B903-AD4B2825C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" y="1869"/>
                <a:ext cx="182" cy="153"/>
              </a:xfrm>
              <a:custGeom>
                <a:avLst/>
                <a:gdLst>
                  <a:gd name="T0" fmla="*/ 672 w 720"/>
                  <a:gd name="T1" fmla="*/ 46 h 608"/>
                  <a:gd name="T2" fmla="*/ 639 w 720"/>
                  <a:gd name="T3" fmla="*/ 16 h 608"/>
                  <a:gd name="T4" fmla="*/ 632 w 720"/>
                  <a:gd name="T5" fmla="*/ 42 h 608"/>
                  <a:gd name="T6" fmla="*/ 600 w 720"/>
                  <a:gd name="T7" fmla="*/ 40 h 608"/>
                  <a:gd name="T8" fmla="*/ 572 w 720"/>
                  <a:gd name="T9" fmla="*/ 68 h 608"/>
                  <a:gd name="T10" fmla="*/ 576 w 720"/>
                  <a:gd name="T11" fmla="*/ 113 h 608"/>
                  <a:gd name="T12" fmla="*/ 577 w 720"/>
                  <a:gd name="T13" fmla="*/ 185 h 608"/>
                  <a:gd name="T14" fmla="*/ 545 w 720"/>
                  <a:gd name="T15" fmla="*/ 252 h 608"/>
                  <a:gd name="T16" fmla="*/ 476 w 720"/>
                  <a:gd name="T17" fmla="*/ 338 h 608"/>
                  <a:gd name="T18" fmla="*/ 419 w 720"/>
                  <a:gd name="T19" fmla="*/ 342 h 608"/>
                  <a:gd name="T20" fmla="*/ 363 w 720"/>
                  <a:gd name="T21" fmla="*/ 378 h 608"/>
                  <a:gd name="T22" fmla="*/ 330 w 720"/>
                  <a:gd name="T23" fmla="*/ 410 h 608"/>
                  <a:gd name="T24" fmla="*/ 302 w 720"/>
                  <a:gd name="T25" fmla="*/ 445 h 608"/>
                  <a:gd name="T26" fmla="*/ 273 w 720"/>
                  <a:gd name="T27" fmla="*/ 428 h 608"/>
                  <a:gd name="T28" fmla="*/ 196 w 720"/>
                  <a:gd name="T29" fmla="*/ 447 h 608"/>
                  <a:gd name="T30" fmla="*/ 78 w 720"/>
                  <a:gd name="T31" fmla="*/ 491 h 608"/>
                  <a:gd name="T32" fmla="*/ 28 w 720"/>
                  <a:gd name="T33" fmla="*/ 518 h 608"/>
                  <a:gd name="T34" fmla="*/ 12 w 720"/>
                  <a:gd name="T35" fmla="*/ 556 h 608"/>
                  <a:gd name="T36" fmla="*/ 66 w 720"/>
                  <a:gd name="T37" fmla="*/ 558 h 608"/>
                  <a:gd name="T38" fmla="*/ 92 w 720"/>
                  <a:gd name="T39" fmla="*/ 558 h 608"/>
                  <a:gd name="T40" fmla="*/ 105 w 720"/>
                  <a:gd name="T41" fmla="*/ 538 h 608"/>
                  <a:gd name="T42" fmla="*/ 135 w 720"/>
                  <a:gd name="T43" fmla="*/ 535 h 608"/>
                  <a:gd name="T44" fmla="*/ 184 w 720"/>
                  <a:gd name="T45" fmla="*/ 522 h 608"/>
                  <a:gd name="T46" fmla="*/ 241 w 720"/>
                  <a:gd name="T47" fmla="*/ 504 h 608"/>
                  <a:gd name="T48" fmla="*/ 276 w 720"/>
                  <a:gd name="T49" fmla="*/ 535 h 608"/>
                  <a:gd name="T50" fmla="*/ 286 w 720"/>
                  <a:gd name="T51" fmla="*/ 576 h 608"/>
                  <a:gd name="T52" fmla="*/ 356 w 720"/>
                  <a:gd name="T53" fmla="*/ 545 h 608"/>
                  <a:gd name="T54" fmla="*/ 373 w 720"/>
                  <a:gd name="T55" fmla="*/ 518 h 608"/>
                  <a:gd name="T56" fmla="*/ 394 w 720"/>
                  <a:gd name="T57" fmla="*/ 497 h 608"/>
                  <a:gd name="T58" fmla="*/ 478 w 720"/>
                  <a:gd name="T59" fmla="*/ 497 h 608"/>
                  <a:gd name="T60" fmla="*/ 532 w 720"/>
                  <a:gd name="T61" fmla="*/ 472 h 608"/>
                  <a:gd name="T62" fmla="*/ 574 w 720"/>
                  <a:gd name="T63" fmla="*/ 472 h 608"/>
                  <a:gd name="T64" fmla="*/ 615 w 720"/>
                  <a:gd name="T65" fmla="*/ 466 h 608"/>
                  <a:gd name="T66" fmla="*/ 634 w 720"/>
                  <a:gd name="T67" fmla="*/ 418 h 608"/>
                  <a:gd name="T68" fmla="*/ 634 w 720"/>
                  <a:gd name="T69" fmla="*/ 354 h 608"/>
                  <a:gd name="T70" fmla="*/ 644 w 720"/>
                  <a:gd name="T71" fmla="*/ 275 h 608"/>
                  <a:gd name="T72" fmla="*/ 681 w 720"/>
                  <a:gd name="T73" fmla="*/ 230 h 608"/>
                  <a:gd name="T74" fmla="*/ 711 w 720"/>
                  <a:gd name="T75" fmla="*/ 168 h 608"/>
                  <a:gd name="T76" fmla="*/ 684 w 720"/>
                  <a:gd name="T77" fmla="*/ 77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20" h="608">
                    <a:moveTo>
                      <a:pt x="684" y="77"/>
                    </a:moveTo>
                    <a:cubicBezTo>
                      <a:pt x="673" y="67"/>
                      <a:pt x="672" y="61"/>
                      <a:pt x="672" y="46"/>
                    </a:cubicBezTo>
                    <a:cubicBezTo>
                      <a:pt x="672" y="31"/>
                      <a:pt x="681" y="13"/>
                      <a:pt x="665" y="6"/>
                    </a:cubicBezTo>
                    <a:cubicBezTo>
                      <a:pt x="649" y="0"/>
                      <a:pt x="620" y="8"/>
                      <a:pt x="639" y="16"/>
                    </a:cubicBezTo>
                    <a:cubicBezTo>
                      <a:pt x="658" y="23"/>
                      <a:pt x="663" y="21"/>
                      <a:pt x="655" y="29"/>
                    </a:cubicBezTo>
                    <a:cubicBezTo>
                      <a:pt x="648" y="36"/>
                      <a:pt x="642" y="47"/>
                      <a:pt x="632" y="42"/>
                    </a:cubicBezTo>
                    <a:cubicBezTo>
                      <a:pt x="621" y="36"/>
                      <a:pt x="625" y="20"/>
                      <a:pt x="612" y="21"/>
                    </a:cubicBezTo>
                    <a:cubicBezTo>
                      <a:pt x="600" y="22"/>
                      <a:pt x="598" y="29"/>
                      <a:pt x="600" y="40"/>
                    </a:cubicBezTo>
                    <a:cubicBezTo>
                      <a:pt x="601" y="50"/>
                      <a:pt x="600" y="57"/>
                      <a:pt x="590" y="57"/>
                    </a:cubicBezTo>
                    <a:cubicBezTo>
                      <a:pt x="580" y="57"/>
                      <a:pt x="571" y="59"/>
                      <a:pt x="572" y="68"/>
                    </a:cubicBezTo>
                    <a:cubicBezTo>
                      <a:pt x="573" y="78"/>
                      <a:pt x="583" y="80"/>
                      <a:pt x="583" y="93"/>
                    </a:cubicBezTo>
                    <a:cubicBezTo>
                      <a:pt x="583" y="106"/>
                      <a:pt x="581" y="104"/>
                      <a:pt x="576" y="113"/>
                    </a:cubicBezTo>
                    <a:cubicBezTo>
                      <a:pt x="571" y="123"/>
                      <a:pt x="567" y="121"/>
                      <a:pt x="586" y="145"/>
                    </a:cubicBezTo>
                    <a:cubicBezTo>
                      <a:pt x="586" y="145"/>
                      <a:pt x="585" y="176"/>
                      <a:pt x="577" y="185"/>
                    </a:cubicBezTo>
                    <a:cubicBezTo>
                      <a:pt x="570" y="194"/>
                      <a:pt x="563" y="196"/>
                      <a:pt x="562" y="210"/>
                    </a:cubicBezTo>
                    <a:cubicBezTo>
                      <a:pt x="561" y="224"/>
                      <a:pt x="552" y="242"/>
                      <a:pt x="545" y="252"/>
                    </a:cubicBezTo>
                    <a:cubicBezTo>
                      <a:pt x="537" y="263"/>
                      <a:pt x="506" y="272"/>
                      <a:pt x="502" y="282"/>
                    </a:cubicBezTo>
                    <a:cubicBezTo>
                      <a:pt x="498" y="293"/>
                      <a:pt x="489" y="336"/>
                      <a:pt x="476" y="338"/>
                    </a:cubicBezTo>
                    <a:cubicBezTo>
                      <a:pt x="464" y="340"/>
                      <a:pt x="461" y="323"/>
                      <a:pt x="452" y="323"/>
                    </a:cubicBezTo>
                    <a:cubicBezTo>
                      <a:pt x="442" y="323"/>
                      <a:pt x="426" y="331"/>
                      <a:pt x="419" y="342"/>
                    </a:cubicBezTo>
                    <a:cubicBezTo>
                      <a:pt x="411" y="354"/>
                      <a:pt x="405" y="357"/>
                      <a:pt x="386" y="357"/>
                    </a:cubicBezTo>
                    <a:cubicBezTo>
                      <a:pt x="366" y="357"/>
                      <a:pt x="366" y="369"/>
                      <a:pt x="363" y="378"/>
                    </a:cubicBezTo>
                    <a:cubicBezTo>
                      <a:pt x="360" y="386"/>
                      <a:pt x="353" y="387"/>
                      <a:pt x="343" y="394"/>
                    </a:cubicBezTo>
                    <a:cubicBezTo>
                      <a:pt x="332" y="400"/>
                      <a:pt x="330" y="402"/>
                      <a:pt x="330" y="410"/>
                    </a:cubicBezTo>
                    <a:cubicBezTo>
                      <a:pt x="330" y="417"/>
                      <a:pt x="338" y="439"/>
                      <a:pt x="326" y="442"/>
                    </a:cubicBezTo>
                    <a:cubicBezTo>
                      <a:pt x="313" y="445"/>
                      <a:pt x="307" y="439"/>
                      <a:pt x="302" y="445"/>
                    </a:cubicBezTo>
                    <a:cubicBezTo>
                      <a:pt x="297" y="451"/>
                      <a:pt x="286" y="451"/>
                      <a:pt x="286" y="445"/>
                    </a:cubicBezTo>
                    <a:cubicBezTo>
                      <a:pt x="286" y="439"/>
                      <a:pt x="284" y="427"/>
                      <a:pt x="273" y="428"/>
                    </a:cubicBezTo>
                    <a:cubicBezTo>
                      <a:pt x="262" y="429"/>
                      <a:pt x="244" y="434"/>
                      <a:pt x="230" y="436"/>
                    </a:cubicBezTo>
                    <a:cubicBezTo>
                      <a:pt x="216" y="439"/>
                      <a:pt x="224" y="448"/>
                      <a:pt x="196" y="447"/>
                    </a:cubicBezTo>
                    <a:cubicBezTo>
                      <a:pt x="168" y="446"/>
                      <a:pt x="123" y="442"/>
                      <a:pt x="115" y="457"/>
                    </a:cubicBezTo>
                    <a:cubicBezTo>
                      <a:pt x="106" y="472"/>
                      <a:pt x="89" y="488"/>
                      <a:pt x="78" y="491"/>
                    </a:cubicBezTo>
                    <a:cubicBezTo>
                      <a:pt x="68" y="494"/>
                      <a:pt x="54" y="505"/>
                      <a:pt x="51" y="511"/>
                    </a:cubicBezTo>
                    <a:cubicBezTo>
                      <a:pt x="47" y="518"/>
                      <a:pt x="45" y="516"/>
                      <a:pt x="28" y="518"/>
                    </a:cubicBezTo>
                    <a:cubicBezTo>
                      <a:pt x="11" y="520"/>
                      <a:pt x="5" y="527"/>
                      <a:pt x="5" y="535"/>
                    </a:cubicBezTo>
                    <a:cubicBezTo>
                      <a:pt x="5" y="542"/>
                      <a:pt x="0" y="556"/>
                      <a:pt x="12" y="556"/>
                    </a:cubicBezTo>
                    <a:cubicBezTo>
                      <a:pt x="24" y="556"/>
                      <a:pt x="20" y="551"/>
                      <a:pt x="38" y="552"/>
                    </a:cubicBezTo>
                    <a:cubicBezTo>
                      <a:pt x="56" y="553"/>
                      <a:pt x="63" y="554"/>
                      <a:pt x="66" y="558"/>
                    </a:cubicBezTo>
                    <a:cubicBezTo>
                      <a:pt x="68" y="563"/>
                      <a:pt x="81" y="570"/>
                      <a:pt x="87" y="570"/>
                    </a:cubicBezTo>
                    <a:cubicBezTo>
                      <a:pt x="93" y="570"/>
                      <a:pt x="99" y="562"/>
                      <a:pt x="92" y="558"/>
                    </a:cubicBezTo>
                    <a:cubicBezTo>
                      <a:pt x="86" y="555"/>
                      <a:pt x="84" y="546"/>
                      <a:pt x="91" y="541"/>
                    </a:cubicBezTo>
                    <a:cubicBezTo>
                      <a:pt x="99" y="537"/>
                      <a:pt x="103" y="533"/>
                      <a:pt x="105" y="538"/>
                    </a:cubicBezTo>
                    <a:cubicBezTo>
                      <a:pt x="107" y="543"/>
                      <a:pt x="120" y="553"/>
                      <a:pt x="122" y="545"/>
                    </a:cubicBezTo>
                    <a:cubicBezTo>
                      <a:pt x="124" y="536"/>
                      <a:pt x="131" y="535"/>
                      <a:pt x="135" y="535"/>
                    </a:cubicBezTo>
                    <a:cubicBezTo>
                      <a:pt x="139" y="535"/>
                      <a:pt x="151" y="537"/>
                      <a:pt x="154" y="530"/>
                    </a:cubicBezTo>
                    <a:cubicBezTo>
                      <a:pt x="158" y="522"/>
                      <a:pt x="168" y="524"/>
                      <a:pt x="184" y="522"/>
                    </a:cubicBezTo>
                    <a:cubicBezTo>
                      <a:pt x="200" y="520"/>
                      <a:pt x="211" y="520"/>
                      <a:pt x="216" y="512"/>
                    </a:cubicBezTo>
                    <a:cubicBezTo>
                      <a:pt x="222" y="505"/>
                      <a:pt x="234" y="504"/>
                      <a:pt x="241" y="504"/>
                    </a:cubicBezTo>
                    <a:cubicBezTo>
                      <a:pt x="249" y="504"/>
                      <a:pt x="276" y="501"/>
                      <a:pt x="281" y="510"/>
                    </a:cubicBezTo>
                    <a:cubicBezTo>
                      <a:pt x="285" y="520"/>
                      <a:pt x="290" y="532"/>
                      <a:pt x="276" y="535"/>
                    </a:cubicBezTo>
                    <a:cubicBezTo>
                      <a:pt x="262" y="538"/>
                      <a:pt x="257" y="551"/>
                      <a:pt x="266" y="557"/>
                    </a:cubicBezTo>
                    <a:cubicBezTo>
                      <a:pt x="274" y="564"/>
                      <a:pt x="280" y="566"/>
                      <a:pt x="286" y="576"/>
                    </a:cubicBezTo>
                    <a:cubicBezTo>
                      <a:pt x="292" y="585"/>
                      <a:pt x="306" y="608"/>
                      <a:pt x="318" y="592"/>
                    </a:cubicBezTo>
                    <a:cubicBezTo>
                      <a:pt x="330" y="576"/>
                      <a:pt x="341" y="550"/>
                      <a:pt x="356" y="545"/>
                    </a:cubicBezTo>
                    <a:cubicBezTo>
                      <a:pt x="371" y="539"/>
                      <a:pt x="383" y="541"/>
                      <a:pt x="383" y="532"/>
                    </a:cubicBezTo>
                    <a:cubicBezTo>
                      <a:pt x="383" y="522"/>
                      <a:pt x="384" y="524"/>
                      <a:pt x="373" y="518"/>
                    </a:cubicBezTo>
                    <a:cubicBezTo>
                      <a:pt x="361" y="511"/>
                      <a:pt x="362" y="496"/>
                      <a:pt x="371" y="492"/>
                    </a:cubicBezTo>
                    <a:cubicBezTo>
                      <a:pt x="379" y="488"/>
                      <a:pt x="388" y="490"/>
                      <a:pt x="394" y="497"/>
                    </a:cubicBezTo>
                    <a:cubicBezTo>
                      <a:pt x="400" y="505"/>
                      <a:pt x="423" y="511"/>
                      <a:pt x="436" y="510"/>
                    </a:cubicBezTo>
                    <a:cubicBezTo>
                      <a:pt x="449" y="509"/>
                      <a:pt x="467" y="511"/>
                      <a:pt x="478" y="497"/>
                    </a:cubicBezTo>
                    <a:cubicBezTo>
                      <a:pt x="488" y="484"/>
                      <a:pt x="506" y="492"/>
                      <a:pt x="516" y="490"/>
                    </a:cubicBezTo>
                    <a:cubicBezTo>
                      <a:pt x="526" y="488"/>
                      <a:pt x="517" y="472"/>
                      <a:pt x="532" y="472"/>
                    </a:cubicBezTo>
                    <a:cubicBezTo>
                      <a:pt x="547" y="472"/>
                      <a:pt x="555" y="455"/>
                      <a:pt x="560" y="463"/>
                    </a:cubicBezTo>
                    <a:cubicBezTo>
                      <a:pt x="565" y="472"/>
                      <a:pt x="581" y="454"/>
                      <a:pt x="574" y="472"/>
                    </a:cubicBezTo>
                    <a:cubicBezTo>
                      <a:pt x="566" y="490"/>
                      <a:pt x="568" y="497"/>
                      <a:pt x="578" y="491"/>
                    </a:cubicBezTo>
                    <a:cubicBezTo>
                      <a:pt x="588" y="485"/>
                      <a:pt x="612" y="485"/>
                      <a:pt x="615" y="466"/>
                    </a:cubicBezTo>
                    <a:cubicBezTo>
                      <a:pt x="617" y="448"/>
                      <a:pt x="607" y="447"/>
                      <a:pt x="625" y="443"/>
                    </a:cubicBezTo>
                    <a:cubicBezTo>
                      <a:pt x="643" y="439"/>
                      <a:pt x="644" y="428"/>
                      <a:pt x="634" y="418"/>
                    </a:cubicBezTo>
                    <a:cubicBezTo>
                      <a:pt x="623" y="409"/>
                      <a:pt x="625" y="405"/>
                      <a:pt x="625" y="387"/>
                    </a:cubicBezTo>
                    <a:cubicBezTo>
                      <a:pt x="625" y="369"/>
                      <a:pt x="618" y="359"/>
                      <a:pt x="634" y="354"/>
                    </a:cubicBezTo>
                    <a:cubicBezTo>
                      <a:pt x="650" y="349"/>
                      <a:pt x="661" y="352"/>
                      <a:pt x="656" y="334"/>
                    </a:cubicBezTo>
                    <a:cubicBezTo>
                      <a:pt x="652" y="316"/>
                      <a:pt x="644" y="295"/>
                      <a:pt x="644" y="275"/>
                    </a:cubicBezTo>
                    <a:cubicBezTo>
                      <a:pt x="644" y="255"/>
                      <a:pt x="638" y="245"/>
                      <a:pt x="654" y="242"/>
                    </a:cubicBezTo>
                    <a:cubicBezTo>
                      <a:pt x="670" y="239"/>
                      <a:pt x="679" y="256"/>
                      <a:pt x="681" y="230"/>
                    </a:cubicBezTo>
                    <a:cubicBezTo>
                      <a:pt x="683" y="204"/>
                      <a:pt x="683" y="202"/>
                      <a:pt x="692" y="193"/>
                    </a:cubicBezTo>
                    <a:cubicBezTo>
                      <a:pt x="700" y="183"/>
                      <a:pt x="710" y="184"/>
                      <a:pt x="711" y="168"/>
                    </a:cubicBezTo>
                    <a:cubicBezTo>
                      <a:pt x="712" y="152"/>
                      <a:pt x="720" y="155"/>
                      <a:pt x="715" y="130"/>
                    </a:cubicBezTo>
                    <a:cubicBezTo>
                      <a:pt x="710" y="106"/>
                      <a:pt x="695" y="87"/>
                      <a:pt x="684" y="7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1" name="Freeform 215">
                <a:extLst>
                  <a:ext uri="{FF2B5EF4-FFF2-40B4-BE49-F238E27FC236}">
                    <a16:creationId xmlns:a16="http://schemas.microsoft.com/office/drawing/2014/main" id="{7D74CAE6-18A4-0041-9B6E-2DA6F075A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5" y="1924"/>
                <a:ext cx="6" cy="17"/>
              </a:xfrm>
              <a:custGeom>
                <a:avLst/>
                <a:gdLst>
                  <a:gd name="T0" fmla="*/ 7 w 25"/>
                  <a:gd name="T1" fmla="*/ 25 h 65"/>
                  <a:gd name="T2" fmla="*/ 4 w 25"/>
                  <a:gd name="T3" fmla="*/ 55 h 65"/>
                  <a:gd name="T4" fmla="*/ 22 w 25"/>
                  <a:gd name="T5" fmla="*/ 53 h 65"/>
                  <a:gd name="T6" fmla="*/ 20 w 25"/>
                  <a:gd name="T7" fmla="*/ 30 h 65"/>
                  <a:gd name="T8" fmla="*/ 7 w 25"/>
                  <a:gd name="T9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65">
                    <a:moveTo>
                      <a:pt x="7" y="25"/>
                    </a:moveTo>
                    <a:cubicBezTo>
                      <a:pt x="7" y="25"/>
                      <a:pt x="0" y="45"/>
                      <a:pt x="4" y="55"/>
                    </a:cubicBezTo>
                    <a:cubicBezTo>
                      <a:pt x="9" y="65"/>
                      <a:pt x="21" y="60"/>
                      <a:pt x="22" y="53"/>
                    </a:cubicBezTo>
                    <a:cubicBezTo>
                      <a:pt x="24" y="45"/>
                      <a:pt x="16" y="39"/>
                      <a:pt x="20" y="30"/>
                    </a:cubicBezTo>
                    <a:cubicBezTo>
                      <a:pt x="25" y="22"/>
                      <a:pt x="18" y="0"/>
                      <a:pt x="7" y="2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2" name="Freeform 216">
                <a:extLst>
                  <a:ext uri="{FF2B5EF4-FFF2-40B4-BE49-F238E27FC236}">
                    <a16:creationId xmlns:a16="http://schemas.microsoft.com/office/drawing/2014/main" id="{FCAFC316-73BA-9D45-93FC-E39F18766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8" y="2000"/>
                <a:ext cx="43" cy="35"/>
              </a:xfrm>
              <a:custGeom>
                <a:avLst/>
                <a:gdLst>
                  <a:gd name="T0" fmla="*/ 132 w 173"/>
                  <a:gd name="T1" fmla="*/ 79 h 137"/>
                  <a:gd name="T2" fmla="*/ 146 w 173"/>
                  <a:gd name="T3" fmla="*/ 59 h 137"/>
                  <a:gd name="T4" fmla="*/ 157 w 173"/>
                  <a:gd name="T5" fmla="*/ 42 h 137"/>
                  <a:gd name="T6" fmla="*/ 153 w 173"/>
                  <a:gd name="T7" fmla="*/ 16 h 137"/>
                  <a:gd name="T8" fmla="*/ 122 w 173"/>
                  <a:gd name="T9" fmla="*/ 8 h 137"/>
                  <a:gd name="T10" fmla="*/ 96 w 173"/>
                  <a:gd name="T11" fmla="*/ 25 h 137"/>
                  <a:gd name="T12" fmla="*/ 83 w 173"/>
                  <a:gd name="T13" fmla="*/ 37 h 137"/>
                  <a:gd name="T14" fmla="*/ 65 w 173"/>
                  <a:gd name="T15" fmla="*/ 46 h 137"/>
                  <a:gd name="T16" fmla="*/ 46 w 173"/>
                  <a:gd name="T17" fmla="*/ 31 h 137"/>
                  <a:gd name="T18" fmla="*/ 28 w 173"/>
                  <a:gd name="T19" fmla="*/ 57 h 137"/>
                  <a:gd name="T20" fmla="*/ 5 w 173"/>
                  <a:gd name="T21" fmla="*/ 73 h 137"/>
                  <a:gd name="T22" fmla="*/ 13 w 173"/>
                  <a:gd name="T23" fmla="*/ 82 h 137"/>
                  <a:gd name="T24" fmla="*/ 22 w 173"/>
                  <a:gd name="T25" fmla="*/ 94 h 137"/>
                  <a:gd name="T26" fmla="*/ 32 w 173"/>
                  <a:gd name="T27" fmla="*/ 119 h 137"/>
                  <a:gd name="T28" fmla="*/ 50 w 173"/>
                  <a:gd name="T29" fmla="*/ 119 h 137"/>
                  <a:gd name="T30" fmla="*/ 69 w 173"/>
                  <a:gd name="T31" fmla="*/ 90 h 137"/>
                  <a:gd name="T32" fmla="*/ 92 w 173"/>
                  <a:gd name="T33" fmla="*/ 73 h 137"/>
                  <a:gd name="T34" fmla="*/ 110 w 173"/>
                  <a:gd name="T35" fmla="*/ 78 h 137"/>
                  <a:gd name="T36" fmla="*/ 132 w 173"/>
                  <a:gd name="T37" fmla="*/ 79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3" h="137">
                    <a:moveTo>
                      <a:pt x="132" y="79"/>
                    </a:moveTo>
                    <a:cubicBezTo>
                      <a:pt x="137" y="70"/>
                      <a:pt x="137" y="61"/>
                      <a:pt x="146" y="59"/>
                    </a:cubicBezTo>
                    <a:cubicBezTo>
                      <a:pt x="156" y="57"/>
                      <a:pt x="157" y="52"/>
                      <a:pt x="157" y="42"/>
                    </a:cubicBezTo>
                    <a:cubicBezTo>
                      <a:pt x="157" y="31"/>
                      <a:pt x="173" y="19"/>
                      <a:pt x="153" y="16"/>
                    </a:cubicBezTo>
                    <a:cubicBezTo>
                      <a:pt x="133" y="13"/>
                      <a:pt x="138" y="0"/>
                      <a:pt x="122" y="8"/>
                    </a:cubicBezTo>
                    <a:cubicBezTo>
                      <a:pt x="106" y="15"/>
                      <a:pt x="96" y="5"/>
                      <a:pt x="96" y="25"/>
                    </a:cubicBezTo>
                    <a:cubicBezTo>
                      <a:pt x="96" y="25"/>
                      <a:pt x="92" y="37"/>
                      <a:pt x="83" y="37"/>
                    </a:cubicBezTo>
                    <a:cubicBezTo>
                      <a:pt x="75" y="37"/>
                      <a:pt x="73" y="55"/>
                      <a:pt x="65" y="46"/>
                    </a:cubicBezTo>
                    <a:cubicBezTo>
                      <a:pt x="58" y="37"/>
                      <a:pt x="58" y="24"/>
                      <a:pt x="46" y="31"/>
                    </a:cubicBezTo>
                    <a:cubicBezTo>
                      <a:pt x="34" y="39"/>
                      <a:pt x="39" y="47"/>
                      <a:pt x="28" y="57"/>
                    </a:cubicBezTo>
                    <a:cubicBezTo>
                      <a:pt x="16" y="66"/>
                      <a:pt x="11" y="70"/>
                      <a:pt x="5" y="73"/>
                    </a:cubicBezTo>
                    <a:cubicBezTo>
                      <a:pt x="0" y="76"/>
                      <a:pt x="4" y="82"/>
                      <a:pt x="13" y="82"/>
                    </a:cubicBezTo>
                    <a:cubicBezTo>
                      <a:pt x="21" y="82"/>
                      <a:pt x="22" y="80"/>
                      <a:pt x="22" y="94"/>
                    </a:cubicBezTo>
                    <a:cubicBezTo>
                      <a:pt x="22" y="108"/>
                      <a:pt x="28" y="119"/>
                      <a:pt x="32" y="119"/>
                    </a:cubicBezTo>
                    <a:cubicBezTo>
                      <a:pt x="36" y="119"/>
                      <a:pt x="39" y="137"/>
                      <a:pt x="50" y="119"/>
                    </a:cubicBezTo>
                    <a:cubicBezTo>
                      <a:pt x="61" y="101"/>
                      <a:pt x="57" y="101"/>
                      <a:pt x="69" y="90"/>
                    </a:cubicBezTo>
                    <a:cubicBezTo>
                      <a:pt x="82" y="79"/>
                      <a:pt x="80" y="73"/>
                      <a:pt x="92" y="73"/>
                    </a:cubicBezTo>
                    <a:cubicBezTo>
                      <a:pt x="104" y="73"/>
                      <a:pt x="107" y="74"/>
                      <a:pt x="110" y="78"/>
                    </a:cubicBezTo>
                    <a:cubicBezTo>
                      <a:pt x="113" y="82"/>
                      <a:pt x="126" y="89"/>
                      <a:pt x="132" y="7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3" name="Freeform 217">
                <a:extLst>
                  <a:ext uri="{FF2B5EF4-FFF2-40B4-BE49-F238E27FC236}">
                    <a16:creationId xmlns:a16="http://schemas.microsoft.com/office/drawing/2014/main" id="{FA3D9EF3-0BD9-7C46-B0B1-B8C8CAE02A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5" y="2010"/>
                <a:ext cx="40" cy="53"/>
              </a:xfrm>
              <a:custGeom>
                <a:avLst/>
                <a:gdLst>
                  <a:gd name="T0" fmla="*/ 144 w 158"/>
                  <a:gd name="T1" fmla="*/ 52 h 211"/>
                  <a:gd name="T2" fmla="*/ 135 w 158"/>
                  <a:gd name="T3" fmla="*/ 36 h 211"/>
                  <a:gd name="T4" fmla="*/ 122 w 158"/>
                  <a:gd name="T5" fmla="*/ 21 h 211"/>
                  <a:gd name="T6" fmla="*/ 105 w 158"/>
                  <a:gd name="T7" fmla="*/ 26 h 211"/>
                  <a:gd name="T8" fmla="*/ 90 w 158"/>
                  <a:gd name="T9" fmla="*/ 10 h 211"/>
                  <a:gd name="T10" fmla="*/ 52 w 158"/>
                  <a:gd name="T11" fmla="*/ 15 h 211"/>
                  <a:gd name="T12" fmla="*/ 33 w 158"/>
                  <a:gd name="T13" fmla="*/ 31 h 211"/>
                  <a:gd name="T14" fmla="*/ 7 w 158"/>
                  <a:gd name="T15" fmla="*/ 47 h 211"/>
                  <a:gd name="T16" fmla="*/ 11 w 158"/>
                  <a:gd name="T17" fmla="*/ 64 h 211"/>
                  <a:gd name="T18" fmla="*/ 25 w 158"/>
                  <a:gd name="T19" fmla="*/ 71 h 211"/>
                  <a:gd name="T20" fmla="*/ 42 w 158"/>
                  <a:gd name="T21" fmla="*/ 71 h 211"/>
                  <a:gd name="T22" fmla="*/ 22 w 158"/>
                  <a:gd name="T23" fmla="*/ 81 h 211"/>
                  <a:gd name="T24" fmla="*/ 10 w 158"/>
                  <a:gd name="T25" fmla="*/ 89 h 211"/>
                  <a:gd name="T26" fmla="*/ 25 w 158"/>
                  <a:gd name="T27" fmla="*/ 97 h 211"/>
                  <a:gd name="T28" fmla="*/ 38 w 158"/>
                  <a:gd name="T29" fmla="*/ 86 h 211"/>
                  <a:gd name="T30" fmla="*/ 49 w 158"/>
                  <a:gd name="T31" fmla="*/ 80 h 211"/>
                  <a:gd name="T32" fmla="*/ 56 w 158"/>
                  <a:gd name="T33" fmla="*/ 73 h 211"/>
                  <a:gd name="T34" fmla="*/ 63 w 158"/>
                  <a:gd name="T35" fmla="*/ 86 h 211"/>
                  <a:gd name="T36" fmla="*/ 58 w 158"/>
                  <a:gd name="T37" fmla="*/ 99 h 211"/>
                  <a:gd name="T38" fmla="*/ 33 w 158"/>
                  <a:gd name="T39" fmla="*/ 105 h 211"/>
                  <a:gd name="T40" fmla="*/ 26 w 158"/>
                  <a:gd name="T41" fmla="*/ 121 h 211"/>
                  <a:gd name="T42" fmla="*/ 41 w 158"/>
                  <a:gd name="T43" fmla="*/ 123 h 211"/>
                  <a:gd name="T44" fmla="*/ 50 w 158"/>
                  <a:gd name="T45" fmla="*/ 110 h 211"/>
                  <a:gd name="T46" fmla="*/ 60 w 158"/>
                  <a:gd name="T47" fmla="*/ 116 h 211"/>
                  <a:gd name="T48" fmla="*/ 51 w 158"/>
                  <a:gd name="T49" fmla="*/ 130 h 211"/>
                  <a:gd name="T50" fmla="*/ 37 w 158"/>
                  <a:gd name="T51" fmla="*/ 156 h 211"/>
                  <a:gd name="T52" fmla="*/ 46 w 158"/>
                  <a:gd name="T53" fmla="*/ 173 h 211"/>
                  <a:gd name="T54" fmla="*/ 40 w 158"/>
                  <a:gd name="T55" fmla="*/ 194 h 211"/>
                  <a:gd name="T56" fmla="*/ 62 w 158"/>
                  <a:gd name="T57" fmla="*/ 196 h 211"/>
                  <a:gd name="T58" fmla="*/ 79 w 158"/>
                  <a:gd name="T59" fmla="*/ 187 h 211"/>
                  <a:gd name="T60" fmla="*/ 74 w 158"/>
                  <a:gd name="T61" fmla="*/ 207 h 211"/>
                  <a:gd name="T62" fmla="*/ 94 w 158"/>
                  <a:gd name="T63" fmla="*/ 202 h 211"/>
                  <a:gd name="T64" fmla="*/ 104 w 158"/>
                  <a:gd name="T65" fmla="*/ 188 h 211"/>
                  <a:gd name="T66" fmla="*/ 125 w 158"/>
                  <a:gd name="T67" fmla="*/ 172 h 211"/>
                  <a:gd name="T68" fmla="*/ 128 w 158"/>
                  <a:gd name="T69" fmla="*/ 140 h 211"/>
                  <a:gd name="T70" fmla="*/ 139 w 158"/>
                  <a:gd name="T71" fmla="*/ 118 h 211"/>
                  <a:gd name="T72" fmla="*/ 149 w 158"/>
                  <a:gd name="T73" fmla="*/ 92 h 211"/>
                  <a:gd name="T74" fmla="*/ 154 w 158"/>
                  <a:gd name="T75" fmla="*/ 68 h 211"/>
                  <a:gd name="T76" fmla="*/ 144 w 158"/>
                  <a:gd name="T77" fmla="*/ 52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58" h="211">
                    <a:moveTo>
                      <a:pt x="144" y="52"/>
                    </a:moveTo>
                    <a:cubicBezTo>
                      <a:pt x="135" y="53"/>
                      <a:pt x="138" y="46"/>
                      <a:pt x="135" y="36"/>
                    </a:cubicBezTo>
                    <a:cubicBezTo>
                      <a:pt x="132" y="25"/>
                      <a:pt x="136" y="20"/>
                      <a:pt x="122" y="21"/>
                    </a:cubicBezTo>
                    <a:cubicBezTo>
                      <a:pt x="108" y="22"/>
                      <a:pt x="124" y="30"/>
                      <a:pt x="105" y="26"/>
                    </a:cubicBezTo>
                    <a:cubicBezTo>
                      <a:pt x="86" y="22"/>
                      <a:pt x="95" y="15"/>
                      <a:pt x="90" y="10"/>
                    </a:cubicBezTo>
                    <a:cubicBezTo>
                      <a:pt x="84" y="5"/>
                      <a:pt x="60" y="0"/>
                      <a:pt x="52" y="15"/>
                    </a:cubicBezTo>
                    <a:cubicBezTo>
                      <a:pt x="52" y="15"/>
                      <a:pt x="47" y="27"/>
                      <a:pt x="33" y="31"/>
                    </a:cubicBezTo>
                    <a:cubicBezTo>
                      <a:pt x="19" y="36"/>
                      <a:pt x="9" y="40"/>
                      <a:pt x="7" y="47"/>
                    </a:cubicBezTo>
                    <a:cubicBezTo>
                      <a:pt x="6" y="55"/>
                      <a:pt x="0" y="61"/>
                      <a:pt x="11" y="64"/>
                    </a:cubicBezTo>
                    <a:cubicBezTo>
                      <a:pt x="21" y="66"/>
                      <a:pt x="19" y="77"/>
                      <a:pt x="25" y="71"/>
                    </a:cubicBezTo>
                    <a:cubicBezTo>
                      <a:pt x="30" y="65"/>
                      <a:pt x="43" y="65"/>
                      <a:pt x="42" y="71"/>
                    </a:cubicBezTo>
                    <a:cubicBezTo>
                      <a:pt x="41" y="77"/>
                      <a:pt x="30" y="81"/>
                      <a:pt x="22" y="81"/>
                    </a:cubicBezTo>
                    <a:cubicBezTo>
                      <a:pt x="15" y="81"/>
                      <a:pt x="7" y="84"/>
                      <a:pt x="10" y="89"/>
                    </a:cubicBezTo>
                    <a:cubicBezTo>
                      <a:pt x="12" y="95"/>
                      <a:pt x="19" y="103"/>
                      <a:pt x="25" y="97"/>
                    </a:cubicBezTo>
                    <a:cubicBezTo>
                      <a:pt x="30" y="90"/>
                      <a:pt x="30" y="86"/>
                      <a:pt x="38" y="86"/>
                    </a:cubicBezTo>
                    <a:cubicBezTo>
                      <a:pt x="47" y="86"/>
                      <a:pt x="50" y="87"/>
                      <a:pt x="49" y="80"/>
                    </a:cubicBezTo>
                    <a:cubicBezTo>
                      <a:pt x="48" y="72"/>
                      <a:pt x="52" y="71"/>
                      <a:pt x="56" y="73"/>
                    </a:cubicBezTo>
                    <a:cubicBezTo>
                      <a:pt x="59" y="75"/>
                      <a:pt x="63" y="81"/>
                      <a:pt x="63" y="86"/>
                    </a:cubicBezTo>
                    <a:cubicBezTo>
                      <a:pt x="63" y="91"/>
                      <a:pt x="68" y="97"/>
                      <a:pt x="58" y="99"/>
                    </a:cubicBezTo>
                    <a:cubicBezTo>
                      <a:pt x="47" y="101"/>
                      <a:pt x="38" y="103"/>
                      <a:pt x="33" y="105"/>
                    </a:cubicBezTo>
                    <a:cubicBezTo>
                      <a:pt x="28" y="107"/>
                      <a:pt x="26" y="115"/>
                      <a:pt x="26" y="121"/>
                    </a:cubicBezTo>
                    <a:cubicBezTo>
                      <a:pt x="26" y="128"/>
                      <a:pt x="38" y="135"/>
                      <a:pt x="41" y="123"/>
                    </a:cubicBezTo>
                    <a:cubicBezTo>
                      <a:pt x="43" y="112"/>
                      <a:pt x="42" y="112"/>
                      <a:pt x="50" y="110"/>
                    </a:cubicBezTo>
                    <a:cubicBezTo>
                      <a:pt x="59" y="107"/>
                      <a:pt x="62" y="113"/>
                      <a:pt x="60" y="116"/>
                    </a:cubicBezTo>
                    <a:cubicBezTo>
                      <a:pt x="58" y="119"/>
                      <a:pt x="61" y="123"/>
                      <a:pt x="51" y="130"/>
                    </a:cubicBezTo>
                    <a:cubicBezTo>
                      <a:pt x="42" y="136"/>
                      <a:pt x="36" y="150"/>
                      <a:pt x="37" y="156"/>
                    </a:cubicBezTo>
                    <a:cubicBezTo>
                      <a:pt x="38" y="161"/>
                      <a:pt x="43" y="160"/>
                      <a:pt x="46" y="173"/>
                    </a:cubicBezTo>
                    <a:cubicBezTo>
                      <a:pt x="49" y="186"/>
                      <a:pt x="30" y="194"/>
                      <a:pt x="40" y="194"/>
                    </a:cubicBezTo>
                    <a:cubicBezTo>
                      <a:pt x="49" y="194"/>
                      <a:pt x="58" y="203"/>
                      <a:pt x="62" y="196"/>
                    </a:cubicBezTo>
                    <a:cubicBezTo>
                      <a:pt x="66" y="190"/>
                      <a:pt x="76" y="181"/>
                      <a:pt x="79" y="187"/>
                    </a:cubicBezTo>
                    <a:cubicBezTo>
                      <a:pt x="82" y="192"/>
                      <a:pt x="65" y="205"/>
                      <a:pt x="74" y="207"/>
                    </a:cubicBezTo>
                    <a:cubicBezTo>
                      <a:pt x="82" y="209"/>
                      <a:pt x="94" y="211"/>
                      <a:pt x="94" y="202"/>
                    </a:cubicBezTo>
                    <a:cubicBezTo>
                      <a:pt x="94" y="192"/>
                      <a:pt x="97" y="188"/>
                      <a:pt x="104" y="188"/>
                    </a:cubicBezTo>
                    <a:cubicBezTo>
                      <a:pt x="110" y="188"/>
                      <a:pt x="126" y="192"/>
                      <a:pt x="125" y="172"/>
                    </a:cubicBezTo>
                    <a:cubicBezTo>
                      <a:pt x="124" y="151"/>
                      <a:pt x="134" y="152"/>
                      <a:pt x="128" y="140"/>
                    </a:cubicBezTo>
                    <a:cubicBezTo>
                      <a:pt x="123" y="127"/>
                      <a:pt x="139" y="134"/>
                      <a:pt x="139" y="118"/>
                    </a:cubicBezTo>
                    <a:cubicBezTo>
                      <a:pt x="139" y="102"/>
                      <a:pt x="139" y="99"/>
                      <a:pt x="149" y="92"/>
                    </a:cubicBezTo>
                    <a:cubicBezTo>
                      <a:pt x="158" y="86"/>
                      <a:pt x="153" y="82"/>
                      <a:pt x="154" y="68"/>
                    </a:cubicBezTo>
                    <a:cubicBezTo>
                      <a:pt x="155" y="54"/>
                      <a:pt x="154" y="51"/>
                      <a:pt x="144" y="5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4" name="Freeform 218">
                <a:extLst>
                  <a:ext uri="{FF2B5EF4-FFF2-40B4-BE49-F238E27FC236}">
                    <a16:creationId xmlns:a16="http://schemas.microsoft.com/office/drawing/2014/main" id="{C167F794-2314-6F43-9A72-7BEFA5FA88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0" y="2024"/>
                <a:ext cx="9" cy="13"/>
              </a:xfrm>
              <a:custGeom>
                <a:avLst/>
                <a:gdLst>
                  <a:gd name="T0" fmla="*/ 16 w 39"/>
                  <a:gd name="T1" fmla="*/ 28 h 53"/>
                  <a:gd name="T2" fmla="*/ 3 w 39"/>
                  <a:gd name="T3" fmla="*/ 46 h 53"/>
                  <a:gd name="T4" fmla="*/ 14 w 39"/>
                  <a:gd name="T5" fmla="*/ 40 h 53"/>
                  <a:gd name="T6" fmla="*/ 37 w 39"/>
                  <a:gd name="T7" fmla="*/ 13 h 53"/>
                  <a:gd name="T8" fmla="*/ 28 w 39"/>
                  <a:gd name="T9" fmla="*/ 9 h 53"/>
                  <a:gd name="T10" fmla="*/ 16 w 39"/>
                  <a:gd name="T11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53">
                    <a:moveTo>
                      <a:pt x="16" y="28"/>
                    </a:moveTo>
                    <a:cubicBezTo>
                      <a:pt x="0" y="34"/>
                      <a:pt x="0" y="40"/>
                      <a:pt x="3" y="46"/>
                    </a:cubicBezTo>
                    <a:cubicBezTo>
                      <a:pt x="6" y="53"/>
                      <a:pt x="1" y="42"/>
                      <a:pt x="14" y="40"/>
                    </a:cubicBezTo>
                    <a:cubicBezTo>
                      <a:pt x="27" y="38"/>
                      <a:pt x="39" y="26"/>
                      <a:pt x="37" y="13"/>
                    </a:cubicBezTo>
                    <a:cubicBezTo>
                      <a:pt x="35" y="0"/>
                      <a:pt x="31" y="0"/>
                      <a:pt x="28" y="9"/>
                    </a:cubicBezTo>
                    <a:cubicBezTo>
                      <a:pt x="28" y="9"/>
                      <a:pt x="32" y="22"/>
                      <a:pt x="16" y="2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5" name="Freeform 219">
                <a:extLst>
                  <a:ext uri="{FF2B5EF4-FFF2-40B4-BE49-F238E27FC236}">
                    <a16:creationId xmlns:a16="http://schemas.microsoft.com/office/drawing/2014/main" id="{CEB92488-3AC5-BD45-AF60-D03D64E843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" y="2063"/>
                <a:ext cx="7" cy="12"/>
              </a:xfrm>
              <a:custGeom>
                <a:avLst/>
                <a:gdLst>
                  <a:gd name="T0" fmla="*/ 10 w 28"/>
                  <a:gd name="T1" fmla="*/ 14 h 49"/>
                  <a:gd name="T2" fmla="*/ 11 w 28"/>
                  <a:gd name="T3" fmla="*/ 49 h 49"/>
                  <a:gd name="T4" fmla="*/ 20 w 28"/>
                  <a:gd name="T5" fmla="*/ 40 h 49"/>
                  <a:gd name="T6" fmla="*/ 28 w 28"/>
                  <a:gd name="T7" fmla="*/ 28 h 49"/>
                  <a:gd name="T8" fmla="*/ 10 w 28"/>
                  <a:gd name="T9" fmla="*/ 1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49">
                    <a:moveTo>
                      <a:pt x="10" y="14"/>
                    </a:moveTo>
                    <a:cubicBezTo>
                      <a:pt x="10" y="14"/>
                      <a:pt x="0" y="49"/>
                      <a:pt x="11" y="49"/>
                    </a:cubicBezTo>
                    <a:cubicBezTo>
                      <a:pt x="21" y="49"/>
                      <a:pt x="19" y="47"/>
                      <a:pt x="20" y="40"/>
                    </a:cubicBezTo>
                    <a:cubicBezTo>
                      <a:pt x="21" y="32"/>
                      <a:pt x="28" y="38"/>
                      <a:pt x="28" y="28"/>
                    </a:cubicBezTo>
                    <a:cubicBezTo>
                      <a:pt x="28" y="18"/>
                      <a:pt x="12" y="0"/>
                      <a:pt x="10" y="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6" name="Freeform 220">
                <a:extLst>
                  <a:ext uri="{FF2B5EF4-FFF2-40B4-BE49-F238E27FC236}">
                    <a16:creationId xmlns:a16="http://schemas.microsoft.com/office/drawing/2014/main" id="{D232CCB8-7D9E-5E46-A3C6-6F38770F3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9" y="2071"/>
                <a:ext cx="4" cy="7"/>
              </a:xfrm>
              <a:custGeom>
                <a:avLst/>
                <a:gdLst>
                  <a:gd name="T0" fmla="*/ 2 w 17"/>
                  <a:gd name="T1" fmla="*/ 10 h 25"/>
                  <a:gd name="T2" fmla="*/ 5 w 17"/>
                  <a:gd name="T3" fmla="*/ 24 h 25"/>
                  <a:gd name="T4" fmla="*/ 17 w 17"/>
                  <a:gd name="T5" fmla="*/ 18 h 25"/>
                  <a:gd name="T6" fmla="*/ 2 w 17"/>
                  <a:gd name="T7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25">
                    <a:moveTo>
                      <a:pt x="2" y="10"/>
                    </a:moveTo>
                    <a:cubicBezTo>
                      <a:pt x="2" y="10"/>
                      <a:pt x="0" y="23"/>
                      <a:pt x="5" y="24"/>
                    </a:cubicBezTo>
                    <a:cubicBezTo>
                      <a:pt x="9" y="25"/>
                      <a:pt x="17" y="25"/>
                      <a:pt x="17" y="18"/>
                    </a:cubicBezTo>
                    <a:cubicBezTo>
                      <a:pt x="17" y="10"/>
                      <a:pt x="4" y="0"/>
                      <a:pt x="2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7" name="Freeform 221">
                <a:extLst>
                  <a:ext uri="{FF2B5EF4-FFF2-40B4-BE49-F238E27FC236}">
                    <a16:creationId xmlns:a16="http://schemas.microsoft.com/office/drawing/2014/main" id="{549F1231-9DC3-DC41-B2B5-FF446D3C99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7" y="2167"/>
                <a:ext cx="130" cy="143"/>
              </a:xfrm>
              <a:custGeom>
                <a:avLst/>
                <a:gdLst>
                  <a:gd name="T0" fmla="*/ 212 w 512"/>
                  <a:gd name="T1" fmla="*/ 137 h 563"/>
                  <a:gd name="T2" fmla="*/ 210 w 512"/>
                  <a:gd name="T3" fmla="*/ 142 h 563"/>
                  <a:gd name="T4" fmla="*/ 210 w 512"/>
                  <a:gd name="T5" fmla="*/ 143 h 563"/>
                  <a:gd name="T6" fmla="*/ 209 w 512"/>
                  <a:gd name="T7" fmla="*/ 146 h 563"/>
                  <a:gd name="T8" fmla="*/ 209 w 512"/>
                  <a:gd name="T9" fmla="*/ 147 h 563"/>
                  <a:gd name="T10" fmla="*/ 209 w 512"/>
                  <a:gd name="T11" fmla="*/ 149 h 563"/>
                  <a:gd name="T12" fmla="*/ 208 w 512"/>
                  <a:gd name="T13" fmla="*/ 151 h 563"/>
                  <a:gd name="T14" fmla="*/ 208 w 512"/>
                  <a:gd name="T15" fmla="*/ 153 h 563"/>
                  <a:gd name="T16" fmla="*/ 208 w 512"/>
                  <a:gd name="T17" fmla="*/ 154 h 563"/>
                  <a:gd name="T18" fmla="*/ 208 w 512"/>
                  <a:gd name="T19" fmla="*/ 156 h 563"/>
                  <a:gd name="T20" fmla="*/ 208 w 512"/>
                  <a:gd name="T21" fmla="*/ 157 h 563"/>
                  <a:gd name="T22" fmla="*/ 208 w 512"/>
                  <a:gd name="T23" fmla="*/ 159 h 563"/>
                  <a:gd name="T24" fmla="*/ 208 w 512"/>
                  <a:gd name="T25" fmla="*/ 160 h 563"/>
                  <a:gd name="T26" fmla="*/ 208 w 512"/>
                  <a:gd name="T27" fmla="*/ 162 h 563"/>
                  <a:gd name="T28" fmla="*/ 208 w 512"/>
                  <a:gd name="T29" fmla="*/ 162 h 563"/>
                  <a:gd name="T30" fmla="*/ 208 w 512"/>
                  <a:gd name="T31" fmla="*/ 165 h 563"/>
                  <a:gd name="T32" fmla="*/ 208 w 512"/>
                  <a:gd name="T33" fmla="*/ 165 h 563"/>
                  <a:gd name="T34" fmla="*/ 208 w 512"/>
                  <a:gd name="T35" fmla="*/ 168 h 563"/>
                  <a:gd name="T36" fmla="*/ 208 w 512"/>
                  <a:gd name="T37" fmla="*/ 168 h 563"/>
                  <a:gd name="T38" fmla="*/ 209 w 512"/>
                  <a:gd name="T39" fmla="*/ 171 h 563"/>
                  <a:gd name="T40" fmla="*/ 209 w 512"/>
                  <a:gd name="T41" fmla="*/ 171 h 563"/>
                  <a:gd name="T42" fmla="*/ 210 w 512"/>
                  <a:gd name="T43" fmla="*/ 174 h 563"/>
                  <a:gd name="T44" fmla="*/ 210 w 512"/>
                  <a:gd name="T45" fmla="*/ 176 h 563"/>
                  <a:gd name="T46" fmla="*/ 233 w 512"/>
                  <a:gd name="T47" fmla="*/ 208 h 563"/>
                  <a:gd name="T48" fmla="*/ 224 w 512"/>
                  <a:gd name="T49" fmla="*/ 243 h 563"/>
                  <a:gd name="T50" fmla="*/ 210 w 512"/>
                  <a:gd name="T51" fmla="*/ 287 h 563"/>
                  <a:gd name="T52" fmla="*/ 195 w 512"/>
                  <a:gd name="T53" fmla="*/ 331 h 563"/>
                  <a:gd name="T54" fmla="*/ 104 w 512"/>
                  <a:gd name="T55" fmla="*/ 373 h 563"/>
                  <a:gd name="T56" fmla="*/ 0 w 512"/>
                  <a:gd name="T57" fmla="*/ 411 h 563"/>
                  <a:gd name="T58" fmla="*/ 72 w 512"/>
                  <a:gd name="T59" fmla="*/ 563 h 563"/>
                  <a:gd name="T60" fmla="*/ 92 w 512"/>
                  <a:gd name="T61" fmla="*/ 555 h 563"/>
                  <a:gd name="T62" fmla="*/ 133 w 512"/>
                  <a:gd name="T63" fmla="*/ 538 h 563"/>
                  <a:gd name="T64" fmla="*/ 181 w 512"/>
                  <a:gd name="T65" fmla="*/ 544 h 563"/>
                  <a:gd name="T66" fmla="*/ 211 w 512"/>
                  <a:gd name="T67" fmla="*/ 507 h 563"/>
                  <a:gd name="T68" fmla="*/ 251 w 512"/>
                  <a:gd name="T69" fmla="*/ 481 h 563"/>
                  <a:gd name="T70" fmla="*/ 288 w 512"/>
                  <a:gd name="T71" fmla="*/ 452 h 563"/>
                  <a:gd name="T72" fmla="*/ 315 w 512"/>
                  <a:gd name="T73" fmla="*/ 419 h 563"/>
                  <a:gd name="T74" fmla="*/ 370 w 512"/>
                  <a:gd name="T75" fmla="*/ 410 h 563"/>
                  <a:gd name="T76" fmla="*/ 367 w 512"/>
                  <a:gd name="T77" fmla="*/ 369 h 563"/>
                  <a:gd name="T78" fmla="*/ 370 w 512"/>
                  <a:gd name="T79" fmla="*/ 343 h 563"/>
                  <a:gd name="T80" fmla="*/ 401 w 512"/>
                  <a:gd name="T81" fmla="*/ 324 h 563"/>
                  <a:gd name="T82" fmla="*/ 426 w 512"/>
                  <a:gd name="T83" fmla="*/ 297 h 563"/>
                  <a:gd name="T84" fmla="*/ 452 w 512"/>
                  <a:gd name="T85" fmla="*/ 267 h 563"/>
                  <a:gd name="T86" fmla="*/ 483 w 512"/>
                  <a:gd name="T87" fmla="*/ 218 h 563"/>
                  <a:gd name="T88" fmla="*/ 500 w 512"/>
                  <a:gd name="T89" fmla="*/ 175 h 563"/>
                  <a:gd name="T90" fmla="*/ 453 w 512"/>
                  <a:gd name="T91" fmla="*/ 125 h 563"/>
                  <a:gd name="T92" fmla="*/ 391 w 512"/>
                  <a:gd name="T93" fmla="*/ 97 h 563"/>
                  <a:gd name="T94" fmla="*/ 341 w 512"/>
                  <a:gd name="T95" fmla="*/ 81 h 563"/>
                  <a:gd name="T96" fmla="*/ 294 w 512"/>
                  <a:gd name="T97" fmla="*/ 56 h 563"/>
                  <a:gd name="T98" fmla="*/ 287 w 512"/>
                  <a:gd name="T99" fmla="*/ 12 h 563"/>
                  <a:gd name="T100" fmla="*/ 282 w 512"/>
                  <a:gd name="T101" fmla="*/ 0 h 563"/>
                  <a:gd name="T102" fmla="*/ 270 w 512"/>
                  <a:gd name="T103" fmla="*/ 10 h 563"/>
                  <a:gd name="T104" fmla="*/ 212 w 512"/>
                  <a:gd name="T105" fmla="*/ 137 h 5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12" h="563">
                    <a:moveTo>
                      <a:pt x="212" y="137"/>
                    </a:moveTo>
                    <a:cubicBezTo>
                      <a:pt x="211" y="139"/>
                      <a:pt x="211" y="140"/>
                      <a:pt x="210" y="142"/>
                    </a:cubicBezTo>
                    <a:cubicBezTo>
                      <a:pt x="210" y="142"/>
                      <a:pt x="210" y="143"/>
                      <a:pt x="210" y="143"/>
                    </a:cubicBezTo>
                    <a:cubicBezTo>
                      <a:pt x="210" y="144"/>
                      <a:pt x="210" y="145"/>
                      <a:pt x="209" y="146"/>
                    </a:cubicBezTo>
                    <a:cubicBezTo>
                      <a:pt x="209" y="146"/>
                      <a:pt x="209" y="147"/>
                      <a:pt x="209" y="147"/>
                    </a:cubicBezTo>
                    <a:cubicBezTo>
                      <a:pt x="209" y="148"/>
                      <a:pt x="209" y="149"/>
                      <a:pt x="209" y="149"/>
                    </a:cubicBezTo>
                    <a:cubicBezTo>
                      <a:pt x="208" y="150"/>
                      <a:pt x="208" y="150"/>
                      <a:pt x="208" y="151"/>
                    </a:cubicBezTo>
                    <a:cubicBezTo>
                      <a:pt x="208" y="151"/>
                      <a:pt x="208" y="152"/>
                      <a:pt x="208" y="153"/>
                    </a:cubicBezTo>
                    <a:cubicBezTo>
                      <a:pt x="208" y="153"/>
                      <a:pt x="208" y="153"/>
                      <a:pt x="208" y="154"/>
                    </a:cubicBezTo>
                    <a:cubicBezTo>
                      <a:pt x="208" y="155"/>
                      <a:pt x="208" y="155"/>
                      <a:pt x="208" y="156"/>
                    </a:cubicBezTo>
                    <a:cubicBezTo>
                      <a:pt x="208" y="156"/>
                      <a:pt x="208" y="157"/>
                      <a:pt x="208" y="157"/>
                    </a:cubicBezTo>
                    <a:cubicBezTo>
                      <a:pt x="208" y="158"/>
                      <a:pt x="208" y="158"/>
                      <a:pt x="208" y="159"/>
                    </a:cubicBezTo>
                    <a:cubicBezTo>
                      <a:pt x="208" y="159"/>
                      <a:pt x="208" y="159"/>
                      <a:pt x="208" y="160"/>
                    </a:cubicBezTo>
                    <a:cubicBezTo>
                      <a:pt x="208" y="160"/>
                      <a:pt x="208" y="161"/>
                      <a:pt x="208" y="162"/>
                    </a:cubicBezTo>
                    <a:cubicBezTo>
                      <a:pt x="208" y="162"/>
                      <a:pt x="208" y="162"/>
                      <a:pt x="208" y="162"/>
                    </a:cubicBezTo>
                    <a:cubicBezTo>
                      <a:pt x="208" y="163"/>
                      <a:pt x="208" y="164"/>
                      <a:pt x="208" y="165"/>
                    </a:cubicBezTo>
                    <a:cubicBezTo>
                      <a:pt x="208" y="165"/>
                      <a:pt x="208" y="165"/>
                      <a:pt x="208" y="165"/>
                    </a:cubicBezTo>
                    <a:cubicBezTo>
                      <a:pt x="208" y="166"/>
                      <a:pt x="208" y="167"/>
                      <a:pt x="208" y="168"/>
                    </a:cubicBezTo>
                    <a:cubicBezTo>
                      <a:pt x="208" y="168"/>
                      <a:pt x="208" y="168"/>
                      <a:pt x="208" y="168"/>
                    </a:cubicBezTo>
                    <a:cubicBezTo>
                      <a:pt x="208" y="169"/>
                      <a:pt x="209" y="170"/>
                      <a:pt x="209" y="171"/>
                    </a:cubicBezTo>
                    <a:cubicBezTo>
                      <a:pt x="209" y="171"/>
                      <a:pt x="209" y="171"/>
                      <a:pt x="209" y="171"/>
                    </a:cubicBezTo>
                    <a:cubicBezTo>
                      <a:pt x="209" y="172"/>
                      <a:pt x="209" y="173"/>
                      <a:pt x="210" y="174"/>
                    </a:cubicBezTo>
                    <a:cubicBezTo>
                      <a:pt x="210" y="174"/>
                      <a:pt x="210" y="175"/>
                      <a:pt x="210" y="176"/>
                    </a:cubicBezTo>
                    <a:cubicBezTo>
                      <a:pt x="212" y="183"/>
                      <a:pt x="231" y="199"/>
                      <a:pt x="233" y="208"/>
                    </a:cubicBezTo>
                    <a:cubicBezTo>
                      <a:pt x="235" y="217"/>
                      <a:pt x="233" y="237"/>
                      <a:pt x="224" y="243"/>
                    </a:cubicBezTo>
                    <a:cubicBezTo>
                      <a:pt x="214" y="250"/>
                      <a:pt x="216" y="281"/>
                      <a:pt x="210" y="287"/>
                    </a:cubicBezTo>
                    <a:cubicBezTo>
                      <a:pt x="204" y="294"/>
                      <a:pt x="200" y="311"/>
                      <a:pt x="195" y="331"/>
                    </a:cubicBezTo>
                    <a:cubicBezTo>
                      <a:pt x="190" y="350"/>
                      <a:pt x="119" y="370"/>
                      <a:pt x="104" y="373"/>
                    </a:cubicBezTo>
                    <a:cubicBezTo>
                      <a:pt x="90" y="377"/>
                      <a:pt x="0" y="411"/>
                      <a:pt x="0" y="411"/>
                    </a:cubicBezTo>
                    <a:cubicBezTo>
                      <a:pt x="72" y="563"/>
                      <a:pt x="72" y="563"/>
                      <a:pt x="72" y="563"/>
                    </a:cubicBezTo>
                    <a:cubicBezTo>
                      <a:pt x="78" y="561"/>
                      <a:pt x="85" y="559"/>
                      <a:pt x="92" y="555"/>
                    </a:cubicBezTo>
                    <a:cubicBezTo>
                      <a:pt x="106" y="547"/>
                      <a:pt x="120" y="552"/>
                      <a:pt x="133" y="538"/>
                    </a:cubicBezTo>
                    <a:cubicBezTo>
                      <a:pt x="146" y="524"/>
                      <a:pt x="163" y="541"/>
                      <a:pt x="181" y="544"/>
                    </a:cubicBezTo>
                    <a:cubicBezTo>
                      <a:pt x="198" y="547"/>
                      <a:pt x="209" y="527"/>
                      <a:pt x="211" y="507"/>
                    </a:cubicBezTo>
                    <a:cubicBezTo>
                      <a:pt x="212" y="486"/>
                      <a:pt x="228" y="481"/>
                      <a:pt x="251" y="481"/>
                    </a:cubicBezTo>
                    <a:cubicBezTo>
                      <a:pt x="274" y="481"/>
                      <a:pt x="287" y="468"/>
                      <a:pt x="288" y="452"/>
                    </a:cubicBezTo>
                    <a:cubicBezTo>
                      <a:pt x="290" y="436"/>
                      <a:pt x="308" y="435"/>
                      <a:pt x="315" y="419"/>
                    </a:cubicBezTo>
                    <a:cubicBezTo>
                      <a:pt x="323" y="403"/>
                      <a:pt x="348" y="412"/>
                      <a:pt x="370" y="410"/>
                    </a:cubicBezTo>
                    <a:cubicBezTo>
                      <a:pt x="391" y="409"/>
                      <a:pt x="378" y="382"/>
                      <a:pt x="367" y="369"/>
                    </a:cubicBezTo>
                    <a:cubicBezTo>
                      <a:pt x="356" y="356"/>
                      <a:pt x="373" y="355"/>
                      <a:pt x="370" y="343"/>
                    </a:cubicBezTo>
                    <a:cubicBezTo>
                      <a:pt x="367" y="332"/>
                      <a:pt x="378" y="324"/>
                      <a:pt x="401" y="324"/>
                    </a:cubicBezTo>
                    <a:cubicBezTo>
                      <a:pt x="424" y="324"/>
                      <a:pt x="424" y="316"/>
                      <a:pt x="426" y="297"/>
                    </a:cubicBezTo>
                    <a:cubicBezTo>
                      <a:pt x="427" y="279"/>
                      <a:pt x="437" y="281"/>
                      <a:pt x="452" y="267"/>
                    </a:cubicBezTo>
                    <a:cubicBezTo>
                      <a:pt x="466" y="253"/>
                      <a:pt x="476" y="237"/>
                      <a:pt x="483" y="218"/>
                    </a:cubicBezTo>
                    <a:cubicBezTo>
                      <a:pt x="490" y="200"/>
                      <a:pt x="512" y="183"/>
                      <a:pt x="500" y="175"/>
                    </a:cubicBezTo>
                    <a:cubicBezTo>
                      <a:pt x="489" y="168"/>
                      <a:pt x="472" y="160"/>
                      <a:pt x="453" y="125"/>
                    </a:cubicBezTo>
                    <a:cubicBezTo>
                      <a:pt x="434" y="91"/>
                      <a:pt x="410" y="97"/>
                      <a:pt x="391" y="97"/>
                    </a:cubicBezTo>
                    <a:cubicBezTo>
                      <a:pt x="373" y="97"/>
                      <a:pt x="351" y="92"/>
                      <a:pt x="341" y="81"/>
                    </a:cubicBezTo>
                    <a:cubicBezTo>
                      <a:pt x="331" y="69"/>
                      <a:pt x="314" y="66"/>
                      <a:pt x="294" y="56"/>
                    </a:cubicBezTo>
                    <a:cubicBezTo>
                      <a:pt x="274" y="46"/>
                      <a:pt x="298" y="29"/>
                      <a:pt x="287" y="12"/>
                    </a:cubicBezTo>
                    <a:cubicBezTo>
                      <a:pt x="285" y="9"/>
                      <a:pt x="283" y="5"/>
                      <a:pt x="282" y="0"/>
                    </a:cubicBezTo>
                    <a:cubicBezTo>
                      <a:pt x="275" y="5"/>
                      <a:pt x="270" y="10"/>
                      <a:pt x="270" y="10"/>
                    </a:cubicBezTo>
                    <a:cubicBezTo>
                      <a:pt x="270" y="10"/>
                      <a:pt x="219" y="115"/>
                      <a:pt x="212" y="13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8" name="Freeform 222">
                <a:extLst>
                  <a:ext uri="{FF2B5EF4-FFF2-40B4-BE49-F238E27FC236}">
                    <a16:creationId xmlns:a16="http://schemas.microsoft.com/office/drawing/2014/main" id="{117D0AB7-013D-9F43-9216-F51A5669F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142"/>
                <a:ext cx="8" cy="18"/>
              </a:xfrm>
              <a:custGeom>
                <a:avLst/>
                <a:gdLst>
                  <a:gd name="T0" fmla="*/ 28 w 30"/>
                  <a:gd name="T1" fmla="*/ 63 h 73"/>
                  <a:gd name="T2" fmla="*/ 28 w 30"/>
                  <a:gd name="T3" fmla="*/ 27 h 73"/>
                  <a:gd name="T4" fmla="*/ 1 w 30"/>
                  <a:gd name="T5" fmla="*/ 30 h 73"/>
                  <a:gd name="T6" fmla="*/ 0 w 30"/>
                  <a:gd name="T7" fmla="*/ 36 h 73"/>
                  <a:gd name="T8" fmla="*/ 9 w 30"/>
                  <a:gd name="T9" fmla="*/ 50 h 73"/>
                  <a:gd name="T10" fmla="*/ 28 w 30"/>
                  <a:gd name="T11" fmla="*/ 6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73">
                    <a:moveTo>
                      <a:pt x="28" y="63"/>
                    </a:moveTo>
                    <a:cubicBezTo>
                      <a:pt x="29" y="51"/>
                      <a:pt x="30" y="38"/>
                      <a:pt x="28" y="27"/>
                    </a:cubicBezTo>
                    <a:cubicBezTo>
                      <a:pt x="26" y="0"/>
                      <a:pt x="6" y="8"/>
                      <a:pt x="1" y="30"/>
                    </a:cubicBezTo>
                    <a:cubicBezTo>
                      <a:pt x="1" y="32"/>
                      <a:pt x="0" y="34"/>
                      <a:pt x="0" y="36"/>
                    </a:cubicBezTo>
                    <a:cubicBezTo>
                      <a:pt x="2" y="40"/>
                      <a:pt x="5" y="46"/>
                      <a:pt x="9" y="50"/>
                    </a:cubicBezTo>
                    <a:cubicBezTo>
                      <a:pt x="19" y="61"/>
                      <a:pt x="17" y="73"/>
                      <a:pt x="28" y="6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69" name="Freeform 223">
                <a:extLst>
                  <a:ext uri="{FF2B5EF4-FFF2-40B4-BE49-F238E27FC236}">
                    <a16:creationId xmlns:a16="http://schemas.microsoft.com/office/drawing/2014/main" id="{E1A30382-CC9E-8E49-8F5A-0D7E5553F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" y="2151"/>
                <a:ext cx="74" cy="58"/>
              </a:xfrm>
              <a:custGeom>
                <a:avLst/>
                <a:gdLst>
                  <a:gd name="T0" fmla="*/ 30 w 290"/>
                  <a:gd name="T1" fmla="*/ 196 h 230"/>
                  <a:gd name="T2" fmla="*/ 58 w 290"/>
                  <a:gd name="T3" fmla="*/ 216 h 230"/>
                  <a:gd name="T4" fmla="*/ 102 w 290"/>
                  <a:gd name="T5" fmla="*/ 212 h 230"/>
                  <a:gd name="T6" fmla="*/ 138 w 290"/>
                  <a:gd name="T7" fmla="*/ 225 h 230"/>
                  <a:gd name="T8" fmla="*/ 216 w 290"/>
                  <a:gd name="T9" fmla="*/ 230 h 230"/>
                  <a:gd name="T10" fmla="*/ 216 w 290"/>
                  <a:gd name="T11" fmla="*/ 230 h 230"/>
                  <a:gd name="T12" fmla="*/ 216 w 290"/>
                  <a:gd name="T13" fmla="*/ 227 h 230"/>
                  <a:gd name="T14" fmla="*/ 216 w 290"/>
                  <a:gd name="T15" fmla="*/ 227 h 230"/>
                  <a:gd name="T16" fmla="*/ 216 w 290"/>
                  <a:gd name="T17" fmla="*/ 225 h 230"/>
                  <a:gd name="T18" fmla="*/ 216 w 290"/>
                  <a:gd name="T19" fmla="*/ 224 h 230"/>
                  <a:gd name="T20" fmla="*/ 216 w 290"/>
                  <a:gd name="T21" fmla="*/ 222 h 230"/>
                  <a:gd name="T22" fmla="*/ 216 w 290"/>
                  <a:gd name="T23" fmla="*/ 221 h 230"/>
                  <a:gd name="T24" fmla="*/ 216 w 290"/>
                  <a:gd name="T25" fmla="*/ 219 h 230"/>
                  <a:gd name="T26" fmla="*/ 216 w 290"/>
                  <a:gd name="T27" fmla="*/ 218 h 230"/>
                  <a:gd name="T28" fmla="*/ 216 w 290"/>
                  <a:gd name="T29" fmla="*/ 216 h 230"/>
                  <a:gd name="T30" fmla="*/ 217 w 290"/>
                  <a:gd name="T31" fmla="*/ 214 h 230"/>
                  <a:gd name="T32" fmla="*/ 217 w 290"/>
                  <a:gd name="T33" fmla="*/ 212 h 230"/>
                  <a:gd name="T34" fmla="*/ 217 w 290"/>
                  <a:gd name="T35" fmla="*/ 211 h 230"/>
                  <a:gd name="T36" fmla="*/ 218 w 290"/>
                  <a:gd name="T37" fmla="*/ 208 h 230"/>
                  <a:gd name="T38" fmla="*/ 218 w 290"/>
                  <a:gd name="T39" fmla="*/ 207 h 230"/>
                  <a:gd name="T40" fmla="*/ 220 w 290"/>
                  <a:gd name="T41" fmla="*/ 202 h 230"/>
                  <a:gd name="T42" fmla="*/ 278 w 290"/>
                  <a:gd name="T43" fmla="*/ 75 h 230"/>
                  <a:gd name="T44" fmla="*/ 290 w 290"/>
                  <a:gd name="T45" fmla="*/ 65 h 230"/>
                  <a:gd name="T46" fmla="*/ 290 w 290"/>
                  <a:gd name="T47" fmla="*/ 27 h 230"/>
                  <a:gd name="T48" fmla="*/ 271 w 290"/>
                  <a:gd name="T49" fmla="*/ 14 h 230"/>
                  <a:gd name="T50" fmla="*/ 262 w 290"/>
                  <a:gd name="T51" fmla="*/ 0 h 230"/>
                  <a:gd name="T52" fmla="*/ 236 w 290"/>
                  <a:gd name="T53" fmla="*/ 30 h 230"/>
                  <a:gd name="T54" fmla="*/ 204 w 290"/>
                  <a:gd name="T55" fmla="*/ 61 h 230"/>
                  <a:gd name="T56" fmla="*/ 159 w 290"/>
                  <a:gd name="T57" fmla="*/ 111 h 230"/>
                  <a:gd name="T58" fmla="*/ 64 w 290"/>
                  <a:gd name="T59" fmla="*/ 127 h 230"/>
                  <a:gd name="T60" fmla="*/ 15 w 290"/>
                  <a:gd name="T61" fmla="*/ 143 h 230"/>
                  <a:gd name="T62" fmla="*/ 0 w 290"/>
                  <a:gd name="T63" fmla="*/ 143 h 230"/>
                  <a:gd name="T64" fmla="*/ 6 w 290"/>
                  <a:gd name="T65" fmla="*/ 166 h 230"/>
                  <a:gd name="T66" fmla="*/ 30 w 290"/>
                  <a:gd name="T67" fmla="*/ 196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0" h="230">
                    <a:moveTo>
                      <a:pt x="30" y="196"/>
                    </a:moveTo>
                    <a:cubicBezTo>
                      <a:pt x="34" y="202"/>
                      <a:pt x="41" y="218"/>
                      <a:pt x="58" y="216"/>
                    </a:cubicBezTo>
                    <a:cubicBezTo>
                      <a:pt x="74" y="214"/>
                      <a:pt x="88" y="209"/>
                      <a:pt x="102" y="212"/>
                    </a:cubicBezTo>
                    <a:cubicBezTo>
                      <a:pt x="115" y="216"/>
                      <a:pt x="125" y="225"/>
                      <a:pt x="138" y="225"/>
                    </a:cubicBezTo>
                    <a:cubicBezTo>
                      <a:pt x="149" y="225"/>
                      <a:pt x="193" y="228"/>
                      <a:pt x="216" y="230"/>
                    </a:cubicBezTo>
                    <a:cubicBezTo>
                      <a:pt x="216" y="230"/>
                      <a:pt x="216" y="230"/>
                      <a:pt x="216" y="230"/>
                    </a:cubicBezTo>
                    <a:cubicBezTo>
                      <a:pt x="216" y="229"/>
                      <a:pt x="216" y="228"/>
                      <a:pt x="216" y="227"/>
                    </a:cubicBezTo>
                    <a:cubicBezTo>
                      <a:pt x="216" y="227"/>
                      <a:pt x="216" y="227"/>
                      <a:pt x="216" y="227"/>
                    </a:cubicBezTo>
                    <a:cubicBezTo>
                      <a:pt x="216" y="226"/>
                      <a:pt x="216" y="225"/>
                      <a:pt x="216" y="225"/>
                    </a:cubicBezTo>
                    <a:cubicBezTo>
                      <a:pt x="216" y="224"/>
                      <a:pt x="216" y="224"/>
                      <a:pt x="216" y="224"/>
                    </a:cubicBezTo>
                    <a:cubicBezTo>
                      <a:pt x="216" y="223"/>
                      <a:pt x="216" y="223"/>
                      <a:pt x="216" y="222"/>
                    </a:cubicBezTo>
                    <a:cubicBezTo>
                      <a:pt x="216" y="222"/>
                      <a:pt x="216" y="221"/>
                      <a:pt x="216" y="221"/>
                    </a:cubicBezTo>
                    <a:cubicBezTo>
                      <a:pt x="216" y="220"/>
                      <a:pt x="216" y="220"/>
                      <a:pt x="216" y="219"/>
                    </a:cubicBezTo>
                    <a:cubicBezTo>
                      <a:pt x="216" y="218"/>
                      <a:pt x="216" y="218"/>
                      <a:pt x="216" y="218"/>
                    </a:cubicBezTo>
                    <a:cubicBezTo>
                      <a:pt x="216" y="217"/>
                      <a:pt x="216" y="216"/>
                      <a:pt x="216" y="216"/>
                    </a:cubicBezTo>
                    <a:cubicBezTo>
                      <a:pt x="216" y="215"/>
                      <a:pt x="216" y="215"/>
                      <a:pt x="217" y="214"/>
                    </a:cubicBezTo>
                    <a:cubicBezTo>
                      <a:pt x="217" y="214"/>
                      <a:pt x="217" y="213"/>
                      <a:pt x="217" y="212"/>
                    </a:cubicBezTo>
                    <a:cubicBezTo>
                      <a:pt x="217" y="212"/>
                      <a:pt x="217" y="211"/>
                      <a:pt x="217" y="211"/>
                    </a:cubicBezTo>
                    <a:cubicBezTo>
                      <a:pt x="218" y="210"/>
                      <a:pt x="218" y="209"/>
                      <a:pt x="218" y="208"/>
                    </a:cubicBezTo>
                    <a:cubicBezTo>
                      <a:pt x="218" y="208"/>
                      <a:pt x="218" y="207"/>
                      <a:pt x="218" y="207"/>
                    </a:cubicBezTo>
                    <a:cubicBezTo>
                      <a:pt x="219" y="205"/>
                      <a:pt x="219" y="204"/>
                      <a:pt x="220" y="202"/>
                    </a:cubicBezTo>
                    <a:cubicBezTo>
                      <a:pt x="227" y="180"/>
                      <a:pt x="278" y="75"/>
                      <a:pt x="278" y="75"/>
                    </a:cubicBezTo>
                    <a:cubicBezTo>
                      <a:pt x="278" y="75"/>
                      <a:pt x="283" y="70"/>
                      <a:pt x="290" y="65"/>
                    </a:cubicBezTo>
                    <a:cubicBezTo>
                      <a:pt x="288" y="55"/>
                      <a:pt x="289" y="41"/>
                      <a:pt x="290" y="27"/>
                    </a:cubicBezTo>
                    <a:cubicBezTo>
                      <a:pt x="279" y="37"/>
                      <a:pt x="281" y="25"/>
                      <a:pt x="271" y="14"/>
                    </a:cubicBezTo>
                    <a:cubicBezTo>
                      <a:pt x="267" y="10"/>
                      <a:pt x="264" y="4"/>
                      <a:pt x="262" y="0"/>
                    </a:cubicBezTo>
                    <a:cubicBezTo>
                      <a:pt x="257" y="15"/>
                      <a:pt x="248" y="16"/>
                      <a:pt x="236" y="30"/>
                    </a:cubicBezTo>
                    <a:cubicBezTo>
                      <a:pt x="223" y="45"/>
                      <a:pt x="213" y="43"/>
                      <a:pt x="204" y="61"/>
                    </a:cubicBezTo>
                    <a:cubicBezTo>
                      <a:pt x="196" y="80"/>
                      <a:pt x="173" y="91"/>
                      <a:pt x="159" y="111"/>
                    </a:cubicBezTo>
                    <a:cubicBezTo>
                      <a:pt x="144" y="131"/>
                      <a:pt x="91" y="131"/>
                      <a:pt x="64" y="127"/>
                    </a:cubicBezTo>
                    <a:cubicBezTo>
                      <a:pt x="37" y="123"/>
                      <a:pt x="31" y="130"/>
                      <a:pt x="15" y="143"/>
                    </a:cubicBezTo>
                    <a:cubicBezTo>
                      <a:pt x="9" y="148"/>
                      <a:pt x="4" y="147"/>
                      <a:pt x="0" y="143"/>
                    </a:cubicBezTo>
                    <a:cubicBezTo>
                      <a:pt x="1" y="152"/>
                      <a:pt x="2" y="162"/>
                      <a:pt x="6" y="166"/>
                    </a:cubicBezTo>
                    <a:cubicBezTo>
                      <a:pt x="12" y="175"/>
                      <a:pt x="25" y="190"/>
                      <a:pt x="30" y="19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0" name="Freeform 224">
                <a:extLst>
                  <a:ext uri="{FF2B5EF4-FFF2-40B4-BE49-F238E27FC236}">
                    <a16:creationId xmlns:a16="http://schemas.microsoft.com/office/drawing/2014/main" id="{1BE4FBE8-61A4-E241-A11F-65C46E5BB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9" y="2079"/>
                <a:ext cx="32" cy="29"/>
              </a:xfrm>
              <a:custGeom>
                <a:avLst/>
                <a:gdLst>
                  <a:gd name="T0" fmla="*/ 63 w 126"/>
                  <a:gd name="T1" fmla="*/ 2 h 116"/>
                  <a:gd name="T2" fmla="*/ 34 w 126"/>
                  <a:gd name="T3" fmla="*/ 21 h 116"/>
                  <a:gd name="T4" fmla="*/ 13 w 126"/>
                  <a:gd name="T5" fmla="*/ 51 h 116"/>
                  <a:gd name="T6" fmla="*/ 0 w 126"/>
                  <a:gd name="T7" fmla="*/ 74 h 116"/>
                  <a:gd name="T8" fmla="*/ 0 w 126"/>
                  <a:gd name="T9" fmla="*/ 74 h 116"/>
                  <a:gd name="T10" fmla="*/ 2 w 126"/>
                  <a:gd name="T11" fmla="*/ 74 h 116"/>
                  <a:gd name="T12" fmla="*/ 5 w 126"/>
                  <a:gd name="T13" fmla="*/ 74 h 116"/>
                  <a:gd name="T14" fmla="*/ 6 w 126"/>
                  <a:gd name="T15" fmla="*/ 74 h 116"/>
                  <a:gd name="T16" fmla="*/ 7 w 126"/>
                  <a:gd name="T17" fmla="*/ 74 h 116"/>
                  <a:gd name="T18" fmla="*/ 8 w 126"/>
                  <a:gd name="T19" fmla="*/ 74 h 116"/>
                  <a:gd name="T20" fmla="*/ 11 w 126"/>
                  <a:gd name="T21" fmla="*/ 74 h 116"/>
                  <a:gd name="T22" fmla="*/ 66 w 126"/>
                  <a:gd name="T23" fmla="*/ 96 h 116"/>
                  <a:gd name="T24" fmla="*/ 101 w 126"/>
                  <a:gd name="T25" fmla="*/ 115 h 116"/>
                  <a:gd name="T26" fmla="*/ 126 w 126"/>
                  <a:gd name="T27" fmla="*/ 107 h 116"/>
                  <a:gd name="T28" fmla="*/ 118 w 126"/>
                  <a:gd name="T29" fmla="*/ 92 h 116"/>
                  <a:gd name="T30" fmla="*/ 99 w 126"/>
                  <a:gd name="T31" fmla="*/ 64 h 116"/>
                  <a:gd name="T32" fmla="*/ 99 w 126"/>
                  <a:gd name="T33" fmla="*/ 20 h 116"/>
                  <a:gd name="T34" fmla="*/ 102 w 126"/>
                  <a:gd name="T35" fmla="*/ 15 h 116"/>
                  <a:gd name="T36" fmla="*/ 91 w 126"/>
                  <a:gd name="T37" fmla="*/ 8 h 116"/>
                  <a:gd name="T38" fmla="*/ 63 w 126"/>
                  <a:gd name="T39" fmla="*/ 2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16">
                    <a:moveTo>
                      <a:pt x="63" y="2"/>
                    </a:moveTo>
                    <a:cubicBezTo>
                      <a:pt x="50" y="0"/>
                      <a:pt x="40" y="6"/>
                      <a:pt x="34" y="21"/>
                    </a:cubicBezTo>
                    <a:cubicBezTo>
                      <a:pt x="28" y="36"/>
                      <a:pt x="22" y="46"/>
                      <a:pt x="13" y="51"/>
                    </a:cubicBezTo>
                    <a:cubicBezTo>
                      <a:pt x="8" y="54"/>
                      <a:pt x="3" y="65"/>
                      <a:pt x="0" y="74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" y="74"/>
                      <a:pt x="2" y="74"/>
                      <a:pt x="2" y="74"/>
                    </a:cubicBezTo>
                    <a:cubicBezTo>
                      <a:pt x="3" y="74"/>
                      <a:pt x="4" y="74"/>
                      <a:pt x="5" y="74"/>
                    </a:cubicBezTo>
                    <a:cubicBezTo>
                      <a:pt x="5" y="74"/>
                      <a:pt x="5" y="74"/>
                      <a:pt x="6" y="74"/>
                    </a:cubicBezTo>
                    <a:cubicBezTo>
                      <a:pt x="6" y="74"/>
                      <a:pt x="7" y="74"/>
                      <a:pt x="7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10" y="74"/>
                      <a:pt x="11" y="74"/>
                      <a:pt x="11" y="74"/>
                    </a:cubicBezTo>
                    <a:cubicBezTo>
                      <a:pt x="29" y="74"/>
                      <a:pt x="62" y="76"/>
                      <a:pt x="66" y="96"/>
                    </a:cubicBezTo>
                    <a:cubicBezTo>
                      <a:pt x="70" y="116"/>
                      <a:pt x="85" y="115"/>
                      <a:pt x="101" y="115"/>
                    </a:cubicBezTo>
                    <a:cubicBezTo>
                      <a:pt x="113" y="115"/>
                      <a:pt x="122" y="115"/>
                      <a:pt x="126" y="107"/>
                    </a:cubicBezTo>
                    <a:cubicBezTo>
                      <a:pt x="122" y="102"/>
                      <a:pt x="118" y="100"/>
                      <a:pt x="118" y="92"/>
                    </a:cubicBezTo>
                    <a:cubicBezTo>
                      <a:pt x="118" y="77"/>
                      <a:pt x="116" y="77"/>
                      <a:pt x="99" y="64"/>
                    </a:cubicBezTo>
                    <a:cubicBezTo>
                      <a:pt x="82" y="51"/>
                      <a:pt x="99" y="30"/>
                      <a:pt x="99" y="20"/>
                    </a:cubicBezTo>
                    <a:cubicBezTo>
                      <a:pt x="99" y="18"/>
                      <a:pt x="100" y="16"/>
                      <a:pt x="102" y="15"/>
                    </a:cubicBezTo>
                    <a:cubicBezTo>
                      <a:pt x="98" y="13"/>
                      <a:pt x="94" y="11"/>
                      <a:pt x="91" y="8"/>
                    </a:cubicBezTo>
                    <a:cubicBezTo>
                      <a:pt x="85" y="4"/>
                      <a:pt x="77" y="4"/>
                      <a:pt x="63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1" name="Freeform 225">
                <a:extLst>
                  <a:ext uri="{FF2B5EF4-FFF2-40B4-BE49-F238E27FC236}">
                    <a16:creationId xmlns:a16="http://schemas.microsoft.com/office/drawing/2014/main" id="{CD7DAC51-1678-D743-B44D-5BBDFAC1CF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5" y="2149"/>
                <a:ext cx="16" cy="28"/>
              </a:xfrm>
              <a:custGeom>
                <a:avLst/>
                <a:gdLst>
                  <a:gd name="T0" fmla="*/ 10 w 63"/>
                  <a:gd name="T1" fmla="*/ 88 h 108"/>
                  <a:gd name="T2" fmla="*/ 21 w 63"/>
                  <a:gd name="T3" fmla="*/ 104 h 108"/>
                  <a:gd name="T4" fmla="*/ 36 w 63"/>
                  <a:gd name="T5" fmla="*/ 105 h 108"/>
                  <a:gd name="T6" fmla="*/ 51 w 63"/>
                  <a:gd name="T7" fmla="*/ 99 h 108"/>
                  <a:gd name="T8" fmla="*/ 59 w 63"/>
                  <a:gd name="T9" fmla="*/ 59 h 108"/>
                  <a:gd name="T10" fmla="*/ 55 w 63"/>
                  <a:gd name="T11" fmla="*/ 19 h 108"/>
                  <a:gd name="T12" fmla="*/ 39 w 63"/>
                  <a:gd name="T13" fmla="*/ 0 h 108"/>
                  <a:gd name="T14" fmla="*/ 23 w 63"/>
                  <a:gd name="T15" fmla="*/ 21 h 108"/>
                  <a:gd name="T16" fmla="*/ 10 w 63"/>
                  <a:gd name="T17" fmla="*/ 53 h 108"/>
                  <a:gd name="T18" fmla="*/ 0 w 63"/>
                  <a:gd name="T19" fmla="*/ 72 h 108"/>
                  <a:gd name="T20" fmla="*/ 2 w 63"/>
                  <a:gd name="T21" fmla="*/ 79 h 108"/>
                  <a:gd name="T22" fmla="*/ 10 w 63"/>
                  <a:gd name="T23" fmla="*/ 8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3" h="108">
                    <a:moveTo>
                      <a:pt x="10" y="88"/>
                    </a:moveTo>
                    <a:cubicBezTo>
                      <a:pt x="11" y="92"/>
                      <a:pt x="16" y="102"/>
                      <a:pt x="21" y="104"/>
                    </a:cubicBezTo>
                    <a:cubicBezTo>
                      <a:pt x="25" y="105"/>
                      <a:pt x="28" y="108"/>
                      <a:pt x="36" y="105"/>
                    </a:cubicBezTo>
                    <a:cubicBezTo>
                      <a:pt x="42" y="102"/>
                      <a:pt x="45" y="99"/>
                      <a:pt x="51" y="99"/>
                    </a:cubicBezTo>
                    <a:cubicBezTo>
                      <a:pt x="53" y="88"/>
                      <a:pt x="55" y="71"/>
                      <a:pt x="59" y="59"/>
                    </a:cubicBezTo>
                    <a:cubicBezTo>
                      <a:pt x="63" y="46"/>
                      <a:pt x="56" y="37"/>
                      <a:pt x="55" y="19"/>
                    </a:cubicBezTo>
                    <a:cubicBezTo>
                      <a:pt x="53" y="0"/>
                      <a:pt x="50" y="0"/>
                      <a:pt x="39" y="0"/>
                    </a:cubicBezTo>
                    <a:cubicBezTo>
                      <a:pt x="27" y="0"/>
                      <a:pt x="22" y="4"/>
                      <a:pt x="23" y="21"/>
                    </a:cubicBezTo>
                    <a:cubicBezTo>
                      <a:pt x="24" y="39"/>
                      <a:pt x="10" y="33"/>
                      <a:pt x="10" y="53"/>
                    </a:cubicBezTo>
                    <a:cubicBezTo>
                      <a:pt x="10" y="66"/>
                      <a:pt x="5" y="73"/>
                      <a:pt x="0" y="72"/>
                    </a:cubicBezTo>
                    <a:cubicBezTo>
                      <a:pt x="0" y="75"/>
                      <a:pt x="0" y="78"/>
                      <a:pt x="2" y="79"/>
                    </a:cubicBezTo>
                    <a:cubicBezTo>
                      <a:pt x="5" y="82"/>
                      <a:pt x="9" y="84"/>
                      <a:pt x="10" y="8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2" name="Freeform 226">
                <a:extLst>
                  <a:ext uri="{FF2B5EF4-FFF2-40B4-BE49-F238E27FC236}">
                    <a16:creationId xmlns:a16="http://schemas.microsoft.com/office/drawing/2014/main" id="{18A5A5D5-C263-D848-BF36-5DB45DEEE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3" y="1995"/>
                <a:ext cx="27" cy="32"/>
              </a:xfrm>
              <a:custGeom>
                <a:avLst/>
                <a:gdLst>
                  <a:gd name="T0" fmla="*/ 34 w 107"/>
                  <a:gd name="T1" fmla="*/ 125 h 125"/>
                  <a:gd name="T2" fmla="*/ 34 w 107"/>
                  <a:gd name="T3" fmla="*/ 125 h 125"/>
                  <a:gd name="T4" fmla="*/ 35 w 107"/>
                  <a:gd name="T5" fmla="*/ 125 h 125"/>
                  <a:gd name="T6" fmla="*/ 35 w 107"/>
                  <a:gd name="T7" fmla="*/ 124 h 125"/>
                  <a:gd name="T8" fmla="*/ 36 w 107"/>
                  <a:gd name="T9" fmla="*/ 124 h 125"/>
                  <a:gd name="T10" fmla="*/ 36 w 107"/>
                  <a:gd name="T11" fmla="*/ 124 h 125"/>
                  <a:gd name="T12" fmla="*/ 37 w 107"/>
                  <a:gd name="T13" fmla="*/ 123 h 125"/>
                  <a:gd name="T14" fmla="*/ 38 w 107"/>
                  <a:gd name="T15" fmla="*/ 121 h 125"/>
                  <a:gd name="T16" fmla="*/ 38 w 107"/>
                  <a:gd name="T17" fmla="*/ 121 h 125"/>
                  <a:gd name="T18" fmla="*/ 39 w 107"/>
                  <a:gd name="T19" fmla="*/ 116 h 125"/>
                  <a:gd name="T20" fmla="*/ 39 w 107"/>
                  <a:gd name="T21" fmla="*/ 114 h 125"/>
                  <a:gd name="T22" fmla="*/ 39 w 107"/>
                  <a:gd name="T23" fmla="*/ 114 h 125"/>
                  <a:gd name="T24" fmla="*/ 40 w 107"/>
                  <a:gd name="T25" fmla="*/ 113 h 125"/>
                  <a:gd name="T26" fmla="*/ 40 w 107"/>
                  <a:gd name="T27" fmla="*/ 112 h 125"/>
                  <a:gd name="T28" fmla="*/ 41 w 107"/>
                  <a:gd name="T29" fmla="*/ 111 h 125"/>
                  <a:gd name="T30" fmla="*/ 41 w 107"/>
                  <a:gd name="T31" fmla="*/ 111 h 125"/>
                  <a:gd name="T32" fmla="*/ 42 w 107"/>
                  <a:gd name="T33" fmla="*/ 110 h 125"/>
                  <a:gd name="T34" fmla="*/ 43 w 107"/>
                  <a:gd name="T35" fmla="*/ 110 h 125"/>
                  <a:gd name="T36" fmla="*/ 45 w 107"/>
                  <a:gd name="T37" fmla="*/ 109 h 125"/>
                  <a:gd name="T38" fmla="*/ 60 w 107"/>
                  <a:gd name="T39" fmla="*/ 98 h 125"/>
                  <a:gd name="T40" fmla="*/ 63 w 107"/>
                  <a:gd name="T41" fmla="*/ 77 h 125"/>
                  <a:gd name="T42" fmla="*/ 81 w 107"/>
                  <a:gd name="T43" fmla="*/ 70 h 125"/>
                  <a:gd name="T44" fmla="*/ 96 w 107"/>
                  <a:gd name="T45" fmla="*/ 49 h 125"/>
                  <a:gd name="T46" fmla="*/ 95 w 107"/>
                  <a:gd name="T47" fmla="*/ 23 h 125"/>
                  <a:gd name="T48" fmla="*/ 77 w 107"/>
                  <a:gd name="T49" fmla="*/ 9 h 125"/>
                  <a:gd name="T50" fmla="*/ 56 w 107"/>
                  <a:gd name="T51" fmla="*/ 0 h 125"/>
                  <a:gd name="T52" fmla="*/ 49 w 107"/>
                  <a:gd name="T53" fmla="*/ 17 h 125"/>
                  <a:gd name="T54" fmla="*/ 26 w 107"/>
                  <a:gd name="T55" fmla="*/ 66 h 125"/>
                  <a:gd name="T56" fmla="*/ 11 w 107"/>
                  <a:gd name="T57" fmla="*/ 107 h 125"/>
                  <a:gd name="T58" fmla="*/ 0 w 107"/>
                  <a:gd name="T59" fmla="*/ 119 h 125"/>
                  <a:gd name="T60" fmla="*/ 33 w 107"/>
                  <a:gd name="T61" fmla="*/ 125 h 125"/>
                  <a:gd name="T62" fmla="*/ 34 w 107"/>
                  <a:gd name="T63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7" h="125">
                    <a:moveTo>
                      <a:pt x="34" y="125"/>
                    </a:moveTo>
                    <a:cubicBezTo>
                      <a:pt x="34" y="125"/>
                      <a:pt x="34" y="125"/>
                      <a:pt x="34" y="125"/>
                    </a:cubicBezTo>
                    <a:cubicBezTo>
                      <a:pt x="35" y="125"/>
                      <a:pt x="35" y="125"/>
                      <a:pt x="35" y="125"/>
                    </a:cubicBezTo>
                    <a:cubicBezTo>
                      <a:pt x="35" y="125"/>
                      <a:pt x="35" y="124"/>
                      <a:pt x="35" y="124"/>
                    </a:cubicBezTo>
                    <a:cubicBezTo>
                      <a:pt x="36" y="124"/>
                      <a:pt x="36" y="124"/>
                      <a:pt x="36" y="124"/>
                    </a:cubicBezTo>
                    <a:cubicBezTo>
                      <a:pt x="36" y="124"/>
                      <a:pt x="36" y="124"/>
                      <a:pt x="36" y="124"/>
                    </a:cubicBezTo>
                    <a:cubicBezTo>
                      <a:pt x="36" y="123"/>
                      <a:pt x="37" y="123"/>
                      <a:pt x="37" y="123"/>
                    </a:cubicBezTo>
                    <a:cubicBezTo>
                      <a:pt x="37" y="122"/>
                      <a:pt x="37" y="122"/>
                      <a:pt x="38" y="121"/>
                    </a:cubicBezTo>
                    <a:cubicBezTo>
                      <a:pt x="38" y="121"/>
                      <a:pt x="38" y="121"/>
                      <a:pt x="38" y="121"/>
                    </a:cubicBezTo>
                    <a:cubicBezTo>
                      <a:pt x="38" y="119"/>
                      <a:pt x="38" y="118"/>
                      <a:pt x="39" y="116"/>
                    </a:cubicBezTo>
                    <a:cubicBezTo>
                      <a:pt x="39" y="116"/>
                      <a:pt x="39" y="115"/>
                      <a:pt x="39" y="114"/>
                    </a:cubicBezTo>
                    <a:cubicBezTo>
                      <a:pt x="39" y="114"/>
                      <a:pt x="39" y="114"/>
                      <a:pt x="39" y="114"/>
                    </a:cubicBezTo>
                    <a:cubicBezTo>
                      <a:pt x="40" y="114"/>
                      <a:pt x="40" y="113"/>
                      <a:pt x="40" y="113"/>
                    </a:cubicBezTo>
                    <a:cubicBezTo>
                      <a:pt x="40" y="112"/>
                      <a:pt x="40" y="112"/>
                      <a:pt x="40" y="112"/>
                    </a:cubicBezTo>
                    <a:cubicBezTo>
                      <a:pt x="40" y="112"/>
                      <a:pt x="41" y="111"/>
                      <a:pt x="41" y="111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2" y="110"/>
                      <a:pt x="42" y="110"/>
                      <a:pt x="42" y="110"/>
                    </a:cubicBezTo>
                    <a:cubicBezTo>
                      <a:pt x="43" y="110"/>
                      <a:pt x="43" y="110"/>
                      <a:pt x="43" y="110"/>
                    </a:cubicBezTo>
                    <a:cubicBezTo>
                      <a:pt x="43" y="109"/>
                      <a:pt x="44" y="109"/>
                      <a:pt x="45" y="109"/>
                    </a:cubicBezTo>
                    <a:cubicBezTo>
                      <a:pt x="53" y="109"/>
                      <a:pt x="57" y="104"/>
                      <a:pt x="60" y="98"/>
                    </a:cubicBezTo>
                    <a:cubicBezTo>
                      <a:pt x="62" y="93"/>
                      <a:pt x="62" y="81"/>
                      <a:pt x="63" y="77"/>
                    </a:cubicBezTo>
                    <a:cubicBezTo>
                      <a:pt x="65" y="73"/>
                      <a:pt x="72" y="72"/>
                      <a:pt x="81" y="70"/>
                    </a:cubicBezTo>
                    <a:cubicBezTo>
                      <a:pt x="91" y="69"/>
                      <a:pt x="85" y="59"/>
                      <a:pt x="96" y="49"/>
                    </a:cubicBezTo>
                    <a:cubicBezTo>
                      <a:pt x="107" y="38"/>
                      <a:pt x="99" y="27"/>
                      <a:pt x="95" y="23"/>
                    </a:cubicBezTo>
                    <a:cubicBezTo>
                      <a:pt x="92" y="18"/>
                      <a:pt x="83" y="16"/>
                      <a:pt x="77" y="9"/>
                    </a:cubicBezTo>
                    <a:cubicBezTo>
                      <a:pt x="72" y="4"/>
                      <a:pt x="62" y="1"/>
                      <a:pt x="56" y="0"/>
                    </a:cubicBezTo>
                    <a:cubicBezTo>
                      <a:pt x="54" y="4"/>
                      <a:pt x="51" y="9"/>
                      <a:pt x="49" y="17"/>
                    </a:cubicBezTo>
                    <a:cubicBezTo>
                      <a:pt x="43" y="37"/>
                      <a:pt x="33" y="44"/>
                      <a:pt x="26" y="66"/>
                    </a:cubicBezTo>
                    <a:cubicBezTo>
                      <a:pt x="19" y="87"/>
                      <a:pt x="29" y="96"/>
                      <a:pt x="11" y="107"/>
                    </a:cubicBezTo>
                    <a:cubicBezTo>
                      <a:pt x="5" y="111"/>
                      <a:pt x="2" y="114"/>
                      <a:pt x="0" y="119"/>
                    </a:cubicBezTo>
                    <a:cubicBezTo>
                      <a:pt x="13" y="124"/>
                      <a:pt x="27" y="125"/>
                      <a:pt x="33" y="125"/>
                    </a:cubicBezTo>
                    <a:cubicBezTo>
                      <a:pt x="33" y="125"/>
                      <a:pt x="34" y="125"/>
                      <a:pt x="34" y="12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3" name="Freeform 227">
                <a:extLst>
                  <a:ext uri="{FF2B5EF4-FFF2-40B4-BE49-F238E27FC236}">
                    <a16:creationId xmlns:a16="http://schemas.microsoft.com/office/drawing/2014/main" id="{E73A54D4-DE38-004B-91A8-34927EDEA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1" y="2025"/>
                <a:ext cx="22" cy="62"/>
              </a:xfrm>
              <a:custGeom>
                <a:avLst/>
                <a:gdLst>
                  <a:gd name="T0" fmla="*/ 15 w 90"/>
                  <a:gd name="T1" fmla="*/ 118 h 245"/>
                  <a:gd name="T2" fmla="*/ 11 w 90"/>
                  <a:gd name="T3" fmla="*/ 156 h 245"/>
                  <a:gd name="T4" fmla="*/ 24 w 90"/>
                  <a:gd name="T5" fmla="*/ 200 h 245"/>
                  <a:gd name="T6" fmla="*/ 26 w 90"/>
                  <a:gd name="T7" fmla="*/ 203 h 245"/>
                  <a:gd name="T8" fmla="*/ 27 w 90"/>
                  <a:gd name="T9" fmla="*/ 203 h 245"/>
                  <a:gd name="T10" fmla="*/ 28 w 90"/>
                  <a:gd name="T11" fmla="*/ 205 h 245"/>
                  <a:gd name="T12" fmla="*/ 28 w 90"/>
                  <a:gd name="T13" fmla="*/ 206 h 245"/>
                  <a:gd name="T14" fmla="*/ 30 w 90"/>
                  <a:gd name="T15" fmla="*/ 208 h 245"/>
                  <a:gd name="T16" fmla="*/ 30 w 90"/>
                  <a:gd name="T17" fmla="*/ 209 h 245"/>
                  <a:gd name="T18" fmla="*/ 31 w 90"/>
                  <a:gd name="T19" fmla="*/ 211 h 245"/>
                  <a:gd name="T20" fmla="*/ 32 w 90"/>
                  <a:gd name="T21" fmla="*/ 212 h 245"/>
                  <a:gd name="T22" fmla="*/ 33 w 90"/>
                  <a:gd name="T23" fmla="*/ 214 h 245"/>
                  <a:gd name="T24" fmla="*/ 33 w 90"/>
                  <a:gd name="T25" fmla="*/ 215 h 245"/>
                  <a:gd name="T26" fmla="*/ 34 w 90"/>
                  <a:gd name="T27" fmla="*/ 217 h 245"/>
                  <a:gd name="T28" fmla="*/ 35 w 90"/>
                  <a:gd name="T29" fmla="*/ 218 h 245"/>
                  <a:gd name="T30" fmla="*/ 35 w 90"/>
                  <a:gd name="T31" fmla="*/ 220 h 245"/>
                  <a:gd name="T32" fmla="*/ 36 w 90"/>
                  <a:gd name="T33" fmla="*/ 222 h 245"/>
                  <a:gd name="T34" fmla="*/ 37 w 90"/>
                  <a:gd name="T35" fmla="*/ 223 h 245"/>
                  <a:gd name="T36" fmla="*/ 37 w 90"/>
                  <a:gd name="T37" fmla="*/ 225 h 245"/>
                  <a:gd name="T38" fmla="*/ 38 w 90"/>
                  <a:gd name="T39" fmla="*/ 226 h 245"/>
                  <a:gd name="T40" fmla="*/ 38 w 90"/>
                  <a:gd name="T41" fmla="*/ 228 h 245"/>
                  <a:gd name="T42" fmla="*/ 39 w 90"/>
                  <a:gd name="T43" fmla="*/ 229 h 245"/>
                  <a:gd name="T44" fmla="*/ 39 w 90"/>
                  <a:gd name="T45" fmla="*/ 232 h 245"/>
                  <a:gd name="T46" fmla="*/ 39 w 90"/>
                  <a:gd name="T47" fmla="*/ 232 h 245"/>
                  <a:gd name="T48" fmla="*/ 40 w 90"/>
                  <a:gd name="T49" fmla="*/ 235 h 245"/>
                  <a:gd name="T50" fmla="*/ 40 w 90"/>
                  <a:gd name="T51" fmla="*/ 235 h 245"/>
                  <a:gd name="T52" fmla="*/ 40 w 90"/>
                  <a:gd name="T53" fmla="*/ 238 h 245"/>
                  <a:gd name="T54" fmla="*/ 41 w 90"/>
                  <a:gd name="T55" fmla="*/ 238 h 245"/>
                  <a:gd name="T56" fmla="*/ 41 w 90"/>
                  <a:gd name="T57" fmla="*/ 240 h 245"/>
                  <a:gd name="T58" fmla="*/ 41 w 90"/>
                  <a:gd name="T59" fmla="*/ 241 h 245"/>
                  <a:gd name="T60" fmla="*/ 41 w 90"/>
                  <a:gd name="T61" fmla="*/ 243 h 245"/>
                  <a:gd name="T62" fmla="*/ 41 w 90"/>
                  <a:gd name="T63" fmla="*/ 243 h 245"/>
                  <a:gd name="T64" fmla="*/ 41 w 90"/>
                  <a:gd name="T65" fmla="*/ 245 h 245"/>
                  <a:gd name="T66" fmla="*/ 41 w 90"/>
                  <a:gd name="T67" fmla="*/ 245 h 245"/>
                  <a:gd name="T68" fmla="*/ 57 w 90"/>
                  <a:gd name="T69" fmla="*/ 213 h 245"/>
                  <a:gd name="T70" fmla="*/ 64 w 90"/>
                  <a:gd name="T71" fmla="*/ 177 h 245"/>
                  <a:gd name="T72" fmla="*/ 69 w 90"/>
                  <a:gd name="T73" fmla="*/ 157 h 245"/>
                  <a:gd name="T74" fmla="*/ 77 w 90"/>
                  <a:gd name="T75" fmla="*/ 131 h 245"/>
                  <a:gd name="T76" fmla="*/ 84 w 90"/>
                  <a:gd name="T77" fmla="*/ 100 h 245"/>
                  <a:gd name="T78" fmla="*/ 83 w 90"/>
                  <a:gd name="T79" fmla="*/ 70 h 245"/>
                  <a:gd name="T80" fmla="*/ 84 w 90"/>
                  <a:gd name="T81" fmla="*/ 53 h 245"/>
                  <a:gd name="T82" fmla="*/ 89 w 90"/>
                  <a:gd name="T83" fmla="*/ 16 h 245"/>
                  <a:gd name="T84" fmla="*/ 89 w 90"/>
                  <a:gd name="T85" fmla="*/ 13 h 245"/>
                  <a:gd name="T86" fmla="*/ 88 w 90"/>
                  <a:gd name="T87" fmla="*/ 11 h 245"/>
                  <a:gd name="T88" fmla="*/ 88 w 90"/>
                  <a:gd name="T89" fmla="*/ 10 h 245"/>
                  <a:gd name="T90" fmla="*/ 87 w 90"/>
                  <a:gd name="T91" fmla="*/ 8 h 245"/>
                  <a:gd name="T92" fmla="*/ 87 w 90"/>
                  <a:gd name="T93" fmla="*/ 7 h 245"/>
                  <a:gd name="T94" fmla="*/ 86 w 90"/>
                  <a:gd name="T95" fmla="*/ 4 h 245"/>
                  <a:gd name="T96" fmla="*/ 86 w 90"/>
                  <a:gd name="T97" fmla="*/ 4 h 245"/>
                  <a:gd name="T98" fmla="*/ 85 w 90"/>
                  <a:gd name="T99" fmla="*/ 5 h 245"/>
                  <a:gd name="T100" fmla="*/ 85 w 90"/>
                  <a:gd name="T101" fmla="*/ 5 h 245"/>
                  <a:gd name="T102" fmla="*/ 84 w 90"/>
                  <a:gd name="T103" fmla="*/ 5 h 245"/>
                  <a:gd name="T104" fmla="*/ 84 w 90"/>
                  <a:gd name="T105" fmla="*/ 6 h 245"/>
                  <a:gd name="T106" fmla="*/ 83 w 90"/>
                  <a:gd name="T107" fmla="*/ 6 h 245"/>
                  <a:gd name="T108" fmla="*/ 83 w 90"/>
                  <a:gd name="T109" fmla="*/ 6 h 245"/>
                  <a:gd name="T110" fmla="*/ 82 w 90"/>
                  <a:gd name="T111" fmla="*/ 6 h 245"/>
                  <a:gd name="T112" fmla="*/ 49 w 90"/>
                  <a:gd name="T113" fmla="*/ 0 h 245"/>
                  <a:gd name="T114" fmla="*/ 45 w 90"/>
                  <a:gd name="T115" fmla="*/ 44 h 245"/>
                  <a:gd name="T116" fmla="*/ 22 w 90"/>
                  <a:gd name="T117" fmla="*/ 86 h 245"/>
                  <a:gd name="T118" fmla="*/ 19 w 90"/>
                  <a:gd name="T119" fmla="*/ 94 h 245"/>
                  <a:gd name="T120" fmla="*/ 15 w 90"/>
                  <a:gd name="T121" fmla="*/ 118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0" h="245">
                    <a:moveTo>
                      <a:pt x="15" y="118"/>
                    </a:moveTo>
                    <a:cubicBezTo>
                      <a:pt x="5" y="130"/>
                      <a:pt x="0" y="140"/>
                      <a:pt x="11" y="156"/>
                    </a:cubicBezTo>
                    <a:cubicBezTo>
                      <a:pt x="21" y="172"/>
                      <a:pt x="13" y="190"/>
                      <a:pt x="24" y="200"/>
                    </a:cubicBezTo>
                    <a:cubicBezTo>
                      <a:pt x="25" y="201"/>
                      <a:pt x="25" y="202"/>
                      <a:pt x="26" y="203"/>
                    </a:cubicBezTo>
                    <a:cubicBezTo>
                      <a:pt x="26" y="203"/>
                      <a:pt x="26" y="203"/>
                      <a:pt x="27" y="203"/>
                    </a:cubicBezTo>
                    <a:cubicBezTo>
                      <a:pt x="27" y="204"/>
                      <a:pt x="27" y="204"/>
                      <a:pt x="28" y="205"/>
                    </a:cubicBezTo>
                    <a:cubicBezTo>
                      <a:pt x="28" y="205"/>
                      <a:pt x="28" y="206"/>
                      <a:pt x="28" y="206"/>
                    </a:cubicBezTo>
                    <a:cubicBezTo>
                      <a:pt x="29" y="206"/>
                      <a:pt x="29" y="207"/>
                      <a:pt x="30" y="208"/>
                    </a:cubicBezTo>
                    <a:cubicBezTo>
                      <a:pt x="30" y="208"/>
                      <a:pt x="30" y="208"/>
                      <a:pt x="30" y="209"/>
                    </a:cubicBezTo>
                    <a:cubicBezTo>
                      <a:pt x="31" y="209"/>
                      <a:pt x="31" y="210"/>
                      <a:pt x="31" y="211"/>
                    </a:cubicBezTo>
                    <a:cubicBezTo>
                      <a:pt x="31" y="211"/>
                      <a:pt x="32" y="211"/>
                      <a:pt x="32" y="212"/>
                    </a:cubicBezTo>
                    <a:cubicBezTo>
                      <a:pt x="32" y="212"/>
                      <a:pt x="32" y="213"/>
                      <a:pt x="33" y="214"/>
                    </a:cubicBezTo>
                    <a:cubicBezTo>
                      <a:pt x="33" y="214"/>
                      <a:pt x="33" y="214"/>
                      <a:pt x="33" y="215"/>
                    </a:cubicBezTo>
                    <a:cubicBezTo>
                      <a:pt x="34" y="216"/>
                      <a:pt x="34" y="216"/>
                      <a:pt x="34" y="217"/>
                    </a:cubicBezTo>
                    <a:cubicBezTo>
                      <a:pt x="34" y="217"/>
                      <a:pt x="35" y="218"/>
                      <a:pt x="35" y="218"/>
                    </a:cubicBezTo>
                    <a:cubicBezTo>
                      <a:pt x="35" y="219"/>
                      <a:pt x="35" y="219"/>
                      <a:pt x="35" y="220"/>
                    </a:cubicBezTo>
                    <a:cubicBezTo>
                      <a:pt x="36" y="220"/>
                      <a:pt x="36" y="221"/>
                      <a:pt x="36" y="222"/>
                    </a:cubicBezTo>
                    <a:cubicBezTo>
                      <a:pt x="36" y="222"/>
                      <a:pt x="36" y="223"/>
                      <a:pt x="37" y="223"/>
                    </a:cubicBezTo>
                    <a:cubicBezTo>
                      <a:pt x="37" y="224"/>
                      <a:pt x="37" y="224"/>
                      <a:pt x="37" y="225"/>
                    </a:cubicBezTo>
                    <a:cubicBezTo>
                      <a:pt x="37" y="225"/>
                      <a:pt x="37" y="226"/>
                      <a:pt x="38" y="226"/>
                    </a:cubicBezTo>
                    <a:cubicBezTo>
                      <a:pt x="38" y="227"/>
                      <a:pt x="38" y="228"/>
                      <a:pt x="38" y="228"/>
                    </a:cubicBezTo>
                    <a:cubicBezTo>
                      <a:pt x="38" y="229"/>
                      <a:pt x="38" y="229"/>
                      <a:pt x="39" y="229"/>
                    </a:cubicBezTo>
                    <a:cubicBezTo>
                      <a:pt x="39" y="230"/>
                      <a:pt x="39" y="231"/>
                      <a:pt x="39" y="232"/>
                    </a:cubicBezTo>
                    <a:cubicBezTo>
                      <a:pt x="39" y="232"/>
                      <a:pt x="39" y="232"/>
                      <a:pt x="39" y="232"/>
                    </a:cubicBezTo>
                    <a:cubicBezTo>
                      <a:pt x="40" y="233"/>
                      <a:pt x="40" y="234"/>
                      <a:pt x="40" y="235"/>
                    </a:cubicBezTo>
                    <a:cubicBezTo>
                      <a:pt x="40" y="235"/>
                      <a:pt x="40" y="235"/>
                      <a:pt x="40" y="235"/>
                    </a:cubicBezTo>
                    <a:cubicBezTo>
                      <a:pt x="40" y="236"/>
                      <a:pt x="40" y="237"/>
                      <a:pt x="40" y="238"/>
                    </a:cubicBezTo>
                    <a:cubicBezTo>
                      <a:pt x="40" y="238"/>
                      <a:pt x="41" y="238"/>
                      <a:pt x="41" y="238"/>
                    </a:cubicBezTo>
                    <a:cubicBezTo>
                      <a:pt x="41" y="239"/>
                      <a:pt x="41" y="240"/>
                      <a:pt x="41" y="240"/>
                    </a:cubicBezTo>
                    <a:cubicBezTo>
                      <a:pt x="41" y="240"/>
                      <a:pt x="41" y="240"/>
                      <a:pt x="41" y="241"/>
                    </a:cubicBezTo>
                    <a:cubicBezTo>
                      <a:pt x="41" y="241"/>
                      <a:pt x="41" y="242"/>
                      <a:pt x="41" y="243"/>
                    </a:cubicBezTo>
                    <a:cubicBezTo>
                      <a:pt x="41" y="243"/>
                      <a:pt x="41" y="243"/>
                      <a:pt x="41" y="243"/>
                    </a:cubicBezTo>
                    <a:cubicBezTo>
                      <a:pt x="41" y="244"/>
                      <a:pt x="41" y="244"/>
                      <a:pt x="41" y="245"/>
                    </a:cubicBezTo>
                    <a:cubicBezTo>
                      <a:pt x="41" y="245"/>
                      <a:pt x="41" y="245"/>
                      <a:pt x="41" y="245"/>
                    </a:cubicBezTo>
                    <a:cubicBezTo>
                      <a:pt x="51" y="238"/>
                      <a:pt x="57" y="220"/>
                      <a:pt x="57" y="213"/>
                    </a:cubicBezTo>
                    <a:cubicBezTo>
                      <a:pt x="57" y="205"/>
                      <a:pt x="63" y="184"/>
                      <a:pt x="64" y="177"/>
                    </a:cubicBezTo>
                    <a:cubicBezTo>
                      <a:pt x="64" y="169"/>
                      <a:pt x="66" y="164"/>
                      <a:pt x="69" y="157"/>
                    </a:cubicBezTo>
                    <a:cubicBezTo>
                      <a:pt x="73" y="150"/>
                      <a:pt x="74" y="143"/>
                      <a:pt x="77" y="131"/>
                    </a:cubicBezTo>
                    <a:cubicBezTo>
                      <a:pt x="80" y="119"/>
                      <a:pt x="84" y="105"/>
                      <a:pt x="84" y="100"/>
                    </a:cubicBezTo>
                    <a:cubicBezTo>
                      <a:pt x="84" y="94"/>
                      <a:pt x="84" y="74"/>
                      <a:pt x="83" y="70"/>
                    </a:cubicBezTo>
                    <a:cubicBezTo>
                      <a:pt x="82" y="66"/>
                      <a:pt x="82" y="59"/>
                      <a:pt x="84" y="53"/>
                    </a:cubicBezTo>
                    <a:cubicBezTo>
                      <a:pt x="85" y="47"/>
                      <a:pt x="90" y="25"/>
                      <a:pt x="89" y="16"/>
                    </a:cubicBezTo>
                    <a:cubicBezTo>
                      <a:pt x="89" y="15"/>
                      <a:pt x="89" y="14"/>
                      <a:pt x="89" y="13"/>
                    </a:cubicBezTo>
                    <a:cubicBezTo>
                      <a:pt x="89" y="13"/>
                      <a:pt x="88" y="12"/>
                      <a:pt x="88" y="11"/>
                    </a:cubicBezTo>
                    <a:cubicBezTo>
                      <a:pt x="88" y="11"/>
                      <a:pt x="88" y="10"/>
                      <a:pt x="88" y="10"/>
                    </a:cubicBezTo>
                    <a:cubicBezTo>
                      <a:pt x="88" y="9"/>
                      <a:pt x="87" y="8"/>
                      <a:pt x="87" y="8"/>
                    </a:cubicBezTo>
                    <a:cubicBezTo>
                      <a:pt x="87" y="7"/>
                      <a:pt x="87" y="7"/>
                      <a:pt x="87" y="7"/>
                    </a:cubicBezTo>
                    <a:cubicBezTo>
                      <a:pt x="87" y="6"/>
                      <a:pt x="86" y="5"/>
                      <a:pt x="86" y="4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6" y="4"/>
                      <a:pt x="85" y="4"/>
                      <a:pt x="85" y="5"/>
                    </a:cubicBezTo>
                    <a:cubicBezTo>
                      <a:pt x="85" y="5"/>
                      <a:pt x="85" y="5"/>
                      <a:pt x="85" y="5"/>
                    </a:cubicBezTo>
                    <a:cubicBezTo>
                      <a:pt x="85" y="5"/>
                      <a:pt x="85" y="5"/>
                      <a:pt x="84" y="5"/>
                    </a:cubicBezTo>
                    <a:cubicBezTo>
                      <a:pt x="84" y="5"/>
                      <a:pt x="84" y="6"/>
                      <a:pt x="84" y="6"/>
                    </a:cubicBezTo>
                    <a:cubicBezTo>
                      <a:pt x="84" y="6"/>
                      <a:pt x="84" y="6"/>
                      <a:pt x="83" y="6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3" y="6"/>
                      <a:pt x="82" y="6"/>
                      <a:pt x="82" y="6"/>
                    </a:cubicBezTo>
                    <a:cubicBezTo>
                      <a:pt x="76" y="6"/>
                      <a:pt x="62" y="5"/>
                      <a:pt x="49" y="0"/>
                    </a:cubicBezTo>
                    <a:cubicBezTo>
                      <a:pt x="43" y="11"/>
                      <a:pt x="45" y="26"/>
                      <a:pt x="45" y="44"/>
                    </a:cubicBezTo>
                    <a:cubicBezTo>
                      <a:pt x="45" y="70"/>
                      <a:pt x="32" y="60"/>
                      <a:pt x="22" y="86"/>
                    </a:cubicBezTo>
                    <a:cubicBezTo>
                      <a:pt x="21" y="89"/>
                      <a:pt x="20" y="92"/>
                      <a:pt x="19" y="94"/>
                    </a:cubicBezTo>
                    <a:cubicBezTo>
                      <a:pt x="20" y="101"/>
                      <a:pt x="20" y="111"/>
                      <a:pt x="15" y="11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4" name="Freeform 228">
                <a:extLst>
                  <a:ext uri="{FF2B5EF4-FFF2-40B4-BE49-F238E27FC236}">
                    <a16:creationId xmlns:a16="http://schemas.microsoft.com/office/drawing/2014/main" id="{8D3CFBA0-65CA-BB42-BC16-1DF27D1724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1" y="1947"/>
                <a:ext cx="223" cy="151"/>
              </a:xfrm>
              <a:custGeom>
                <a:avLst/>
                <a:gdLst>
                  <a:gd name="T0" fmla="*/ 838 w 881"/>
                  <a:gd name="T1" fmla="*/ 482 h 598"/>
                  <a:gd name="T2" fmla="*/ 828 w 881"/>
                  <a:gd name="T3" fmla="*/ 413 h 598"/>
                  <a:gd name="T4" fmla="*/ 741 w 881"/>
                  <a:gd name="T5" fmla="*/ 330 h 598"/>
                  <a:gd name="T6" fmla="*/ 682 w 881"/>
                  <a:gd name="T7" fmla="*/ 264 h 598"/>
                  <a:gd name="T8" fmla="*/ 706 w 881"/>
                  <a:gd name="T9" fmla="*/ 174 h 598"/>
                  <a:gd name="T10" fmla="*/ 722 w 881"/>
                  <a:gd name="T11" fmla="*/ 131 h 598"/>
                  <a:gd name="T12" fmla="*/ 664 w 881"/>
                  <a:gd name="T13" fmla="*/ 92 h 598"/>
                  <a:gd name="T14" fmla="*/ 631 w 881"/>
                  <a:gd name="T15" fmla="*/ 8 h 598"/>
                  <a:gd name="T16" fmla="*/ 589 w 881"/>
                  <a:gd name="T17" fmla="*/ 12 h 598"/>
                  <a:gd name="T18" fmla="*/ 515 w 881"/>
                  <a:gd name="T19" fmla="*/ 0 h 598"/>
                  <a:gd name="T20" fmla="*/ 483 w 881"/>
                  <a:gd name="T21" fmla="*/ 25 h 598"/>
                  <a:gd name="T22" fmla="*/ 478 w 881"/>
                  <a:gd name="T23" fmla="*/ 28 h 598"/>
                  <a:gd name="T24" fmla="*/ 473 w 881"/>
                  <a:gd name="T25" fmla="*/ 31 h 598"/>
                  <a:gd name="T26" fmla="*/ 469 w 881"/>
                  <a:gd name="T27" fmla="*/ 35 h 598"/>
                  <a:gd name="T28" fmla="*/ 464 w 881"/>
                  <a:gd name="T29" fmla="*/ 39 h 598"/>
                  <a:gd name="T30" fmla="*/ 459 w 881"/>
                  <a:gd name="T31" fmla="*/ 45 h 598"/>
                  <a:gd name="T32" fmla="*/ 414 w 881"/>
                  <a:gd name="T33" fmla="*/ 127 h 598"/>
                  <a:gd name="T34" fmla="*/ 352 w 881"/>
                  <a:gd name="T35" fmla="*/ 244 h 598"/>
                  <a:gd name="T36" fmla="*/ 96 w 881"/>
                  <a:gd name="T37" fmla="*/ 364 h 598"/>
                  <a:gd name="T38" fmla="*/ 45 w 881"/>
                  <a:gd name="T39" fmla="*/ 316 h 598"/>
                  <a:gd name="T40" fmla="*/ 46 w 881"/>
                  <a:gd name="T41" fmla="*/ 320 h 598"/>
                  <a:gd name="T42" fmla="*/ 48 w 881"/>
                  <a:gd name="T43" fmla="*/ 325 h 598"/>
                  <a:gd name="T44" fmla="*/ 42 w 881"/>
                  <a:gd name="T45" fmla="*/ 382 h 598"/>
                  <a:gd name="T46" fmla="*/ 28 w 881"/>
                  <a:gd name="T47" fmla="*/ 469 h 598"/>
                  <a:gd name="T48" fmla="*/ 0 w 881"/>
                  <a:gd name="T49" fmla="*/ 557 h 598"/>
                  <a:gd name="T50" fmla="*/ 1 w 881"/>
                  <a:gd name="T51" fmla="*/ 559 h 598"/>
                  <a:gd name="T52" fmla="*/ 3 w 881"/>
                  <a:gd name="T53" fmla="*/ 576 h 598"/>
                  <a:gd name="T54" fmla="*/ 82 w 881"/>
                  <a:gd name="T55" fmla="*/ 586 h 598"/>
                  <a:gd name="T56" fmla="*/ 188 w 881"/>
                  <a:gd name="T57" fmla="*/ 504 h 598"/>
                  <a:gd name="T58" fmla="*/ 163 w 881"/>
                  <a:gd name="T59" fmla="*/ 440 h 598"/>
                  <a:gd name="T60" fmla="*/ 294 w 881"/>
                  <a:gd name="T61" fmla="*/ 387 h 598"/>
                  <a:gd name="T62" fmla="*/ 503 w 881"/>
                  <a:gd name="T63" fmla="*/ 492 h 598"/>
                  <a:gd name="T64" fmla="*/ 653 w 881"/>
                  <a:gd name="T65" fmla="*/ 594 h 598"/>
                  <a:gd name="T66" fmla="*/ 660 w 881"/>
                  <a:gd name="T67" fmla="*/ 595 h 598"/>
                  <a:gd name="T68" fmla="*/ 671 w 881"/>
                  <a:gd name="T69" fmla="*/ 596 h 598"/>
                  <a:gd name="T70" fmla="*/ 679 w 881"/>
                  <a:gd name="T71" fmla="*/ 596 h 598"/>
                  <a:gd name="T72" fmla="*/ 691 w 881"/>
                  <a:gd name="T73" fmla="*/ 597 h 598"/>
                  <a:gd name="T74" fmla="*/ 699 w 881"/>
                  <a:gd name="T75" fmla="*/ 597 h 598"/>
                  <a:gd name="T76" fmla="*/ 711 w 881"/>
                  <a:gd name="T77" fmla="*/ 597 h 598"/>
                  <a:gd name="T78" fmla="*/ 718 w 881"/>
                  <a:gd name="T79" fmla="*/ 597 h 598"/>
                  <a:gd name="T80" fmla="*/ 735 w 881"/>
                  <a:gd name="T81" fmla="*/ 598 h 598"/>
                  <a:gd name="T82" fmla="*/ 740 w 881"/>
                  <a:gd name="T83" fmla="*/ 598 h 598"/>
                  <a:gd name="T84" fmla="*/ 758 w 881"/>
                  <a:gd name="T85" fmla="*/ 575 h 598"/>
                  <a:gd name="T86" fmla="*/ 836 w 881"/>
                  <a:gd name="T87" fmla="*/ 532 h 598"/>
                  <a:gd name="T88" fmla="*/ 870 w 881"/>
                  <a:gd name="T89" fmla="*/ 524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81" h="598">
                    <a:moveTo>
                      <a:pt x="870" y="524"/>
                    </a:moveTo>
                    <a:cubicBezTo>
                      <a:pt x="862" y="518"/>
                      <a:pt x="864" y="511"/>
                      <a:pt x="849" y="504"/>
                    </a:cubicBezTo>
                    <a:cubicBezTo>
                      <a:pt x="834" y="498"/>
                      <a:pt x="836" y="489"/>
                      <a:pt x="838" y="482"/>
                    </a:cubicBezTo>
                    <a:cubicBezTo>
                      <a:pt x="840" y="474"/>
                      <a:pt x="842" y="467"/>
                      <a:pt x="828" y="462"/>
                    </a:cubicBezTo>
                    <a:cubicBezTo>
                      <a:pt x="814" y="458"/>
                      <a:pt x="811" y="427"/>
                      <a:pt x="818" y="426"/>
                    </a:cubicBezTo>
                    <a:cubicBezTo>
                      <a:pt x="826" y="424"/>
                      <a:pt x="829" y="424"/>
                      <a:pt x="828" y="413"/>
                    </a:cubicBezTo>
                    <a:cubicBezTo>
                      <a:pt x="828" y="402"/>
                      <a:pt x="827" y="396"/>
                      <a:pt x="814" y="389"/>
                    </a:cubicBezTo>
                    <a:cubicBezTo>
                      <a:pt x="802" y="382"/>
                      <a:pt x="801" y="362"/>
                      <a:pt x="781" y="355"/>
                    </a:cubicBezTo>
                    <a:cubicBezTo>
                      <a:pt x="761" y="348"/>
                      <a:pt x="755" y="333"/>
                      <a:pt x="741" y="330"/>
                    </a:cubicBezTo>
                    <a:cubicBezTo>
                      <a:pt x="727" y="326"/>
                      <a:pt x="712" y="329"/>
                      <a:pt x="714" y="316"/>
                    </a:cubicBezTo>
                    <a:cubicBezTo>
                      <a:pt x="716" y="304"/>
                      <a:pt x="726" y="299"/>
                      <a:pt x="708" y="288"/>
                    </a:cubicBezTo>
                    <a:cubicBezTo>
                      <a:pt x="689" y="276"/>
                      <a:pt x="686" y="272"/>
                      <a:pt x="682" y="264"/>
                    </a:cubicBezTo>
                    <a:cubicBezTo>
                      <a:pt x="678" y="255"/>
                      <a:pt x="670" y="258"/>
                      <a:pt x="676" y="242"/>
                    </a:cubicBezTo>
                    <a:cubicBezTo>
                      <a:pt x="683" y="227"/>
                      <a:pt x="674" y="213"/>
                      <a:pt x="684" y="205"/>
                    </a:cubicBezTo>
                    <a:cubicBezTo>
                      <a:pt x="695" y="197"/>
                      <a:pt x="686" y="178"/>
                      <a:pt x="706" y="174"/>
                    </a:cubicBezTo>
                    <a:cubicBezTo>
                      <a:pt x="726" y="170"/>
                      <a:pt x="726" y="170"/>
                      <a:pt x="720" y="158"/>
                    </a:cubicBezTo>
                    <a:cubicBezTo>
                      <a:pt x="714" y="147"/>
                      <a:pt x="708" y="156"/>
                      <a:pt x="709" y="143"/>
                    </a:cubicBezTo>
                    <a:cubicBezTo>
                      <a:pt x="710" y="130"/>
                      <a:pt x="715" y="133"/>
                      <a:pt x="722" y="131"/>
                    </a:cubicBezTo>
                    <a:cubicBezTo>
                      <a:pt x="730" y="129"/>
                      <a:pt x="730" y="118"/>
                      <a:pt x="712" y="118"/>
                    </a:cubicBezTo>
                    <a:cubicBezTo>
                      <a:pt x="694" y="118"/>
                      <a:pt x="691" y="108"/>
                      <a:pt x="678" y="108"/>
                    </a:cubicBezTo>
                    <a:cubicBezTo>
                      <a:pt x="664" y="108"/>
                      <a:pt x="665" y="102"/>
                      <a:pt x="664" y="92"/>
                    </a:cubicBezTo>
                    <a:cubicBezTo>
                      <a:pt x="664" y="82"/>
                      <a:pt x="656" y="81"/>
                      <a:pt x="650" y="68"/>
                    </a:cubicBezTo>
                    <a:cubicBezTo>
                      <a:pt x="645" y="54"/>
                      <a:pt x="637" y="36"/>
                      <a:pt x="637" y="26"/>
                    </a:cubicBezTo>
                    <a:cubicBezTo>
                      <a:pt x="637" y="18"/>
                      <a:pt x="636" y="13"/>
                      <a:pt x="631" y="8"/>
                    </a:cubicBezTo>
                    <a:cubicBezTo>
                      <a:pt x="629" y="12"/>
                      <a:pt x="626" y="17"/>
                      <a:pt x="625" y="19"/>
                    </a:cubicBezTo>
                    <a:cubicBezTo>
                      <a:pt x="624" y="22"/>
                      <a:pt x="614" y="23"/>
                      <a:pt x="608" y="28"/>
                    </a:cubicBezTo>
                    <a:cubicBezTo>
                      <a:pt x="601" y="34"/>
                      <a:pt x="593" y="19"/>
                      <a:pt x="589" y="12"/>
                    </a:cubicBezTo>
                    <a:cubicBezTo>
                      <a:pt x="585" y="5"/>
                      <a:pt x="573" y="11"/>
                      <a:pt x="565" y="11"/>
                    </a:cubicBezTo>
                    <a:cubicBezTo>
                      <a:pt x="557" y="12"/>
                      <a:pt x="547" y="10"/>
                      <a:pt x="544" y="6"/>
                    </a:cubicBezTo>
                    <a:cubicBezTo>
                      <a:pt x="540" y="1"/>
                      <a:pt x="529" y="0"/>
                      <a:pt x="515" y="0"/>
                    </a:cubicBezTo>
                    <a:cubicBezTo>
                      <a:pt x="502" y="0"/>
                      <a:pt x="501" y="8"/>
                      <a:pt x="497" y="15"/>
                    </a:cubicBezTo>
                    <a:cubicBezTo>
                      <a:pt x="495" y="18"/>
                      <a:pt x="490" y="21"/>
                      <a:pt x="483" y="25"/>
                    </a:cubicBezTo>
                    <a:cubicBezTo>
                      <a:pt x="483" y="25"/>
                      <a:pt x="483" y="25"/>
                      <a:pt x="483" y="25"/>
                    </a:cubicBezTo>
                    <a:cubicBezTo>
                      <a:pt x="482" y="25"/>
                      <a:pt x="482" y="26"/>
                      <a:pt x="481" y="26"/>
                    </a:cubicBezTo>
                    <a:cubicBezTo>
                      <a:pt x="480" y="27"/>
                      <a:pt x="480" y="27"/>
                      <a:pt x="480" y="27"/>
                    </a:cubicBezTo>
                    <a:cubicBezTo>
                      <a:pt x="479" y="27"/>
                      <a:pt x="478" y="28"/>
                      <a:pt x="478" y="28"/>
                    </a:cubicBezTo>
                    <a:cubicBezTo>
                      <a:pt x="477" y="29"/>
                      <a:pt x="477" y="29"/>
                      <a:pt x="477" y="29"/>
                    </a:cubicBezTo>
                    <a:cubicBezTo>
                      <a:pt x="476" y="30"/>
                      <a:pt x="475" y="30"/>
                      <a:pt x="475" y="30"/>
                    </a:cubicBezTo>
                    <a:cubicBezTo>
                      <a:pt x="474" y="31"/>
                      <a:pt x="474" y="31"/>
                      <a:pt x="473" y="31"/>
                    </a:cubicBezTo>
                    <a:cubicBezTo>
                      <a:pt x="473" y="32"/>
                      <a:pt x="472" y="32"/>
                      <a:pt x="472" y="33"/>
                    </a:cubicBezTo>
                    <a:cubicBezTo>
                      <a:pt x="471" y="33"/>
                      <a:pt x="471" y="33"/>
                      <a:pt x="470" y="34"/>
                    </a:cubicBezTo>
                    <a:cubicBezTo>
                      <a:pt x="470" y="34"/>
                      <a:pt x="469" y="35"/>
                      <a:pt x="469" y="35"/>
                    </a:cubicBezTo>
                    <a:cubicBezTo>
                      <a:pt x="468" y="35"/>
                      <a:pt x="468" y="36"/>
                      <a:pt x="467" y="36"/>
                    </a:cubicBezTo>
                    <a:cubicBezTo>
                      <a:pt x="467" y="37"/>
                      <a:pt x="466" y="37"/>
                      <a:pt x="465" y="38"/>
                    </a:cubicBezTo>
                    <a:cubicBezTo>
                      <a:pt x="465" y="38"/>
                      <a:pt x="465" y="38"/>
                      <a:pt x="464" y="39"/>
                    </a:cubicBezTo>
                    <a:cubicBezTo>
                      <a:pt x="464" y="39"/>
                      <a:pt x="463" y="40"/>
                      <a:pt x="462" y="41"/>
                    </a:cubicBezTo>
                    <a:cubicBezTo>
                      <a:pt x="462" y="41"/>
                      <a:pt x="462" y="41"/>
                      <a:pt x="461" y="42"/>
                    </a:cubicBezTo>
                    <a:cubicBezTo>
                      <a:pt x="460" y="43"/>
                      <a:pt x="460" y="44"/>
                      <a:pt x="459" y="45"/>
                    </a:cubicBezTo>
                    <a:cubicBezTo>
                      <a:pt x="446" y="61"/>
                      <a:pt x="439" y="60"/>
                      <a:pt x="425" y="64"/>
                    </a:cubicBezTo>
                    <a:cubicBezTo>
                      <a:pt x="411" y="68"/>
                      <a:pt x="409" y="88"/>
                      <a:pt x="408" y="100"/>
                    </a:cubicBezTo>
                    <a:cubicBezTo>
                      <a:pt x="407" y="112"/>
                      <a:pt x="410" y="118"/>
                      <a:pt x="414" y="127"/>
                    </a:cubicBezTo>
                    <a:cubicBezTo>
                      <a:pt x="418" y="136"/>
                      <a:pt x="414" y="138"/>
                      <a:pt x="409" y="152"/>
                    </a:cubicBezTo>
                    <a:cubicBezTo>
                      <a:pt x="404" y="166"/>
                      <a:pt x="400" y="173"/>
                      <a:pt x="402" y="192"/>
                    </a:cubicBezTo>
                    <a:cubicBezTo>
                      <a:pt x="404" y="211"/>
                      <a:pt x="378" y="228"/>
                      <a:pt x="352" y="244"/>
                    </a:cubicBezTo>
                    <a:cubicBezTo>
                      <a:pt x="326" y="260"/>
                      <a:pt x="285" y="273"/>
                      <a:pt x="256" y="293"/>
                    </a:cubicBezTo>
                    <a:cubicBezTo>
                      <a:pt x="227" y="313"/>
                      <a:pt x="184" y="335"/>
                      <a:pt x="154" y="357"/>
                    </a:cubicBezTo>
                    <a:cubicBezTo>
                      <a:pt x="125" y="379"/>
                      <a:pt x="105" y="367"/>
                      <a:pt x="96" y="364"/>
                    </a:cubicBezTo>
                    <a:cubicBezTo>
                      <a:pt x="87" y="360"/>
                      <a:pt x="75" y="345"/>
                      <a:pt x="65" y="340"/>
                    </a:cubicBezTo>
                    <a:cubicBezTo>
                      <a:pt x="54" y="336"/>
                      <a:pt x="53" y="323"/>
                      <a:pt x="50" y="320"/>
                    </a:cubicBezTo>
                    <a:cubicBezTo>
                      <a:pt x="49" y="319"/>
                      <a:pt x="47" y="317"/>
                      <a:pt x="45" y="316"/>
                    </a:cubicBezTo>
                    <a:cubicBezTo>
                      <a:pt x="45" y="316"/>
                      <a:pt x="45" y="316"/>
                      <a:pt x="45" y="316"/>
                    </a:cubicBezTo>
                    <a:cubicBezTo>
                      <a:pt x="45" y="317"/>
                      <a:pt x="46" y="318"/>
                      <a:pt x="46" y="319"/>
                    </a:cubicBezTo>
                    <a:cubicBezTo>
                      <a:pt x="46" y="319"/>
                      <a:pt x="46" y="319"/>
                      <a:pt x="46" y="320"/>
                    </a:cubicBezTo>
                    <a:cubicBezTo>
                      <a:pt x="46" y="320"/>
                      <a:pt x="47" y="321"/>
                      <a:pt x="47" y="322"/>
                    </a:cubicBezTo>
                    <a:cubicBezTo>
                      <a:pt x="47" y="322"/>
                      <a:pt x="47" y="323"/>
                      <a:pt x="47" y="323"/>
                    </a:cubicBezTo>
                    <a:cubicBezTo>
                      <a:pt x="47" y="324"/>
                      <a:pt x="48" y="325"/>
                      <a:pt x="48" y="325"/>
                    </a:cubicBezTo>
                    <a:cubicBezTo>
                      <a:pt x="48" y="326"/>
                      <a:pt x="48" y="327"/>
                      <a:pt x="48" y="328"/>
                    </a:cubicBezTo>
                    <a:cubicBezTo>
                      <a:pt x="49" y="337"/>
                      <a:pt x="44" y="359"/>
                      <a:pt x="43" y="365"/>
                    </a:cubicBezTo>
                    <a:cubicBezTo>
                      <a:pt x="41" y="371"/>
                      <a:pt x="41" y="378"/>
                      <a:pt x="42" y="382"/>
                    </a:cubicBezTo>
                    <a:cubicBezTo>
                      <a:pt x="43" y="386"/>
                      <a:pt x="43" y="406"/>
                      <a:pt x="43" y="412"/>
                    </a:cubicBezTo>
                    <a:cubicBezTo>
                      <a:pt x="43" y="417"/>
                      <a:pt x="39" y="431"/>
                      <a:pt x="36" y="443"/>
                    </a:cubicBezTo>
                    <a:cubicBezTo>
                      <a:pt x="33" y="455"/>
                      <a:pt x="32" y="462"/>
                      <a:pt x="28" y="469"/>
                    </a:cubicBezTo>
                    <a:cubicBezTo>
                      <a:pt x="25" y="476"/>
                      <a:pt x="23" y="481"/>
                      <a:pt x="23" y="489"/>
                    </a:cubicBezTo>
                    <a:cubicBezTo>
                      <a:pt x="22" y="496"/>
                      <a:pt x="16" y="517"/>
                      <a:pt x="16" y="525"/>
                    </a:cubicBezTo>
                    <a:cubicBezTo>
                      <a:pt x="16" y="532"/>
                      <a:pt x="10" y="550"/>
                      <a:pt x="0" y="557"/>
                    </a:cubicBezTo>
                    <a:cubicBezTo>
                      <a:pt x="0" y="557"/>
                      <a:pt x="0" y="557"/>
                      <a:pt x="0" y="558"/>
                    </a:cubicBezTo>
                    <a:cubicBezTo>
                      <a:pt x="0" y="558"/>
                      <a:pt x="0" y="559"/>
                      <a:pt x="0" y="559"/>
                    </a:cubicBezTo>
                    <a:cubicBezTo>
                      <a:pt x="1" y="559"/>
                      <a:pt x="1" y="559"/>
                      <a:pt x="1" y="559"/>
                    </a:cubicBezTo>
                    <a:cubicBezTo>
                      <a:pt x="1" y="560"/>
                      <a:pt x="1" y="560"/>
                      <a:pt x="1" y="560"/>
                    </a:cubicBezTo>
                    <a:cubicBezTo>
                      <a:pt x="1" y="560"/>
                      <a:pt x="1" y="561"/>
                      <a:pt x="1" y="561"/>
                    </a:cubicBezTo>
                    <a:cubicBezTo>
                      <a:pt x="2" y="565"/>
                      <a:pt x="5" y="566"/>
                      <a:pt x="3" y="576"/>
                    </a:cubicBezTo>
                    <a:cubicBezTo>
                      <a:pt x="3" y="576"/>
                      <a:pt x="3" y="576"/>
                      <a:pt x="3" y="576"/>
                    </a:cubicBezTo>
                    <a:cubicBezTo>
                      <a:pt x="14" y="576"/>
                      <a:pt x="36" y="576"/>
                      <a:pt x="47" y="582"/>
                    </a:cubicBezTo>
                    <a:cubicBezTo>
                      <a:pt x="62" y="590"/>
                      <a:pt x="67" y="598"/>
                      <a:pt x="82" y="586"/>
                    </a:cubicBezTo>
                    <a:cubicBezTo>
                      <a:pt x="96" y="574"/>
                      <a:pt x="115" y="536"/>
                      <a:pt x="134" y="536"/>
                    </a:cubicBezTo>
                    <a:cubicBezTo>
                      <a:pt x="152" y="536"/>
                      <a:pt x="174" y="539"/>
                      <a:pt x="175" y="526"/>
                    </a:cubicBezTo>
                    <a:cubicBezTo>
                      <a:pt x="176" y="512"/>
                      <a:pt x="180" y="506"/>
                      <a:pt x="188" y="504"/>
                    </a:cubicBezTo>
                    <a:cubicBezTo>
                      <a:pt x="196" y="503"/>
                      <a:pt x="198" y="492"/>
                      <a:pt x="192" y="486"/>
                    </a:cubicBezTo>
                    <a:cubicBezTo>
                      <a:pt x="187" y="479"/>
                      <a:pt x="187" y="474"/>
                      <a:pt x="178" y="468"/>
                    </a:cubicBezTo>
                    <a:cubicBezTo>
                      <a:pt x="168" y="463"/>
                      <a:pt x="159" y="459"/>
                      <a:pt x="163" y="440"/>
                    </a:cubicBezTo>
                    <a:cubicBezTo>
                      <a:pt x="167" y="422"/>
                      <a:pt x="176" y="410"/>
                      <a:pt x="198" y="406"/>
                    </a:cubicBezTo>
                    <a:cubicBezTo>
                      <a:pt x="219" y="402"/>
                      <a:pt x="242" y="400"/>
                      <a:pt x="251" y="392"/>
                    </a:cubicBezTo>
                    <a:cubicBezTo>
                      <a:pt x="260" y="384"/>
                      <a:pt x="270" y="380"/>
                      <a:pt x="294" y="387"/>
                    </a:cubicBezTo>
                    <a:cubicBezTo>
                      <a:pt x="318" y="394"/>
                      <a:pt x="350" y="386"/>
                      <a:pt x="376" y="411"/>
                    </a:cubicBezTo>
                    <a:cubicBezTo>
                      <a:pt x="403" y="436"/>
                      <a:pt x="418" y="439"/>
                      <a:pt x="436" y="444"/>
                    </a:cubicBezTo>
                    <a:cubicBezTo>
                      <a:pt x="455" y="450"/>
                      <a:pt x="487" y="482"/>
                      <a:pt x="503" y="492"/>
                    </a:cubicBezTo>
                    <a:cubicBezTo>
                      <a:pt x="519" y="503"/>
                      <a:pt x="572" y="547"/>
                      <a:pt x="587" y="560"/>
                    </a:cubicBezTo>
                    <a:cubicBezTo>
                      <a:pt x="602" y="574"/>
                      <a:pt x="615" y="590"/>
                      <a:pt x="648" y="594"/>
                    </a:cubicBezTo>
                    <a:cubicBezTo>
                      <a:pt x="650" y="594"/>
                      <a:pt x="652" y="594"/>
                      <a:pt x="653" y="594"/>
                    </a:cubicBezTo>
                    <a:cubicBezTo>
                      <a:pt x="654" y="594"/>
                      <a:pt x="654" y="594"/>
                      <a:pt x="654" y="594"/>
                    </a:cubicBezTo>
                    <a:cubicBezTo>
                      <a:pt x="656" y="595"/>
                      <a:pt x="657" y="595"/>
                      <a:pt x="659" y="595"/>
                    </a:cubicBezTo>
                    <a:cubicBezTo>
                      <a:pt x="660" y="595"/>
                      <a:pt x="660" y="595"/>
                      <a:pt x="660" y="595"/>
                    </a:cubicBezTo>
                    <a:cubicBezTo>
                      <a:pt x="662" y="595"/>
                      <a:pt x="664" y="595"/>
                      <a:pt x="666" y="595"/>
                    </a:cubicBezTo>
                    <a:cubicBezTo>
                      <a:pt x="666" y="595"/>
                      <a:pt x="666" y="595"/>
                      <a:pt x="666" y="595"/>
                    </a:cubicBezTo>
                    <a:cubicBezTo>
                      <a:pt x="668" y="596"/>
                      <a:pt x="669" y="596"/>
                      <a:pt x="671" y="596"/>
                    </a:cubicBezTo>
                    <a:cubicBezTo>
                      <a:pt x="672" y="596"/>
                      <a:pt x="672" y="596"/>
                      <a:pt x="672" y="596"/>
                    </a:cubicBezTo>
                    <a:cubicBezTo>
                      <a:pt x="674" y="596"/>
                      <a:pt x="676" y="596"/>
                      <a:pt x="678" y="596"/>
                    </a:cubicBezTo>
                    <a:cubicBezTo>
                      <a:pt x="678" y="596"/>
                      <a:pt x="679" y="596"/>
                      <a:pt x="679" y="596"/>
                    </a:cubicBezTo>
                    <a:cubicBezTo>
                      <a:pt x="681" y="596"/>
                      <a:pt x="683" y="596"/>
                      <a:pt x="685" y="596"/>
                    </a:cubicBezTo>
                    <a:cubicBezTo>
                      <a:pt x="685" y="596"/>
                      <a:pt x="685" y="596"/>
                      <a:pt x="685" y="596"/>
                    </a:cubicBezTo>
                    <a:cubicBezTo>
                      <a:pt x="687" y="597"/>
                      <a:pt x="689" y="597"/>
                      <a:pt x="691" y="597"/>
                    </a:cubicBezTo>
                    <a:cubicBezTo>
                      <a:pt x="691" y="597"/>
                      <a:pt x="692" y="597"/>
                      <a:pt x="692" y="597"/>
                    </a:cubicBezTo>
                    <a:cubicBezTo>
                      <a:pt x="694" y="597"/>
                      <a:pt x="696" y="597"/>
                      <a:pt x="698" y="597"/>
                    </a:cubicBezTo>
                    <a:cubicBezTo>
                      <a:pt x="698" y="597"/>
                      <a:pt x="698" y="597"/>
                      <a:pt x="699" y="597"/>
                    </a:cubicBezTo>
                    <a:cubicBezTo>
                      <a:pt x="701" y="597"/>
                      <a:pt x="703" y="597"/>
                      <a:pt x="705" y="597"/>
                    </a:cubicBezTo>
                    <a:cubicBezTo>
                      <a:pt x="705" y="597"/>
                      <a:pt x="705" y="597"/>
                      <a:pt x="705" y="597"/>
                    </a:cubicBezTo>
                    <a:cubicBezTo>
                      <a:pt x="707" y="597"/>
                      <a:pt x="709" y="597"/>
                      <a:pt x="711" y="597"/>
                    </a:cubicBezTo>
                    <a:cubicBezTo>
                      <a:pt x="711" y="597"/>
                      <a:pt x="711" y="597"/>
                      <a:pt x="711" y="597"/>
                    </a:cubicBezTo>
                    <a:cubicBezTo>
                      <a:pt x="713" y="597"/>
                      <a:pt x="715" y="597"/>
                      <a:pt x="717" y="597"/>
                    </a:cubicBezTo>
                    <a:cubicBezTo>
                      <a:pt x="717" y="597"/>
                      <a:pt x="718" y="597"/>
                      <a:pt x="718" y="597"/>
                    </a:cubicBezTo>
                    <a:cubicBezTo>
                      <a:pt x="722" y="598"/>
                      <a:pt x="726" y="598"/>
                      <a:pt x="729" y="598"/>
                    </a:cubicBezTo>
                    <a:cubicBezTo>
                      <a:pt x="729" y="598"/>
                      <a:pt x="729" y="598"/>
                      <a:pt x="730" y="598"/>
                    </a:cubicBezTo>
                    <a:cubicBezTo>
                      <a:pt x="731" y="598"/>
                      <a:pt x="733" y="598"/>
                      <a:pt x="735" y="598"/>
                    </a:cubicBezTo>
                    <a:cubicBezTo>
                      <a:pt x="735" y="598"/>
                      <a:pt x="735" y="598"/>
                      <a:pt x="735" y="598"/>
                    </a:cubicBezTo>
                    <a:cubicBezTo>
                      <a:pt x="737" y="598"/>
                      <a:pt x="739" y="598"/>
                      <a:pt x="740" y="598"/>
                    </a:cubicBezTo>
                    <a:cubicBezTo>
                      <a:pt x="740" y="598"/>
                      <a:pt x="740" y="598"/>
                      <a:pt x="740" y="598"/>
                    </a:cubicBezTo>
                    <a:cubicBezTo>
                      <a:pt x="742" y="598"/>
                      <a:pt x="743" y="598"/>
                      <a:pt x="744" y="598"/>
                    </a:cubicBezTo>
                    <a:cubicBezTo>
                      <a:pt x="744" y="598"/>
                      <a:pt x="745" y="598"/>
                      <a:pt x="745" y="598"/>
                    </a:cubicBezTo>
                    <a:cubicBezTo>
                      <a:pt x="748" y="589"/>
                      <a:pt x="753" y="578"/>
                      <a:pt x="758" y="575"/>
                    </a:cubicBezTo>
                    <a:cubicBezTo>
                      <a:pt x="767" y="570"/>
                      <a:pt x="773" y="560"/>
                      <a:pt x="779" y="545"/>
                    </a:cubicBezTo>
                    <a:cubicBezTo>
                      <a:pt x="785" y="530"/>
                      <a:pt x="795" y="524"/>
                      <a:pt x="808" y="526"/>
                    </a:cubicBezTo>
                    <a:cubicBezTo>
                      <a:pt x="822" y="528"/>
                      <a:pt x="830" y="528"/>
                      <a:pt x="836" y="532"/>
                    </a:cubicBezTo>
                    <a:cubicBezTo>
                      <a:pt x="839" y="535"/>
                      <a:pt x="843" y="537"/>
                      <a:pt x="847" y="539"/>
                    </a:cubicBezTo>
                    <a:cubicBezTo>
                      <a:pt x="853" y="535"/>
                      <a:pt x="869" y="537"/>
                      <a:pt x="881" y="538"/>
                    </a:cubicBezTo>
                    <a:cubicBezTo>
                      <a:pt x="878" y="533"/>
                      <a:pt x="874" y="527"/>
                      <a:pt x="870" y="52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5" name="Freeform 229">
                <a:extLst>
                  <a:ext uri="{FF2B5EF4-FFF2-40B4-BE49-F238E27FC236}">
                    <a16:creationId xmlns:a16="http://schemas.microsoft.com/office/drawing/2014/main" id="{A4A16F88-14F0-5747-8C4F-A24079519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2" y="1949"/>
                <a:ext cx="111" cy="93"/>
              </a:xfrm>
              <a:custGeom>
                <a:avLst/>
                <a:gdLst>
                  <a:gd name="T0" fmla="*/ 59 w 438"/>
                  <a:gd name="T1" fmla="*/ 234 h 371"/>
                  <a:gd name="T2" fmla="*/ 26 w 438"/>
                  <a:gd name="T3" fmla="*/ 262 h 371"/>
                  <a:gd name="T4" fmla="*/ 8 w 438"/>
                  <a:gd name="T5" fmla="*/ 294 h 371"/>
                  <a:gd name="T6" fmla="*/ 5 w 438"/>
                  <a:gd name="T7" fmla="*/ 295 h 371"/>
                  <a:gd name="T8" fmla="*/ 4 w 438"/>
                  <a:gd name="T9" fmla="*/ 296 h 371"/>
                  <a:gd name="T10" fmla="*/ 3 w 438"/>
                  <a:gd name="T11" fmla="*/ 298 h 371"/>
                  <a:gd name="T12" fmla="*/ 2 w 438"/>
                  <a:gd name="T13" fmla="*/ 299 h 371"/>
                  <a:gd name="T14" fmla="*/ 1 w 438"/>
                  <a:gd name="T15" fmla="*/ 306 h 371"/>
                  <a:gd name="T16" fmla="*/ 0 w 438"/>
                  <a:gd name="T17" fmla="*/ 308 h 371"/>
                  <a:gd name="T18" fmla="*/ 5 w 438"/>
                  <a:gd name="T19" fmla="*/ 312 h 371"/>
                  <a:gd name="T20" fmla="*/ 51 w 438"/>
                  <a:gd name="T21" fmla="*/ 356 h 371"/>
                  <a:gd name="T22" fmla="*/ 211 w 438"/>
                  <a:gd name="T23" fmla="*/ 285 h 371"/>
                  <a:gd name="T24" fmla="*/ 357 w 438"/>
                  <a:gd name="T25" fmla="*/ 184 h 371"/>
                  <a:gd name="T26" fmla="*/ 369 w 438"/>
                  <a:gd name="T27" fmla="*/ 119 h 371"/>
                  <a:gd name="T28" fmla="*/ 380 w 438"/>
                  <a:gd name="T29" fmla="*/ 56 h 371"/>
                  <a:gd name="T30" fmla="*/ 416 w 438"/>
                  <a:gd name="T31" fmla="*/ 34 h 371"/>
                  <a:gd name="T32" fmla="*/ 419 w 438"/>
                  <a:gd name="T33" fmla="*/ 31 h 371"/>
                  <a:gd name="T34" fmla="*/ 422 w 438"/>
                  <a:gd name="T35" fmla="*/ 28 h 371"/>
                  <a:gd name="T36" fmla="*/ 425 w 438"/>
                  <a:gd name="T37" fmla="*/ 26 h 371"/>
                  <a:gd name="T38" fmla="*/ 428 w 438"/>
                  <a:gd name="T39" fmla="*/ 23 h 371"/>
                  <a:gd name="T40" fmla="*/ 432 w 438"/>
                  <a:gd name="T41" fmla="*/ 21 h 371"/>
                  <a:gd name="T42" fmla="*/ 435 w 438"/>
                  <a:gd name="T43" fmla="*/ 19 h 371"/>
                  <a:gd name="T44" fmla="*/ 438 w 438"/>
                  <a:gd name="T45" fmla="*/ 17 h 371"/>
                  <a:gd name="T46" fmla="*/ 397 w 438"/>
                  <a:gd name="T47" fmla="*/ 10 h 371"/>
                  <a:gd name="T48" fmla="*/ 345 w 438"/>
                  <a:gd name="T49" fmla="*/ 12 h 371"/>
                  <a:gd name="T50" fmla="*/ 279 w 438"/>
                  <a:gd name="T51" fmla="*/ 40 h 371"/>
                  <a:gd name="T52" fmla="*/ 192 w 438"/>
                  <a:gd name="T53" fmla="*/ 38 h 371"/>
                  <a:gd name="T54" fmla="*/ 129 w 438"/>
                  <a:gd name="T55" fmla="*/ 42 h 371"/>
                  <a:gd name="T56" fmla="*/ 86 w 438"/>
                  <a:gd name="T57" fmla="*/ 39 h 371"/>
                  <a:gd name="T58" fmla="*/ 67 w 438"/>
                  <a:gd name="T59" fmla="*/ 68 h 371"/>
                  <a:gd name="T60" fmla="*/ 45 w 438"/>
                  <a:gd name="T61" fmla="*/ 97 h 371"/>
                  <a:gd name="T62" fmla="*/ 17 w 438"/>
                  <a:gd name="T63" fmla="*/ 100 h 371"/>
                  <a:gd name="T64" fmla="*/ 19 w 438"/>
                  <a:gd name="T65" fmla="*/ 163 h 371"/>
                  <a:gd name="T66" fmla="*/ 40 w 438"/>
                  <a:gd name="T67" fmla="*/ 194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38" h="371">
                    <a:moveTo>
                      <a:pt x="58" y="208"/>
                    </a:moveTo>
                    <a:cubicBezTo>
                      <a:pt x="62" y="212"/>
                      <a:pt x="70" y="223"/>
                      <a:pt x="59" y="234"/>
                    </a:cubicBezTo>
                    <a:cubicBezTo>
                      <a:pt x="48" y="244"/>
                      <a:pt x="54" y="254"/>
                      <a:pt x="44" y="255"/>
                    </a:cubicBezTo>
                    <a:cubicBezTo>
                      <a:pt x="35" y="257"/>
                      <a:pt x="28" y="258"/>
                      <a:pt x="26" y="262"/>
                    </a:cubicBezTo>
                    <a:cubicBezTo>
                      <a:pt x="25" y="266"/>
                      <a:pt x="25" y="278"/>
                      <a:pt x="23" y="283"/>
                    </a:cubicBezTo>
                    <a:cubicBezTo>
                      <a:pt x="20" y="289"/>
                      <a:pt x="16" y="294"/>
                      <a:pt x="8" y="294"/>
                    </a:cubicBezTo>
                    <a:cubicBezTo>
                      <a:pt x="7" y="294"/>
                      <a:pt x="6" y="294"/>
                      <a:pt x="6" y="295"/>
                    </a:cubicBezTo>
                    <a:cubicBezTo>
                      <a:pt x="6" y="295"/>
                      <a:pt x="6" y="295"/>
                      <a:pt x="5" y="295"/>
                    </a:cubicBezTo>
                    <a:cubicBezTo>
                      <a:pt x="5" y="295"/>
                      <a:pt x="5" y="295"/>
                      <a:pt x="4" y="296"/>
                    </a:cubicBezTo>
                    <a:cubicBezTo>
                      <a:pt x="4" y="296"/>
                      <a:pt x="4" y="296"/>
                      <a:pt x="4" y="296"/>
                    </a:cubicBezTo>
                    <a:cubicBezTo>
                      <a:pt x="4" y="296"/>
                      <a:pt x="3" y="297"/>
                      <a:pt x="3" y="297"/>
                    </a:cubicBezTo>
                    <a:cubicBezTo>
                      <a:pt x="3" y="297"/>
                      <a:pt x="3" y="297"/>
                      <a:pt x="3" y="298"/>
                    </a:cubicBezTo>
                    <a:cubicBezTo>
                      <a:pt x="3" y="298"/>
                      <a:pt x="3" y="299"/>
                      <a:pt x="2" y="299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2" y="300"/>
                      <a:pt x="2" y="301"/>
                      <a:pt x="2" y="301"/>
                    </a:cubicBezTo>
                    <a:cubicBezTo>
                      <a:pt x="1" y="303"/>
                      <a:pt x="1" y="304"/>
                      <a:pt x="1" y="306"/>
                    </a:cubicBezTo>
                    <a:cubicBezTo>
                      <a:pt x="1" y="306"/>
                      <a:pt x="1" y="306"/>
                      <a:pt x="1" y="306"/>
                    </a:cubicBezTo>
                    <a:cubicBezTo>
                      <a:pt x="0" y="307"/>
                      <a:pt x="0" y="307"/>
                      <a:pt x="0" y="308"/>
                    </a:cubicBezTo>
                    <a:cubicBezTo>
                      <a:pt x="0" y="308"/>
                      <a:pt x="0" y="308"/>
                      <a:pt x="0" y="308"/>
                    </a:cubicBezTo>
                    <a:cubicBezTo>
                      <a:pt x="2" y="309"/>
                      <a:pt x="4" y="311"/>
                      <a:pt x="5" y="312"/>
                    </a:cubicBezTo>
                    <a:cubicBezTo>
                      <a:pt x="8" y="315"/>
                      <a:pt x="9" y="328"/>
                      <a:pt x="20" y="332"/>
                    </a:cubicBezTo>
                    <a:cubicBezTo>
                      <a:pt x="30" y="337"/>
                      <a:pt x="42" y="352"/>
                      <a:pt x="51" y="356"/>
                    </a:cubicBezTo>
                    <a:cubicBezTo>
                      <a:pt x="60" y="359"/>
                      <a:pt x="80" y="371"/>
                      <a:pt x="109" y="349"/>
                    </a:cubicBezTo>
                    <a:cubicBezTo>
                      <a:pt x="139" y="327"/>
                      <a:pt x="182" y="305"/>
                      <a:pt x="211" y="285"/>
                    </a:cubicBezTo>
                    <a:cubicBezTo>
                      <a:pt x="240" y="265"/>
                      <a:pt x="281" y="252"/>
                      <a:pt x="307" y="236"/>
                    </a:cubicBezTo>
                    <a:cubicBezTo>
                      <a:pt x="333" y="220"/>
                      <a:pt x="359" y="203"/>
                      <a:pt x="357" y="184"/>
                    </a:cubicBezTo>
                    <a:cubicBezTo>
                      <a:pt x="355" y="165"/>
                      <a:pt x="359" y="158"/>
                      <a:pt x="364" y="144"/>
                    </a:cubicBezTo>
                    <a:cubicBezTo>
                      <a:pt x="369" y="130"/>
                      <a:pt x="373" y="128"/>
                      <a:pt x="369" y="119"/>
                    </a:cubicBezTo>
                    <a:cubicBezTo>
                      <a:pt x="365" y="110"/>
                      <a:pt x="362" y="104"/>
                      <a:pt x="363" y="92"/>
                    </a:cubicBezTo>
                    <a:cubicBezTo>
                      <a:pt x="364" y="80"/>
                      <a:pt x="366" y="60"/>
                      <a:pt x="380" y="56"/>
                    </a:cubicBezTo>
                    <a:cubicBezTo>
                      <a:pt x="394" y="52"/>
                      <a:pt x="401" y="53"/>
                      <a:pt x="414" y="37"/>
                    </a:cubicBezTo>
                    <a:cubicBezTo>
                      <a:pt x="415" y="36"/>
                      <a:pt x="415" y="35"/>
                      <a:pt x="416" y="34"/>
                    </a:cubicBezTo>
                    <a:cubicBezTo>
                      <a:pt x="417" y="33"/>
                      <a:pt x="417" y="33"/>
                      <a:pt x="417" y="33"/>
                    </a:cubicBezTo>
                    <a:cubicBezTo>
                      <a:pt x="418" y="32"/>
                      <a:pt x="419" y="31"/>
                      <a:pt x="419" y="31"/>
                    </a:cubicBezTo>
                    <a:cubicBezTo>
                      <a:pt x="420" y="30"/>
                      <a:pt x="420" y="30"/>
                      <a:pt x="420" y="30"/>
                    </a:cubicBezTo>
                    <a:cubicBezTo>
                      <a:pt x="421" y="29"/>
                      <a:pt x="422" y="29"/>
                      <a:pt x="422" y="28"/>
                    </a:cubicBezTo>
                    <a:cubicBezTo>
                      <a:pt x="423" y="28"/>
                      <a:pt x="423" y="27"/>
                      <a:pt x="424" y="27"/>
                    </a:cubicBezTo>
                    <a:cubicBezTo>
                      <a:pt x="424" y="27"/>
                      <a:pt x="425" y="26"/>
                      <a:pt x="425" y="26"/>
                    </a:cubicBezTo>
                    <a:cubicBezTo>
                      <a:pt x="426" y="25"/>
                      <a:pt x="426" y="25"/>
                      <a:pt x="427" y="25"/>
                    </a:cubicBezTo>
                    <a:cubicBezTo>
                      <a:pt x="427" y="24"/>
                      <a:pt x="428" y="24"/>
                      <a:pt x="428" y="23"/>
                    </a:cubicBezTo>
                    <a:cubicBezTo>
                      <a:pt x="429" y="23"/>
                      <a:pt x="429" y="23"/>
                      <a:pt x="430" y="22"/>
                    </a:cubicBezTo>
                    <a:cubicBezTo>
                      <a:pt x="430" y="22"/>
                      <a:pt x="431" y="22"/>
                      <a:pt x="432" y="21"/>
                    </a:cubicBezTo>
                    <a:cubicBezTo>
                      <a:pt x="432" y="21"/>
                      <a:pt x="432" y="21"/>
                      <a:pt x="433" y="20"/>
                    </a:cubicBezTo>
                    <a:cubicBezTo>
                      <a:pt x="433" y="20"/>
                      <a:pt x="434" y="19"/>
                      <a:pt x="435" y="19"/>
                    </a:cubicBezTo>
                    <a:cubicBezTo>
                      <a:pt x="435" y="19"/>
                      <a:pt x="435" y="19"/>
                      <a:pt x="436" y="18"/>
                    </a:cubicBezTo>
                    <a:cubicBezTo>
                      <a:pt x="437" y="18"/>
                      <a:pt x="437" y="17"/>
                      <a:pt x="438" y="17"/>
                    </a:cubicBezTo>
                    <a:cubicBezTo>
                      <a:pt x="426" y="0"/>
                      <a:pt x="421" y="0"/>
                      <a:pt x="417" y="4"/>
                    </a:cubicBezTo>
                    <a:cubicBezTo>
                      <a:pt x="413" y="8"/>
                      <a:pt x="406" y="6"/>
                      <a:pt x="397" y="10"/>
                    </a:cubicBezTo>
                    <a:cubicBezTo>
                      <a:pt x="389" y="14"/>
                      <a:pt x="379" y="20"/>
                      <a:pt x="371" y="20"/>
                    </a:cubicBezTo>
                    <a:cubicBezTo>
                      <a:pt x="363" y="20"/>
                      <a:pt x="355" y="19"/>
                      <a:pt x="345" y="12"/>
                    </a:cubicBezTo>
                    <a:cubicBezTo>
                      <a:pt x="334" y="4"/>
                      <a:pt x="321" y="18"/>
                      <a:pt x="310" y="24"/>
                    </a:cubicBezTo>
                    <a:cubicBezTo>
                      <a:pt x="299" y="30"/>
                      <a:pt x="287" y="36"/>
                      <a:pt x="279" y="40"/>
                    </a:cubicBezTo>
                    <a:cubicBezTo>
                      <a:pt x="272" y="45"/>
                      <a:pt x="242" y="45"/>
                      <a:pt x="229" y="46"/>
                    </a:cubicBezTo>
                    <a:cubicBezTo>
                      <a:pt x="215" y="48"/>
                      <a:pt x="200" y="49"/>
                      <a:pt x="192" y="38"/>
                    </a:cubicBezTo>
                    <a:cubicBezTo>
                      <a:pt x="184" y="28"/>
                      <a:pt x="165" y="33"/>
                      <a:pt x="155" y="34"/>
                    </a:cubicBezTo>
                    <a:cubicBezTo>
                      <a:pt x="145" y="34"/>
                      <a:pt x="137" y="42"/>
                      <a:pt x="129" y="42"/>
                    </a:cubicBezTo>
                    <a:cubicBezTo>
                      <a:pt x="121" y="42"/>
                      <a:pt x="122" y="50"/>
                      <a:pt x="108" y="52"/>
                    </a:cubicBezTo>
                    <a:cubicBezTo>
                      <a:pt x="94" y="53"/>
                      <a:pt x="96" y="47"/>
                      <a:pt x="86" y="39"/>
                    </a:cubicBezTo>
                    <a:cubicBezTo>
                      <a:pt x="76" y="31"/>
                      <a:pt x="65" y="39"/>
                      <a:pt x="63" y="47"/>
                    </a:cubicBezTo>
                    <a:cubicBezTo>
                      <a:pt x="60" y="55"/>
                      <a:pt x="63" y="62"/>
                      <a:pt x="67" y="68"/>
                    </a:cubicBezTo>
                    <a:cubicBezTo>
                      <a:pt x="72" y="75"/>
                      <a:pt x="65" y="76"/>
                      <a:pt x="55" y="78"/>
                    </a:cubicBezTo>
                    <a:cubicBezTo>
                      <a:pt x="45" y="80"/>
                      <a:pt x="46" y="86"/>
                      <a:pt x="45" y="97"/>
                    </a:cubicBezTo>
                    <a:cubicBezTo>
                      <a:pt x="43" y="108"/>
                      <a:pt x="26" y="106"/>
                      <a:pt x="21" y="102"/>
                    </a:cubicBezTo>
                    <a:cubicBezTo>
                      <a:pt x="20" y="102"/>
                      <a:pt x="19" y="101"/>
                      <a:pt x="17" y="100"/>
                    </a:cubicBezTo>
                    <a:cubicBezTo>
                      <a:pt x="13" y="107"/>
                      <a:pt x="7" y="114"/>
                      <a:pt x="14" y="127"/>
                    </a:cubicBezTo>
                    <a:cubicBezTo>
                      <a:pt x="22" y="145"/>
                      <a:pt x="14" y="145"/>
                      <a:pt x="19" y="163"/>
                    </a:cubicBezTo>
                    <a:cubicBezTo>
                      <a:pt x="23" y="175"/>
                      <a:pt x="22" y="179"/>
                      <a:pt x="19" y="185"/>
                    </a:cubicBezTo>
                    <a:cubicBezTo>
                      <a:pt x="25" y="186"/>
                      <a:pt x="35" y="189"/>
                      <a:pt x="40" y="194"/>
                    </a:cubicBezTo>
                    <a:cubicBezTo>
                      <a:pt x="46" y="201"/>
                      <a:pt x="55" y="203"/>
                      <a:pt x="58" y="20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6" name="Freeform 230">
                <a:extLst>
                  <a:ext uri="{FF2B5EF4-FFF2-40B4-BE49-F238E27FC236}">
                    <a16:creationId xmlns:a16="http://schemas.microsoft.com/office/drawing/2014/main" id="{45969FF4-B9DC-0642-9EC5-E183B452A5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7" y="1903"/>
                <a:ext cx="315" cy="264"/>
              </a:xfrm>
              <a:custGeom>
                <a:avLst/>
                <a:gdLst>
                  <a:gd name="T0" fmla="*/ 1240 w 1246"/>
                  <a:gd name="T1" fmla="*/ 912 h 1047"/>
                  <a:gd name="T2" fmla="*/ 1127 w 1246"/>
                  <a:gd name="T3" fmla="*/ 777 h 1047"/>
                  <a:gd name="T4" fmla="*/ 1092 w 1246"/>
                  <a:gd name="T5" fmla="*/ 728 h 1047"/>
                  <a:gd name="T6" fmla="*/ 1089 w 1246"/>
                  <a:gd name="T7" fmla="*/ 724 h 1047"/>
                  <a:gd name="T8" fmla="*/ 1088 w 1246"/>
                  <a:gd name="T9" fmla="*/ 720 h 1047"/>
                  <a:gd name="T10" fmla="*/ 1087 w 1246"/>
                  <a:gd name="T11" fmla="*/ 716 h 1047"/>
                  <a:gd name="T12" fmla="*/ 1102 w 1246"/>
                  <a:gd name="T13" fmla="*/ 697 h 1047"/>
                  <a:gd name="T14" fmla="*/ 1103 w 1246"/>
                  <a:gd name="T15" fmla="*/ 696 h 1047"/>
                  <a:gd name="T16" fmla="*/ 1126 w 1246"/>
                  <a:gd name="T17" fmla="*/ 609 h 1047"/>
                  <a:gd name="T18" fmla="*/ 1076 w 1246"/>
                  <a:gd name="T19" fmla="*/ 528 h 1047"/>
                  <a:gd name="T20" fmla="*/ 1070 w 1246"/>
                  <a:gd name="T21" fmla="*/ 455 h 1047"/>
                  <a:gd name="T22" fmla="*/ 1095 w 1246"/>
                  <a:gd name="T23" fmla="*/ 370 h 1047"/>
                  <a:gd name="T24" fmla="*/ 1108 w 1246"/>
                  <a:gd name="T25" fmla="*/ 321 h 1047"/>
                  <a:gd name="T26" fmla="*/ 1108 w 1246"/>
                  <a:gd name="T27" fmla="*/ 313 h 1047"/>
                  <a:gd name="T28" fmla="*/ 1107 w 1246"/>
                  <a:gd name="T29" fmla="*/ 303 h 1047"/>
                  <a:gd name="T30" fmla="*/ 1109 w 1246"/>
                  <a:gd name="T31" fmla="*/ 270 h 1047"/>
                  <a:gd name="T32" fmla="*/ 1027 w 1246"/>
                  <a:gd name="T33" fmla="*/ 209 h 1047"/>
                  <a:gd name="T34" fmla="*/ 897 w 1246"/>
                  <a:gd name="T35" fmla="*/ 146 h 1047"/>
                  <a:gd name="T36" fmla="*/ 793 w 1246"/>
                  <a:gd name="T37" fmla="*/ 122 h 1047"/>
                  <a:gd name="T38" fmla="*/ 689 w 1246"/>
                  <a:gd name="T39" fmla="*/ 166 h 1047"/>
                  <a:gd name="T40" fmla="*/ 644 w 1246"/>
                  <a:gd name="T41" fmla="*/ 196 h 1047"/>
                  <a:gd name="T42" fmla="*/ 645 w 1246"/>
                  <a:gd name="T43" fmla="*/ 200 h 1047"/>
                  <a:gd name="T44" fmla="*/ 645 w 1246"/>
                  <a:gd name="T45" fmla="*/ 206 h 1047"/>
                  <a:gd name="T46" fmla="*/ 493 w 1246"/>
                  <a:gd name="T47" fmla="*/ 230 h 1047"/>
                  <a:gd name="T48" fmla="*/ 342 w 1246"/>
                  <a:gd name="T49" fmla="*/ 158 h 1047"/>
                  <a:gd name="T50" fmla="*/ 280 w 1246"/>
                  <a:gd name="T51" fmla="*/ 88 h 1047"/>
                  <a:gd name="T52" fmla="*/ 276 w 1246"/>
                  <a:gd name="T53" fmla="*/ 18 h 1047"/>
                  <a:gd name="T54" fmla="*/ 173 w 1246"/>
                  <a:gd name="T55" fmla="*/ 62 h 1047"/>
                  <a:gd name="T56" fmla="*/ 168 w 1246"/>
                  <a:gd name="T57" fmla="*/ 66 h 1047"/>
                  <a:gd name="T58" fmla="*/ 163 w 1246"/>
                  <a:gd name="T59" fmla="*/ 68 h 1047"/>
                  <a:gd name="T60" fmla="*/ 157 w 1246"/>
                  <a:gd name="T61" fmla="*/ 70 h 1047"/>
                  <a:gd name="T62" fmla="*/ 152 w 1246"/>
                  <a:gd name="T63" fmla="*/ 70 h 1047"/>
                  <a:gd name="T64" fmla="*/ 147 w 1246"/>
                  <a:gd name="T65" fmla="*/ 71 h 1047"/>
                  <a:gd name="T66" fmla="*/ 99 w 1246"/>
                  <a:gd name="T67" fmla="*/ 60 h 1047"/>
                  <a:gd name="T68" fmla="*/ 49 w 1246"/>
                  <a:gd name="T69" fmla="*/ 1 h 1047"/>
                  <a:gd name="T70" fmla="*/ 44 w 1246"/>
                  <a:gd name="T71" fmla="*/ 1 h 1047"/>
                  <a:gd name="T72" fmla="*/ 17 w 1246"/>
                  <a:gd name="T73" fmla="*/ 60 h 1047"/>
                  <a:gd name="T74" fmla="*/ 41 w 1246"/>
                  <a:gd name="T75" fmla="*/ 163 h 1047"/>
                  <a:gd name="T76" fmla="*/ 54 w 1246"/>
                  <a:gd name="T77" fmla="*/ 182 h 1047"/>
                  <a:gd name="T78" fmla="*/ 101 w 1246"/>
                  <a:gd name="T79" fmla="*/ 282 h 1047"/>
                  <a:gd name="T80" fmla="*/ 143 w 1246"/>
                  <a:gd name="T81" fmla="*/ 332 h 1047"/>
                  <a:gd name="T82" fmla="*/ 105 w 1246"/>
                  <a:gd name="T83" fmla="*/ 438 h 1047"/>
                  <a:gd name="T84" fmla="*/ 204 w 1246"/>
                  <a:gd name="T85" fmla="*/ 529 h 1047"/>
                  <a:gd name="T86" fmla="*/ 251 w 1246"/>
                  <a:gd name="T87" fmla="*/ 636 h 1047"/>
                  <a:gd name="T88" fmla="*/ 304 w 1246"/>
                  <a:gd name="T89" fmla="*/ 712 h 1047"/>
                  <a:gd name="T90" fmla="*/ 377 w 1246"/>
                  <a:gd name="T91" fmla="*/ 698 h 1047"/>
                  <a:gd name="T92" fmla="*/ 535 w 1246"/>
                  <a:gd name="T93" fmla="*/ 868 h 1047"/>
                  <a:gd name="T94" fmla="*/ 737 w 1246"/>
                  <a:gd name="T95" fmla="*/ 937 h 1047"/>
                  <a:gd name="T96" fmla="*/ 853 w 1246"/>
                  <a:gd name="T97" fmla="*/ 990 h 1047"/>
                  <a:gd name="T98" fmla="*/ 1123 w 1246"/>
                  <a:gd name="T99" fmla="*/ 1046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46" h="1047">
                    <a:moveTo>
                      <a:pt x="1139" y="992"/>
                    </a:moveTo>
                    <a:cubicBezTo>
                      <a:pt x="1140" y="982"/>
                      <a:pt x="1153" y="978"/>
                      <a:pt x="1165" y="958"/>
                    </a:cubicBezTo>
                    <a:cubicBezTo>
                      <a:pt x="1178" y="938"/>
                      <a:pt x="1218" y="942"/>
                      <a:pt x="1227" y="940"/>
                    </a:cubicBezTo>
                    <a:cubicBezTo>
                      <a:pt x="1237" y="937"/>
                      <a:pt x="1234" y="924"/>
                      <a:pt x="1240" y="912"/>
                    </a:cubicBezTo>
                    <a:cubicBezTo>
                      <a:pt x="1246" y="901"/>
                      <a:pt x="1226" y="903"/>
                      <a:pt x="1215" y="896"/>
                    </a:cubicBezTo>
                    <a:cubicBezTo>
                      <a:pt x="1203" y="890"/>
                      <a:pt x="1208" y="871"/>
                      <a:pt x="1208" y="849"/>
                    </a:cubicBezTo>
                    <a:cubicBezTo>
                      <a:pt x="1208" y="827"/>
                      <a:pt x="1185" y="822"/>
                      <a:pt x="1167" y="818"/>
                    </a:cubicBezTo>
                    <a:cubicBezTo>
                      <a:pt x="1148" y="813"/>
                      <a:pt x="1130" y="788"/>
                      <a:pt x="1127" y="777"/>
                    </a:cubicBezTo>
                    <a:cubicBezTo>
                      <a:pt x="1123" y="766"/>
                      <a:pt x="1117" y="749"/>
                      <a:pt x="1096" y="732"/>
                    </a:cubicBezTo>
                    <a:cubicBezTo>
                      <a:pt x="1095" y="731"/>
                      <a:pt x="1095" y="730"/>
                      <a:pt x="1094" y="730"/>
                    </a:cubicBezTo>
                    <a:cubicBezTo>
                      <a:pt x="1094" y="730"/>
                      <a:pt x="1094" y="730"/>
                      <a:pt x="1093" y="729"/>
                    </a:cubicBezTo>
                    <a:cubicBezTo>
                      <a:pt x="1093" y="729"/>
                      <a:pt x="1092" y="728"/>
                      <a:pt x="1092" y="728"/>
                    </a:cubicBezTo>
                    <a:cubicBezTo>
                      <a:pt x="1092" y="728"/>
                      <a:pt x="1092" y="728"/>
                      <a:pt x="1092" y="727"/>
                    </a:cubicBezTo>
                    <a:cubicBezTo>
                      <a:pt x="1091" y="727"/>
                      <a:pt x="1091" y="726"/>
                      <a:pt x="1090" y="726"/>
                    </a:cubicBezTo>
                    <a:cubicBezTo>
                      <a:pt x="1090" y="726"/>
                      <a:pt x="1090" y="726"/>
                      <a:pt x="1090" y="726"/>
                    </a:cubicBezTo>
                    <a:cubicBezTo>
                      <a:pt x="1090" y="725"/>
                      <a:pt x="1089" y="724"/>
                      <a:pt x="1089" y="724"/>
                    </a:cubicBezTo>
                    <a:cubicBezTo>
                      <a:pt x="1089" y="724"/>
                      <a:pt x="1089" y="724"/>
                      <a:pt x="1089" y="724"/>
                    </a:cubicBezTo>
                    <a:cubicBezTo>
                      <a:pt x="1089" y="723"/>
                      <a:pt x="1088" y="722"/>
                      <a:pt x="1088" y="722"/>
                    </a:cubicBezTo>
                    <a:cubicBezTo>
                      <a:pt x="1088" y="722"/>
                      <a:pt x="1088" y="722"/>
                      <a:pt x="1088" y="722"/>
                    </a:cubicBezTo>
                    <a:cubicBezTo>
                      <a:pt x="1088" y="721"/>
                      <a:pt x="1088" y="721"/>
                      <a:pt x="1088" y="720"/>
                    </a:cubicBezTo>
                    <a:cubicBezTo>
                      <a:pt x="1088" y="720"/>
                      <a:pt x="1088" y="720"/>
                      <a:pt x="1088" y="720"/>
                    </a:cubicBezTo>
                    <a:cubicBezTo>
                      <a:pt x="1087" y="719"/>
                      <a:pt x="1087" y="717"/>
                      <a:pt x="1087" y="716"/>
                    </a:cubicBezTo>
                    <a:cubicBezTo>
                      <a:pt x="1087" y="716"/>
                      <a:pt x="1087" y="716"/>
                      <a:pt x="1087" y="716"/>
                    </a:cubicBezTo>
                    <a:cubicBezTo>
                      <a:pt x="1087" y="716"/>
                      <a:pt x="1087" y="716"/>
                      <a:pt x="1087" y="716"/>
                    </a:cubicBezTo>
                    <a:cubicBezTo>
                      <a:pt x="1087" y="716"/>
                      <a:pt x="1088" y="715"/>
                      <a:pt x="1088" y="715"/>
                    </a:cubicBezTo>
                    <a:cubicBezTo>
                      <a:pt x="1088" y="715"/>
                      <a:pt x="1088" y="714"/>
                      <a:pt x="1088" y="714"/>
                    </a:cubicBezTo>
                    <a:cubicBezTo>
                      <a:pt x="1089" y="707"/>
                      <a:pt x="1097" y="701"/>
                      <a:pt x="1102" y="697"/>
                    </a:cubicBezTo>
                    <a:cubicBezTo>
                      <a:pt x="1102" y="697"/>
                      <a:pt x="1102" y="697"/>
                      <a:pt x="1102" y="697"/>
                    </a:cubicBezTo>
                    <a:cubicBezTo>
                      <a:pt x="1102" y="697"/>
                      <a:pt x="1102" y="697"/>
                      <a:pt x="1102" y="697"/>
                    </a:cubicBezTo>
                    <a:cubicBezTo>
                      <a:pt x="1102" y="697"/>
                      <a:pt x="1102" y="697"/>
                      <a:pt x="1103" y="697"/>
                    </a:cubicBezTo>
                    <a:cubicBezTo>
                      <a:pt x="1103" y="696"/>
                      <a:pt x="1103" y="696"/>
                      <a:pt x="1103" y="696"/>
                    </a:cubicBezTo>
                    <a:cubicBezTo>
                      <a:pt x="1103" y="696"/>
                      <a:pt x="1103" y="696"/>
                      <a:pt x="1103" y="696"/>
                    </a:cubicBezTo>
                    <a:cubicBezTo>
                      <a:pt x="1108" y="691"/>
                      <a:pt x="1117" y="683"/>
                      <a:pt x="1121" y="676"/>
                    </a:cubicBezTo>
                    <a:cubicBezTo>
                      <a:pt x="1126" y="668"/>
                      <a:pt x="1137" y="663"/>
                      <a:pt x="1143" y="656"/>
                    </a:cubicBezTo>
                    <a:cubicBezTo>
                      <a:pt x="1149" y="648"/>
                      <a:pt x="1151" y="635"/>
                      <a:pt x="1147" y="628"/>
                    </a:cubicBezTo>
                    <a:cubicBezTo>
                      <a:pt x="1144" y="622"/>
                      <a:pt x="1136" y="611"/>
                      <a:pt x="1126" y="609"/>
                    </a:cubicBezTo>
                    <a:cubicBezTo>
                      <a:pt x="1116" y="607"/>
                      <a:pt x="1097" y="608"/>
                      <a:pt x="1089" y="606"/>
                    </a:cubicBezTo>
                    <a:cubicBezTo>
                      <a:pt x="1081" y="604"/>
                      <a:pt x="1079" y="589"/>
                      <a:pt x="1079" y="581"/>
                    </a:cubicBezTo>
                    <a:cubicBezTo>
                      <a:pt x="1079" y="573"/>
                      <a:pt x="1085" y="568"/>
                      <a:pt x="1085" y="547"/>
                    </a:cubicBezTo>
                    <a:cubicBezTo>
                      <a:pt x="1085" y="526"/>
                      <a:pt x="1082" y="531"/>
                      <a:pt x="1076" y="528"/>
                    </a:cubicBezTo>
                    <a:cubicBezTo>
                      <a:pt x="1070" y="526"/>
                      <a:pt x="1075" y="510"/>
                      <a:pt x="1069" y="508"/>
                    </a:cubicBezTo>
                    <a:cubicBezTo>
                      <a:pt x="1063" y="506"/>
                      <a:pt x="1065" y="498"/>
                      <a:pt x="1065" y="490"/>
                    </a:cubicBezTo>
                    <a:cubicBezTo>
                      <a:pt x="1065" y="481"/>
                      <a:pt x="1069" y="480"/>
                      <a:pt x="1083" y="468"/>
                    </a:cubicBezTo>
                    <a:cubicBezTo>
                      <a:pt x="1098" y="455"/>
                      <a:pt x="1079" y="457"/>
                      <a:pt x="1070" y="455"/>
                    </a:cubicBezTo>
                    <a:cubicBezTo>
                      <a:pt x="1061" y="453"/>
                      <a:pt x="1065" y="434"/>
                      <a:pt x="1065" y="423"/>
                    </a:cubicBezTo>
                    <a:cubicBezTo>
                      <a:pt x="1065" y="412"/>
                      <a:pt x="1069" y="406"/>
                      <a:pt x="1079" y="406"/>
                    </a:cubicBezTo>
                    <a:cubicBezTo>
                      <a:pt x="1089" y="405"/>
                      <a:pt x="1083" y="396"/>
                      <a:pt x="1083" y="390"/>
                    </a:cubicBezTo>
                    <a:cubicBezTo>
                      <a:pt x="1083" y="384"/>
                      <a:pt x="1087" y="376"/>
                      <a:pt x="1095" y="370"/>
                    </a:cubicBezTo>
                    <a:cubicBezTo>
                      <a:pt x="1104" y="364"/>
                      <a:pt x="1099" y="352"/>
                      <a:pt x="1099" y="345"/>
                    </a:cubicBezTo>
                    <a:cubicBezTo>
                      <a:pt x="1099" y="338"/>
                      <a:pt x="1102" y="335"/>
                      <a:pt x="1107" y="324"/>
                    </a:cubicBezTo>
                    <a:cubicBezTo>
                      <a:pt x="1107" y="323"/>
                      <a:pt x="1107" y="322"/>
                      <a:pt x="1108" y="321"/>
                    </a:cubicBezTo>
                    <a:cubicBezTo>
                      <a:pt x="1108" y="321"/>
                      <a:pt x="1108" y="321"/>
                      <a:pt x="1108" y="321"/>
                    </a:cubicBezTo>
                    <a:cubicBezTo>
                      <a:pt x="1108" y="320"/>
                      <a:pt x="1108" y="319"/>
                      <a:pt x="1108" y="317"/>
                    </a:cubicBezTo>
                    <a:cubicBezTo>
                      <a:pt x="1108" y="317"/>
                      <a:pt x="1108" y="317"/>
                      <a:pt x="1108" y="317"/>
                    </a:cubicBezTo>
                    <a:cubicBezTo>
                      <a:pt x="1108" y="316"/>
                      <a:pt x="1108" y="315"/>
                      <a:pt x="1108" y="314"/>
                    </a:cubicBezTo>
                    <a:cubicBezTo>
                      <a:pt x="1108" y="314"/>
                      <a:pt x="1108" y="313"/>
                      <a:pt x="1108" y="313"/>
                    </a:cubicBezTo>
                    <a:cubicBezTo>
                      <a:pt x="1108" y="312"/>
                      <a:pt x="1108" y="311"/>
                      <a:pt x="1108" y="309"/>
                    </a:cubicBezTo>
                    <a:cubicBezTo>
                      <a:pt x="1108" y="308"/>
                      <a:pt x="1108" y="307"/>
                      <a:pt x="1108" y="306"/>
                    </a:cubicBezTo>
                    <a:cubicBezTo>
                      <a:pt x="1108" y="306"/>
                      <a:pt x="1108" y="306"/>
                      <a:pt x="1108" y="306"/>
                    </a:cubicBezTo>
                    <a:cubicBezTo>
                      <a:pt x="1108" y="305"/>
                      <a:pt x="1108" y="304"/>
                      <a:pt x="1107" y="303"/>
                    </a:cubicBezTo>
                    <a:cubicBezTo>
                      <a:pt x="1107" y="303"/>
                      <a:pt x="1107" y="303"/>
                      <a:pt x="1107" y="303"/>
                    </a:cubicBezTo>
                    <a:cubicBezTo>
                      <a:pt x="1107" y="298"/>
                      <a:pt x="1105" y="294"/>
                      <a:pt x="1105" y="291"/>
                    </a:cubicBezTo>
                    <a:cubicBezTo>
                      <a:pt x="1105" y="291"/>
                      <a:pt x="1105" y="291"/>
                      <a:pt x="1105" y="290"/>
                    </a:cubicBezTo>
                    <a:cubicBezTo>
                      <a:pt x="1104" y="287"/>
                      <a:pt x="1107" y="276"/>
                      <a:pt x="1109" y="270"/>
                    </a:cubicBezTo>
                    <a:cubicBezTo>
                      <a:pt x="1111" y="264"/>
                      <a:pt x="1108" y="260"/>
                      <a:pt x="1103" y="254"/>
                    </a:cubicBezTo>
                    <a:cubicBezTo>
                      <a:pt x="1099" y="248"/>
                      <a:pt x="1101" y="244"/>
                      <a:pt x="1101" y="236"/>
                    </a:cubicBezTo>
                    <a:cubicBezTo>
                      <a:pt x="1101" y="227"/>
                      <a:pt x="1069" y="234"/>
                      <a:pt x="1057" y="234"/>
                    </a:cubicBezTo>
                    <a:cubicBezTo>
                      <a:pt x="1046" y="234"/>
                      <a:pt x="1033" y="219"/>
                      <a:pt x="1027" y="209"/>
                    </a:cubicBezTo>
                    <a:cubicBezTo>
                      <a:pt x="1021" y="199"/>
                      <a:pt x="1021" y="196"/>
                      <a:pt x="1003" y="196"/>
                    </a:cubicBezTo>
                    <a:cubicBezTo>
                      <a:pt x="986" y="196"/>
                      <a:pt x="984" y="180"/>
                      <a:pt x="978" y="170"/>
                    </a:cubicBezTo>
                    <a:cubicBezTo>
                      <a:pt x="972" y="159"/>
                      <a:pt x="943" y="158"/>
                      <a:pt x="928" y="158"/>
                    </a:cubicBezTo>
                    <a:cubicBezTo>
                      <a:pt x="913" y="158"/>
                      <a:pt x="907" y="150"/>
                      <a:pt x="897" y="146"/>
                    </a:cubicBezTo>
                    <a:cubicBezTo>
                      <a:pt x="888" y="143"/>
                      <a:pt x="870" y="142"/>
                      <a:pt x="867" y="137"/>
                    </a:cubicBezTo>
                    <a:cubicBezTo>
                      <a:pt x="863" y="132"/>
                      <a:pt x="849" y="118"/>
                      <a:pt x="841" y="118"/>
                    </a:cubicBezTo>
                    <a:cubicBezTo>
                      <a:pt x="833" y="118"/>
                      <a:pt x="831" y="114"/>
                      <a:pt x="821" y="111"/>
                    </a:cubicBezTo>
                    <a:cubicBezTo>
                      <a:pt x="812" y="108"/>
                      <a:pt x="799" y="114"/>
                      <a:pt x="793" y="122"/>
                    </a:cubicBezTo>
                    <a:cubicBezTo>
                      <a:pt x="787" y="130"/>
                      <a:pt x="772" y="129"/>
                      <a:pt x="755" y="126"/>
                    </a:cubicBezTo>
                    <a:cubicBezTo>
                      <a:pt x="739" y="124"/>
                      <a:pt x="727" y="126"/>
                      <a:pt x="725" y="132"/>
                    </a:cubicBezTo>
                    <a:cubicBezTo>
                      <a:pt x="723" y="137"/>
                      <a:pt x="716" y="137"/>
                      <a:pt x="705" y="143"/>
                    </a:cubicBezTo>
                    <a:cubicBezTo>
                      <a:pt x="695" y="149"/>
                      <a:pt x="689" y="158"/>
                      <a:pt x="689" y="166"/>
                    </a:cubicBezTo>
                    <a:cubicBezTo>
                      <a:pt x="689" y="173"/>
                      <a:pt x="685" y="176"/>
                      <a:pt x="673" y="176"/>
                    </a:cubicBezTo>
                    <a:cubicBezTo>
                      <a:pt x="661" y="175"/>
                      <a:pt x="660" y="184"/>
                      <a:pt x="647" y="183"/>
                    </a:cubicBezTo>
                    <a:cubicBezTo>
                      <a:pt x="643" y="183"/>
                      <a:pt x="639" y="182"/>
                      <a:pt x="636" y="182"/>
                    </a:cubicBezTo>
                    <a:cubicBezTo>
                      <a:pt x="636" y="191"/>
                      <a:pt x="641" y="191"/>
                      <a:pt x="644" y="196"/>
                    </a:cubicBezTo>
                    <a:cubicBezTo>
                      <a:pt x="644" y="197"/>
                      <a:pt x="644" y="197"/>
                      <a:pt x="644" y="197"/>
                    </a:cubicBezTo>
                    <a:cubicBezTo>
                      <a:pt x="644" y="197"/>
                      <a:pt x="644" y="198"/>
                      <a:pt x="644" y="198"/>
                    </a:cubicBezTo>
                    <a:cubicBezTo>
                      <a:pt x="644" y="198"/>
                      <a:pt x="644" y="198"/>
                      <a:pt x="644" y="198"/>
                    </a:cubicBezTo>
                    <a:cubicBezTo>
                      <a:pt x="644" y="199"/>
                      <a:pt x="644" y="199"/>
                      <a:pt x="645" y="200"/>
                    </a:cubicBezTo>
                    <a:cubicBezTo>
                      <a:pt x="645" y="200"/>
                      <a:pt x="645" y="200"/>
                      <a:pt x="645" y="200"/>
                    </a:cubicBezTo>
                    <a:cubicBezTo>
                      <a:pt x="645" y="201"/>
                      <a:pt x="645" y="201"/>
                      <a:pt x="645" y="202"/>
                    </a:cubicBezTo>
                    <a:cubicBezTo>
                      <a:pt x="645" y="202"/>
                      <a:pt x="645" y="203"/>
                      <a:pt x="645" y="203"/>
                    </a:cubicBezTo>
                    <a:cubicBezTo>
                      <a:pt x="645" y="204"/>
                      <a:pt x="645" y="205"/>
                      <a:pt x="645" y="206"/>
                    </a:cubicBezTo>
                    <a:cubicBezTo>
                      <a:pt x="644" y="223"/>
                      <a:pt x="617" y="212"/>
                      <a:pt x="600" y="212"/>
                    </a:cubicBezTo>
                    <a:cubicBezTo>
                      <a:pt x="583" y="212"/>
                      <a:pt x="583" y="219"/>
                      <a:pt x="567" y="223"/>
                    </a:cubicBezTo>
                    <a:cubicBezTo>
                      <a:pt x="551" y="227"/>
                      <a:pt x="544" y="227"/>
                      <a:pt x="535" y="232"/>
                    </a:cubicBezTo>
                    <a:cubicBezTo>
                      <a:pt x="526" y="237"/>
                      <a:pt x="506" y="239"/>
                      <a:pt x="493" y="230"/>
                    </a:cubicBezTo>
                    <a:cubicBezTo>
                      <a:pt x="480" y="221"/>
                      <a:pt x="466" y="224"/>
                      <a:pt x="452" y="217"/>
                    </a:cubicBezTo>
                    <a:cubicBezTo>
                      <a:pt x="438" y="210"/>
                      <a:pt x="412" y="191"/>
                      <a:pt x="407" y="180"/>
                    </a:cubicBezTo>
                    <a:cubicBezTo>
                      <a:pt x="402" y="169"/>
                      <a:pt x="391" y="168"/>
                      <a:pt x="376" y="166"/>
                    </a:cubicBezTo>
                    <a:cubicBezTo>
                      <a:pt x="361" y="164"/>
                      <a:pt x="354" y="164"/>
                      <a:pt x="342" y="158"/>
                    </a:cubicBezTo>
                    <a:cubicBezTo>
                      <a:pt x="330" y="152"/>
                      <a:pt x="325" y="136"/>
                      <a:pt x="325" y="119"/>
                    </a:cubicBezTo>
                    <a:cubicBezTo>
                      <a:pt x="325" y="111"/>
                      <a:pt x="324" y="106"/>
                      <a:pt x="322" y="102"/>
                    </a:cubicBezTo>
                    <a:cubicBezTo>
                      <a:pt x="311" y="104"/>
                      <a:pt x="300" y="103"/>
                      <a:pt x="296" y="99"/>
                    </a:cubicBezTo>
                    <a:cubicBezTo>
                      <a:pt x="291" y="92"/>
                      <a:pt x="285" y="92"/>
                      <a:pt x="280" y="88"/>
                    </a:cubicBezTo>
                    <a:cubicBezTo>
                      <a:pt x="275" y="83"/>
                      <a:pt x="267" y="82"/>
                      <a:pt x="264" y="77"/>
                    </a:cubicBezTo>
                    <a:cubicBezTo>
                      <a:pt x="261" y="72"/>
                      <a:pt x="263" y="63"/>
                      <a:pt x="273" y="60"/>
                    </a:cubicBezTo>
                    <a:cubicBezTo>
                      <a:pt x="283" y="56"/>
                      <a:pt x="279" y="44"/>
                      <a:pt x="274" y="38"/>
                    </a:cubicBezTo>
                    <a:cubicBezTo>
                      <a:pt x="269" y="32"/>
                      <a:pt x="276" y="30"/>
                      <a:pt x="276" y="18"/>
                    </a:cubicBezTo>
                    <a:cubicBezTo>
                      <a:pt x="276" y="7"/>
                      <a:pt x="268" y="6"/>
                      <a:pt x="255" y="8"/>
                    </a:cubicBezTo>
                    <a:cubicBezTo>
                      <a:pt x="241" y="9"/>
                      <a:pt x="241" y="19"/>
                      <a:pt x="230" y="19"/>
                    </a:cubicBezTo>
                    <a:cubicBezTo>
                      <a:pt x="219" y="19"/>
                      <a:pt x="216" y="26"/>
                      <a:pt x="204" y="36"/>
                    </a:cubicBezTo>
                    <a:cubicBezTo>
                      <a:pt x="192" y="46"/>
                      <a:pt x="187" y="51"/>
                      <a:pt x="173" y="62"/>
                    </a:cubicBezTo>
                    <a:cubicBezTo>
                      <a:pt x="172" y="63"/>
                      <a:pt x="171" y="63"/>
                      <a:pt x="171" y="64"/>
                    </a:cubicBezTo>
                    <a:cubicBezTo>
                      <a:pt x="171" y="64"/>
                      <a:pt x="171" y="64"/>
                      <a:pt x="171" y="64"/>
                    </a:cubicBezTo>
                    <a:cubicBezTo>
                      <a:pt x="170" y="65"/>
                      <a:pt x="169" y="65"/>
                      <a:pt x="168" y="66"/>
                    </a:cubicBezTo>
                    <a:cubicBezTo>
                      <a:pt x="168" y="66"/>
                      <a:pt x="168" y="66"/>
                      <a:pt x="168" y="66"/>
                    </a:cubicBezTo>
                    <a:cubicBezTo>
                      <a:pt x="167" y="66"/>
                      <a:pt x="166" y="66"/>
                      <a:pt x="165" y="67"/>
                    </a:cubicBezTo>
                    <a:cubicBezTo>
                      <a:pt x="165" y="67"/>
                      <a:pt x="165" y="67"/>
                      <a:pt x="165" y="67"/>
                    </a:cubicBezTo>
                    <a:cubicBezTo>
                      <a:pt x="164" y="67"/>
                      <a:pt x="164" y="68"/>
                      <a:pt x="163" y="68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2" y="68"/>
                      <a:pt x="161" y="69"/>
                      <a:pt x="160" y="69"/>
                    </a:cubicBezTo>
                    <a:cubicBezTo>
                      <a:pt x="160" y="69"/>
                      <a:pt x="160" y="69"/>
                      <a:pt x="160" y="69"/>
                    </a:cubicBezTo>
                    <a:cubicBezTo>
                      <a:pt x="159" y="69"/>
                      <a:pt x="158" y="69"/>
                      <a:pt x="158" y="70"/>
                    </a:cubicBezTo>
                    <a:cubicBezTo>
                      <a:pt x="157" y="70"/>
                      <a:pt x="157" y="70"/>
                      <a:pt x="157" y="70"/>
                    </a:cubicBezTo>
                    <a:cubicBezTo>
                      <a:pt x="156" y="70"/>
                      <a:pt x="156" y="70"/>
                      <a:pt x="155" y="70"/>
                    </a:cubicBezTo>
                    <a:cubicBezTo>
                      <a:pt x="155" y="70"/>
                      <a:pt x="155" y="70"/>
                      <a:pt x="155" y="70"/>
                    </a:cubicBezTo>
                    <a:cubicBezTo>
                      <a:pt x="154" y="70"/>
                      <a:pt x="153" y="70"/>
                      <a:pt x="152" y="70"/>
                    </a:cubicBezTo>
                    <a:cubicBezTo>
                      <a:pt x="152" y="70"/>
                      <a:pt x="152" y="70"/>
                      <a:pt x="152" y="70"/>
                    </a:cubicBezTo>
                    <a:cubicBezTo>
                      <a:pt x="151" y="71"/>
                      <a:pt x="150" y="71"/>
                      <a:pt x="150" y="71"/>
                    </a:cubicBezTo>
                    <a:cubicBezTo>
                      <a:pt x="150" y="71"/>
                      <a:pt x="150" y="71"/>
                      <a:pt x="150" y="71"/>
                    </a:cubicBezTo>
                    <a:cubicBezTo>
                      <a:pt x="149" y="71"/>
                      <a:pt x="148" y="71"/>
                      <a:pt x="147" y="71"/>
                    </a:cubicBezTo>
                    <a:cubicBezTo>
                      <a:pt x="147" y="71"/>
                      <a:pt x="147" y="71"/>
                      <a:pt x="147" y="71"/>
                    </a:cubicBezTo>
                    <a:cubicBezTo>
                      <a:pt x="142" y="71"/>
                      <a:pt x="137" y="70"/>
                      <a:pt x="133" y="70"/>
                    </a:cubicBezTo>
                    <a:cubicBezTo>
                      <a:pt x="133" y="70"/>
                      <a:pt x="133" y="70"/>
                      <a:pt x="132" y="70"/>
                    </a:cubicBezTo>
                    <a:cubicBezTo>
                      <a:pt x="132" y="70"/>
                      <a:pt x="131" y="70"/>
                      <a:pt x="130" y="70"/>
                    </a:cubicBezTo>
                    <a:cubicBezTo>
                      <a:pt x="117" y="69"/>
                      <a:pt x="112" y="64"/>
                      <a:pt x="99" y="60"/>
                    </a:cubicBezTo>
                    <a:cubicBezTo>
                      <a:pt x="85" y="57"/>
                      <a:pt x="93" y="48"/>
                      <a:pt x="84" y="47"/>
                    </a:cubicBezTo>
                    <a:cubicBezTo>
                      <a:pt x="75" y="46"/>
                      <a:pt x="64" y="30"/>
                      <a:pt x="64" y="18"/>
                    </a:cubicBezTo>
                    <a:cubicBezTo>
                      <a:pt x="64" y="7"/>
                      <a:pt x="60" y="6"/>
                      <a:pt x="52" y="2"/>
                    </a:cubicBezTo>
                    <a:cubicBezTo>
                      <a:pt x="51" y="1"/>
                      <a:pt x="50" y="1"/>
                      <a:pt x="49" y="1"/>
                    </a:cubicBezTo>
                    <a:cubicBezTo>
                      <a:pt x="48" y="1"/>
                      <a:pt x="48" y="0"/>
                      <a:pt x="47" y="0"/>
                    </a:cubicBezTo>
                    <a:cubicBezTo>
                      <a:pt x="47" y="0"/>
                      <a:pt x="47" y="0"/>
                      <a:pt x="46" y="0"/>
                    </a:cubicBezTo>
                    <a:cubicBezTo>
                      <a:pt x="46" y="0"/>
                      <a:pt x="45" y="0"/>
                      <a:pt x="44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3" y="1"/>
                      <a:pt x="42" y="1"/>
                      <a:pt x="42" y="1"/>
                    </a:cubicBezTo>
                    <a:cubicBezTo>
                      <a:pt x="38" y="3"/>
                      <a:pt x="35" y="7"/>
                      <a:pt x="34" y="11"/>
                    </a:cubicBezTo>
                    <a:cubicBezTo>
                      <a:pt x="31" y="20"/>
                      <a:pt x="32" y="24"/>
                      <a:pt x="16" y="26"/>
                    </a:cubicBezTo>
                    <a:cubicBezTo>
                      <a:pt x="0" y="28"/>
                      <a:pt x="11" y="47"/>
                      <a:pt x="17" y="60"/>
                    </a:cubicBezTo>
                    <a:cubicBezTo>
                      <a:pt x="24" y="74"/>
                      <a:pt x="24" y="72"/>
                      <a:pt x="24" y="82"/>
                    </a:cubicBezTo>
                    <a:cubicBezTo>
                      <a:pt x="24" y="93"/>
                      <a:pt x="25" y="96"/>
                      <a:pt x="33" y="108"/>
                    </a:cubicBezTo>
                    <a:cubicBezTo>
                      <a:pt x="40" y="121"/>
                      <a:pt x="23" y="125"/>
                      <a:pt x="21" y="136"/>
                    </a:cubicBezTo>
                    <a:cubicBezTo>
                      <a:pt x="19" y="148"/>
                      <a:pt x="40" y="153"/>
                      <a:pt x="41" y="163"/>
                    </a:cubicBezTo>
                    <a:cubicBezTo>
                      <a:pt x="41" y="173"/>
                      <a:pt x="43" y="172"/>
                      <a:pt x="51" y="178"/>
                    </a:cubicBezTo>
                    <a:cubicBezTo>
                      <a:pt x="52" y="180"/>
                      <a:pt x="53" y="181"/>
                      <a:pt x="54" y="182"/>
                    </a:cubicBezTo>
                    <a:cubicBezTo>
                      <a:pt x="56" y="178"/>
                      <a:pt x="58" y="175"/>
                      <a:pt x="58" y="175"/>
                    </a:cubicBezTo>
                    <a:cubicBezTo>
                      <a:pt x="58" y="175"/>
                      <a:pt x="56" y="178"/>
                      <a:pt x="54" y="182"/>
                    </a:cubicBezTo>
                    <a:cubicBezTo>
                      <a:pt x="59" y="187"/>
                      <a:pt x="60" y="192"/>
                      <a:pt x="60" y="200"/>
                    </a:cubicBezTo>
                    <a:cubicBezTo>
                      <a:pt x="60" y="210"/>
                      <a:pt x="68" y="228"/>
                      <a:pt x="73" y="242"/>
                    </a:cubicBezTo>
                    <a:cubicBezTo>
                      <a:pt x="79" y="255"/>
                      <a:pt x="87" y="256"/>
                      <a:pt x="87" y="266"/>
                    </a:cubicBezTo>
                    <a:cubicBezTo>
                      <a:pt x="88" y="276"/>
                      <a:pt x="87" y="282"/>
                      <a:pt x="101" y="282"/>
                    </a:cubicBezTo>
                    <a:cubicBezTo>
                      <a:pt x="114" y="282"/>
                      <a:pt x="117" y="292"/>
                      <a:pt x="135" y="292"/>
                    </a:cubicBezTo>
                    <a:cubicBezTo>
                      <a:pt x="153" y="292"/>
                      <a:pt x="153" y="303"/>
                      <a:pt x="145" y="305"/>
                    </a:cubicBezTo>
                    <a:cubicBezTo>
                      <a:pt x="138" y="307"/>
                      <a:pt x="133" y="304"/>
                      <a:pt x="132" y="317"/>
                    </a:cubicBezTo>
                    <a:cubicBezTo>
                      <a:pt x="131" y="330"/>
                      <a:pt x="137" y="321"/>
                      <a:pt x="143" y="332"/>
                    </a:cubicBezTo>
                    <a:cubicBezTo>
                      <a:pt x="149" y="344"/>
                      <a:pt x="149" y="344"/>
                      <a:pt x="129" y="348"/>
                    </a:cubicBezTo>
                    <a:cubicBezTo>
                      <a:pt x="109" y="352"/>
                      <a:pt x="118" y="371"/>
                      <a:pt x="107" y="379"/>
                    </a:cubicBezTo>
                    <a:cubicBezTo>
                      <a:pt x="97" y="387"/>
                      <a:pt x="106" y="401"/>
                      <a:pt x="99" y="416"/>
                    </a:cubicBezTo>
                    <a:cubicBezTo>
                      <a:pt x="93" y="432"/>
                      <a:pt x="101" y="429"/>
                      <a:pt x="105" y="438"/>
                    </a:cubicBezTo>
                    <a:cubicBezTo>
                      <a:pt x="109" y="446"/>
                      <a:pt x="112" y="450"/>
                      <a:pt x="131" y="462"/>
                    </a:cubicBezTo>
                    <a:cubicBezTo>
                      <a:pt x="149" y="473"/>
                      <a:pt x="139" y="478"/>
                      <a:pt x="137" y="490"/>
                    </a:cubicBezTo>
                    <a:cubicBezTo>
                      <a:pt x="135" y="503"/>
                      <a:pt x="150" y="500"/>
                      <a:pt x="164" y="504"/>
                    </a:cubicBezTo>
                    <a:cubicBezTo>
                      <a:pt x="178" y="507"/>
                      <a:pt x="184" y="522"/>
                      <a:pt x="204" y="529"/>
                    </a:cubicBezTo>
                    <a:cubicBezTo>
                      <a:pt x="224" y="536"/>
                      <a:pt x="225" y="556"/>
                      <a:pt x="237" y="563"/>
                    </a:cubicBezTo>
                    <a:cubicBezTo>
                      <a:pt x="250" y="570"/>
                      <a:pt x="251" y="576"/>
                      <a:pt x="251" y="587"/>
                    </a:cubicBezTo>
                    <a:cubicBezTo>
                      <a:pt x="252" y="598"/>
                      <a:pt x="249" y="598"/>
                      <a:pt x="241" y="600"/>
                    </a:cubicBezTo>
                    <a:cubicBezTo>
                      <a:pt x="234" y="601"/>
                      <a:pt x="237" y="632"/>
                      <a:pt x="251" y="636"/>
                    </a:cubicBezTo>
                    <a:cubicBezTo>
                      <a:pt x="265" y="641"/>
                      <a:pt x="263" y="648"/>
                      <a:pt x="261" y="656"/>
                    </a:cubicBezTo>
                    <a:cubicBezTo>
                      <a:pt x="259" y="663"/>
                      <a:pt x="257" y="672"/>
                      <a:pt x="272" y="678"/>
                    </a:cubicBezTo>
                    <a:cubicBezTo>
                      <a:pt x="287" y="685"/>
                      <a:pt x="285" y="692"/>
                      <a:pt x="293" y="698"/>
                    </a:cubicBezTo>
                    <a:cubicBezTo>
                      <a:pt x="297" y="701"/>
                      <a:pt x="301" y="707"/>
                      <a:pt x="304" y="712"/>
                    </a:cubicBezTo>
                    <a:cubicBezTo>
                      <a:pt x="304" y="712"/>
                      <a:pt x="304" y="712"/>
                      <a:pt x="304" y="712"/>
                    </a:cubicBezTo>
                    <a:cubicBezTo>
                      <a:pt x="320" y="714"/>
                      <a:pt x="320" y="705"/>
                      <a:pt x="320" y="694"/>
                    </a:cubicBezTo>
                    <a:cubicBezTo>
                      <a:pt x="320" y="682"/>
                      <a:pt x="334" y="685"/>
                      <a:pt x="340" y="696"/>
                    </a:cubicBezTo>
                    <a:cubicBezTo>
                      <a:pt x="346" y="708"/>
                      <a:pt x="362" y="709"/>
                      <a:pt x="377" y="698"/>
                    </a:cubicBezTo>
                    <a:cubicBezTo>
                      <a:pt x="393" y="686"/>
                      <a:pt x="405" y="699"/>
                      <a:pt x="412" y="724"/>
                    </a:cubicBezTo>
                    <a:cubicBezTo>
                      <a:pt x="419" y="748"/>
                      <a:pt x="426" y="749"/>
                      <a:pt x="441" y="765"/>
                    </a:cubicBezTo>
                    <a:cubicBezTo>
                      <a:pt x="455" y="781"/>
                      <a:pt x="452" y="808"/>
                      <a:pt x="461" y="825"/>
                    </a:cubicBezTo>
                    <a:cubicBezTo>
                      <a:pt x="469" y="843"/>
                      <a:pt x="509" y="861"/>
                      <a:pt x="535" y="868"/>
                    </a:cubicBezTo>
                    <a:cubicBezTo>
                      <a:pt x="561" y="876"/>
                      <a:pt x="551" y="896"/>
                      <a:pt x="578" y="904"/>
                    </a:cubicBezTo>
                    <a:cubicBezTo>
                      <a:pt x="605" y="913"/>
                      <a:pt x="624" y="929"/>
                      <a:pt x="643" y="936"/>
                    </a:cubicBezTo>
                    <a:cubicBezTo>
                      <a:pt x="661" y="943"/>
                      <a:pt x="680" y="947"/>
                      <a:pt x="694" y="943"/>
                    </a:cubicBezTo>
                    <a:cubicBezTo>
                      <a:pt x="709" y="939"/>
                      <a:pt x="719" y="934"/>
                      <a:pt x="737" y="937"/>
                    </a:cubicBezTo>
                    <a:cubicBezTo>
                      <a:pt x="756" y="940"/>
                      <a:pt x="770" y="931"/>
                      <a:pt x="782" y="914"/>
                    </a:cubicBezTo>
                    <a:cubicBezTo>
                      <a:pt x="793" y="897"/>
                      <a:pt x="807" y="900"/>
                      <a:pt x="825" y="911"/>
                    </a:cubicBezTo>
                    <a:cubicBezTo>
                      <a:pt x="842" y="923"/>
                      <a:pt x="840" y="943"/>
                      <a:pt x="843" y="959"/>
                    </a:cubicBezTo>
                    <a:cubicBezTo>
                      <a:pt x="846" y="974"/>
                      <a:pt x="846" y="974"/>
                      <a:pt x="853" y="990"/>
                    </a:cubicBezTo>
                    <a:cubicBezTo>
                      <a:pt x="861" y="1006"/>
                      <a:pt x="893" y="1015"/>
                      <a:pt x="919" y="1015"/>
                    </a:cubicBezTo>
                    <a:cubicBezTo>
                      <a:pt x="945" y="1015"/>
                      <a:pt x="955" y="1019"/>
                      <a:pt x="968" y="1027"/>
                    </a:cubicBezTo>
                    <a:cubicBezTo>
                      <a:pt x="981" y="1036"/>
                      <a:pt x="1024" y="1027"/>
                      <a:pt x="1048" y="1029"/>
                    </a:cubicBezTo>
                    <a:cubicBezTo>
                      <a:pt x="1073" y="1030"/>
                      <a:pt x="1090" y="1042"/>
                      <a:pt x="1123" y="1046"/>
                    </a:cubicBezTo>
                    <a:cubicBezTo>
                      <a:pt x="1126" y="1047"/>
                      <a:pt x="1129" y="1047"/>
                      <a:pt x="1132" y="1047"/>
                    </a:cubicBezTo>
                    <a:cubicBezTo>
                      <a:pt x="1132" y="1043"/>
                      <a:pt x="1133" y="1039"/>
                      <a:pt x="1133" y="1036"/>
                    </a:cubicBezTo>
                    <a:cubicBezTo>
                      <a:pt x="1133" y="1028"/>
                      <a:pt x="1137" y="1001"/>
                      <a:pt x="1139" y="99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7" name="Freeform 231">
                <a:extLst>
                  <a:ext uri="{FF2B5EF4-FFF2-40B4-BE49-F238E27FC236}">
                    <a16:creationId xmlns:a16="http://schemas.microsoft.com/office/drawing/2014/main" id="{F26A7DD2-C4A0-EB4B-B98D-7EBC77076B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1927"/>
                <a:ext cx="233" cy="166"/>
              </a:xfrm>
              <a:custGeom>
                <a:avLst/>
                <a:gdLst>
                  <a:gd name="T0" fmla="*/ 840 w 919"/>
                  <a:gd name="T1" fmla="*/ 86 h 658"/>
                  <a:gd name="T2" fmla="*/ 736 w 919"/>
                  <a:gd name="T3" fmla="*/ 127 h 658"/>
                  <a:gd name="T4" fmla="*/ 700 w 919"/>
                  <a:gd name="T5" fmla="*/ 65 h 658"/>
                  <a:gd name="T6" fmla="*/ 661 w 919"/>
                  <a:gd name="T7" fmla="*/ 0 h 658"/>
                  <a:gd name="T8" fmla="*/ 586 w 919"/>
                  <a:gd name="T9" fmla="*/ 68 h 658"/>
                  <a:gd name="T10" fmla="*/ 538 w 919"/>
                  <a:gd name="T11" fmla="*/ 89 h 658"/>
                  <a:gd name="T12" fmla="*/ 465 w 919"/>
                  <a:gd name="T13" fmla="*/ 101 h 658"/>
                  <a:gd name="T14" fmla="*/ 464 w 919"/>
                  <a:gd name="T15" fmla="*/ 98 h 658"/>
                  <a:gd name="T16" fmla="*/ 463 w 919"/>
                  <a:gd name="T17" fmla="*/ 97 h 658"/>
                  <a:gd name="T18" fmla="*/ 461 w 919"/>
                  <a:gd name="T19" fmla="*/ 96 h 658"/>
                  <a:gd name="T20" fmla="*/ 457 w 919"/>
                  <a:gd name="T21" fmla="*/ 96 h 658"/>
                  <a:gd name="T22" fmla="*/ 447 w 919"/>
                  <a:gd name="T23" fmla="*/ 98 h 658"/>
                  <a:gd name="T24" fmla="*/ 444 w 919"/>
                  <a:gd name="T25" fmla="*/ 98 h 658"/>
                  <a:gd name="T26" fmla="*/ 440 w 919"/>
                  <a:gd name="T27" fmla="*/ 98 h 658"/>
                  <a:gd name="T28" fmla="*/ 415 w 919"/>
                  <a:gd name="T29" fmla="*/ 83 h 658"/>
                  <a:gd name="T30" fmla="*/ 413 w 919"/>
                  <a:gd name="T31" fmla="*/ 82 h 658"/>
                  <a:gd name="T32" fmla="*/ 409 w 919"/>
                  <a:gd name="T33" fmla="*/ 81 h 658"/>
                  <a:gd name="T34" fmla="*/ 406 w 919"/>
                  <a:gd name="T35" fmla="*/ 81 h 658"/>
                  <a:gd name="T36" fmla="*/ 401 w 919"/>
                  <a:gd name="T37" fmla="*/ 81 h 658"/>
                  <a:gd name="T38" fmla="*/ 397 w 919"/>
                  <a:gd name="T39" fmla="*/ 81 h 658"/>
                  <a:gd name="T40" fmla="*/ 392 w 919"/>
                  <a:gd name="T41" fmla="*/ 81 h 658"/>
                  <a:gd name="T42" fmla="*/ 385 w 919"/>
                  <a:gd name="T43" fmla="*/ 82 h 658"/>
                  <a:gd name="T44" fmla="*/ 371 w 919"/>
                  <a:gd name="T45" fmla="*/ 84 h 658"/>
                  <a:gd name="T46" fmla="*/ 293 w 919"/>
                  <a:gd name="T47" fmla="*/ 95 h 658"/>
                  <a:gd name="T48" fmla="*/ 240 w 919"/>
                  <a:gd name="T49" fmla="*/ 172 h 658"/>
                  <a:gd name="T50" fmla="*/ 173 w 919"/>
                  <a:gd name="T51" fmla="*/ 211 h 658"/>
                  <a:gd name="T52" fmla="*/ 118 w 919"/>
                  <a:gd name="T53" fmla="*/ 246 h 658"/>
                  <a:gd name="T54" fmla="*/ 67 w 919"/>
                  <a:gd name="T55" fmla="*/ 220 h 658"/>
                  <a:gd name="T56" fmla="*/ 47 w 919"/>
                  <a:gd name="T57" fmla="*/ 218 h 658"/>
                  <a:gd name="T58" fmla="*/ 47 w 919"/>
                  <a:gd name="T59" fmla="*/ 225 h 658"/>
                  <a:gd name="T60" fmla="*/ 38 w 919"/>
                  <a:gd name="T61" fmla="*/ 249 h 658"/>
                  <a:gd name="T62" fmla="*/ 18 w 919"/>
                  <a:gd name="T63" fmla="*/ 310 h 658"/>
                  <a:gd name="T64" fmla="*/ 22 w 919"/>
                  <a:gd name="T65" fmla="*/ 372 h 658"/>
                  <a:gd name="T66" fmla="*/ 15 w 919"/>
                  <a:gd name="T67" fmla="*/ 432 h 658"/>
                  <a:gd name="T68" fmla="*/ 28 w 919"/>
                  <a:gd name="T69" fmla="*/ 510 h 658"/>
                  <a:gd name="T70" fmla="*/ 82 w 919"/>
                  <a:gd name="T71" fmla="*/ 560 h 658"/>
                  <a:gd name="T72" fmla="*/ 42 w 919"/>
                  <a:gd name="T73" fmla="*/ 600 h 658"/>
                  <a:gd name="T74" fmla="*/ 41 w 919"/>
                  <a:gd name="T75" fmla="*/ 601 h 658"/>
                  <a:gd name="T76" fmla="*/ 27 w 919"/>
                  <a:gd name="T77" fmla="*/ 619 h 658"/>
                  <a:gd name="T78" fmla="*/ 61 w 919"/>
                  <a:gd name="T79" fmla="*/ 636 h 658"/>
                  <a:gd name="T80" fmla="*/ 182 w 919"/>
                  <a:gd name="T81" fmla="*/ 653 h 658"/>
                  <a:gd name="T82" fmla="*/ 322 w 919"/>
                  <a:gd name="T83" fmla="*/ 639 h 658"/>
                  <a:gd name="T84" fmla="*/ 378 w 919"/>
                  <a:gd name="T85" fmla="*/ 549 h 658"/>
                  <a:gd name="T86" fmla="*/ 438 w 919"/>
                  <a:gd name="T87" fmla="*/ 528 h 658"/>
                  <a:gd name="T88" fmla="*/ 466 w 919"/>
                  <a:gd name="T89" fmla="*/ 498 h 658"/>
                  <a:gd name="T90" fmla="*/ 542 w 919"/>
                  <a:gd name="T91" fmla="*/ 498 h 658"/>
                  <a:gd name="T92" fmla="*/ 552 w 919"/>
                  <a:gd name="T93" fmla="*/ 446 h 658"/>
                  <a:gd name="T94" fmla="*/ 612 w 919"/>
                  <a:gd name="T95" fmla="*/ 386 h 658"/>
                  <a:gd name="T96" fmla="*/ 610 w 919"/>
                  <a:gd name="T97" fmla="*/ 327 h 658"/>
                  <a:gd name="T98" fmla="*/ 666 w 919"/>
                  <a:gd name="T99" fmla="*/ 326 h 658"/>
                  <a:gd name="T100" fmla="*/ 674 w 919"/>
                  <a:gd name="T101" fmla="*/ 278 h 658"/>
                  <a:gd name="T102" fmla="*/ 684 w 919"/>
                  <a:gd name="T103" fmla="*/ 189 h 658"/>
                  <a:gd name="T104" fmla="*/ 725 w 919"/>
                  <a:gd name="T105" fmla="*/ 149 h 658"/>
                  <a:gd name="T106" fmla="*/ 845 w 919"/>
                  <a:gd name="T107" fmla="*/ 122 h 658"/>
                  <a:gd name="T108" fmla="*/ 889 w 919"/>
                  <a:gd name="T109" fmla="*/ 114 h 658"/>
                  <a:gd name="T110" fmla="*/ 892 w 919"/>
                  <a:gd name="T111" fmla="*/ 111 h 658"/>
                  <a:gd name="T112" fmla="*/ 904 w 919"/>
                  <a:gd name="T113" fmla="*/ 106 h 658"/>
                  <a:gd name="T114" fmla="*/ 884 w 919"/>
                  <a:gd name="T115" fmla="*/ 81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19" h="658">
                    <a:moveTo>
                      <a:pt x="884" y="81"/>
                    </a:moveTo>
                    <a:cubicBezTo>
                      <a:pt x="875" y="79"/>
                      <a:pt x="867" y="84"/>
                      <a:pt x="861" y="88"/>
                    </a:cubicBezTo>
                    <a:cubicBezTo>
                      <a:pt x="855" y="92"/>
                      <a:pt x="844" y="91"/>
                      <a:pt x="840" y="86"/>
                    </a:cubicBezTo>
                    <a:cubicBezTo>
                      <a:pt x="836" y="82"/>
                      <a:pt x="825" y="80"/>
                      <a:pt x="810" y="82"/>
                    </a:cubicBezTo>
                    <a:cubicBezTo>
                      <a:pt x="794" y="84"/>
                      <a:pt x="776" y="102"/>
                      <a:pt x="768" y="110"/>
                    </a:cubicBezTo>
                    <a:cubicBezTo>
                      <a:pt x="760" y="118"/>
                      <a:pt x="745" y="119"/>
                      <a:pt x="736" y="127"/>
                    </a:cubicBezTo>
                    <a:cubicBezTo>
                      <a:pt x="728" y="135"/>
                      <a:pt x="709" y="136"/>
                      <a:pt x="697" y="126"/>
                    </a:cubicBezTo>
                    <a:cubicBezTo>
                      <a:pt x="685" y="116"/>
                      <a:pt x="699" y="96"/>
                      <a:pt x="698" y="89"/>
                    </a:cubicBezTo>
                    <a:cubicBezTo>
                      <a:pt x="696" y="82"/>
                      <a:pt x="696" y="72"/>
                      <a:pt x="700" y="65"/>
                    </a:cubicBezTo>
                    <a:cubicBezTo>
                      <a:pt x="703" y="58"/>
                      <a:pt x="706" y="52"/>
                      <a:pt x="692" y="46"/>
                    </a:cubicBezTo>
                    <a:cubicBezTo>
                      <a:pt x="679" y="40"/>
                      <a:pt x="686" y="35"/>
                      <a:pt x="684" y="21"/>
                    </a:cubicBezTo>
                    <a:cubicBezTo>
                      <a:pt x="682" y="7"/>
                      <a:pt x="671" y="0"/>
                      <a:pt x="661" y="0"/>
                    </a:cubicBezTo>
                    <a:cubicBezTo>
                      <a:pt x="651" y="0"/>
                      <a:pt x="643" y="24"/>
                      <a:pt x="632" y="30"/>
                    </a:cubicBezTo>
                    <a:cubicBezTo>
                      <a:pt x="620" y="36"/>
                      <a:pt x="617" y="40"/>
                      <a:pt x="616" y="60"/>
                    </a:cubicBezTo>
                    <a:cubicBezTo>
                      <a:pt x="614" y="80"/>
                      <a:pt x="600" y="71"/>
                      <a:pt x="586" y="68"/>
                    </a:cubicBezTo>
                    <a:cubicBezTo>
                      <a:pt x="571" y="66"/>
                      <a:pt x="566" y="72"/>
                      <a:pt x="566" y="83"/>
                    </a:cubicBezTo>
                    <a:cubicBezTo>
                      <a:pt x="567" y="94"/>
                      <a:pt x="570" y="105"/>
                      <a:pt x="562" y="105"/>
                    </a:cubicBezTo>
                    <a:cubicBezTo>
                      <a:pt x="555" y="105"/>
                      <a:pt x="552" y="98"/>
                      <a:pt x="538" y="89"/>
                    </a:cubicBezTo>
                    <a:cubicBezTo>
                      <a:pt x="525" y="80"/>
                      <a:pt x="528" y="99"/>
                      <a:pt x="509" y="99"/>
                    </a:cubicBezTo>
                    <a:cubicBezTo>
                      <a:pt x="490" y="99"/>
                      <a:pt x="491" y="115"/>
                      <a:pt x="478" y="116"/>
                    </a:cubicBezTo>
                    <a:cubicBezTo>
                      <a:pt x="466" y="118"/>
                      <a:pt x="467" y="111"/>
                      <a:pt x="465" y="101"/>
                    </a:cubicBezTo>
                    <a:cubicBezTo>
                      <a:pt x="465" y="101"/>
                      <a:pt x="465" y="100"/>
                      <a:pt x="465" y="100"/>
                    </a:cubicBezTo>
                    <a:cubicBezTo>
                      <a:pt x="465" y="99"/>
                      <a:pt x="464" y="99"/>
                      <a:pt x="464" y="99"/>
                    </a:cubicBezTo>
                    <a:cubicBezTo>
                      <a:pt x="464" y="99"/>
                      <a:pt x="464" y="99"/>
                      <a:pt x="464" y="98"/>
                    </a:cubicBezTo>
                    <a:cubicBezTo>
                      <a:pt x="464" y="98"/>
                      <a:pt x="464" y="98"/>
                      <a:pt x="464" y="98"/>
                    </a:cubicBezTo>
                    <a:cubicBezTo>
                      <a:pt x="463" y="98"/>
                      <a:pt x="463" y="98"/>
                      <a:pt x="463" y="97"/>
                    </a:cubicBezTo>
                    <a:cubicBezTo>
                      <a:pt x="463" y="97"/>
                      <a:pt x="463" y="97"/>
                      <a:pt x="463" y="97"/>
                    </a:cubicBezTo>
                    <a:cubicBezTo>
                      <a:pt x="462" y="97"/>
                      <a:pt x="462" y="97"/>
                      <a:pt x="462" y="97"/>
                    </a:cubicBezTo>
                    <a:cubicBezTo>
                      <a:pt x="462" y="97"/>
                      <a:pt x="462" y="97"/>
                      <a:pt x="461" y="97"/>
                    </a:cubicBezTo>
                    <a:cubicBezTo>
                      <a:pt x="461" y="96"/>
                      <a:pt x="461" y="96"/>
                      <a:pt x="461" y="96"/>
                    </a:cubicBezTo>
                    <a:cubicBezTo>
                      <a:pt x="460" y="96"/>
                      <a:pt x="460" y="96"/>
                      <a:pt x="460" y="96"/>
                    </a:cubicBezTo>
                    <a:cubicBezTo>
                      <a:pt x="460" y="96"/>
                      <a:pt x="460" y="96"/>
                      <a:pt x="459" y="96"/>
                    </a:cubicBezTo>
                    <a:cubicBezTo>
                      <a:pt x="459" y="96"/>
                      <a:pt x="458" y="96"/>
                      <a:pt x="457" y="96"/>
                    </a:cubicBezTo>
                    <a:cubicBezTo>
                      <a:pt x="455" y="96"/>
                      <a:pt x="452" y="97"/>
                      <a:pt x="450" y="97"/>
                    </a:cubicBezTo>
                    <a:cubicBezTo>
                      <a:pt x="449" y="97"/>
                      <a:pt x="449" y="97"/>
                      <a:pt x="449" y="97"/>
                    </a:cubicBezTo>
                    <a:cubicBezTo>
                      <a:pt x="448" y="98"/>
                      <a:pt x="448" y="98"/>
                      <a:pt x="447" y="98"/>
                    </a:cubicBezTo>
                    <a:cubicBezTo>
                      <a:pt x="447" y="98"/>
                      <a:pt x="447" y="98"/>
                      <a:pt x="446" y="98"/>
                    </a:cubicBezTo>
                    <a:cubicBezTo>
                      <a:pt x="446" y="98"/>
                      <a:pt x="445" y="98"/>
                      <a:pt x="445" y="98"/>
                    </a:cubicBezTo>
                    <a:cubicBezTo>
                      <a:pt x="445" y="98"/>
                      <a:pt x="444" y="98"/>
                      <a:pt x="444" y="98"/>
                    </a:cubicBezTo>
                    <a:cubicBezTo>
                      <a:pt x="443" y="98"/>
                      <a:pt x="443" y="98"/>
                      <a:pt x="443" y="98"/>
                    </a:cubicBezTo>
                    <a:cubicBezTo>
                      <a:pt x="442" y="98"/>
                      <a:pt x="442" y="98"/>
                      <a:pt x="441" y="98"/>
                    </a:cubicBezTo>
                    <a:cubicBezTo>
                      <a:pt x="441" y="98"/>
                      <a:pt x="440" y="98"/>
                      <a:pt x="440" y="98"/>
                    </a:cubicBezTo>
                    <a:cubicBezTo>
                      <a:pt x="439" y="98"/>
                      <a:pt x="439" y="98"/>
                      <a:pt x="438" y="98"/>
                    </a:cubicBezTo>
                    <a:cubicBezTo>
                      <a:pt x="426" y="96"/>
                      <a:pt x="420" y="91"/>
                      <a:pt x="416" y="84"/>
                    </a:cubicBezTo>
                    <a:cubicBezTo>
                      <a:pt x="416" y="84"/>
                      <a:pt x="415" y="84"/>
                      <a:pt x="415" y="83"/>
                    </a:cubicBezTo>
                    <a:cubicBezTo>
                      <a:pt x="415" y="83"/>
                      <a:pt x="415" y="83"/>
                      <a:pt x="414" y="83"/>
                    </a:cubicBezTo>
                    <a:cubicBezTo>
                      <a:pt x="414" y="83"/>
                      <a:pt x="414" y="83"/>
                      <a:pt x="413" y="83"/>
                    </a:cubicBezTo>
                    <a:cubicBezTo>
                      <a:pt x="413" y="82"/>
                      <a:pt x="413" y="82"/>
                      <a:pt x="413" y="82"/>
                    </a:cubicBezTo>
                    <a:cubicBezTo>
                      <a:pt x="413" y="82"/>
                      <a:pt x="412" y="82"/>
                      <a:pt x="411" y="82"/>
                    </a:cubicBezTo>
                    <a:cubicBezTo>
                      <a:pt x="411" y="82"/>
                      <a:pt x="411" y="82"/>
                      <a:pt x="411" y="82"/>
                    </a:cubicBezTo>
                    <a:cubicBezTo>
                      <a:pt x="411" y="82"/>
                      <a:pt x="410" y="81"/>
                      <a:pt x="409" y="81"/>
                    </a:cubicBezTo>
                    <a:cubicBezTo>
                      <a:pt x="409" y="81"/>
                      <a:pt x="409" y="81"/>
                      <a:pt x="409" y="81"/>
                    </a:cubicBezTo>
                    <a:cubicBezTo>
                      <a:pt x="408" y="81"/>
                      <a:pt x="408" y="81"/>
                      <a:pt x="407" y="81"/>
                    </a:cubicBezTo>
                    <a:cubicBezTo>
                      <a:pt x="407" y="81"/>
                      <a:pt x="407" y="81"/>
                      <a:pt x="406" y="81"/>
                    </a:cubicBezTo>
                    <a:cubicBezTo>
                      <a:pt x="406" y="81"/>
                      <a:pt x="405" y="81"/>
                      <a:pt x="404" y="81"/>
                    </a:cubicBezTo>
                    <a:cubicBezTo>
                      <a:pt x="404" y="81"/>
                      <a:pt x="403" y="81"/>
                      <a:pt x="403" y="81"/>
                    </a:cubicBezTo>
                    <a:cubicBezTo>
                      <a:pt x="402" y="81"/>
                      <a:pt x="402" y="81"/>
                      <a:pt x="401" y="81"/>
                    </a:cubicBezTo>
                    <a:cubicBezTo>
                      <a:pt x="401" y="81"/>
                      <a:pt x="400" y="81"/>
                      <a:pt x="400" y="81"/>
                    </a:cubicBezTo>
                    <a:cubicBezTo>
                      <a:pt x="399" y="81"/>
                      <a:pt x="399" y="81"/>
                      <a:pt x="398" y="81"/>
                    </a:cubicBezTo>
                    <a:cubicBezTo>
                      <a:pt x="398" y="81"/>
                      <a:pt x="398" y="81"/>
                      <a:pt x="397" y="81"/>
                    </a:cubicBezTo>
                    <a:cubicBezTo>
                      <a:pt x="396" y="81"/>
                      <a:pt x="395" y="81"/>
                      <a:pt x="394" y="81"/>
                    </a:cubicBezTo>
                    <a:cubicBezTo>
                      <a:pt x="394" y="81"/>
                      <a:pt x="394" y="81"/>
                      <a:pt x="393" y="81"/>
                    </a:cubicBezTo>
                    <a:cubicBezTo>
                      <a:pt x="393" y="81"/>
                      <a:pt x="392" y="81"/>
                      <a:pt x="392" y="81"/>
                    </a:cubicBezTo>
                    <a:cubicBezTo>
                      <a:pt x="391" y="81"/>
                      <a:pt x="390" y="81"/>
                      <a:pt x="390" y="81"/>
                    </a:cubicBezTo>
                    <a:cubicBezTo>
                      <a:pt x="389" y="81"/>
                      <a:pt x="389" y="81"/>
                      <a:pt x="389" y="82"/>
                    </a:cubicBezTo>
                    <a:cubicBezTo>
                      <a:pt x="387" y="82"/>
                      <a:pt x="386" y="82"/>
                      <a:pt x="385" y="82"/>
                    </a:cubicBezTo>
                    <a:cubicBezTo>
                      <a:pt x="385" y="82"/>
                      <a:pt x="385" y="82"/>
                      <a:pt x="385" y="82"/>
                    </a:cubicBezTo>
                    <a:cubicBezTo>
                      <a:pt x="381" y="82"/>
                      <a:pt x="378" y="83"/>
                      <a:pt x="375" y="83"/>
                    </a:cubicBezTo>
                    <a:cubicBezTo>
                      <a:pt x="373" y="83"/>
                      <a:pt x="372" y="84"/>
                      <a:pt x="371" y="84"/>
                    </a:cubicBezTo>
                    <a:cubicBezTo>
                      <a:pt x="356" y="86"/>
                      <a:pt x="352" y="79"/>
                      <a:pt x="345" y="72"/>
                    </a:cubicBezTo>
                    <a:cubicBezTo>
                      <a:pt x="338" y="66"/>
                      <a:pt x="328" y="68"/>
                      <a:pt x="324" y="80"/>
                    </a:cubicBezTo>
                    <a:cubicBezTo>
                      <a:pt x="321" y="91"/>
                      <a:pt x="306" y="95"/>
                      <a:pt x="293" y="95"/>
                    </a:cubicBezTo>
                    <a:cubicBezTo>
                      <a:pt x="280" y="95"/>
                      <a:pt x="275" y="104"/>
                      <a:pt x="272" y="115"/>
                    </a:cubicBezTo>
                    <a:cubicBezTo>
                      <a:pt x="268" y="126"/>
                      <a:pt x="261" y="132"/>
                      <a:pt x="260" y="146"/>
                    </a:cubicBezTo>
                    <a:cubicBezTo>
                      <a:pt x="260" y="160"/>
                      <a:pt x="252" y="172"/>
                      <a:pt x="240" y="172"/>
                    </a:cubicBezTo>
                    <a:cubicBezTo>
                      <a:pt x="227" y="172"/>
                      <a:pt x="226" y="184"/>
                      <a:pt x="210" y="186"/>
                    </a:cubicBezTo>
                    <a:cubicBezTo>
                      <a:pt x="195" y="188"/>
                      <a:pt x="188" y="193"/>
                      <a:pt x="178" y="195"/>
                    </a:cubicBezTo>
                    <a:cubicBezTo>
                      <a:pt x="168" y="197"/>
                      <a:pt x="168" y="204"/>
                      <a:pt x="173" y="211"/>
                    </a:cubicBezTo>
                    <a:cubicBezTo>
                      <a:pt x="178" y="218"/>
                      <a:pt x="166" y="222"/>
                      <a:pt x="161" y="228"/>
                    </a:cubicBezTo>
                    <a:cubicBezTo>
                      <a:pt x="156" y="235"/>
                      <a:pt x="150" y="239"/>
                      <a:pt x="139" y="235"/>
                    </a:cubicBezTo>
                    <a:cubicBezTo>
                      <a:pt x="128" y="231"/>
                      <a:pt x="122" y="240"/>
                      <a:pt x="118" y="246"/>
                    </a:cubicBezTo>
                    <a:cubicBezTo>
                      <a:pt x="115" y="252"/>
                      <a:pt x="109" y="245"/>
                      <a:pt x="107" y="237"/>
                    </a:cubicBezTo>
                    <a:cubicBezTo>
                      <a:pt x="105" y="229"/>
                      <a:pt x="90" y="228"/>
                      <a:pt x="84" y="228"/>
                    </a:cubicBezTo>
                    <a:cubicBezTo>
                      <a:pt x="79" y="228"/>
                      <a:pt x="74" y="230"/>
                      <a:pt x="67" y="220"/>
                    </a:cubicBezTo>
                    <a:cubicBezTo>
                      <a:pt x="63" y="214"/>
                      <a:pt x="54" y="213"/>
                      <a:pt x="47" y="213"/>
                    </a:cubicBezTo>
                    <a:cubicBezTo>
                      <a:pt x="47" y="215"/>
                      <a:pt x="47" y="216"/>
                      <a:pt x="47" y="217"/>
                    </a:cubicBezTo>
                    <a:cubicBezTo>
                      <a:pt x="47" y="217"/>
                      <a:pt x="47" y="218"/>
                      <a:pt x="47" y="218"/>
                    </a:cubicBezTo>
                    <a:cubicBezTo>
                      <a:pt x="47" y="219"/>
                      <a:pt x="47" y="220"/>
                      <a:pt x="47" y="221"/>
                    </a:cubicBezTo>
                    <a:cubicBezTo>
                      <a:pt x="47" y="221"/>
                      <a:pt x="47" y="221"/>
                      <a:pt x="47" y="221"/>
                    </a:cubicBezTo>
                    <a:cubicBezTo>
                      <a:pt x="47" y="223"/>
                      <a:pt x="47" y="224"/>
                      <a:pt x="47" y="225"/>
                    </a:cubicBezTo>
                    <a:cubicBezTo>
                      <a:pt x="47" y="225"/>
                      <a:pt x="47" y="225"/>
                      <a:pt x="47" y="225"/>
                    </a:cubicBezTo>
                    <a:cubicBezTo>
                      <a:pt x="46" y="226"/>
                      <a:pt x="46" y="227"/>
                      <a:pt x="46" y="228"/>
                    </a:cubicBezTo>
                    <a:cubicBezTo>
                      <a:pt x="41" y="239"/>
                      <a:pt x="38" y="242"/>
                      <a:pt x="38" y="249"/>
                    </a:cubicBezTo>
                    <a:cubicBezTo>
                      <a:pt x="38" y="256"/>
                      <a:pt x="43" y="268"/>
                      <a:pt x="34" y="274"/>
                    </a:cubicBezTo>
                    <a:cubicBezTo>
                      <a:pt x="26" y="280"/>
                      <a:pt x="22" y="288"/>
                      <a:pt x="22" y="294"/>
                    </a:cubicBezTo>
                    <a:cubicBezTo>
                      <a:pt x="22" y="300"/>
                      <a:pt x="28" y="309"/>
                      <a:pt x="18" y="310"/>
                    </a:cubicBezTo>
                    <a:cubicBezTo>
                      <a:pt x="8" y="310"/>
                      <a:pt x="4" y="316"/>
                      <a:pt x="4" y="327"/>
                    </a:cubicBezTo>
                    <a:cubicBezTo>
                      <a:pt x="4" y="338"/>
                      <a:pt x="0" y="357"/>
                      <a:pt x="9" y="359"/>
                    </a:cubicBezTo>
                    <a:cubicBezTo>
                      <a:pt x="18" y="361"/>
                      <a:pt x="37" y="359"/>
                      <a:pt x="22" y="372"/>
                    </a:cubicBezTo>
                    <a:cubicBezTo>
                      <a:pt x="8" y="384"/>
                      <a:pt x="4" y="385"/>
                      <a:pt x="4" y="394"/>
                    </a:cubicBezTo>
                    <a:cubicBezTo>
                      <a:pt x="4" y="402"/>
                      <a:pt x="2" y="410"/>
                      <a:pt x="8" y="412"/>
                    </a:cubicBezTo>
                    <a:cubicBezTo>
                      <a:pt x="14" y="414"/>
                      <a:pt x="9" y="430"/>
                      <a:pt x="15" y="432"/>
                    </a:cubicBezTo>
                    <a:cubicBezTo>
                      <a:pt x="21" y="435"/>
                      <a:pt x="24" y="430"/>
                      <a:pt x="24" y="451"/>
                    </a:cubicBezTo>
                    <a:cubicBezTo>
                      <a:pt x="24" y="472"/>
                      <a:pt x="18" y="477"/>
                      <a:pt x="18" y="485"/>
                    </a:cubicBezTo>
                    <a:cubicBezTo>
                      <a:pt x="18" y="493"/>
                      <a:pt x="20" y="508"/>
                      <a:pt x="28" y="510"/>
                    </a:cubicBezTo>
                    <a:cubicBezTo>
                      <a:pt x="36" y="512"/>
                      <a:pt x="55" y="511"/>
                      <a:pt x="65" y="513"/>
                    </a:cubicBezTo>
                    <a:cubicBezTo>
                      <a:pt x="75" y="515"/>
                      <a:pt x="83" y="526"/>
                      <a:pt x="86" y="532"/>
                    </a:cubicBezTo>
                    <a:cubicBezTo>
                      <a:pt x="90" y="539"/>
                      <a:pt x="88" y="552"/>
                      <a:pt x="82" y="560"/>
                    </a:cubicBezTo>
                    <a:cubicBezTo>
                      <a:pt x="76" y="567"/>
                      <a:pt x="65" y="572"/>
                      <a:pt x="60" y="580"/>
                    </a:cubicBezTo>
                    <a:cubicBezTo>
                      <a:pt x="56" y="587"/>
                      <a:pt x="47" y="595"/>
                      <a:pt x="42" y="600"/>
                    </a:cubicBezTo>
                    <a:cubicBezTo>
                      <a:pt x="42" y="600"/>
                      <a:pt x="42" y="600"/>
                      <a:pt x="42" y="600"/>
                    </a:cubicBezTo>
                    <a:cubicBezTo>
                      <a:pt x="42" y="600"/>
                      <a:pt x="42" y="600"/>
                      <a:pt x="42" y="601"/>
                    </a:cubicBezTo>
                    <a:cubicBezTo>
                      <a:pt x="41" y="601"/>
                      <a:pt x="41" y="601"/>
                      <a:pt x="41" y="601"/>
                    </a:cubicBezTo>
                    <a:cubicBezTo>
                      <a:pt x="41" y="601"/>
                      <a:pt x="41" y="601"/>
                      <a:pt x="41" y="601"/>
                    </a:cubicBezTo>
                    <a:cubicBezTo>
                      <a:pt x="41" y="601"/>
                      <a:pt x="41" y="601"/>
                      <a:pt x="41" y="601"/>
                    </a:cubicBezTo>
                    <a:cubicBezTo>
                      <a:pt x="36" y="605"/>
                      <a:pt x="28" y="611"/>
                      <a:pt x="27" y="618"/>
                    </a:cubicBezTo>
                    <a:cubicBezTo>
                      <a:pt x="27" y="618"/>
                      <a:pt x="27" y="619"/>
                      <a:pt x="27" y="619"/>
                    </a:cubicBezTo>
                    <a:cubicBezTo>
                      <a:pt x="27" y="619"/>
                      <a:pt x="26" y="620"/>
                      <a:pt x="26" y="620"/>
                    </a:cubicBezTo>
                    <a:cubicBezTo>
                      <a:pt x="26" y="620"/>
                      <a:pt x="26" y="620"/>
                      <a:pt x="26" y="620"/>
                    </a:cubicBezTo>
                    <a:cubicBezTo>
                      <a:pt x="36" y="626"/>
                      <a:pt x="52" y="634"/>
                      <a:pt x="61" y="636"/>
                    </a:cubicBezTo>
                    <a:cubicBezTo>
                      <a:pt x="76" y="638"/>
                      <a:pt x="82" y="639"/>
                      <a:pt x="92" y="645"/>
                    </a:cubicBezTo>
                    <a:cubicBezTo>
                      <a:pt x="102" y="651"/>
                      <a:pt x="113" y="652"/>
                      <a:pt x="124" y="652"/>
                    </a:cubicBezTo>
                    <a:cubicBezTo>
                      <a:pt x="136" y="652"/>
                      <a:pt x="159" y="653"/>
                      <a:pt x="182" y="653"/>
                    </a:cubicBezTo>
                    <a:cubicBezTo>
                      <a:pt x="204" y="653"/>
                      <a:pt x="219" y="658"/>
                      <a:pt x="234" y="650"/>
                    </a:cubicBezTo>
                    <a:cubicBezTo>
                      <a:pt x="250" y="643"/>
                      <a:pt x="262" y="642"/>
                      <a:pt x="277" y="642"/>
                    </a:cubicBezTo>
                    <a:cubicBezTo>
                      <a:pt x="292" y="642"/>
                      <a:pt x="311" y="642"/>
                      <a:pt x="322" y="639"/>
                    </a:cubicBezTo>
                    <a:cubicBezTo>
                      <a:pt x="332" y="636"/>
                      <a:pt x="340" y="637"/>
                      <a:pt x="355" y="633"/>
                    </a:cubicBezTo>
                    <a:cubicBezTo>
                      <a:pt x="370" y="629"/>
                      <a:pt x="372" y="626"/>
                      <a:pt x="371" y="606"/>
                    </a:cubicBezTo>
                    <a:cubicBezTo>
                      <a:pt x="370" y="587"/>
                      <a:pt x="358" y="562"/>
                      <a:pt x="378" y="549"/>
                    </a:cubicBezTo>
                    <a:cubicBezTo>
                      <a:pt x="398" y="536"/>
                      <a:pt x="388" y="534"/>
                      <a:pt x="399" y="528"/>
                    </a:cubicBezTo>
                    <a:cubicBezTo>
                      <a:pt x="410" y="521"/>
                      <a:pt x="414" y="514"/>
                      <a:pt x="422" y="523"/>
                    </a:cubicBezTo>
                    <a:cubicBezTo>
                      <a:pt x="429" y="532"/>
                      <a:pt x="428" y="528"/>
                      <a:pt x="438" y="528"/>
                    </a:cubicBezTo>
                    <a:cubicBezTo>
                      <a:pt x="447" y="528"/>
                      <a:pt x="460" y="524"/>
                      <a:pt x="460" y="519"/>
                    </a:cubicBezTo>
                    <a:cubicBezTo>
                      <a:pt x="460" y="514"/>
                      <a:pt x="443" y="508"/>
                      <a:pt x="445" y="502"/>
                    </a:cubicBezTo>
                    <a:cubicBezTo>
                      <a:pt x="447" y="495"/>
                      <a:pt x="458" y="496"/>
                      <a:pt x="466" y="498"/>
                    </a:cubicBezTo>
                    <a:cubicBezTo>
                      <a:pt x="474" y="500"/>
                      <a:pt x="479" y="494"/>
                      <a:pt x="485" y="491"/>
                    </a:cubicBezTo>
                    <a:cubicBezTo>
                      <a:pt x="491" y="488"/>
                      <a:pt x="513" y="482"/>
                      <a:pt x="520" y="492"/>
                    </a:cubicBezTo>
                    <a:cubicBezTo>
                      <a:pt x="528" y="502"/>
                      <a:pt x="539" y="506"/>
                      <a:pt x="542" y="498"/>
                    </a:cubicBezTo>
                    <a:cubicBezTo>
                      <a:pt x="544" y="491"/>
                      <a:pt x="548" y="488"/>
                      <a:pt x="554" y="484"/>
                    </a:cubicBezTo>
                    <a:cubicBezTo>
                      <a:pt x="560" y="480"/>
                      <a:pt x="560" y="476"/>
                      <a:pt x="560" y="467"/>
                    </a:cubicBezTo>
                    <a:cubicBezTo>
                      <a:pt x="560" y="458"/>
                      <a:pt x="549" y="454"/>
                      <a:pt x="552" y="446"/>
                    </a:cubicBezTo>
                    <a:cubicBezTo>
                      <a:pt x="554" y="438"/>
                      <a:pt x="564" y="435"/>
                      <a:pt x="564" y="422"/>
                    </a:cubicBezTo>
                    <a:cubicBezTo>
                      <a:pt x="564" y="410"/>
                      <a:pt x="565" y="394"/>
                      <a:pt x="584" y="394"/>
                    </a:cubicBezTo>
                    <a:cubicBezTo>
                      <a:pt x="604" y="394"/>
                      <a:pt x="609" y="392"/>
                      <a:pt x="612" y="386"/>
                    </a:cubicBezTo>
                    <a:cubicBezTo>
                      <a:pt x="616" y="379"/>
                      <a:pt x="629" y="376"/>
                      <a:pt x="618" y="364"/>
                    </a:cubicBezTo>
                    <a:cubicBezTo>
                      <a:pt x="606" y="352"/>
                      <a:pt x="600" y="346"/>
                      <a:pt x="598" y="340"/>
                    </a:cubicBezTo>
                    <a:cubicBezTo>
                      <a:pt x="597" y="334"/>
                      <a:pt x="596" y="327"/>
                      <a:pt x="610" y="327"/>
                    </a:cubicBezTo>
                    <a:cubicBezTo>
                      <a:pt x="623" y="327"/>
                      <a:pt x="627" y="332"/>
                      <a:pt x="628" y="334"/>
                    </a:cubicBezTo>
                    <a:cubicBezTo>
                      <a:pt x="630" y="337"/>
                      <a:pt x="642" y="334"/>
                      <a:pt x="650" y="334"/>
                    </a:cubicBezTo>
                    <a:cubicBezTo>
                      <a:pt x="659" y="334"/>
                      <a:pt x="655" y="326"/>
                      <a:pt x="666" y="326"/>
                    </a:cubicBezTo>
                    <a:cubicBezTo>
                      <a:pt x="676" y="325"/>
                      <a:pt x="678" y="320"/>
                      <a:pt x="677" y="310"/>
                    </a:cubicBezTo>
                    <a:cubicBezTo>
                      <a:pt x="676" y="300"/>
                      <a:pt x="674" y="298"/>
                      <a:pt x="668" y="294"/>
                    </a:cubicBezTo>
                    <a:cubicBezTo>
                      <a:pt x="663" y="289"/>
                      <a:pt x="664" y="286"/>
                      <a:pt x="674" y="278"/>
                    </a:cubicBezTo>
                    <a:cubicBezTo>
                      <a:pt x="683" y="271"/>
                      <a:pt x="706" y="264"/>
                      <a:pt x="704" y="247"/>
                    </a:cubicBezTo>
                    <a:cubicBezTo>
                      <a:pt x="702" y="230"/>
                      <a:pt x="706" y="215"/>
                      <a:pt x="699" y="209"/>
                    </a:cubicBezTo>
                    <a:cubicBezTo>
                      <a:pt x="692" y="203"/>
                      <a:pt x="693" y="191"/>
                      <a:pt x="684" y="189"/>
                    </a:cubicBezTo>
                    <a:cubicBezTo>
                      <a:pt x="676" y="187"/>
                      <a:pt x="676" y="178"/>
                      <a:pt x="686" y="173"/>
                    </a:cubicBezTo>
                    <a:cubicBezTo>
                      <a:pt x="695" y="168"/>
                      <a:pt x="696" y="162"/>
                      <a:pt x="708" y="161"/>
                    </a:cubicBezTo>
                    <a:cubicBezTo>
                      <a:pt x="719" y="160"/>
                      <a:pt x="717" y="155"/>
                      <a:pt x="725" y="149"/>
                    </a:cubicBezTo>
                    <a:cubicBezTo>
                      <a:pt x="733" y="143"/>
                      <a:pt x="750" y="137"/>
                      <a:pt x="753" y="130"/>
                    </a:cubicBezTo>
                    <a:cubicBezTo>
                      <a:pt x="756" y="124"/>
                      <a:pt x="770" y="124"/>
                      <a:pt x="790" y="123"/>
                    </a:cubicBezTo>
                    <a:cubicBezTo>
                      <a:pt x="810" y="122"/>
                      <a:pt x="828" y="120"/>
                      <a:pt x="845" y="122"/>
                    </a:cubicBezTo>
                    <a:cubicBezTo>
                      <a:pt x="862" y="123"/>
                      <a:pt x="883" y="123"/>
                      <a:pt x="887" y="116"/>
                    </a:cubicBezTo>
                    <a:cubicBezTo>
                      <a:pt x="888" y="116"/>
                      <a:pt x="888" y="115"/>
                      <a:pt x="889" y="114"/>
                    </a:cubicBezTo>
                    <a:cubicBezTo>
                      <a:pt x="889" y="114"/>
                      <a:pt x="889" y="114"/>
                      <a:pt x="889" y="114"/>
                    </a:cubicBezTo>
                    <a:cubicBezTo>
                      <a:pt x="890" y="113"/>
                      <a:pt x="890" y="113"/>
                      <a:pt x="890" y="113"/>
                    </a:cubicBezTo>
                    <a:cubicBezTo>
                      <a:pt x="891" y="112"/>
                      <a:pt x="891" y="112"/>
                      <a:pt x="891" y="112"/>
                    </a:cubicBezTo>
                    <a:cubicBezTo>
                      <a:pt x="891" y="112"/>
                      <a:pt x="892" y="112"/>
                      <a:pt x="892" y="111"/>
                    </a:cubicBezTo>
                    <a:cubicBezTo>
                      <a:pt x="892" y="111"/>
                      <a:pt x="893" y="111"/>
                      <a:pt x="893" y="111"/>
                    </a:cubicBezTo>
                    <a:cubicBezTo>
                      <a:pt x="896" y="109"/>
                      <a:pt x="899" y="108"/>
                      <a:pt x="902" y="107"/>
                    </a:cubicBezTo>
                    <a:cubicBezTo>
                      <a:pt x="903" y="106"/>
                      <a:pt x="903" y="106"/>
                      <a:pt x="904" y="106"/>
                    </a:cubicBezTo>
                    <a:cubicBezTo>
                      <a:pt x="910" y="102"/>
                      <a:pt x="912" y="101"/>
                      <a:pt x="918" y="89"/>
                    </a:cubicBezTo>
                    <a:cubicBezTo>
                      <a:pt x="918" y="88"/>
                      <a:pt x="918" y="88"/>
                      <a:pt x="919" y="87"/>
                    </a:cubicBezTo>
                    <a:cubicBezTo>
                      <a:pt x="907" y="83"/>
                      <a:pt x="892" y="83"/>
                      <a:pt x="884" y="8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8" name="Freeform 232">
                <a:extLst>
                  <a:ext uri="{FF2B5EF4-FFF2-40B4-BE49-F238E27FC236}">
                    <a16:creationId xmlns:a16="http://schemas.microsoft.com/office/drawing/2014/main" id="{13CDCDD1-8E19-604C-9D05-9081BD4609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3" y="1845"/>
                <a:ext cx="231" cy="146"/>
              </a:xfrm>
              <a:custGeom>
                <a:avLst/>
                <a:gdLst>
                  <a:gd name="T0" fmla="*/ 606 w 913"/>
                  <a:gd name="T1" fmla="*/ 553 h 577"/>
                  <a:gd name="T2" fmla="*/ 640 w 913"/>
                  <a:gd name="T3" fmla="*/ 571 h 577"/>
                  <a:gd name="T4" fmla="*/ 683 w 913"/>
                  <a:gd name="T5" fmla="*/ 553 h 577"/>
                  <a:gd name="T6" fmla="*/ 700 w 913"/>
                  <a:gd name="T7" fmla="*/ 520 h 577"/>
                  <a:gd name="T8" fmla="*/ 762 w 913"/>
                  <a:gd name="T9" fmla="*/ 497 h 577"/>
                  <a:gd name="T10" fmla="*/ 794 w 913"/>
                  <a:gd name="T11" fmla="*/ 440 h 577"/>
                  <a:gd name="T12" fmla="*/ 846 w 913"/>
                  <a:gd name="T13" fmla="*/ 405 h 577"/>
                  <a:gd name="T14" fmla="*/ 893 w 913"/>
                  <a:gd name="T15" fmla="*/ 409 h 577"/>
                  <a:gd name="T16" fmla="*/ 907 w 913"/>
                  <a:gd name="T17" fmla="*/ 407 h 577"/>
                  <a:gd name="T18" fmla="*/ 911 w 913"/>
                  <a:gd name="T19" fmla="*/ 375 h 577"/>
                  <a:gd name="T20" fmla="*/ 844 w 913"/>
                  <a:gd name="T21" fmla="*/ 342 h 577"/>
                  <a:gd name="T22" fmla="*/ 725 w 913"/>
                  <a:gd name="T23" fmla="*/ 272 h 577"/>
                  <a:gd name="T24" fmla="*/ 641 w 913"/>
                  <a:gd name="T25" fmla="*/ 195 h 577"/>
                  <a:gd name="T26" fmla="*/ 608 w 913"/>
                  <a:gd name="T27" fmla="*/ 125 h 577"/>
                  <a:gd name="T28" fmla="*/ 514 w 913"/>
                  <a:gd name="T29" fmla="*/ 119 h 577"/>
                  <a:gd name="T30" fmla="*/ 490 w 913"/>
                  <a:gd name="T31" fmla="*/ 56 h 577"/>
                  <a:gd name="T32" fmla="*/ 417 w 913"/>
                  <a:gd name="T33" fmla="*/ 13 h 577"/>
                  <a:gd name="T34" fmla="*/ 368 w 913"/>
                  <a:gd name="T35" fmla="*/ 27 h 577"/>
                  <a:gd name="T36" fmla="*/ 321 w 913"/>
                  <a:gd name="T37" fmla="*/ 48 h 577"/>
                  <a:gd name="T38" fmla="*/ 301 w 913"/>
                  <a:gd name="T39" fmla="*/ 107 h 577"/>
                  <a:gd name="T40" fmla="*/ 252 w 913"/>
                  <a:gd name="T41" fmla="*/ 113 h 577"/>
                  <a:gd name="T42" fmla="*/ 248 w 913"/>
                  <a:gd name="T43" fmla="*/ 113 h 577"/>
                  <a:gd name="T44" fmla="*/ 243 w 913"/>
                  <a:gd name="T45" fmla="*/ 113 h 577"/>
                  <a:gd name="T46" fmla="*/ 239 w 913"/>
                  <a:gd name="T47" fmla="*/ 113 h 577"/>
                  <a:gd name="T48" fmla="*/ 236 w 913"/>
                  <a:gd name="T49" fmla="*/ 114 h 577"/>
                  <a:gd name="T50" fmla="*/ 231 w 913"/>
                  <a:gd name="T51" fmla="*/ 115 h 577"/>
                  <a:gd name="T52" fmla="*/ 222 w 913"/>
                  <a:gd name="T53" fmla="*/ 118 h 577"/>
                  <a:gd name="T54" fmla="*/ 160 w 913"/>
                  <a:gd name="T55" fmla="*/ 59 h 577"/>
                  <a:gd name="T56" fmla="*/ 87 w 913"/>
                  <a:gd name="T57" fmla="*/ 34 h 577"/>
                  <a:gd name="T58" fmla="*/ 18 w 913"/>
                  <a:gd name="T59" fmla="*/ 71 h 577"/>
                  <a:gd name="T60" fmla="*/ 6 w 913"/>
                  <a:gd name="T61" fmla="*/ 89 h 577"/>
                  <a:gd name="T62" fmla="*/ 8 w 913"/>
                  <a:gd name="T63" fmla="*/ 91 h 577"/>
                  <a:gd name="T64" fmla="*/ 12 w 913"/>
                  <a:gd name="T65" fmla="*/ 92 h 577"/>
                  <a:gd name="T66" fmla="*/ 37 w 913"/>
                  <a:gd name="T67" fmla="*/ 140 h 577"/>
                  <a:gd name="T68" fmla="*/ 24 w 913"/>
                  <a:gd name="T69" fmla="*/ 199 h 577"/>
                  <a:gd name="T70" fmla="*/ 42 w 913"/>
                  <a:gd name="T71" fmla="*/ 230 h 577"/>
                  <a:gd name="T72" fmla="*/ 70 w 913"/>
                  <a:gd name="T73" fmla="*/ 226 h 577"/>
                  <a:gd name="T74" fmla="*/ 39 w 913"/>
                  <a:gd name="T75" fmla="*/ 274 h 577"/>
                  <a:gd name="T76" fmla="*/ 56 w 913"/>
                  <a:gd name="T77" fmla="*/ 283 h 577"/>
                  <a:gd name="T78" fmla="*/ 93 w 913"/>
                  <a:gd name="T79" fmla="*/ 279 h 577"/>
                  <a:gd name="T80" fmla="*/ 90 w 913"/>
                  <a:gd name="T81" fmla="*/ 368 h 577"/>
                  <a:gd name="T82" fmla="*/ 97 w 913"/>
                  <a:gd name="T83" fmla="*/ 411 h 577"/>
                  <a:gd name="T84" fmla="*/ 134 w 913"/>
                  <a:gd name="T85" fmla="*/ 405 h 577"/>
                  <a:gd name="T86" fmla="*/ 166 w 913"/>
                  <a:gd name="T87" fmla="*/ 372 h 577"/>
                  <a:gd name="T88" fmla="*/ 216 w 913"/>
                  <a:gd name="T89" fmla="*/ 355 h 577"/>
                  <a:gd name="T90" fmla="*/ 282 w 913"/>
                  <a:gd name="T91" fmla="*/ 340 h 577"/>
                  <a:gd name="T92" fmla="*/ 328 w 913"/>
                  <a:gd name="T93" fmla="*/ 366 h 577"/>
                  <a:gd name="T94" fmla="*/ 389 w 913"/>
                  <a:gd name="T95" fmla="*/ 387 h 577"/>
                  <a:gd name="T96" fmla="*/ 464 w 913"/>
                  <a:gd name="T97" fmla="*/ 425 h 577"/>
                  <a:gd name="T98" fmla="*/ 518 w 913"/>
                  <a:gd name="T99" fmla="*/ 463 h 577"/>
                  <a:gd name="T100" fmla="*/ 564 w 913"/>
                  <a:gd name="T101" fmla="*/ 483 h 577"/>
                  <a:gd name="T102" fmla="*/ 566 w 913"/>
                  <a:gd name="T103" fmla="*/ 519 h 577"/>
                  <a:gd name="T104" fmla="*/ 568 w 913"/>
                  <a:gd name="T105" fmla="*/ 532 h 577"/>
                  <a:gd name="T106" fmla="*/ 569 w 913"/>
                  <a:gd name="T107" fmla="*/ 535 h 577"/>
                  <a:gd name="T108" fmla="*/ 569 w 913"/>
                  <a:gd name="T109" fmla="*/ 538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3" h="577">
                    <a:moveTo>
                      <a:pt x="589" y="545"/>
                    </a:moveTo>
                    <a:cubicBezTo>
                      <a:pt x="596" y="555"/>
                      <a:pt x="601" y="553"/>
                      <a:pt x="606" y="553"/>
                    </a:cubicBezTo>
                    <a:cubicBezTo>
                      <a:pt x="612" y="553"/>
                      <a:pt x="627" y="554"/>
                      <a:pt x="629" y="562"/>
                    </a:cubicBezTo>
                    <a:cubicBezTo>
                      <a:pt x="631" y="570"/>
                      <a:pt x="637" y="577"/>
                      <a:pt x="640" y="571"/>
                    </a:cubicBezTo>
                    <a:cubicBezTo>
                      <a:pt x="644" y="565"/>
                      <a:pt x="650" y="556"/>
                      <a:pt x="661" y="560"/>
                    </a:cubicBezTo>
                    <a:cubicBezTo>
                      <a:pt x="672" y="564"/>
                      <a:pt x="678" y="560"/>
                      <a:pt x="683" y="553"/>
                    </a:cubicBezTo>
                    <a:cubicBezTo>
                      <a:pt x="688" y="547"/>
                      <a:pt x="700" y="543"/>
                      <a:pt x="695" y="536"/>
                    </a:cubicBezTo>
                    <a:cubicBezTo>
                      <a:pt x="690" y="529"/>
                      <a:pt x="690" y="522"/>
                      <a:pt x="700" y="520"/>
                    </a:cubicBezTo>
                    <a:cubicBezTo>
                      <a:pt x="710" y="518"/>
                      <a:pt x="717" y="513"/>
                      <a:pt x="732" y="511"/>
                    </a:cubicBezTo>
                    <a:cubicBezTo>
                      <a:pt x="748" y="509"/>
                      <a:pt x="749" y="497"/>
                      <a:pt x="762" y="497"/>
                    </a:cubicBezTo>
                    <a:cubicBezTo>
                      <a:pt x="774" y="497"/>
                      <a:pt x="782" y="485"/>
                      <a:pt x="782" y="471"/>
                    </a:cubicBezTo>
                    <a:cubicBezTo>
                      <a:pt x="783" y="457"/>
                      <a:pt x="790" y="451"/>
                      <a:pt x="794" y="440"/>
                    </a:cubicBezTo>
                    <a:cubicBezTo>
                      <a:pt x="797" y="429"/>
                      <a:pt x="802" y="420"/>
                      <a:pt x="815" y="420"/>
                    </a:cubicBezTo>
                    <a:cubicBezTo>
                      <a:pt x="828" y="420"/>
                      <a:pt x="843" y="416"/>
                      <a:pt x="846" y="405"/>
                    </a:cubicBezTo>
                    <a:cubicBezTo>
                      <a:pt x="850" y="393"/>
                      <a:pt x="860" y="391"/>
                      <a:pt x="867" y="397"/>
                    </a:cubicBezTo>
                    <a:cubicBezTo>
                      <a:pt x="874" y="404"/>
                      <a:pt x="878" y="411"/>
                      <a:pt x="893" y="409"/>
                    </a:cubicBezTo>
                    <a:cubicBezTo>
                      <a:pt x="894" y="409"/>
                      <a:pt x="895" y="408"/>
                      <a:pt x="897" y="408"/>
                    </a:cubicBezTo>
                    <a:cubicBezTo>
                      <a:pt x="900" y="408"/>
                      <a:pt x="903" y="407"/>
                      <a:pt x="907" y="407"/>
                    </a:cubicBezTo>
                    <a:cubicBezTo>
                      <a:pt x="907" y="407"/>
                      <a:pt x="907" y="407"/>
                      <a:pt x="907" y="407"/>
                    </a:cubicBezTo>
                    <a:cubicBezTo>
                      <a:pt x="907" y="396"/>
                      <a:pt x="909" y="385"/>
                      <a:pt x="911" y="375"/>
                    </a:cubicBezTo>
                    <a:cubicBezTo>
                      <a:pt x="913" y="362"/>
                      <a:pt x="905" y="366"/>
                      <a:pt x="897" y="358"/>
                    </a:cubicBezTo>
                    <a:cubicBezTo>
                      <a:pt x="889" y="350"/>
                      <a:pt x="866" y="345"/>
                      <a:pt x="844" y="342"/>
                    </a:cubicBezTo>
                    <a:cubicBezTo>
                      <a:pt x="822" y="339"/>
                      <a:pt x="795" y="321"/>
                      <a:pt x="777" y="300"/>
                    </a:cubicBezTo>
                    <a:cubicBezTo>
                      <a:pt x="759" y="279"/>
                      <a:pt x="734" y="286"/>
                      <a:pt x="725" y="272"/>
                    </a:cubicBezTo>
                    <a:cubicBezTo>
                      <a:pt x="716" y="258"/>
                      <a:pt x="681" y="235"/>
                      <a:pt x="663" y="224"/>
                    </a:cubicBezTo>
                    <a:cubicBezTo>
                      <a:pt x="645" y="213"/>
                      <a:pt x="644" y="214"/>
                      <a:pt x="641" y="195"/>
                    </a:cubicBezTo>
                    <a:cubicBezTo>
                      <a:pt x="638" y="176"/>
                      <a:pt x="628" y="183"/>
                      <a:pt x="621" y="166"/>
                    </a:cubicBezTo>
                    <a:cubicBezTo>
                      <a:pt x="614" y="149"/>
                      <a:pt x="613" y="141"/>
                      <a:pt x="608" y="125"/>
                    </a:cubicBezTo>
                    <a:cubicBezTo>
                      <a:pt x="603" y="109"/>
                      <a:pt x="579" y="110"/>
                      <a:pt x="569" y="124"/>
                    </a:cubicBezTo>
                    <a:cubicBezTo>
                      <a:pt x="559" y="138"/>
                      <a:pt x="534" y="118"/>
                      <a:pt x="514" y="119"/>
                    </a:cubicBezTo>
                    <a:cubicBezTo>
                      <a:pt x="494" y="120"/>
                      <a:pt x="492" y="101"/>
                      <a:pt x="496" y="84"/>
                    </a:cubicBezTo>
                    <a:cubicBezTo>
                      <a:pt x="500" y="67"/>
                      <a:pt x="490" y="66"/>
                      <a:pt x="490" y="56"/>
                    </a:cubicBezTo>
                    <a:cubicBezTo>
                      <a:pt x="490" y="46"/>
                      <a:pt x="478" y="37"/>
                      <a:pt x="456" y="37"/>
                    </a:cubicBezTo>
                    <a:cubicBezTo>
                      <a:pt x="434" y="37"/>
                      <a:pt x="426" y="26"/>
                      <a:pt x="417" y="13"/>
                    </a:cubicBezTo>
                    <a:cubicBezTo>
                      <a:pt x="408" y="0"/>
                      <a:pt x="393" y="0"/>
                      <a:pt x="387" y="11"/>
                    </a:cubicBezTo>
                    <a:cubicBezTo>
                      <a:pt x="381" y="22"/>
                      <a:pt x="383" y="26"/>
                      <a:pt x="368" y="27"/>
                    </a:cubicBezTo>
                    <a:cubicBezTo>
                      <a:pt x="353" y="28"/>
                      <a:pt x="354" y="28"/>
                      <a:pt x="353" y="42"/>
                    </a:cubicBezTo>
                    <a:cubicBezTo>
                      <a:pt x="352" y="56"/>
                      <a:pt x="339" y="49"/>
                      <a:pt x="321" y="48"/>
                    </a:cubicBezTo>
                    <a:cubicBezTo>
                      <a:pt x="303" y="47"/>
                      <a:pt x="301" y="66"/>
                      <a:pt x="294" y="78"/>
                    </a:cubicBezTo>
                    <a:cubicBezTo>
                      <a:pt x="287" y="90"/>
                      <a:pt x="297" y="97"/>
                      <a:pt x="301" y="107"/>
                    </a:cubicBezTo>
                    <a:cubicBezTo>
                      <a:pt x="305" y="117"/>
                      <a:pt x="270" y="117"/>
                      <a:pt x="257" y="114"/>
                    </a:cubicBezTo>
                    <a:cubicBezTo>
                      <a:pt x="255" y="113"/>
                      <a:pt x="254" y="113"/>
                      <a:pt x="252" y="113"/>
                    </a:cubicBezTo>
                    <a:cubicBezTo>
                      <a:pt x="252" y="113"/>
                      <a:pt x="252" y="113"/>
                      <a:pt x="251" y="113"/>
                    </a:cubicBezTo>
                    <a:cubicBezTo>
                      <a:pt x="250" y="113"/>
                      <a:pt x="249" y="113"/>
                      <a:pt x="248" y="113"/>
                    </a:cubicBezTo>
                    <a:cubicBezTo>
                      <a:pt x="248" y="113"/>
                      <a:pt x="247" y="113"/>
                      <a:pt x="247" y="113"/>
                    </a:cubicBezTo>
                    <a:cubicBezTo>
                      <a:pt x="246" y="113"/>
                      <a:pt x="244" y="113"/>
                      <a:pt x="243" y="113"/>
                    </a:cubicBezTo>
                    <a:cubicBezTo>
                      <a:pt x="243" y="113"/>
                      <a:pt x="243" y="113"/>
                      <a:pt x="242" y="113"/>
                    </a:cubicBezTo>
                    <a:cubicBezTo>
                      <a:pt x="241" y="113"/>
                      <a:pt x="240" y="113"/>
                      <a:pt x="239" y="113"/>
                    </a:cubicBezTo>
                    <a:cubicBezTo>
                      <a:pt x="239" y="113"/>
                      <a:pt x="238" y="113"/>
                      <a:pt x="238" y="113"/>
                    </a:cubicBezTo>
                    <a:cubicBezTo>
                      <a:pt x="237" y="113"/>
                      <a:pt x="236" y="114"/>
                      <a:pt x="236" y="114"/>
                    </a:cubicBezTo>
                    <a:cubicBezTo>
                      <a:pt x="235" y="114"/>
                      <a:pt x="235" y="114"/>
                      <a:pt x="234" y="114"/>
                    </a:cubicBezTo>
                    <a:cubicBezTo>
                      <a:pt x="233" y="114"/>
                      <a:pt x="232" y="115"/>
                      <a:pt x="231" y="115"/>
                    </a:cubicBezTo>
                    <a:cubicBezTo>
                      <a:pt x="231" y="115"/>
                      <a:pt x="231" y="115"/>
                      <a:pt x="231" y="115"/>
                    </a:cubicBezTo>
                    <a:cubicBezTo>
                      <a:pt x="228" y="116"/>
                      <a:pt x="225" y="117"/>
                      <a:pt x="222" y="118"/>
                    </a:cubicBezTo>
                    <a:cubicBezTo>
                      <a:pt x="210" y="122"/>
                      <a:pt x="192" y="118"/>
                      <a:pt x="183" y="106"/>
                    </a:cubicBezTo>
                    <a:cubicBezTo>
                      <a:pt x="174" y="94"/>
                      <a:pt x="164" y="72"/>
                      <a:pt x="160" y="59"/>
                    </a:cubicBezTo>
                    <a:cubicBezTo>
                      <a:pt x="156" y="46"/>
                      <a:pt x="137" y="53"/>
                      <a:pt x="127" y="41"/>
                    </a:cubicBezTo>
                    <a:cubicBezTo>
                      <a:pt x="117" y="29"/>
                      <a:pt x="109" y="32"/>
                      <a:pt x="87" y="34"/>
                    </a:cubicBezTo>
                    <a:cubicBezTo>
                      <a:pt x="65" y="36"/>
                      <a:pt x="70" y="48"/>
                      <a:pt x="52" y="48"/>
                    </a:cubicBezTo>
                    <a:cubicBezTo>
                      <a:pt x="34" y="48"/>
                      <a:pt x="27" y="58"/>
                      <a:pt x="18" y="71"/>
                    </a:cubicBezTo>
                    <a:cubicBezTo>
                      <a:pt x="13" y="78"/>
                      <a:pt x="6" y="82"/>
                      <a:pt x="0" y="85"/>
                    </a:cubicBezTo>
                    <a:cubicBezTo>
                      <a:pt x="2" y="87"/>
                      <a:pt x="4" y="88"/>
                      <a:pt x="6" y="89"/>
                    </a:cubicBezTo>
                    <a:cubicBezTo>
                      <a:pt x="6" y="89"/>
                      <a:pt x="6" y="89"/>
                      <a:pt x="6" y="89"/>
                    </a:cubicBezTo>
                    <a:cubicBezTo>
                      <a:pt x="7" y="90"/>
                      <a:pt x="8" y="90"/>
                      <a:pt x="8" y="91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0" y="91"/>
                      <a:pt x="11" y="91"/>
                      <a:pt x="12" y="92"/>
                    </a:cubicBezTo>
                    <a:cubicBezTo>
                      <a:pt x="22" y="95"/>
                      <a:pt x="18" y="108"/>
                      <a:pt x="30" y="114"/>
                    </a:cubicBezTo>
                    <a:cubicBezTo>
                      <a:pt x="42" y="120"/>
                      <a:pt x="37" y="129"/>
                      <a:pt x="37" y="140"/>
                    </a:cubicBezTo>
                    <a:cubicBezTo>
                      <a:pt x="37" y="151"/>
                      <a:pt x="36" y="159"/>
                      <a:pt x="26" y="162"/>
                    </a:cubicBezTo>
                    <a:cubicBezTo>
                      <a:pt x="16" y="165"/>
                      <a:pt x="21" y="192"/>
                      <a:pt x="24" y="199"/>
                    </a:cubicBezTo>
                    <a:cubicBezTo>
                      <a:pt x="27" y="206"/>
                      <a:pt x="31" y="213"/>
                      <a:pt x="33" y="224"/>
                    </a:cubicBezTo>
                    <a:cubicBezTo>
                      <a:pt x="35" y="235"/>
                      <a:pt x="43" y="236"/>
                      <a:pt x="42" y="230"/>
                    </a:cubicBezTo>
                    <a:cubicBezTo>
                      <a:pt x="41" y="224"/>
                      <a:pt x="47" y="212"/>
                      <a:pt x="55" y="212"/>
                    </a:cubicBezTo>
                    <a:cubicBezTo>
                      <a:pt x="63" y="212"/>
                      <a:pt x="71" y="214"/>
                      <a:pt x="70" y="226"/>
                    </a:cubicBezTo>
                    <a:cubicBezTo>
                      <a:pt x="69" y="238"/>
                      <a:pt x="56" y="241"/>
                      <a:pt x="49" y="245"/>
                    </a:cubicBezTo>
                    <a:cubicBezTo>
                      <a:pt x="42" y="249"/>
                      <a:pt x="48" y="261"/>
                      <a:pt x="39" y="274"/>
                    </a:cubicBezTo>
                    <a:cubicBezTo>
                      <a:pt x="30" y="287"/>
                      <a:pt x="40" y="295"/>
                      <a:pt x="48" y="303"/>
                    </a:cubicBezTo>
                    <a:cubicBezTo>
                      <a:pt x="56" y="311"/>
                      <a:pt x="51" y="288"/>
                      <a:pt x="56" y="283"/>
                    </a:cubicBezTo>
                    <a:cubicBezTo>
                      <a:pt x="61" y="278"/>
                      <a:pt x="58" y="269"/>
                      <a:pt x="62" y="261"/>
                    </a:cubicBezTo>
                    <a:cubicBezTo>
                      <a:pt x="66" y="253"/>
                      <a:pt x="78" y="271"/>
                      <a:pt x="93" y="279"/>
                    </a:cubicBezTo>
                    <a:cubicBezTo>
                      <a:pt x="108" y="287"/>
                      <a:pt x="107" y="299"/>
                      <a:pt x="98" y="310"/>
                    </a:cubicBezTo>
                    <a:cubicBezTo>
                      <a:pt x="89" y="321"/>
                      <a:pt x="95" y="354"/>
                      <a:pt x="90" y="368"/>
                    </a:cubicBezTo>
                    <a:cubicBezTo>
                      <a:pt x="85" y="382"/>
                      <a:pt x="97" y="396"/>
                      <a:pt x="97" y="410"/>
                    </a:cubicBezTo>
                    <a:cubicBezTo>
                      <a:pt x="97" y="410"/>
                      <a:pt x="97" y="410"/>
                      <a:pt x="97" y="411"/>
                    </a:cubicBezTo>
                    <a:cubicBezTo>
                      <a:pt x="100" y="411"/>
                      <a:pt x="104" y="412"/>
                      <a:pt x="108" y="412"/>
                    </a:cubicBezTo>
                    <a:cubicBezTo>
                      <a:pt x="121" y="413"/>
                      <a:pt x="122" y="404"/>
                      <a:pt x="134" y="405"/>
                    </a:cubicBezTo>
                    <a:cubicBezTo>
                      <a:pt x="146" y="405"/>
                      <a:pt x="150" y="402"/>
                      <a:pt x="150" y="395"/>
                    </a:cubicBezTo>
                    <a:cubicBezTo>
                      <a:pt x="150" y="387"/>
                      <a:pt x="156" y="378"/>
                      <a:pt x="166" y="372"/>
                    </a:cubicBezTo>
                    <a:cubicBezTo>
                      <a:pt x="177" y="366"/>
                      <a:pt x="184" y="366"/>
                      <a:pt x="186" y="361"/>
                    </a:cubicBezTo>
                    <a:cubicBezTo>
                      <a:pt x="188" y="355"/>
                      <a:pt x="200" y="353"/>
                      <a:pt x="216" y="355"/>
                    </a:cubicBezTo>
                    <a:cubicBezTo>
                      <a:pt x="233" y="358"/>
                      <a:pt x="248" y="359"/>
                      <a:pt x="254" y="351"/>
                    </a:cubicBezTo>
                    <a:cubicBezTo>
                      <a:pt x="260" y="343"/>
                      <a:pt x="273" y="337"/>
                      <a:pt x="282" y="340"/>
                    </a:cubicBezTo>
                    <a:cubicBezTo>
                      <a:pt x="292" y="343"/>
                      <a:pt x="294" y="347"/>
                      <a:pt x="302" y="347"/>
                    </a:cubicBezTo>
                    <a:cubicBezTo>
                      <a:pt x="310" y="347"/>
                      <a:pt x="324" y="361"/>
                      <a:pt x="328" y="366"/>
                    </a:cubicBezTo>
                    <a:cubicBezTo>
                      <a:pt x="331" y="371"/>
                      <a:pt x="349" y="372"/>
                      <a:pt x="358" y="375"/>
                    </a:cubicBezTo>
                    <a:cubicBezTo>
                      <a:pt x="368" y="379"/>
                      <a:pt x="374" y="387"/>
                      <a:pt x="389" y="387"/>
                    </a:cubicBezTo>
                    <a:cubicBezTo>
                      <a:pt x="404" y="387"/>
                      <a:pt x="433" y="388"/>
                      <a:pt x="439" y="399"/>
                    </a:cubicBezTo>
                    <a:cubicBezTo>
                      <a:pt x="445" y="409"/>
                      <a:pt x="447" y="425"/>
                      <a:pt x="464" y="425"/>
                    </a:cubicBezTo>
                    <a:cubicBezTo>
                      <a:pt x="482" y="425"/>
                      <a:pt x="482" y="428"/>
                      <a:pt x="488" y="438"/>
                    </a:cubicBezTo>
                    <a:cubicBezTo>
                      <a:pt x="494" y="448"/>
                      <a:pt x="507" y="463"/>
                      <a:pt x="518" y="463"/>
                    </a:cubicBezTo>
                    <a:cubicBezTo>
                      <a:pt x="530" y="463"/>
                      <a:pt x="562" y="456"/>
                      <a:pt x="562" y="465"/>
                    </a:cubicBezTo>
                    <a:cubicBezTo>
                      <a:pt x="562" y="473"/>
                      <a:pt x="560" y="477"/>
                      <a:pt x="564" y="483"/>
                    </a:cubicBezTo>
                    <a:cubicBezTo>
                      <a:pt x="569" y="489"/>
                      <a:pt x="572" y="493"/>
                      <a:pt x="570" y="499"/>
                    </a:cubicBezTo>
                    <a:cubicBezTo>
                      <a:pt x="568" y="505"/>
                      <a:pt x="565" y="516"/>
                      <a:pt x="566" y="519"/>
                    </a:cubicBezTo>
                    <a:cubicBezTo>
                      <a:pt x="566" y="520"/>
                      <a:pt x="566" y="520"/>
                      <a:pt x="566" y="520"/>
                    </a:cubicBezTo>
                    <a:cubicBezTo>
                      <a:pt x="566" y="523"/>
                      <a:pt x="568" y="527"/>
                      <a:pt x="568" y="532"/>
                    </a:cubicBezTo>
                    <a:cubicBezTo>
                      <a:pt x="568" y="532"/>
                      <a:pt x="568" y="532"/>
                      <a:pt x="568" y="532"/>
                    </a:cubicBezTo>
                    <a:cubicBezTo>
                      <a:pt x="569" y="533"/>
                      <a:pt x="569" y="534"/>
                      <a:pt x="569" y="535"/>
                    </a:cubicBezTo>
                    <a:cubicBezTo>
                      <a:pt x="569" y="535"/>
                      <a:pt x="569" y="535"/>
                      <a:pt x="569" y="535"/>
                    </a:cubicBezTo>
                    <a:cubicBezTo>
                      <a:pt x="569" y="536"/>
                      <a:pt x="569" y="537"/>
                      <a:pt x="569" y="538"/>
                    </a:cubicBezTo>
                    <a:cubicBezTo>
                      <a:pt x="576" y="538"/>
                      <a:pt x="585" y="539"/>
                      <a:pt x="589" y="54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79" name="Freeform 233">
                <a:extLst>
                  <a:ext uri="{FF2B5EF4-FFF2-40B4-BE49-F238E27FC236}">
                    <a16:creationId xmlns:a16="http://schemas.microsoft.com/office/drawing/2014/main" id="{6C0425C5-A99E-0D45-BEAF-1F0B76FD2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1789"/>
                <a:ext cx="278" cy="163"/>
              </a:xfrm>
              <a:custGeom>
                <a:avLst/>
                <a:gdLst>
                  <a:gd name="T0" fmla="*/ 8 w 1098"/>
                  <a:gd name="T1" fmla="*/ 333 h 643"/>
                  <a:gd name="T2" fmla="*/ 13 w 1098"/>
                  <a:gd name="T3" fmla="*/ 333 h 643"/>
                  <a:gd name="T4" fmla="*/ 21 w 1098"/>
                  <a:gd name="T5" fmla="*/ 333 h 643"/>
                  <a:gd name="T6" fmla="*/ 71 w 1098"/>
                  <a:gd name="T7" fmla="*/ 327 h 643"/>
                  <a:gd name="T8" fmla="*/ 123 w 1098"/>
                  <a:gd name="T9" fmla="*/ 262 h 643"/>
                  <a:gd name="T10" fmla="*/ 187 w 1098"/>
                  <a:gd name="T11" fmla="*/ 233 h 643"/>
                  <a:gd name="T12" fmla="*/ 266 w 1098"/>
                  <a:gd name="T13" fmla="*/ 304 h 643"/>
                  <a:gd name="T14" fmla="*/ 378 w 1098"/>
                  <a:gd name="T15" fmla="*/ 345 h 643"/>
                  <a:gd name="T16" fmla="*/ 433 w 1098"/>
                  <a:gd name="T17" fmla="*/ 444 h 643"/>
                  <a:gd name="T18" fmla="*/ 614 w 1098"/>
                  <a:gd name="T19" fmla="*/ 562 h 643"/>
                  <a:gd name="T20" fmla="*/ 677 w 1098"/>
                  <a:gd name="T21" fmla="*/ 627 h 643"/>
                  <a:gd name="T22" fmla="*/ 682 w 1098"/>
                  <a:gd name="T23" fmla="*/ 626 h 643"/>
                  <a:gd name="T24" fmla="*/ 686 w 1098"/>
                  <a:gd name="T25" fmla="*/ 626 h 643"/>
                  <a:gd name="T26" fmla="*/ 692 w 1098"/>
                  <a:gd name="T27" fmla="*/ 626 h 643"/>
                  <a:gd name="T28" fmla="*/ 696 w 1098"/>
                  <a:gd name="T29" fmla="*/ 626 h 643"/>
                  <a:gd name="T30" fmla="*/ 701 w 1098"/>
                  <a:gd name="T31" fmla="*/ 626 h 643"/>
                  <a:gd name="T32" fmla="*/ 703 w 1098"/>
                  <a:gd name="T33" fmla="*/ 627 h 643"/>
                  <a:gd name="T34" fmla="*/ 706 w 1098"/>
                  <a:gd name="T35" fmla="*/ 628 h 643"/>
                  <a:gd name="T36" fmla="*/ 730 w 1098"/>
                  <a:gd name="T37" fmla="*/ 643 h 643"/>
                  <a:gd name="T38" fmla="*/ 735 w 1098"/>
                  <a:gd name="T39" fmla="*/ 643 h 643"/>
                  <a:gd name="T40" fmla="*/ 738 w 1098"/>
                  <a:gd name="T41" fmla="*/ 643 h 643"/>
                  <a:gd name="T42" fmla="*/ 742 w 1098"/>
                  <a:gd name="T43" fmla="*/ 642 h 643"/>
                  <a:gd name="T44" fmla="*/ 778 w 1098"/>
                  <a:gd name="T45" fmla="*/ 594 h 643"/>
                  <a:gd name="T46" fmla="*/ 770 w 1098"/>
                  <a:gd name="T47" fmla="*/ 536 h 643"/>
                  <a:gd name="T48" fmla="*/ 722 w 1098"/>
                  <a:gd name="T49" fmla="*/ 477 h 643"/>
                  <a:gd name="T50" fmla="*/ 801 w 1098"/>
                  <a:gd name="T51" fmla="*/ 469 h 643"/>
                  <a:gd name="T52" fmla="*/ 827 w 1098"/>
                  <a:gd name="T53" fmla="*/ 413 h 643"/>
                  <a:gd name="T54" fmla="*/ 901 w 1098"/>
                  <a:gd name="T55" fmla="*/ 372 h 643"/>
                  <a:gd name="T56" fmla="*/ 936 w 1098"/>
                  <a:gd name="T57" fmla="*/ 394 h 643"/>
                  <a:gd name="T58" fmla="*/ 931 w 1098"/>
                  <a:gd name="T59" fmla="*/ 414 h 643"/>
                  <a:gd name="T60" fmla="*/ 936 w 1098"/>
                  <a:gd name="T61" fmla="*/ 414 h 643"/>
                  <a:gd name="T62" fmla="*/ 952 w 1098"/>
                  <a:gd name="T63" fmla="*/ 411 h 643"/>
                  <a:gd name="T64" fmla="*/ 957 w 1098"/>
                  <a:gd name="T65" fmla="*/ 410 h 643"/>
                  <a:gd name="T66" fmla="*/ 961 w 1098"/>
                  <a:gd name="T67" fmla="*/ 410 h 643"/>
                  <a:gd name="T68" fmla="*/ 966 w 1098"/>
                  <a:gd name="T69" fmla="*/ 411 h 643"/>
                  <a:gd name="T70" fmla="*/ 1047 w 1098"/>
                  <a:gd name="T71" fmla="*/ 395 h 643"/>
                  <a:gd name="T72" fmla="*/ 1031 w 1098"/>
                  <a:gd name="T73" fmla="*/ 348 h 643"/>
                  <a:gd name="T74" fmla="*/ 926 w 1098"/>
                  <a:gd name="T75" fmla="*/ 325 h 643"/>
                  <a:gd name="T76" fmla="*/ 958 w 1098"/>
                  <a:gd name="T77" fmla="*/ 245 h 643"/>
                  <a:gd name="T78" fmla="*/ 901 w 1098"/>
                  <a:gd name="T79" fmla="*/ 293 h 643"/>
                  <a:gd name="T80" fmla="*/ 806 w 1098"/>
                  <a:gd name="T81" fmla="*/ 361 h 643"/>
                  <a:gd name="T82" fmla="*/ 769 w 1098"/>
                  <a:gd name="T83" fmla="*/ 354 h 643"/>
                  <a:gd name="T84" fmla="*/ 666 w 1098"/>
                  <a:gd name="T85" fmla="*/ 281 h 643"/>
                  <a:gd name="T86" fmla="*/ 598 w 1098"/>
                  <a:gd name="T87" fmla="*/ 168 h 643"/>
                  <a:gd name="T88" fmla="*/ 402 w 1098"/>
                  <a:gd name="T89" fmla="*/ 166 h 643"/>
                  <a:gd name="T90" fmla="*/ 300 w 1098"/>
                  <a:gd name="T91" fmla="*/ 79 h 643"/>
                  <a:gd name="T92" fmla="*/ 197 w 1098"/>
                  <a:gd name="T93" fmla="*/ 125 h 643"/>
                  <a:gd name="T94" fmla="*/ 162 w 1098"/>
                  <a:gd name="T95" fmla="*/ 29 h 643"/>
                  <a:gd name="T96" fmla="*/ 50 w 1098"/>
                  <a:gd name="T97" fmla="*/ 37 h 643"/>
                  <a:gd name="T98" fmla="*/ 1 w 1098"/>
                  <a:gd name="T99" fmla="*/ 335 h 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98" h="643">
                    <a:moveTo>
                      <a:pt x="4" y="334"/>
                    </a:moveTo>
                    <a:cubicBezTo>
                      <a:pt x="5" y="334"/>
                      <a:pt x="5" y="334"/>
                      <a:pt x="6" y="334"/>
                    </a:cubicBezTo>
                    <a:cubicBezTo>
                      <a:pt x="6" y="334"/>
                      <a:pt x="7" y="333"/>
                      <a:pt x="8" y="333"/>
                    </a:cubicBezTo>
                    <a:cubicBezTo>
                      <a:pt x="8" y="333"/>
                      <a:pt x="9" y="333"/>
                      <a:pt x="9" y="333"/>
                    </a:cubicBezTo>
                    <a:cubicBezTo>
                      <a:pt x="10" y="333"/>
                      <a:pt x="11" y="333"/>
                      <a:pt x="12" y="333"/>
                    </a:cubicBezTo>
                    <a:cubicBezTo>
                      <a:pt x="13" y="333"/>
                      <a:pt x="13" y="333"/>
                      <a:pt x="13" y="333"/>
                    </a:cubicBezTo>
                    <a:cubicBezTo>
                      <a:pt x="14" y="333"/>
                      <a:pt x="16" y="333"/>
                      <a:pt x="17" y="333"/>
                    </a:cubicBezTo>
                    <a:cubicBezTo>
                      <a:pt x="17" y="333"/>
                      <a:pt x="18" y="333"/>
                      <a:pt x="18" y="333"/>
                    </a:cubicBezTo>
                    <a:cubicBezTo>
                      <a:pt x="19" y="333"/>
                      <a:pt x="20" y="333"/>
                      <a:pt x="21" y="333"/>
                    </a:cubicBezTo>
                    <a:cubicBezTo>
                      <a:pt x="22" y="333"/>
                      <a:pt x="22" y="333"/>
                      <a:pt x="22" y="333"/>
                    </a:cubicBezTo>
                    <a:cubicBezTo>
                      <a:pt x="24" y="333"/>
                      <a:pt x="25" y="333"/>
                      <a:pt x="27" y="334"/>
                    </a:cubicBezTo>
                    <a:cubicBezTo>
                      <a:pt x="40" y="337"/>
                      <a:pt x="75" y="337"/>
                      <a:pt x="71" y="327"/>
                    </a:cubicBezTo>
                    <a:cubicBezTo>
                      <a:pt x="67" y="317"/>
                      <a:pt x="57" y="310"/>
                      <a:pt x="64" y="298"/>
                    </a:cubicBezTo>
                    <a:cubicBezTo>
                      <a:pt x="71" y="286"/>
                      <a:pt x="73" y="267"/>
                      <a:pt x="91" y="268"/>
                    </a:cubicBezTo>
                    <a:cubicBezTo>
                      <a:pt x="109" y="269"/>
                      <a:pt x="122" y="276"/>
                      <a:pt x="123" y="262"/>
                    </a:cubicBezTo>
                    <a:cubicBezTo>
                      <a:pt x="124" y="248"/>
                      <a:pt x="123" y="248"/>
                      <a:pt x="138" y="247"/>
                    </a:cubicBezTo>
                    <a:cubicBezTo>
                      <a:pt x="153" y="246"/>
                      <a:pt x="151" y="242"/>
                      <a:pt x="157" y="231"/>
                    </a:cubicBezTo>
                    <a:cubicBezTo>
                      <a:pt x="163" y="220"/>
                      <a:pt x="178" y="220"/>
                      <a:pt x="187" y="233"/>
                    </a:cubicBezTo>
                    <a:cubicBezTo>
                      <a:pt x="196" y="246"/>
                      <a:pt x="204" y="257"/>
                      <a:pt x="226" y="257"/>
                    </a:cubicBezTo>
                    <a:cubicBezTo>
                      <a:pt x="248" y="257"/>
                      <a:pt x="260" y="266"/>
                      <a:pt x="260" y="276"/>
                    </a:cubicBezTo>
                    <a:cubicBezTo>
                      <a:pt x="260" y="286"/>
                      <a:pt x="270" y="287"/>
                      <a:pt x="266" y="304"/>
                    </a:cubicBezTo>
                    <a:cubicBezTo>
                      <a:pt x="262" y="321"/>
                      <a:pt x="264" y="340"/>
                      <a:pt x="284" y="339"/>
                    </a:cubicBezTo>
                    <a:cubicBezTo>
                      <a:pt x="304" y="338"/>
                      <a:pt x="329" y="358"/>
                      <a:pt x="339" y="344"/>
                    </a:cubicBezTo>
                    <a:cubicBezTo>
                      <a:pt x="349" y="330"/>
                      <a:pt x="373" y="329"/>
                      <a:pt x="378" y="345"/>
                    </a:cubicBezTo>
                    <a:cubicBezTo>
                      <a:pt x="383" y="361"/>
                      <a:pt x="384" y="369"/>
                      <a:pt x="391" y="386"/>
                    </a:cubicBezTo>
                    <a:cubicBezTo>
                      <a:pt x="398" y="403"/>
                      <a:pt x="408" y="396"/>
                      <a:pt x="411" y="415"/>
                    </a:cubicBezTo>
                    <a:cubicBezTo>
                      <a:pt x="414" y="434"/>
                      <a:pt x="415" y="433"/>
                      <a:pt x="433" y="444"/>
                    </a:cubicBezTo>
                    <a:cubicBezTo>
                      <a:pt x="451" y="455"/>
                      <a:pt x="486" y="478"/>
                      <a:pt x="495" y="492"/>
                    </a:cubicBezTo>
                    <a:cubicBezTo>
                      <a:pt x="504" y="506"/>
                      <a:pt x="529" y="499"/>
                      <a:pt x="547" y="520"/>
                    </a:cubicBezTo>
                    <a:cubicBezTo>
                      <a:pt x="565" y="541"/>
                      <a:pt x="592" y="559"/>
                      <a:pt x="614" y="562"/>
                    </a:cubicBezTo>
                    <a:cubicBezTo>
                      <a:pt x="636" y="565"/>
                      <a:pt x="659" y="570"/>
                      <a:pt x="667" y="578"/>
                    </a:cubicBezTo>
                    <a:cubicBezTo>
                      <a:pt x="675" y="586"/>
                      <a:pt x="683" y="582"/>
                      <a:pt x="681" y="595"/>
                    </a:cubicBezTo>
                    <a:cubicBezTo>
                      <a:pt x="679" y="605"/>
                      <a:pt x="677" y="616"/>
                      <a:pt x="677" y="627"/>
                    </a:cubicBezTo>
                    <a:cubicBezTo>
                      <a:pt x="677" y="627"/>
                      <a:pt x="677" y="627"/>
                      <a:pt x="677" y="627"/>
                    </a:cubicBezTo>
                    <a:cubicBezTo>
                      <a:pt x="678" y="627"/>
                      <a:pt x="679" y="627"/>
                      <a:pt x="681" y="627"/>
                    </a:cubicBezTo>
                    <a:cubicBezTo>
                      <a:pt x="681" y="626"/>
                      <a:pt x="681" y="626"/>
                      <a:pt x="682" y="626"/>
                    </a:cubicBezTo>
                    <a:cubicBezTo>
                      <a:pt x="682" y="626"/>
                      <a:pt x="683" y="626"/>
                      <a:pt x="684" y="626"/>
                    </a:cubicBezTo>
                    <a:cubicBezTo>
                      <a:pt x="684" y="626"/>
                      <a:pt x="685" y="626"/>
                      <a:pt x="685" y="626"/>
                    </a:cubicBezTo>
                    <a:cubicBezTo>
                      <a:pt x="686" y="626"/>
                      <a:pt x="686" y="626"/>
                      <a:pt x="686" y="626"/>
                    </a:cubicBezTo>
                    <a:cubicBezTo>
                      <a:pt x="687" y="626"/>
                      <a:pt x="688" y="626"/>
                      <a:pt x="689" y="626"/>
                    </a:cubicBezTo>
                    <a:cubicBezTo>
                      <a:pt x="690" y="626"/>
                      <a:pt x="690" y="626"/>
                      <a:pt x="690" y="626"/>
                    </a:cubicBezTo>
                    <a:cubicBezTo>
                      <a:pt x="691" y="626"/>
                      <a:pt x="691" y="626"/>
                      <a:pt x="692" y="626"/>
                    </a:cubicBezTo>
                    <a:cubicBezTo>
                      <a:pt x="692" y="626"/>
                      <a:pt x="693" y="626"/>
                      <a:pt x="693" y="626"/>
                    </a:cubicBezTo>
                    <a:cubicBezTo>
                      <a:pt x="694" y="626"/>
                      <a:pt x="694" y="626"/>
                      <a:pt x="695" y="626"/>
                    </a:cubicBezTo>
                    <a:cubicBezTo>
                      <a:pt x="695" y="626"/>
                      <a:pt x="696" y="626"/>
                      <a:pt x="696" y="626"/>
                    </a:cubicBezTo>
                    <a:cubicBezTo>
                      <a:pt x="697" y="626"/>
                      <a:pt x="698" y="626"/>
                      <a:pt x="698" y="626"/>
                    </a:cubicBezTo>
                    <a:cubicBezTo>
                      <a:pt x="699" y="626"/>
                      <a:pt x="699" y="626"/>
                      <a:pt x="699" y="626"/>
                    </a:cubicBezTo>
                    <a:cubicBezTo>
                      <a:pt x="700" y="626"/>
                      <a:pt x="700" y="626"/>
                      <a:pt x="701" y="626"/>
                    </a:cubicBezTo>
                    <a:cubicBezTo>
                      <a:pt x="701" y="626"/>
                      <a:pt x="701" y="626"/>
                      <a:pt x="701" y="626"/>
                    </a:cubicBezTo>
                    <a:cubicBezTo>
                      <a:pt x="702" y="626"/>
                      <a:pt x="703" y="627"/>
                      <a:pt x="703" y="627"/>
                    </a:cubicBezTo>
                    <a:cubicBezTo>
                      <a:pt x="703" y="627"/>
                      <a:pt x="703" y="627"/>
                      <a:pt x="703" y="627"/>
                    </a:cubicBezTo>
                    <a:cubicBezTo>
                      <a:pt x="704" y="627"/>
                      <a:pt x="705" y="627"/>
                      <a:pt x="705" y="627"/>
                    </a:cubicBezTo>
                    <a:cubicBezTo>
                      <a:pt x="705" y="627"/>
                      <a:pt x="705" y="627"/>
                      <a:pt x="705" y="628"/>
                    </a:cubicBezTo>
                    <a:cubicBezTo>
                      <a:pt x="706" y="628"/>
                      <a:pt x="706" y="628"/>
                      <a:pt x="706" y="628"/>
                    </a:cubicBezTo>
                    <a:cubicBezTo>
                      <a:pt x="707" y="628"/>
                      <a:pt x="707" y="628"/>
                      <a:pt x="707" y="628"/>
                    </a:cubicBezTo>
                    <a:cubicBezTo>
                      <a:pt x="707" y="629"/>
                      <a:pt x="708" y="629"/>
                      <a:pt x="708" y="629"/>
                    </a:cubicBezTo>
                    <a:cubicBezTo>
                      <a:pt x="712" y="636"/>
                      <a:pt x="718" y="641"/>
                      <a:pt x="730" y="643"/>
                    </a:cubicBezTo>
                    <a:cubicBezTo>
                      <a:pt x="731" y="643"/>
                      <a:pt x="731" y="643"/>
                      <a:pt x="732" y="643"/>
                    </a:cubicBezTo>
                    <a:cubicBezTo>
                      <a:pt x="732" y="643"/>
                      <a:pt x="733" y="643"/>
                      <a:pt x="733" y="643"/>
                    </a:cubicBezTo>
                    <a:cubicBezTo>
                      <a:pt x="734" y="643"/>
                      <a:pt x="734" y="643"/>
                      <a:pt x="735" y="643"/>
                    </a:cubicBezTo>
                    <a:cubicBezTo>
                      <a:pt x="735" y="643"/>
                      <a:pt x="735" y="643"/>
                      <a:pt x="736" y="643"/>
                    </a:cubicBezTo>
                    <a:cubicBezTo>
                      <a:pt x="736" y="643"/>
                      <a:pt x="737" y="643"/>
                      <a:pt x="737" y="643"/>
                    </a:cubicBezTo>
                    <a:cubicBezTo>
                      <a:pt x="737" y="643"/>
                      <a:pt x="738" y="643"/>
                      <a:pt x="738" y="643"/>
                    </a:cubicBezTo>
                    <a:cubicBezTo>
                      <a:pt x="739" y="643"/>
                      <a:pt x="739" y="643"/>
                      <a:pt x="739" y="643"/>
                    </a:cubicBezTo>
                    <a:cubicBezTo>
                      <a:pt x="740" y="643"/>
                      <a:pt x="740" y="643"/>
                      <a:pt x="741" y="642"/>
                    </a:cubicBezTo>
                    <a:cubicBezTo>
                      <a:pt x="741" y="642"/>
                      <a:pt x="741" y="642"/>
                      <a:pt x="742" y="642"/>
                    </a:cubicBezTo>
                    <a:cubicBezTo>
                      <a:pt x="744" y="642"/>
                      <a:pt x="747" y="641"/>
                      <a:pt x="749" y="641"/>
                    </a:cubicBezTo>
                    <a:cubicBezTo>
                      <a:pt x="749" y="634"/>
                      <a:pt x="750" y="623"/>
                      <a:pt x="758" y="619"/>
                    </a:cubicBezTo>
                    <a:cubicBezTo>
                      <a:pt x="770" y="612"/>
                      <a:pt x="766" y="596"/>
                      <a:pt x="778" y="594"/>
                    </a:cubicBezTo>
                    <a:cubicBezTo>
                      <a:pt x="790" y="592"/>
                      <a:pt x="792" y="586"/>
                      <a:pt x="791" y="574"/>
                    </a:cubicBezTo>
                    <a:cubicBezTo>
                      <a:pt x="790" y="562"/>
                      <a:pt x="785" y="559"/>
                      <a:pt x="779" y="555"/>
                    </a:cubicBezTo>
                    <a:cubicBezTo>
                      <a:pt x="773" y="551"/>
                      <a:pt x="769" y="547"/>
                      <a:pt x="770" y="536"/>
                    </a:cubicBezTo>
                    <a:cubicBezTo>
                      <a:pt x="771" y="525"/>
                      <a:pt x="786" y="507"/>
                      <a:pt x="769" y="508"/>
                    </a:cubicBezTo>
                    <a:cubicBezTo>
                      <a:pt x="752" y="509"/>
                      <a:pt x="744" y="512"/>
                      <a:pt x="736" y="500"/>
                    </a:cubicBezTo>
                    <a:cubicBezTo>
                      <a:pt x="728" y="488"/>
                      <a:pt x="720" y="485"/>
                      <a:pt x="722" y="477"/>
                    </a:cubicBezTo>
                    <a:cubicBezTo>
                      <a:pt x="724" y="469"/>
                      <a:pt x="735" y="468"/>
                      <a:pt x="741" y="466"/>
                    </a:cubicBezTo>
                    <a:cubicBezTo>
                      <a:pt x="747" y="464"/>
                      <a:pt x="756" y="451"/>
                      <a:pt x="765" y="462"/>
                    </a:cubicBezTo>
                    <a:cubicBezTo>
                      <a:pt x="774" y="473"/>
                      <a:pt x="787" y="470"/>
                      <a:pt x="801" y="469"/>
                    </a:cubicBezTo>
                    <a:cubicBezTo>
                      <a:pt x="815" y="468"/>
                      <a:pt x="803" y="449"/>
                      <a:pt x="814" y="443"/>
                    </a:cubicBezTo>
                    <a:cubicBezTo>
                      <a:pt x="825" y="437"/>
                      <a:pt x="814" y="428"/>
                      <a:pt x="812" y="424"/>
                    </a:cubicBezTo>
                    <a:cubicBezTo>
                      <a:pt x="810" y="420"/>
                      <a:pt x="813" y="413"/>
                      <a:pt x="827" y="413"/>
                    </a:cubicBezTo>
                    <a:cubicBezTo>
                      <a:pt x="841" y="413"/>
                      <a:pt x="851" y="406"/>
                      <a:pt x="851" y="391"/>
                    </a:cubicBezTo>
                    <a:cubicBezTo>
                      <a:pt x="851" y="376"/>
                      <a:pt x="867" y="368"/>
                      <a:pt x="872" y="374"/>
                    </a:cubicBezTo>
                    <a:cubicBezTo>
                      <a:pt x="877" y="380"/>
                      <a:pt x="892" y="386"/>
                      <a:pt x="901" y="372"/>
                    </a:cubicBezTo>
                    <a:cubicBezTo>
                      <a:pt x="910" y="358"/>
                      <a:pt x="915" y="359"/>
                      <a:pt x="921" y="358"/>
                    </a:cubicBezTo>
                    <a:cubicBezTo>
                      <a:pt x="927" y="357"/>
                      <a:pt x="939" y="362"/>
                      <a:pt x="942" y="367"/>
                    </a:cubicBezTo>
                    <a:cubicBezTo>
                      <a:pt x="945" y="372"/>
                      <a:pt x="943" y="391"/>
                      <a:pt x="936" y="394"/>
                    </a:cubicBezTo>
                    <a:cubicBezTo>
                      <a:pt x="929" y="397"/>
                      <a:pt x="918" y="409"/>
                      <a:pt x="928" y="413"/>
                    </a:cubicBezTo>
                    <a:cubicBezTo>
                      <a:pt x="928" y="413"/>
                      <a:pt x="929" y="413"/>
                      <a:pt x="930" y="413"/>
                    </a:cubicBezTo>
                    <a:cubicBezTo>
                      <a:pt x="930" y="413"/>
                      <a:pt x="931" y="414"/>
                      <a:pt x="931" y="414"/>
                    </a:cubicBezTo>
                    <a:cubicBezTo>
                      <a:pt x="931" y="414"/>
                      <a:pt x="932" y="414"/>
                      <a:pt x="933" y="414"/>
                    </a:cubicBezTo>
                    <a:cubicBezTo>
                      <a:pt x="933" y="414"/>
                      <a:pt x="933" y="414"/>
                      <a:pt x="934" y="414"/>
                    </a:cubicBezTo>
                    <a:cubicBezTo>
                      <a:pt x="934" y="414"/>
                      <a:pt x="935" y="414"/>
                      <a:pt x="936" y="414"/>
                    </a:cubicBezTo>
                    <a:cubicBezTo>
                      <a:pt x="936" y="414"/>
                      <a:pt x="936" y="414"/>
                      <a:pt x="936" y="414"/>
                    </a:cubicBezTo>
                    <a:cubicBezTo>
                      <a:pt x="937" y="414"/>
                      <a:pt x="939" y="414"/>
                      <a:pt x="940" y="413"/>
                    </a:cubicBezTo>
                    <a:cubicBezTo>
                      <a:pt x="944" y="413"/>
                      <a:pt x="948" y="412"/>
                      <a:pt x="952" y="411"/>
                    </a:cubicBezTo>
                    <a:cubicBezTo>
                      <a:pt x="952" y="411"/>
                      <a:pt x="952" y="411"/>
                      <a:pt x="953" y="411"/>
                    </a:cubicBezTo>
                    <a:cubicBezTo>
                      <a:pt x="953" y="411"/>
                      <a:pt x="954" y="411"/>
                      <a:pt x="954" y="411"/>
                    </a:cubicBezTo>
                    <a:cubicBezTo>
                      <a:pt x="955" y="411"/>
                      <a:pt x="956" y="411"/>
                      <a:pt x="957" y="410"/>
                    </a:cubicBezTo>
                    <a:cubicBezTo>
                      <a:pt x="957" y="410"/>
                      <a:pt x="957" y="410"/>
                      <a:pt x="957" y="410"/>
                    </a:cubicBezTo>
                    <a:cubicBezTo>
                      <a:pt x="958" y="410"/>
                      <a:pt x="959" y="410"/>
                      <a:pt x="960" y="410"/>
                    </a:cubicBezTo>
                    <a:cubicBezTo>
                      <a:pt x="960" y="410"/>
                      <a:pt x="961" y="410"/>
                      <a:pt x="961" y="410"/>
                    </a:cubicBezTo>
                    <a:cubicBezTo>
                      <a:pt x="962" y="410"/>
                      <a:pt x="962" y="410"/>
                      <a:pt x="963" y="410"/>
                    </a:cubicBezTo>
                    <a:cubicBezTo>
                      <a:pt x="963" y="410"/>
                      <a:pt x="963" y="410"/>
                      <a:pt x="963" y="410"/>
                    </a:cubicBezTo>
                    <a:cubicBezTo>
                      <a:pt x="964" y="410"/>
                      <a:pt x="965" y="411"/>
                      <a:pt x="966" y="411"/>
                    </a:cubicBezTo>
                    <a:cubicBezTo>
                      <a:pt x="975" y="414"/>
                      <a:pt x="990" y="419"/>
                      <a:pt x="999" y="419"/>
                    </a:cubicBezTo>
                    <a:cubicBezTo>
                      <a:pt x="1008" y="419"/>
                      <a:pt x="1021" y="425"/>
                      <a:pt x="1022" y="412"/>
                    </a:cubicBezTo>
                    <a:cubicBezTo>
                      <a:pt x="1023" y="399"/>
                      <a:pt x="1030" y="395"/>
                      <a:pt x="1047" y="395"/>
                    </a:cubicBezTo>
                    <a:cubicBezTo>
                      <a:pt x="1064" y="395"/>
                      <a:pt x="1070" y="390"/>
                      <a:pt x="1075" y="385"/>
                    </a:cubicBezTo>
                    <a:cubicBezTo>
                      <a:pt x="1080" y="380"/>
                      <a:pt x="1098" y="376"/>
                      <a:pt x="1069" y="365"/>
                    </a:cubicBezTo>
                    <a:cubicBezTo>
                      <a:pt x="1040" y="354"/>
                      <a:pt x="1041" y="363"/>
                      <a:pt x="1031" y="348"/>
                    </a:cubicBezTo>
                    <a:cubicBezTo>
                      <a:pt x="1021" y="333"/>
                      <a:pt x="1003" y="309"/>
                      <a:pt x="997" y="325"/>
                    </a:cubicBezTo>
                    <a:cubicBezTo>
                      <a:pt x="991" y="341"/>
                      <a:pt x="980" y="357"/>
                      <a:pt x="960" y="347"/>
                    </a:cubicBezTo>
                    <a:cubicBezTo>
                      <a:pt x="940" y="337"/>
                      <a:pt x="942" y="325"/>
                      <a:pt x="926" y="325"/>
                    </a:cubicBezTo>
                    <a:cubicBezTo>
                      <a:pt x="910" y="325"/>
                      <a:pt x="905" y="313"/>
                      <a:pt x="917" y="306"/>
                    </a:cubicBezTo>
                    <a:cubicBezTo>
                      <a:pt x="929" y="299"/>
                      <a:pt x="949" y="290"/>
                      <a:pt x="957" y="281"/>
                    </a:cubicBezTo>
                    <a:cubicBezTo>
                      <a:pt x="963" y="273"/>
                      <a:pt x="969" y="260"/>
                      <a:pt x="958" y="245"/>
                    </a:cubicBezTo>
                    <a:cubicBezTo>
                      <a:pt x="958" y="245"/>
                      <a:pt x="958" y="245"/>
                      <a:pt x="958" y="246"/>
                    </a:cubicBezTo>
                    <a:cubicBezTo>
                      <a:pt x="950" y="264"/>
                      <a:pt x="945" y="271"/>
                      <a:pt x="932" y="271"/>
                    </a:cubicBezTo>
                    <a:cubicBezTo>
                      <a:pt x="919" y="271"/>
                      <a:pt x="912" y="282"/>
                      <a:pt x="901" y="293"/>
                    </a:cubicBezTo>
                    <a:cubicBezTo>
                      <a:pt x="890" y="304"/>
                      <a:pt x="883" y="302"/>
                      <a:pt x="872" y="308"/>
                    </a:cubicBezTo>
                    <a:cubicBezTo>
                      <a:pt x="861" y="314"/>
                      <a:pt x="859" y="319"/>
                      <a:pt x="840" y="327"/>
                    </a:cubicBezTo>
                    <a:cubicBezTo>
                      <a:pt x="821" y="335"/>
                      <a:pt x="819" y="355"/>
                      <a:pt x="806" y="361"/>
                    </a:cubicBezTo>
                    <a:cubicBezTo>
                      <a:pt x="793" y="367"/>
                      <a:pt x="804" y="374"/>
                      <a:pt x="805" y="387"/>
                    </a:cubicBezTo>
                    <a:cubicBezTo>
                      <a:pt x="806" y="400"/>
                      <a:pt x="790" y="387"/>
                      <a:pt x="779" y="384"/>
                    </a:cubicBezTo>
                    <a:cubicBezTo>
                      <a:pt x="768" y="381"/>
                      <a:pt x="774" y="373"/>
                      <a:pt x="769" y="354"/>
                    </a:cubicBezTo>
                    <a:cubicBezTo>
                      <a:pt x="764" y="335"/>
                      <a:pt x="727" y="349"/>
                      <a:pt x="708" y="349"/>
                    </a:cubicBezTo>
                    <a:cubicBezTo>
                      <a:pt x="689" y="349"/>
                      <a:pt x="688" y="343"/>
                      <a:pt x="685" y="328"/>
                    </a:cubicBezTo>
                    <a:cubicBezTo>
                      <a:pt x="682" y="313"/>
                      <a:pt x="677" y="295"/>
                      <a:pt x="666" y="281"/>
                    </a:cubicBezTo>
                    <a:cubicBezTo>
                      <a:pt x="655" y="267"/>
                      <a:pt x="646" y="258"/>
                      <a:pt x="647" y="242"/>
                    </a:cubicBezTo>
                    <a:cubicBezTo>
                      <a:pt x="648" y="226"/>
                      <a:pt x="653" y="212"/>
                      <a:pt x="637" y="211"/>
                    </a:cubicBezTo>
                    <a:cubicBezTo>
                      <a:pt x="621" y="210"/>
                      <a:pt x="619" y="198"/>
                      <a:pt x="598" y="168"/>
                    </a:cubicBezTo>
                    <a:cubicBezTo>
                      <a:pt x="577" y="138"/>
                      <a:pt x="561" y="150"/>
                      <a:pt x="548" y="160"/>
                    </a:cubicBezTo>
                    <a:cubicBezTo>
                      <a:pt x="535" y="170"/>
                      <a:pt x="500" y="161"/>
                      <a:pt x="471" y="156"/>
                    </a:cubicBezTo>
                    <a:cubicBezTo>
                      <a:pt x="442" y="151"/>
                      <a:pt x="425" y="163"/>
                      <a:pt x="402" y="166"/>
                    </a:cubicBezTo>
                    <a:cubicBezTo>
                      <a:pt x="379" y="169"/>
                      <a:pt x="378" y="159"/>
                      <a:pt x="367" y="143"/>
                    </a:cubicBezTo>
                    <a:cubicBezTo>
                      <a:pt x="356" y="127"/>
                      <a:pt x="327" y="109"/>
                      <a:pt x="312" y="90"/>
                    </a:cubicBezTo>
                    <a:cubicBezTo>
                      <a:pt x="309" y="86"/>
                      <a:pt x="305" y="82"/>
                      <a:pt x="300" y="79"/>
                    </a:cubicBezTo>
                    <a:cubicBezTo>
                      <a:pt x="292" y="86"/>
                      <a:pt x="284" y="99"/>
                      <a:pt x="282" y="107"/>
                    </a:cubicBezTo>
                    <a:cubicBezTo>
                      <a:pt x="280" y="117"/>
                      <a:pt x="265" y="113"/>
                      <a:pt x="255" y="122"/>
                    </a:cubicBezTo>
                    <a:cubicBezTo>
                      <a:pt x="245" y="131"/>
                      <a:pt x="220" y="127"/>
                      <a:pt x="197" y="125"/>
                    </a:cubicBezTo>
                    <a:cubicBezTo>
                      <a:pt x="174" y="123"/>
                      <a:pt x="165" y="111"/>
                      <a:pt x="155" y="104"/>
                    </a:cubicBezTo>
                    <a:cubicBezTo>
                      <a:pt x="145" y="96"/>
                      <a:pt x="151" y="77"/>
                      <a:pt x="151" y="54"/>
                    </a:cubicBezTo>
                    <a:cubicBezTo>
                      <a:pt x="151" y="31"/>
                      <a:pt x="157" y="35"/>
                      <a:pt x="162" y="29"/>
                    </a:cubicBezTo>
                    <a:cubicBezTo>
                      <a:pt x="166" y="25"/>
                      <a:pt x="168" y="15"/>
                      <a:pt x="171" y="6"/>
                    </a:cubicBezTo>
                    <a:cubicBezTo>
                      <a:pt x="153" y="0"/>
                      <a:pt x="117" y="15"/>
                      <a:pt x="99" y="19"/>
                    </a:cubicBezTo>
                    <a:cubicBezTo>
                      <a:pt x="79" y="23"/>
                      <a:pt x="67" y="30"/>
                      <a:pt x="50" y="37"/>
                    </a:cubicBezTo>
                    <a:cubicBezTo>
                      <a:pt x="33" y="44"/>
                      <a:pt x="0" y="50"/>
                      <a:pt x="0" y="50"/>
                    </a:cubicBezTo>
                    <a:cubicBezTo>
                      <a:pt x="1" y="335"/>
                      <a:pt x="1" y="335"/>
                      <a:pt x="1" y="335"/>
                    </a:cubicBezTo>
                    <a:cubicBezTo>
                      <a:pt x="1" y="335"/>
                      <a:pt x="1" y="335"/>
                      <a:pt x="1" y="335"/>
                    </a:cubicBezTo>
                    <a:cubicBezTo>
                      <a:pt x="2" y="335"/>
                      <a:pt x="3" y="334"/>
                      <a:pt x="4" y="33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0" name="Freeform 234">
                <a:extLst>
                  <a:ext uri="{FF2B5EF4-FFF2-40B4-BE49-F238E27FC236}">
                    <a16:creationId xmlns:a16="http://schemas.microsoft.com/office/drawing/2014/main" id="{4CDA54B3-993F-B542-85E7-24E98A552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4" y="1879"/>
                <a:ext cx="125" cy="82"/>
              </a:xfrm>
              <a:custGeom>
                <a:avLst/>
                <a:gdLst>
                  <a:gd name="T0" fmla="*/ 375 w 494"/>
                  <a:gd name="T1" fmla="*/ 128 h 324"/>
                  <a:gd name="T2" fmla="*/ 318 w 494"/>
                  <a:gd name="T3" fmla="*/ 127 h 324"/>
                  <a:gd name="T4" fmla="*/ 245 w 494"/>
                  <a:gd name="T5" fmla="*/ 116 h 324"/>
                  <a:gd name="T6" fmla="*/ 186 w 494"/>
                  <a:gd name="T7" fmla="*/ 108 h 324"/>
                  <a:gd name="T8" fmla="*/ 139 w 494"/>
                  <a:gd name="T9" fmla="*/ 79 h 324"/>
                  <a:gd name="T10" fmla="*/ 208 w 494"/>
                  <a:gd name="T11" fmla="*/ 71 h 324"/>
                  <a:gd name="T12" fmla="*/ 216 w 494"/>
                  <a:gd name="T13" fmla="*/ 57 h 324"/>
                  <a:gd name="T14" fmla="*/ 214 w 494"/>
                  <a:gd name="T15" fmla="*/ 57 h 324"/>
                  <a:gd name="T16" fmla="*/ 211 w 494"/>
                  <a:gd name="T17" fmla="*/ 57 h 324"/>
                  <a:gd name="T18" fmla="*/ 208 w 494"/>
                  <a:gd name="T19" fmla="*/ 56 h 324"/>
                  <a:gd name="T20" fmla="*/ 222 w 494"/>
                  <a:gd name="T21" fmla="*/ 10 h 324"/>
                  <a:gd name="T22" fmla="*/ 181 w 494"/>
                  <a:gd name="T23" fmla="*/ 15 h 324"/>
                  <a:gd name="T24" fmla="*/ 131 w 494"/>
                  <a:gd name="T25" fmla="*/ 34 h 324"/>
                  <a:gd name="T26" fmla="*/ 92 w 494"/>
                  <a:gd name="T27" fmla="*/ 67 h 324"/>
                  <a:gd name="T28" fmla="*/ 81 w 494"/>
                  <a:gd name="T29" fmla="*/ 112 h 324"/>
                  <a:gd name="T30" fmla="*/ 21 w 494"/>
                  <a:gd name="T31" fmla="*/ 109 h 324"/>
                  <a:gd name="T32" fmla="*/ 16 w 494"/>
                  <a:gd name="T33" fmla="*/ 143 h 324"/>
                  <a:gd name="T34" fmla="*/ 50 w 494"/>
                  <a:gd name="T35" fmla="*/ 179 h 324"/>
                  <a:gd name="T36" fmla="*/ 71 w 494"/>
                  <a:gd name="T37" fmla="*/ 217 h 324"/>
                  <a:gd name="T38" fmla="*/ 38 w 494"/>
                  <a:gd name="T39" fmla="*/ 262 h 324"/>
                  <a:gd name="T40" fmla="*/ 31 w 494"/>
                  <a:gd name="T41" fmla="*/ 284 h 324"/>
                  <a:gd name="T42" fmla="*/ 33 w 494"/>
                  <a:gd name="T43" fmla="*/ 284 h 324"/>
                  <a:gd name="T44" fmla="*/ 34 w 494"/>
                  <a:gd name="T45" fmla="*/ 285 h 324"/>
                  <a:gd name="T46" fmla="*/ 35 w 494"/>
                  <a:gd name="T47" fmla="*/ 285 h 324"/>
                  <a:gd name="T48" fmla="*/ 36 w 494"/>
                  <a:gd name="T49" fmla="*/ 286 h 324"/>
                  <a:gd name="T50" fmla="*/ 37 w 494"/>
                  <a:gd name="T51" fmla="*/ 288 h 324"/>
                  <a:gd name="T52" fmla="*/ 50 w 494"/>
                  <a:gd name="T53" fmla="*/ 304 h 324"/>
                  <a:gd name="T54" fmla="*/ 110 w 494"/>
                  <a:gd name="T55" fmla="*/ 277 h 324"/>
                  <a:gd name="T56" fmla="*/ 138 w 494"/>
                  <a:gd name="T57" fmla="*/ 271 h 324"/>
                  <a:gd name="T58" fmla="*/ 188 w 494"/>
                  <a:gd name="T59" fmla="*/ 248 h 324"/>
                  <a:gd name="T60" fmla="*/ 233 w 494"/>
                  <a:gd name="T61" fmla="*/ 188 h 324"/>
                  <a:gd name="T62" fmla="*/ 264 w 494"/>
                  <a:gd name="T63" fmla="*/ 234 h 324"/>
                  <a:gd name="T64" fmla="*/ 270 w 494"/>
                  <a:gd name="T65" fmla="*/ 277 h 324"/>
                  <a:gd name="T66" fmla="*/ 308 w 494"/>
                  <a:gd name="T67" fmla="*/ 315 h 324"/>
                  <a:gd name="T68" fmla="*/ 382 w 494"/>
                  <a:gd name="T69" fmla="*/ 270 h 324"/>
                  <a:gd name="T70" fmla="*/ 433 w 494"/>
                  <a:gd name="T71" fmla="*/ 276 h 324"/>
                  <a:gd name="T72" fmla="*/ 491 w 494"/>
                  <a:gd name="T73" fmla="*/ 275 h 324"/>
                  <a:gd name="T74" fmla="*/ 493 w 494"/>
                  <a:gd name="T75" fmla="*/ 267 h 324"/>
                  <a:gd name="T76" fmla="*/ 494 w 494"/>
                  <a:gd name="T77" fmla="*/ 263 h 324"/>
                  <a:gd name="T78" fmla="*/ 494 w 494"/>
                  <a:gd name="T79" fmla="*/ 259 h 324"/>
                  <a:gd name="T80" fmla="*/ 494 w 494"/>
                  <a:gd name="T81" fmla="*/ 255 h 324"/>
                  <a:gd name="T82" fmla="*/ 493 w 494"/>
                  <a:gd name="T83" fmla="*/ 251 h 324"/>
                  <a:gd name="T84" fmla="*/ 492 w 494"/>
                  <a:gd name="T85" fmla="*/ 247 h 324"/>
                  <a:gd name="T86" fmla="*/ 485 w 494"/>
                  <a:gd name="T87" fmla="*/ 214 h 324"/>
                  <a:gd name="T88" fmla="*/ 446 w 494"/>
                  <a:gd name="T89" fmla="*/ 177 h 324"/>
                  <a:gd name="T90" fmla="*/ 419 w 494"/>
                  <a:gd name="T91" fmla="*/ 142 h 324"/>
                  <a:gd name="T92" fmla="*/ 419 w 494"/>
                  <a:gd name="T93" fmla="*/ 139 h 324"/>
                  <a:gd name="T94" fmla="*/ 419 w 494"/>
                  <a:gd name="T95" fmla="*/ 116 h 324"/>
                  <a:gd name="T96" fmla="*/ 398 w 494"/>
                  <a:gd name="T97" fmla="*/ 117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94" h="324">
                    <a:moveTo>
                      <a:pt x="398" y="117"/>
                    </a:moveTo>
                    <a:cubicBezTo>
                      <a:pt x="385" y="117"/>
                      <a:pt x="384" y="125"/>
                      <a:pt x="375" y="128"/>
                    </a:cubicBezTo>
                    <a:cubicBezTo>
                      <a:pt x="366" y="131"/>
                      <a:pt x="361" y="130"/>
                      <a:pt x="351" y="121"/>
                    </a:cubicBezTo>
                    <a:cubicBezTo>
                      <a:pt x="341" y="112"/>
                      <a:pt x="323" y="119"/>
                      <a:pt x="318" y="127"/>
                    </a:cubicBezTo>
                    <a:cubicBezTo>
                      <a:pt x="313" y="135"/>
                      <a:pt x="294" y="126"/>
                      <a:pt x="283" y="114"/>
                    </a:cubicBezTo>
                    <a:cubicBezTo>
                      <a:pt x="272" y="102"/>
                      <a:pt x="251" y="107"/>
                      <a:pt x="245" y="116"/>
                    </a:cubicBezTo>
                    <a:cubicBezTo>
                      <a:pt x="239" y="125"/>
                      <a:pt x="227" y="122"/>
                      <a:pt x="221" y="117"/>
                    </a:cubicBezTo>
                    <a:cubicBezTo>
                      <a:pt x="215" y="112"/>
                      <a:pt x="202" y="112"/>
                      <a:pt x="186" y="108"/>
                    </a:cubicBezTo>
                    <a:cubicBezTo>
                      <a:pt x="170" y="104"/>
                      <a:pt x="170" y="112"/>
                      <a:pt x="146" y="112"/>
                    </a:cubicBezTo>
                    <a:cubicBezTo>
                      <a:pt x="122" y="112"/>
                      <a:pt x="136" y="88"/>
                      <a:pt x="139" y="79"/>
                    </a:cubicBezTo>
                    <a:cubicBezTo>
                      <a:pt x="142" y="70"/>
                      <a:pt x="157" y="60"/>
                      <a:pt x="170" y="60"/>
                    </a:cubicBezTo>
                    <a:cubicBezTo>
                      <a:pt x="183" y="60"/>
                      <a:pt x="191" y="71"/>
                      <a:pt x="208" y="71"/>
                    </a:cubicBezTo>
                    <a:cubicBezTo>
                      <a:pt x="217" y="71"/>
                      <a:pt x="219" y="63"/>
                      <a:pt x="220" y="56"/>
                    </a:cubicBezTo>
                    <a:cubicBezTo>
                      <a:pt x="219" y="57"/>
                      <a:pt x="217" y="57"/>
                      <a:pt x="216" y="57"/>
                    </a:cubicBezTo>
                    <a:cubicBezTo>
                      <a:pt x="216" y="57"/>
                      <a:pt x="216" y="57"/>
                      <a:pt x="216" y="57"/>
                    </a:cubicBezTo>
                    <a:cubicBezTo>
                      <a:pt x="215" y="57"/>
                      <a:pt x="214" y="57"/>
                      <a:pt x="214" y="57"/>
                    </a:cubicBezTo>
                    <a:cubicBezTo>
                      <a:pt x="213" y="57"/>
                      <a:pt x="213" y="57"/>
                      <a:pt x="213" y="57"/>
                    </a:cubicBezTo>
                    <a:cubicBezTo>
                      <a:pt x="212" y="57"/>
                      <a:pt x="211" y="57"/>
                      <a:pt x="211" y="57"/>
                    </a:cubicBezTo>
                    <a:cubicBezTo>
                      <a:pt x="211" y="57"/>
                      <a:pt x="210" y="56"/>
                      <a:pt x="210" y="56"/>
                    </a:cubicBezTo>
                    <a:cubicBezTo>
                      <a:pt x="209" y="56"/>
                      <a:pt x="208" y="56"/>
                      <a:pt x="208" y="56"/>
                    </a:cubicBezTo>
                    <a:cubicBezTo>
                      <a:pt x="198" y="52"/>
                      <a:pt x="209" y="40"/>
                      <a:pt x="216" y="37"/>
                    </a:cubicBezTo>
                    <a:cubicBezTo>
                      <a:pt x="223" y="34"/>
                      <a:pt x="225" y="15"/>
                      <a:pt x="222" y="10"/>
                    </a:cubicBezTo>
                    <a:cubicBezTo>
                      <a:pt x="219" y="5"/>
                      <a:pt x="207" y="0"/>
                      <a:pt x="201" y="1"/>
                    </a:cubicBezTo>
                    <a:cubicBezTo>
                      <a:pt x="195" y="2"/>
                      <a:pt x="190" y="1"/>
                      <a:pt x="181" y="15"/>
                    </a:cubicBezTo>
                    <a:cubicBezTo>
                      <a:pt x="172" y="29"/>
                      <a:pt x="157" y="23"/>
                      <a:pt x="152" y="17"/>
                    </a:cubicBezTo>
                    <a:cubicBezTo>
                      <a:pt x="147" y="11"/>
                      <a:pt x="131" y="19"/>
                      <a:pt x="131" y="34"/>
                    </a:cubicBezTo>
                    <a:cubicBezTo>
                      <a:pt x="131" y="49"/>
                      <a:pt x="121" y="56"/>
                      <a:pt x="107" y="56"/>
                    </a:cubicBezTo>
                    <a:cubicBezTo>
                      <a:pt x="93" y="56"/>
                      <a:pt x="90" y="63"/>
                      <a:pt x="92" y="67"/>
                    </a:cubicBezTo>
                    <a:cubicBezTo>
                      <a:pt x="94" y="71"/>
                      <a:pt x="105" y="80"/>
                      <a:pt x="94" y="86"/>
                    </a:cubicBezTo>
                    <a:cubicBezTo>
                      <a:pt x="83" y="92"/>
                      <a:pt x="95" y="111"/>
                      <a:pt x="81" y="112"/>
                    </a:cubicBezTo>
                    <a:cubicBezTo>
                      <a:pt x="67" y="113"/>
                      <a:pt x="54" y="116"/>
                      <a:pt x="45" y="105"/>
                    </a:cubicBezTo>
                    <a:cubicBezTo>
                      <a:pt x="36" y="94"/>
                      <a:pt x="27" y="107"/>
                      <a:pt x="21" y="109"/>
                    </a:cubicBezTo>
                    <a:cubicBezTo>
                      <a:pt x="15" y="111"/>
                      <a:pt x="4" y="112"/>
                      <a:pt x="2" y="120"/>
                    </a:cubicBezTo>
                    <a:cubicBezTo>
                      <a:pt x="0" y="128"/>
                      <a:pt x="8" y="131"/>
                      <a:pt x="16" y="143"/>
                    </a:cubicBezTo>
                    <a:cubicBezTo>
                      <a:pt x="24" y="155"/>
                      <a:pt x="32" y="152"/>
                      <a:pt x="49" y="151"/>
                    </a:cubicBezTo>
                    <a:cubicBezTo>
                      <a:pt x="66" y="150"/>
                      <a:pt x="51" y="168"/>
                      <a:pt x="50" y="179"/>
                    </a:cubicBezTo>
                    <a:cubicBezTo>
                      <a:pt x="49" y="190"/>
                      <a:pt x="53" y="194"/>
                      <a:pt x="59" y="198"/>
                    </a:cubicBezTo>
                    <a:cubicBezTo>
                      <a:pt x="65" y="202"/>
                      <a:pt x="70" y="205"/>
                      <a:pt x="71" y="217"/>
                    </a:cubicBezTo>
                    <a:cubicBezTo>
                      <a:pt x="72" y="229"/>
                      <a:pt x="70" y="235"/>
                      <a:pt x="58" y="237"/>
                    </a:cubicBezTo>
                    <a:cubicBezTo>
                      <a:pt x="46" y="239"/>
                      <a:pt x="50" y="255"/>
                      <a:pt x="38" y="262"/>
                    </a:cubicBezTo>
                    <a:cubicBezTo>
                      <a:pt x="30" y="266"/>
                      <a:pt x="29" y="277"/>
                      <a:pt x="29" y="284"/>
                    </a:cubicBezTo>
                    <a:cubicBezTo>
                      <a:pt x="30" y="284"/>
                      <a:pt x="31" y="284"/>
                      <a:pt x="31" y="284"/>
                    </a:cubicBezTo>
                    <a:cubicBezTo>
                      <a:pt x="32" y="284"/>
                      <a:pt x="32" y="284"/>
                      <a:pt x="32" y="284"/>
                    </a:cubicBezTo>
                    <a:cubicBezTo>
                      <a:pt x="32" y="284"/>
                      <a:pt x="32" y="284"/>
                      <a:pt x="33" y="284"/>
                    </a:cubicBezTo>
                    <a:cubicBezTo>
                      <a:pt x="33" y="284"/>
                      <a:pt x="33" y="284"/>
                      <a:pt x="33" y="285"/>
                    </a:cubicBezTo>
                    <a:cubicBezTo>
                      <a:pt x="34" y="285"/>
                      <a:pt x="34" y="285"/>
                      <a:pt x="34" y="285"/>
                    </a:cubicBezTo>
                    <a:cubicBezTo>
                      <a:pt x="34" y="285"/>
                      <a:pt x="34" y="285"/>
                      <a:pt x="35" y="285"/>
                    </a:cubicBezTo>
                    <a:cubicBezTo>
                      <a:pt x="35" y="285"/>
                      <a:pt x="35" y="285"/>
                      <a:pt x="35" y="285"/>
                    </a:cubicBezTo>
                    <a:cubicBezTo>
                      <a:pt x="35" y="286"/>
                      <a:pt x="35" y="286"/>
                      <a:pt x="36" y="286"/>
                    </a:cubicBezTo>
                    <a:cubicBezTo>
                      <a:pt x="36" y="286"/>
                      <a:pt x="36" y="286"/>
                      <a:pt x="36" y="286"/>
                    </a:cubicBezTo>
                    <a:cubicBezTo>
                      <a:pt x="36" y="287"/>
                      <a:pt x="36" y="287"/>
                      <a:pt x="36" y="287"/>
                    </a:cubicBezTo>
                    <a:cubicBezTo>
                      <a:pt x="36" y="287"/>
                      <a:pt x="37" y="287"/>
                      <a:pt x="37" y="288"/>
                    </a:cubicBezTo>
                    <a:cubicBezTo>
                      <a:pt x="37" y="288"/>
                      <a:pt x="37" y="289"/>
                      <a:pt x="37" y="289"/>
                    </a:cubicBezTo>
                    <a:cubicBezTo>
                      <a:pt x="39" y="299"/>
                      <a:pt x="38" y="306"/>
                      <a:pt x="50" y="304"/>
                    </a:cubicBezTo>
                    <a:cubicBezTo>
                      <a:pt x="63" y="303"/>
                      <a:pt x="62" y="287"/>
                      <a:pt x="81" y="287"/>
                    </a:cubicBezTo>
                    <a:cubicBezTo>
                      <a:pt x="100" y="287"/>
                      <a:pt x="97" y="268"/>
                      <a:pt x="110" y="277"/>
                    </a:cubicBezTo>
                    <a:cubicBezTo>
                      <a:pt x="124" y="286"/>
                      <a:pt x="127" y="293"/>
                      <a:pt x="134" y="293"/>
                    </a:cubicBezTo>
                    <a:cubicBezTo>
                      <a:pt x="142" y="293"/>
                      <a:pt x="139" y="282"/>
                      <a:pt x="138" y="271"/>
                    </a:cubicBezTo>
                    <a:cubicBezTo>
                      <a:pt x="138" y="260"/>
                      <a:pt x="143" y="254"/>
                      <a:pt x="158" y="256"/>
                    </a:cubicBezTo>
                    <a:cubicBezTo>
                      <a:pt x="172" y="259"/>
                      <a:pt x="186" y="268"/>
                      <a:pt x="188" y="248"/>
                    </a:cubicBezTo>
                    <a:cubicBezTo>
                      <a:pt x="189" y="228"/>
                      <a:pt x="192" y="224"/>
                      <a:pt x="204" y="218"/>
                    </a:cubicBezTo>
                    <a:cubicBezTo>
                      <a:pt x="215" y="212"/>
                      <a:pt x="223" y="188"/>
                      <a:pt x="233" y="188"/>
                    </a:cubicBezTo>
                    <a:cubicBezTo>
                      <a:pt x="243" y="188"/>
                      <a:pt x="254" y="195"/>
                      <a:pt x="256" y="209"/>
                    </a:cubicBezTo>
                    <a:cubicBezTo>
                      <a:pt x="258" y="223"/>
                      <a:pt x="251" y="228"/>
                      <a:pt x="264" y="234"/>
                    </a:cubicBezTo>
                    <a:cubicBezTo>
                      <a:pt x="278" y="240"/>
                      <a:pt x="275" y="246"/>
                      <a:pt x="272" y="253"/>
                    </a:cubicBezTo>
                    <a:cubicBezTo>
                      <a:pt x="268" y="260"/>
                      <a:pt x="268" y="270"/>
                      <a:pt x="270" y="277"/>
                    </a:cubicBezTo>
                    <a:cubicBezTo>
                      <a:pt x="271" y="284"/>
                      <a:pt x="257" y="304"/>
                      <a:pt x="269" y="314"/>
                    </a:cubicBezTo>
                    <a:cubicBezTo>
                      <a:pt x="281" y="324"/>
                      <a:pt x="300" y="323"/>
                      <a:pt x="308" y="315"/>
                    </a:cubicBezTo>
                    <a:cubicBezTo>
                      <a:pt x="317" y="307"/>
                      <a:pt x="332" y="306"/>
                      <a:pt x="340" y="298"/>
                    </a:cubicBezTo>
                    <a:cubicBezTo>
                      <a:pt x="348" y="290"/>
                      <a:pt x="366" y="272"/>
                      <a:pt x="382" y="270"/>
                    </a:cubicBezTo>
                    <a:cubicBezTo>
                      <a:pt x="397" y="268"/>
                      <a:pt x="408" y="270"/>
                      <a:pt x="412" y="274"/>
                    </a:cubicBezTo>
                    <a:cubicBezTo>
                      <a:pt x="416" y="279"/>
                      <a:pt x="427" y="280"/>
                      <a:pt x="433" y="276"/>
                    </a:cubicBezTo>
                    <a:cubicBezTo>
                      <a:pt x="439" y="272"/>
                      <a:pt x="447" y="267"/>
                      <a:pt x="456" y="269"/>
                    </a:cubicBezTo>
                    <a:cubicBezTo>
                      <a:pt x="464" y="271"/>
                      <a:pt x="479" y="271"/>
                      <a:pt x="491" y="275"/>
                    </a:cubicBezTo>
                    <a:cubicBezTo>
                      <a:pt x="491" y="275"/>
                      <a:pt x="491" y="275"/>
                      <a:pt x="491" y="275"/>
                    </a:cubicBezTo>
                    <a:cubicBezTo>
                      <a:pt x="492" y="272"/>
                      <a:pt x="493" y="270"/>
                      <a:pt x="493" y="267"/>
                    </a:cubicBezTo>
                    <a:cubicBezTo>
                      <a:pt x="493" y="267"/>
                      <a:pt x="493" y="267"/>
                      <a:pt x="493" y="267"/>
                    </a:cubicBezTo>
                    <a:cubicBezTo>
                      <a:pt x="494" y="266"/>
                      <a:pt x="494" y="264"/>
                      <a:pt x="494" y="263"/>
                    </a:cubicBezTo>
                    <a:cubicBezTo>
                      <a:pt x="494" y="263"/>
                      <a:pt x="494" y="263"/>
                      <a:pt x="494" y="263"/>
                    </a:cubicBezTo>
                    <a:cubicBezTo>
                      <a:pt x="494" y="261"/>
                      <a:pt x="494" y="260"/>
                      <a:pt x="494" y="259"/>
                    </a:cubicBezTo>
                    <a:cubicBezTo>
                      <a:pt x="494" y="259"/>
                      <a:pt x="494" y="259"/>
                      <a:pt x="494" y="258"/>
                    </a:cubicBezTo>
                    <a:cubicBezTo>
                      <a:pt x="494" y="257"/>
                      <a:pt x="494" y="256"/>
                      <a:pt x="494" y="255"/>
                    </a:cubicBezTo>
                    <a:cubicBezTo>
                      <a:pt x="494" y="255"/>
                      <a:pt x="494" y="254"/>
                      <a:pt x="494" y="254"/>
                    </a:cubicBezTo>
                    <a:cubicBezTo>
                      <a:pt x="494" y="253"/>
                      <a:pt x="494" y="252"/>
                      <a:pt x="493" y="251"/>
                    </a:cubicBezTo>
                    <a:cubicBezTo>
                      <a:pt x="493" y="251"/>
                      <a:pt x="493" y="250"/>
                      <a:pt x="493" y="249"/>
                    </a:cubicBezTo>
                    <a:cubicBezTo>
                      <a:pt x="493" y="249"/>
                      <a:pt x="492" y="248"/>
                      <a:pt x="492" y="247"/>
                    </a:cubicBezTo>
                    <a:cubicBezTo>
                      <a:pt x="492" y="246"/>
                      <a:pt x="491" y="245"/>
                      <a:pt x="490" y="244"/>
                    </a:cubicBezTo>
                    <a:cubicBezTo>
                      <a:pt x="485" y="234"/>
                      <a:pt x="485" y="223"/>
                      <a:pt x="485" y="214"/>
                    </a:cubicBezTo>
                    <a:cubicBezTo>
                      <a:pt x="485" y="204"/>
                      <a:pt x="480" y="184"/>
                      <a:pt x="474" y="182"/>
                    </a:cubicBezTo>
                    <a:cubicBezTo>
                      <a:pt x="468" y="180"/>
                      <a:pt x="451" y="172"/>
                      <a:pt x="446" y="177"/>
                    </a:cubicBezTo>
                    <a:cubicBezTo>
                      <a:pt x="440" y="182"/>
                      <a:pt x="429" y="187"/>
                      <a:pt x="426" y="176"/>
                    </a:cubicBezTo>
                    <a:cubicBezTo>
                      <a:pt x="424" y="166"/>
                      <a:pt x="419" y="157"/>
                      <a:pt x="419" y="142"/>
                    </a:cubicBezTo>
                    <a:cubicBezTo>
                      <a:pt x="419" y="141"/>
                      <a:pt x="419" y="140"/>
                      <a:pt x="419" y="140"/>
                    </a:cubicBezTo>
                    <a:cubicBezTo>
                      <a:pt x="419" y="139"/>
                      <a:pt x="419" y="139"/>
                      <a:pt x="419" y="139"/>
                    </a:cubicBezTo>
                    <a:cubicBezTo>
                      <a:pt x="419" y="139"/>
                      <a:pt x="419" y="138"/>
                      <a:pt x="419" y="138"/>
                    </a:cubicBezTo>
                    <a:cubicBezTo>
                      <a:pt x="419" y="132"/>
                      <a:pt x="419" y="124"/>
                      <a:pt x="419" y="116"/>
                    </a:cubicBezTo>
                    <a:cubicBezTo>
                      <a:pt x="419" y="116"/>
                      <a:pt x="419" y="116"/>
                      <a:pt x="419" y="116"/>
                    </a:cubicBezTo>
                    <a:cubicBezTo>
                      <a:pt x="411" y="116"/>
                      <a:pt x="405" y="117"/>
                      <a:pt x="398" y="11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1" name="Freeform 235">
                <a:extLst>
                  <a:ext uri="{FF2B5EF4-FFF2-40B4-BE49-F238E27FC236}">
                    <a16:creationId xmlns:a16="http://schemas.microsoft.com/office/drawing/2014/main" id="{DB7A4BC6-C377-2045-BB36-E5796C587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4" y="1833"/>
                <a:ext cx="178" cy="80"/>
              </a:xfrm>
              <a:custGeom>
                <a:avLst/>
                <a:gdLst>
                  <a:gd name="T0" fmla="*/ 648 w 702"/>
                  <a:gd name="T1" fmla="*/ 60 h 319"/>
                  <a:gd name="T2" fmla="*/ 568 w 702"/>
                  <a:gd name="T3" fmla="*/ 38 h 319"/>
                  <a:gd name="T4" fmla="*/ 463 w 702"/>
                  <a:gd name="T5" fmla="*/ 36 h 319"/>
                  <a:gd name="T6" fmla="*/ 363 w 702"/>
                  <a:gd name="T7" fmla="*/ 35 h 319"/>
                  <a:gd name="T8" fmla="*/ 290 w 702"/>
                  <a:gd name="T9" fmla="*/ 23 h 319"/>
                  <a:gd name="T10" fmla="*/ 255 w 702"/>
                  <a:gd name="T11" fmla="*/ 64 h 319"/>
                  <a:gd name="T12" fmla="*/ 162 w 702"/>
                  <a:gd name="T13" fmla="*/ 45 h 319"/>
                  <a:gd name="T14" fmla="*/ 157 w 702"/>
                  <a:gd name="T15" fmla="*/ 45 h 319"/>
                  <a:gd name="T16" fmla="*/ 154 w 702"/>
                  <a:gd name="T17" fmla="*/ 46 h 319"/>
                  <a:gd name="T18" fmla="*/ 150 w 702"/>
                  <a:gd name="T19" fmla="*/ 46 h 319"/>
                  <a:gd name="T20" fmla="*/ 146 w 702"/>
                  <a:gd name="T21" fmla="*/ 47 h 319"/>
                  <a:gd name="T22" fmla="*/ 143 w 702"/>
                  <a:gd name="T23" fmla="*/ 49 h 319"/>
                  <a:gd name="T24" fmla="*/ 116 w 702"/>
                  <a:gd name="T25" fmla="*/ 72 h 319"/>
                  <a:gd name="T26" fmla="*/ 75 w 702"/>
                  <a:gd name="T27" fmla="*/ 133 h 319"/>
                  <a:gd name="T28" fmla="*/ 118 w 702"/>
                  <a:gd name="T29" fmla="*/ 174 h 319"/>
                  <a:gd name="T30" fmla="*/ 189 w 702"/>
                  <a:gd name="T31" fmla="*/ 175 h 319"/>
                  <a:gd name="T32" fmla="*/ 233 w 702"/>
                  <a:gd name="T33" fmla="*/ 212 h 319"/>
                  <a:gd name="T34" fmla="*/ 180 w 702"/>
                  <a:gd name="T35" fmla="*/ 239 h 319"/>
                  <a:gd name="T36" fmla="*/ 124 w 702"/>
                  <a:gd name="T37" fmla="*/ 238 h 319"/>
                  <a:gd name="T38" fmla="*/ 121 w 702"/>
                  <a:gd name="T39" fmla="*/ 237 h 319"/>
                  <a:gd name="T40" fmla="*/ 118 w 702"/>
                  <a:gd name="T41" fmla="*/ 237 h 319"/>
                  <a:gd name="T42" fmla="*/ 115 w 702"/>
                  <a:gd name="T43" fmla="*/ 237 h 319"/>
                  <a:gd name="T44" fmla="*/ 111 w 702"/>
                  <a:gd name="T45" fmla="*/ 238 h 319"/>
                  <a:gd name="T46" fmla="*/ 98 w 702"/>
                  <a:gd name="T47" fmla="*/ 240 h 319"/>
                  <a:gd name="T48" fmla="*/ 48 w 702"/>
                  <a:gd name="T49" fmla="*/ 244 h 319"/>
                  <a:gd name="T50" fmla="*/ 24 w 702"/>
                  <a:gd name="T51" fmla="*/ 296 h 319"/>
                  <a:gd name="T52" fmla="*/ 99 w 702"/>
                  <a:gd name="T53" fmla="*/ 301 h 319"/>
                  <a:gd name="T54" fmla="*/ 161 w 702"/>
                  <a:gd name="T55" fmla="*/ 298 h 319"/>
                  <a:gd name="T56" fmla="*/ 229 w 702"/>
                  <a:gd name="T57" fmla="*/ 305 h 319"/>
                  <a:gd name="T58" fmla="*/ 276 w 702"/>
                  <a:gd name="T59" fmla="*/ 301 h 319"/>
                  <a:gd name="T60" fmla="*/ 297 w 702"/>
                  <a:gd name="T61" fmla="*/ 300 h 319"/>
                  <a:gd name="T62" fmla="*/ 297 w 702"/>
                  <a:gd name="T63" fmla="*/ 296 h 319"/>
                  <a:gd name="T64" fmla="*/ 298 w 702"/>
                  <a:gd name="T65" fmla="*/ 289 h 319"/>
                  <a:gd name="T66" fmla="*/ 298 w 702"/>
                  <a:gd name="T67" fmla="*/ 285 h 319"/>
                  <a:gd name="T68" fmla="*/ 299 w 702"/>
                  <a:gd name="T69" fmla="*/ 282 h 319"/>
                  <a:gd name="T70" fmla="*/ 299 w 702"/>
                  <a:gd name="T71" fmla="*/ 279 h 319"/>
                  <a:gd name="T72" fmla="*/ 300 w 702"/>
                  <a:gd name="T73" fmla="*/ 275 h 319"/>
                  <a:gd name="T74" fmla="*/ 301 w 702"/>
                  <a:gd name="T75" fmla="*/ 272 h 319"/>
                  <a:gd name="T76" fmla="*/ 303 w 702"/>
                  <a:gd name="T77" fmla="*/ 267 h 319"/>
                  <a:gd name="T78" fmla="*/ 304 w 702"/>
                  <a:gd name="T79" fmla="*/ 264 h 319"/>
                  <a:gd name="T80" fmla="*/ 306 w 702"/>
                  <a:gd name="T81" fmla="*/ 263 h 319"/>
                  <a:gd name="T82" fmla="*/ 308 w 702"/>
                  <a:gd name="T83" fmla="*/ 261 h 319"/>
                  <a:gd name="T84" fmla="*/ 310 w 702"/>
                  <a:gd name="T85" fmla="*/ 259 h 319"/>
                  <a:gd name="T86" fmla="*/ 312 w 702"/>
                  <a:gd name="T87" fmla="*/ 258 h 319"/>
                  <a:gd name="T88" fmla="*/ 351 w 702"/>
                  <a:gd name="T89" fmla="*/ 240 h 319"/>
                  <a:gd name="T90" fmla="*/ 392 w 702"/>
                  <a:gd name="T91" fmla="*/ 222 h 319"/>
                  <a:gd name="T92" fmla="*/ 423 w 702"/>
                  <a:gd name="T93" fmla="*/ 236 h 319"/>
                  <a:gd name="T94" fmla="*/ 477 w 702"/>
                  <a:gd name="T95" fmla="*/ 207 h 319"/>
                  <a:gd name="T96" fmla="*/ 582 w 702"/>
                  <a:gd name="T97" fmla="*/ 169 h 319"/>
                  <a:gd name="T98" fmla="*/ 678 w 702"/>
                  <a:gd name="T99" fmla="*/ 112 h 319"/>
                  <a:gd name="T100" fmla="*/ 702 w 702"/>
                  <a:gd name="T101" fmla="*/ 100 h 319"/>
                  <a:gd name="T102" fmla="*/ 702 w 702"/>
                  <a:gd name="T103" fmla="*/ 98 h 319"/>
                  <a:gd name="T104" fmla="*/ 702 w 702"/>
                  <a:gd name="T105" fmla="*/ 95 h 319"/>
                  <a:gd name="T106" fmla="*/ 702 w 702"/>
                  <a:gd name="T107" fmla="*/ 92 h 319"/>
                  <a:gd name="T108" fmla="*/ 701 w 702"/>
                  <a:gd name="T109" fmla="*/ 89 h 319"/>
                  <a:gd name="T110" fmla="*/ 700 w 702"/>
                  <a:gd name="T111" fmla="*/ 81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" h="319">
                    <a:moveTo>
                      <a:pt x="673" y="76"/>
                    </a:moveTo>
                    <a:cubicBezTo>
                      <a:pt x="663" y="74"/>
                      <a:pt x="655" y="70"/>
                      <a:pt x="648" y="60"/>
                    </a:cubicBezTo>
                    <a:cubicBezTo>
                      <a:pt x="641" y="50"/>
                      <a:pt x="637" y="52"/>
                      <a:pt x="623" y="48"/>
                    </a:cubicBezTo>
                    <a:cubicBezTo>
                      <a:pt x="609" y="44"/>
                      <a:pt x="594" y="40"/>
                      <a:pt x="568" y="38"/>
                    </a:cubicBezTo>
                    <a:cubicBezTo>
                      <a:pt x="542" y="36"/>
                      <a:pt x="532" y="36"/>
                      <a:pt x="516" y="32"/>
                    </a:cubicBezTo>
                    <a:cubicBezTo>
                      <a:pt x="500" y="28"/>
                      <a:pt x="481" y="38"/>
                      <a:pt x="463" y="36"/>
                    </a:cubicBezTo>
                    <a:cubicBezTo>
                      <a:pt x="445" y="34"/>
                      <a:pt x="436" y="35"/>
                      <a:pt x="414" y="44"/>
                    </a:cubicBezTo>
                    <a:cubicBezTo>
                      <a:pt x="392" y="53"/>
                      <a:pt x="382" y="35"/>
                      <a:pt x="363" y="35"/>
                    </a:cubicBezTo>
                    <a:cubicBezTo>
                      <a:pt x="344" y="35"/>
                      <a:pt x="342" y="20"/>
                      <a:pt x="324" y="10"/>
                    </a:cubicBezTo>
                    <a:cubicBezTo>
                      <a:pt x="306" y="0"/>
                      <a:pt x="299" y="19"/>
                      <a:pt x="290" y="23"/>
                    </a:cubicBezTo>
                    <a:cubicBezTo>
                      <a:pt x="281" y="27"/>
                      <a:pt x="279" y="39"/>
                      <a:pt x="279" y="53"/>
                    </a:cubicBezTo>
                    <a:cubicBezTo>
                      <a:pt x="279" y="67"/>
                      <a:pt x="267" y="66"/>
                      <a:pt x="255" y="64"/>
                    </a:cubicBezTo>
                    <a:cubicBezTo>
                      <a:pt x="243" y="62"/>
                      <a:pt x="226" y="62"/>
                      <a:pt x="214" y="54"/>
                    </a:cubicBezTo>
                    <a:cubicBezTo>
                      <a:pt x="202" y="46"/>
                      <a:pt x="178" y="45"/>
                      <a:pt x="162" y="45"/>
                    </a:cubicBezTo>
                    <a:cubicBezTo>
                      <a:pt x="161" y="45"/>
                      <a:pt x="160" y="45"/>
                      <a:pt x="159" y="45"/>
                    </a:cubicBezTo>
                    <a:cubicBezTo>
                      <a:pt x="158" y="45"/>
                      <a:pt x="158" y="45"/>
                      <a:pt x="157" y="45"/>
                    </a:cubicBezTo>
                    <a:cubicBezTo>
                      <a:pt x="157" y="45"/>
                      <a:pt x="156" y="45"/>
                      <a:pt x="156" y="45"/>
                    </a:cubicBezTo>
                    <a:cubicBezTo>
                      <a:pt x="155" y="45"/>
                      <a:pt x="154" y="45"/>
                      <a:pt x="154" y="46"/>
                    </a:cubicBezTo>
                    <a:cubicBezTo>
                      <a:pt x="153" y="46"/>
                      <a:pt x="153" y="46"/>
                      <a:pt x="152" y="46"/>
                    </a:cubicBezTo>
                    <a:cubicBezTo>
                      <a:pt x="152" y="46"/>
                      <a:pt x="151" y="46"/>
                      <a:pt x="150" y="46"/>
                    </a:cubicBezTo>
                    <a:cubicBezTo>
                      <a:pt x="150" y="46"/>
                      <a:pt x="149" y="46"/>
                      <a:pt x="149" y="47"/>
                    </a:cubicBezTo>
                    <a:cubicBezTo>
                      <a:pt x="148" y="47"/>
                      <a:pt x="147" y="47"/>
                      <a:pt x="146" y="47"/>
                    </a:cubicBezTo>
                    <a:cubicBezTo>
                      <a:pt x="146" y="47"/>
                      <a:pt x="146" y="47"/>
                      <a:pt x="146" y="48"/>
                    </a:cubicBezTo>
                    <a:cubicBezTo>
                      <a:pt x="145" y="48"/>
                      <a:pt x="144" y="48"/>
                      <a:pt x="143" y="49"/>
                    </a:cubicBezTo>
                    <a:cubicBezTo>
                      <a:pt x="143" y="49"/>
                      <a:pt x="143" y="49"/>
                      <a:pt x="143" y="49"/>
                    </a:cubicBezTo>
                    <a:cubicBezTo>
                      <a:pt x="132" y="53"/>
                      <a:pt x="121" y="61"/>
                      <a:pt x="116" y="72"/>
                    </a:cubicBezTo>
                    <a:cubicBezTo>
                      <a:pt x="127" y="87"/>
                      <a:pt x="121" y="100"/>
                      <a:pt x="115" y="108"/>
                    </a:cubicBezTo>
                    <a:cubicBezTo>
                      <a:pt x="107" y="117"/>
                      <a:pt x="87" y="126"/>
                      <a:pt x="75" y="133"/>
                    </a:cubicBezTo>
                    <a:cubicBezTo>
                      <a:pt x="63" y="140"/>
                      <a:pt x="68" y="152"/>
                      <a:pt x="84" y="152"/>
                    </a:cubicBezTo>
                    <a:cubicBezTo>
                      <a:pt x="100" y="152"/>
                      <a:pt x="98" y="164"/>
                      <a:pt x="118" y="174"/>
                    </a:cubicBezTo>
                    <a:cubicBezTo>
                      <a:pt x="138" y="184"/>
                      <a:pt x="149" y="168"/>
                      <a:pt x="155" y="152"/>
                    </a:cubicBezTo>
                    <a:cubicBezTo>
                      <a:pt x="161" y="136"/>
                      <a:pt x="179" y="160"/>
                      <a:pt x="189" y="175"/>
                    </a:cubicBezTo>
                    <a:cubicBezTo>
                      <a:pt x="199" y="190"/>
                      <a:pt x="198" y="181"/>
                      <a:pt x="227" y="192"/>
                    </a:cubicBezTo>
                    <a:cubicBezTo>
                      <a:pt x="256" y="203"/>
                      <a:pt x="238" y="207"/>
                      <a:pt x="233" y="212"/>
                    </a:cubicBezTo>
                    <a:cubicBezTo>
                      <a:pt x="228" y="217"/>
                      <a:pt x="222" y="222"/>
                      <a:pt x="205" y="222"/>
                    </a:cubicBezTo>
                    <a:cubicBezTo>
                      <a:pt x="188" y="222"/>
                      <a:pt x="181" y="226"/>
                      <a:pt x="180" y="239"/>
                    </a:cubicBezTo>
                    <a:cubicBezTo>
                      <a:pt x="179" y="252"/>
                      <a:pt x="166" y="246"/>
                      <a:pt x="157" y="246"/>
                    </a:cubicBezTo>
                    <a:cubicBezTo>
                      <a:pt x="148" y="246"/>
                      <a:pt x="133" y="241"/>
                      <a:pt x="124" y="238"/>
                    </a:cubicBezTo>
                    <a:cubicBezTo>
                      <a:pt x="123" y="238"/>
                      <a:pt x="122" y="237"/>
                      <a:pt x="121" y="237"/>
                    </a:cubicBezTo>
                    <a:cubicBezTo>
                      <a:pt x="121" y="237"/>
                      <a:pt x="121" y="237"/>
                      <a:pt x="121" y="237"/>
                    </a:cubicBezTo>
                    <a:cubicBezTo>
                      <a:pt x="120" y="237"/>
                      <a:pt x="120" y="237"/>
                      <a:pt x="119" y="237"/>
                    </a:cubicBezTo>
                    <a:cubicBezTo>
                      <a:pt x="119" y="237"/>
                      <a:pt x="118" y="237"/>
                      <a:pt x="118" y="237"/>
                    </a:cubicBezTo>
                    <a:cubicBezTo>
                      <a:pt x="117" y="237"/>
                      <a:pt x="116" y="237"/>
                      <a:pt x="115" y="237"/>
                    </a:cubicBezTo>
                    <a:cubicBezTo>
                      <a:pt x="115" y="237"/>
                      <a:pt x="115" y="237"/>
                      <a:pt x="115" y="237"/>
                    </a:cubicBezTo>
                    <a:cubicBezTo>
                      <a:pt x="114" y="238"/>
                      <a:pt x="113" y="238"/>
                      <a:pt x="112" y="238"/>
                    </a:cubicBezTo>
                    <a:cubicBezTo>
                      <a:pt x="112" y="238"/>
                      <a:pt x="111" y="238"/>
                      <a:pt x="111" y="238"/>
                    </a:cubicBezTo>
                    <a:cubicBezTo>
                      <a:pt x="110" y="238"/>
                      <a:pt x="110" y="238"/>
                      <a:pt x="110" y="238"/>
                    </a:cubicBezTo>
                    <a:cubicBezTo>
                      <a:pt x="106" y="239"/>
                      <a:pt x="102" y="240"/>
                      <a:pt x="98" y="240"/>
                    </a:cubicBezTo>
                    <a:cubicBezTo>
                      <a:pt x="97" y="247"/>
                      <a:pt x="95" y="255"/>
                      <a:pt x="86" y="255"/>
                    </a:cubicBezTo>
                    <a:cubicBezTo>
                      <a:pt x="69" y="255"/>
                      <a:pt x="61" y="244"/>
                      <a:pt x="48" y="244"/>
                    </a:cubicBezTo>
                    <a:cubicBezTo>
                      <a:pt x="35" y="244"/>
                      <a:pt x="20" y="254"/>
                      <a:pt x="17" y="263"/>
                    </a:cubicBezTo>
                    <a:cubicBezTo>
                      <a:pt x="14" y="272"/>
                      <a:pt x="0" y="296"/>
                      <a:pt x="24" y="296"/>
                    </a:cubicBezTo>
                    <a:cubicBezTo>
                      <a:pt x="48" y="296"/>
                      <a:pt x="48" y="288"/>
                      <a:pt x="64" y="292"/>
                    </a:cubicBezTo>
                    <a:cubicBezTo>
                      <a:pt x="80" y="296"/>
                      <a:pt x="93" y="296"/>
                      <a:pt x="99" y="301"/>
                    </a:cubicBezTo>
                    <a:cubicBezTo>
                      <a:pt x="105" y="306"/>
                      <a:pt x="117" y="309"/>
                      <a:pt x="123" y="300"/>
                    </a:cubicBezTo>
                    <a:cubicBezTo>
                      <a:pt x="129" y="291"/>
                      <a:pt x="150" y="286"/>
                      <a:pt x="161" y="298"/>
                    </a:cubicBezTo>
                    <a:cubicBezTo>
                      <a:pt x="172" y="310"/>
                      <a:pt x="191" y="319"/>
                      <a:pt x="196" y="311"/>
                    </a:cubicBezTo>
                    <a:cubicBezTo>
                      <a:pt x="201" y="303"/>
                      <a:pt x="219" y="296"/>
                      <a:pt x="229" y="305"/>
                    </a:cubicBezTo>
                    <a:cubicBezTo>
                      <a:pt x="239" y="314"/>
                      <a:pt x="244" y="315"/>
                      <a:pt x="253" y="312"/>
                    </a:cubicBezTo>
                    <a:cubicBezTo>
                      <a:pt x="262" y="309"/>
                      <a:pt x="263" y="301"/>
                      <a:pt x="276" y="301"/>
                    </a:cubicBezTo>
                    <a:cubicBezTo>
                      <a:pt x="283" y="301"/>
                      <a:pt x="289" y="300"/>
                      <a:pt x="297" y="300"/>
                    </a:cubicBezTo>
                    <a:cubicBezTo>
                      <a:pt x="297" y="300"/>
                      <a:pt x="297" y="300"/>
                      <a:pt x="297" y="300"/>
                    </a:cubicBezTo>
                    <a:cubicBezTo>
                      <a:pt x="297" y="299"/>
                      <a:pt x="297" y="298"/>
                      <a:pt x="297" y="296"/>
                    </a:cubicBezTo>
                    <a:cubicBezTo>
                      <a:pt x="297" y="296"/>
                      <a:pt x="297" y="296"/>
                      <a:pt x="297" y="296"/>
                    </a:cubicBezTo>
                    <a:cubicBezTo>
                      <a:pt x="297" y="294"/>
                      <a:pt x="297" y="292"/>
                      <a:pt x="298" y="289"/>
                    </a:cubicBezTo>
                    <a:cubicBezTo>
                      <a:pt x="298" y="289"/>
                      <a:pt x="298" y="289"/>
                      <a:pt x="298" y="289"/>
                    </a:cubicBezTo>
                    <a:cubicBezTo>
                      <a:pt x="298" y="288"/>
                      <a:pt x="298" y="287"/>
                      <a:pt x="298" y="286"/>
                    </a:cubicBezTo>
                    <a:cubicBezTo>
                      <a:pt x="298" y="286"/>
                      <a:pt x="298" y="286"/>
                      <a:pt x="298" y="285"/>
                    </a:cubicBezTo>
                    <a:cubicBezTo>
                      <a:pt x="298" y="284"/>
                      <a:pt x="298" y="283"/>
                      <a:pt x="299" y="282"/>
                    </a:cubicBezTo>
                    <a:cubicBezTo>
                      <a:pt x="299" y="282"/>
                      <a:pt x="299" y="282"/>
                      <a:pt x="299" y="282"/>
                    </a:cubicBezTo>
                    <a:cubicBezTo>
                      <a:pt x="299" y="281"/>
                      <a:pt x="299" y="280"/>
                      <a:pt x="299" y="279"/>
                    </a:cubicBezTo>
                    <a:cubicBezTo>
                      <a:pt x="299" y="279"/>
                      <a:pt x="299" y="279"/>
                      <a:pt x="299" y="279"/>
                    </a:cubicBezTo>
                    <a:cubicBezTo>
                      <a:pt x="299" y="278"/>
                      <a:pt x="300" y="277"/>
                      <a:pt x="300" y="276"/>
                    </a:cubicBezTo>
                    <a:cubicBezTo>
                      <a:pt x="300" y="276"/>
                      <a:pt x="300" y="275"/>
                      <a:pt x="300" y="275"/>
                    </a:cubicBezTo>
                    <a:cubicBezTo>
                      <a:pt x="300" y="274"/>
                      <a:pt x="300" y="274"/>
                      <a:pt x="301" y="273"/>
                    </a:cubicBezTo>
                    <a:cubicBezTo>
                      <a:pt x="301" y="273"/>
                      <a:pt x="301" y="273"/>
                      <a:pt x="301" y="272"/>
                    </a:cubicBezTo>
                    <a:cubicBezTo>
                      <a:pt x="301" y="271"/>
                      <a:pt x="302" y="269"/>
                      <a:pt x="303" y="267"/>
                    </a:cubicBezTo>
                    <a:cubicBezTo>
                      <a:pt x="303" y="267"/>
                      <a:pt x="303" y="267"/>
                      <a:pt x="303" y="267"/>
                    </a:cubicBezTo>
                    <a:cubicBezTo>
                      <a:pt x="303" y="266"/>
                      <a:pt x="304" y="266"/>
                      <a:pt x="304" y="265"/>
                    </a:cubicBezTo>
                    <a:cubicBezTo>
                      <a:pt x="304" y="265"/>
                      <a:pt x="304" y="265"/>
                      <a:pt x="304" y="264"/>
                    </a:cubicBezTo>
                    <a:cubicBezTo>
                      <a:pt x="305" y="264"/>
                      <a:pt x="305" y="263"/>
                      <a:pt x="306" y="263"/>
                    </a:cubicBezTo>
                    <a:cubicBezTo>
                      <a:pt x="306" y="263"/>
                      <a:pt x="306" y="263"/>
                      <a:pt x="306" y="263"/>
                    </a:cubicBezTo>
                    <a:cubicBezTo>
                      <a:pt x="306" y="262"/>
                      <a:pt x="307" y="261"/>
                      <a:pt x="307" y="261"/>
                    </a:cubicBezTo>
                    <a:cubicBezTo>
                      <a:pt x="308" y="261"/>
                      <a:pt x="308" y="261"/>
                      <a:pt x="308" y="261"/>
                    </a:cubicBezTo>
                    <a:cubicBezTo>
                      <a:pt x="308" y="260"/>
                      <a:pt x="309" y="260"/>
                      <a:pt x="309" y="260"/>
                    </a:cubicBezTo>
                    <a:cubicBezTo>
                      <a:pt x="309" y="259"/>
                      <a:pt x="309" y="259"/>
                      <a:pt x="310" y="259"/>
                    </a:cubicBezTo>
                    <a:cubicBezTo>
                      <a:pt x="310" y="259"/>
                      <a:pt x="311" y="259"/>
                      <a:pt x="311" y="259"/>
                    </a:cubicBezTo>
                    <a:cubicBezTo>
                      <a:pt x="311" y="258"/>
                      <a:pt x="311" y="258"/>
                      <a:pt x="312" y="258"/>
                    </a:cubicBezTo>
                    <a:cubicBezTo>
                      <a:pt x="312" y="258"/>
                      <a:pt x="313" y="258"/>
                      <a:pt x="314" y="258"/>
                    </a:cubicBezTo>
                    <a:cubicBezTo>
                      <a:pt x="334" y="254"/>
                      <a:pt x="346" y="250"/>
                      <a:pt x="351" y="240"/>
                    </a:cubicBezTo>
                    <a:cubicBezTo>
                      <a:pt x="356" y="230"/>
                      <a:pt x="363" y="228"/>
                      <a:pt x="372" y="228"/>
                    </a:cubicBezTo>
                    <a:cubicBezTo>
                      <a:pt x="380" y="228"/>
                      <a:pt x="387" y="228"/>
                      <a:pt x="392" y="222"/>
                    </a:cubicBezTo>
                    <a:cubicBezTo>
                      <a:pt x="396" y="215"/>
                      <a:pt x="412" y="215"/>
                      <a:pt x="412" y="224"/>
                    </a:cubicBezTo>
                    <a:cubicBezTo>
                      <a:pt x="413" y="234"/>
                      <a:pt x="412" y="236"/>
                      <a:pt x="423" y="236"/>
                    </a:cubicBezTo>
                    <a:cubicBezTo>
                      <a:pt x="434" y="236"/>
                      <a:pt x="436" y="228"/>
                      <a:pt x="446" y="228"/>
                    </a:cubicBezTo>
                    <a:cubicBezTo>
                      <a:pt x="457" y="229"/>
                      <a:pt x="473" y="232"/>
                      <a:pt x="477" y="207"/>
                    </a:cubicBezTo>
                    <a:cubicBezTo>
                      <a:pt x="481" y="182"/>
                      <a:pt x="495" y="179"/>
                      <a:pt x="511" y="179"/>
                    </a:cubicBezTo>
                    <a:cubicBezTo>
                      <a:pt x="527" y="179"/>
                      <a:pt x="580" y="184"/>
                      <a:pt x="582" y="169"/>
                    </a:cubicBezTo>
                    <a:cubicBezTo>
                      <a:pt x="584" y="154"/>
                      <a:pt x="616" y="138"/>
                      <a:pt x="634" y="130"/>
                    </a:cubicBezTo>
                    <a:cubicBezTo>
                      <a:pt x="653" y="122"/>
                      <a:pt x="663" y="114"/>
                      <a:pt x="678" y="112"/>
                    </a:cubicBezTo>
                    <a:cubicBezTo>
                      <a:pt x="694" y="110"/>
                      <a:pt x="700" y="113"/>
                      <a:pt x="702" y="102"/>
                    </a:cubicBezTo>
                    <a:cubicBezTo>
                      <a:pt x="702" y="102"/>
                      <a:pt x="702" y="101"/>
                      <a:pt x="702" y="100"/>
                    </a:cubicBezTo>
                    <a:cubicBezTo>
                      <a:pt x="702" y="100"/>
                      <a:pt x="702" y="100"/>
                      <a:pt x="702" y="99"/>
                    </a:cubicBezTo>
                    <a:cubicBezTo>
                      <a:pt x="702" y="99"/>
                      <a:pt x="702" y="98"/>
                      <a:pt x="702" y="98"/>
                    </a:cubicBezTo>
                    <a:cubicBezTo>
                      <a:pt x="702" y="98"/>
                      <a:pt x="702" y="97"/>
                      <a:pt x="702" y="97"/>
                    </a:cubicBezTo>
                    <a:cubicBezTo>
                      <a:pt x="702" y="96"/>
                      <a:pt x="702" y="96"/>
                      <a:pt x="702" y="95"/>
                    </a:cubicBezTo>
                    <a:cubicBezTo>
                      <a:pt x="702" y="95"/>
                      <a:pt x="702" y="94"/>
                      <a:pt x="702" y="94"/>
                    </a:cubicBezTo>
                    <a:cubicBezTo>
                      <a:pt x="702" y="93"/>
                      <a:pt x="702" y="93"/>
                      <a:pt x="702" y="92"/>
                    </a:cubicBezTo>
                    <a:cubicBezTo>
                      <a:pt x="702" y="92"/>
                      <a:pt x="702" y="91"/>
                      <a:pt x="701" y="91"/>
                    </a:cubicBezTo>
                    <a:cubicBezTo>
                      <a:pt x="701" y="90"/>
                      <a:pt x="701" y="89"/>
                      <a:pt x="701" y="89"/>
                    </a:cubicBezTo>
                    <a:cubicBezTo>
                      <a:pt x="701" y="88"/>
                      <a:pt x="701" y="88"/>
                      <a:pt x="701" y="88"/>
                    </a:cubicBezTo>
                    <a:cubicBezTo>
                      <a:pt x="701" y="86"/>
                      <a:pt x="701" y="83"/>
                      <a:pt x="700" y="81"/>
                    </a:cubicBezTo>
                    <a:cubicBezTo>
                      <a:pt x="690" y="79"/>
                      <a:pt x="679" y="77"/>
                      <a:pt x="673" y="7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2" name="Freeform 236">
                <a:extLst>
                  <a:ext uri="{FF2B5EF4-FFF2-40B4-BE49-F238E27FC236}">
                    <a16:creationId xmlns:a16="http://schemas.microsoft.com/office/drawing/2014/main" id="{8A448E51-B46D-274D-A216-636AC0745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2" y="1829"/>
                <a:ext cx="109" cy="48"/>
              </a:xfrm>
              <a:custGeom>
                <a:avLst/>
                <a:gdLst>
                  <a:gd name="T0" fmla="*/ 250 w 432"/>
                  <a:gd name="T1" fmla="*/ 187 h 191"/>
                  <a:gd name="T2" fmla="*/ 278 w 432"/>
                  <a:gd name="T3" fmla="*/ 182 h 191"/>
                  <a:gd name="T4" fmla="*/ 311 w 432"/>
                  <a:gd name="T5" fmla="*/ 182 h 191"/>
                  <a:gd name="T6" fmla="*/ 316 w 432"/>
                  <a:gd name="T7" fmla="*/ 182 h 191"/>
                  <a:gd name="T8" fmla="*/ 317 w 432"/>
                  <a:gd name="T9" fmla="*/ 182 h 191"/>
                  <a:gd name="T10" fmla="*/ 319 w 432"/>
                  <a:gd name="T11" fmla="*/ 182 h 191"/>
                  <a:gd name="T12" fmla="*/ 321 w 432"/>
                  <a:gd name="T13" fmla="*/ 181 h 191"/>
                  <a:gd name="T14" fmla="*/ 323 w 432"/>
                  <a:gd name="T15" fmla="*/ 181 h 191"/>
                  <a:gd name="T16" fmla="*/ 324 w 432"/>
                  <a:gd name="T17" fmla="*/ 181 h 191"/>
                  <a:gd name="T18" fmla="*/ 327 w 432"/>
                  <a:gd name="T19" fmla="*/ 179 h 191"/>
                  <a:gd name="T20" fmla="*/ 328 w 432"/>
                  <a:gd name="T21" fmla="*/ 179 h 191"/>
                  <a:gd name="T22" fmla="*/ 329 w 432"/>
                  <a:gd name="T23" fmla="*/ 178 h 191"/>
                  <a:gd name="T24" fmla="*/ 330 w 432"/>
                  <a:gd name="T25" fmla="*/ 177 h 191"/>
                  <a:gd name="T26" fmla="*/ 331 w 432"/>
                  <a:gd name="T27" fmla="*/ 176 h 191"/>
                  <a:gd name="T28" fmla="*/ 332 w 432"/>
                  <a:gd name="T29" fmla="*/ 175 h 191"/>
                  <a:gd name="T30" fmla="*/ 332 w 432"/>
                  <a:gd name="T31" fmla="*/ 175 h 191"/>
                  <a:gd name="T32" fmla="*/ 334 w 432"/>
                  <a:gd name="T33" fmla="*/ 171 h 191"/>
                  <a:gd name="T34" fmla="*/ 359 w 432"/>
                  <a:gd name="T35" fmla="*/ 165 h 191"/>
                  <a:gd name="T36" fmla="*/ 382 w 432"/>
                  <a:gd name="T37" fmla="*/ 180 h 191"/>
                  <a:gd name="T38" fmla="*/ 403 w 432"/>
                  <a:gd name="T39" fmla="*/ 189 h 191"/>
                  <a:gd name="T40" fmla="*/ 431 w 432"/>
                  <a:gd name="T41" fmla="*/ 182 h 191"/>
                  <a:gd name="T42" fmla="*/ 424 w 432"/>
                  <a:gd name="T43" fmla="*/ 168 h 191"/>
                  <a:gd name="T44" fmla="*/ 409 w 432"/>
                  <a:gd name="T45" fmla="*/ 157 h 191"/>
                  <a:gd name="T46" fmla="*/ 408 w 432"/>
                  <a:gd name="T47" fmla="*/ 139 h 191"/>
                  <a:gd name="T48" fmla="*/ 417 w 432"/>
                  <a:gd name="T49" fmla="*/ 124 h 191"/>
                  <a:gd name="T50" fmla="*/ 417 w 432"/>
                  <a:gd name="T51" fmla="*/ 124 h 191"/>
                  <a:gd name="T52" fmla="*/ 387 w 432"/>
                  <a:gd name="T53" fmla="*/ 119 h 191"/>
                  <a:gd name="T54" fmla="*/ 387 w 432"/>
                  <a:gd name="T55" fmla="*/ 119 h 191"/>
                  <a:gd name="T56" fmla="*/ 384 w 432"/>
                  <a:gd name="T57" fmla="*/ 118 h 191"/>
                  <a:gd name="T58" fmla="*/ 384 w 432"/>
                  <a:gd name="T59" fmla="*/ 118 h 191"/>
                  <a:gd name="T60" fmla="*/ 381 w 432"/>
                  <a:gd name="T61" fmla="*/ 117 h 191"/>
                  <a:gd name="T62" fmla="*/ 380 w 432"/>
                  <a:gd name="T63" fmla="*/ 117 h 191"/>
                  <a:gd name="T64" fmla="*/ 377 w 432"/>
                  <a:gd name="T65" fmla="*/ 115 h 191"/>
                  <a:gd name="T66" fmla="*/ 376 w 432"/>
                  <a:gd name="T67" fmla="*/ 95 h 191"/>
                  <a:gd name="T68" fmla="*/ 351 w 432"/>
                  <a:gd name="T69" fmla="*/ 79 h 191"/>
                  <a:gd name="T70" fmla="*/ 336 w 432"/>
                  <a:gd name="T71" fmla="*/ 67 h 191"/>
                  <a:gd name="T72" fmla="*/ 303 w 432"/>
                  <a:gd name="T73" fmla="*/ 64 h 191"/>
                  <a:gd name="T74" fmla="*/ 280 w 432"/>
                  <a:gd name="T75" fmla="*/ 71 h 191"/>
                  <a:gd name="T76" fmla="*/ 259 w 432"/>
                  <a:gd name="T77" fmla="*/ 80 h 191"/>
                  <a:gd name="T78" fmla="*/ 242 w 432"/>
                  <a:gd name="T79" fmla="*/ 63 h 191"/>
                  <a:gd name="T80" fmla="*/ 222 w 432"/>
                  <a:gd name="T81" fmla="*/ 52 h 191"/>
                  <a:gd name="T82" fmla="*/ 197 w 432"/>
                  <a:gd name="T83" fmla="*/ 35 h 191"/>
                  <a:gd name="T84" fmla="*/ 138 w 432"/>
                  <a:gd name="T85" fmla="*/ 32 h 191"/>
                  <a:gd name="T86" fmla="*/ 101 w 432"/>
                  <a:gd name="T87" fmla="*/ 27 h 191"/>
                  <a:gd name="T88" fmla="*/ 63 w 432"/>
                  <a:gd name="T89" fmla="*/ 6 h 191"/>
                  <a:gd name="T90" fmla="*/ 36 w 432"/>
                  <a:gd name="T91" fmla="*/ 3 h 191"/>
                  <a:gd name="T92" fmla="*/ 13 w 432"/>
                  <a:gd name="T93" fmla="*/ 3 h 191"/>
                  <a:gd name="T94" fmla="*/ 0 w 432"/>
                  <a:gd name="T95" fmla="*/ 5 h 191"/>
                  <a:gd name="T96" fmla="*/ 11 w 432"/>
                  <a:gd name="T97" fmla="*/ 12 h 191"/>
                  <a:gd name="T98" fmla="*/ 77 w 432"/>
                  <a:gd name="T99" fmla="*/ 54 h 191"/>
                  <a:gd name="T100" fmla="*/ 102 w 432"/>
                  <a:gd name="T101" fmla="*/ 98 h 191"/>
                  <a:gd name="T102" fmla="*/ 117 w 432"/>
                  <a:gd name="T103" fmla="*/ 141 h 191"/>
                  <a:gd name="T104" fmla="*/ 102 w 432"/>
                  <a:gd name="T105" fmla="*/ 156 h 191"/>
                  <a:gd name="T106" fmla="*/ 117 w 432"/>
                  <a:gd name="T107" fmla="*/ 163 h 191"/>
                  <a:gd name="T108" fmla="*/ 166 w 432"/>
                  <a:gd name="T109" fmla="*/ 161 h 191"/>
                  <a:gd name="T110" fmla="*/ 198 w 432"/>
                  <a:gd name="T111" fmla="*/ 160 h 191"/>
                  <a:gd name="T112" fmla="*/ 214 w 432"/>
                  <a:gd name="T113" fmla="*/ 180 h 191"/>
                  <a:gd name="T114" fmla="*/ 229 w 432"/>
                  <a:gd name="T115" fmla="*/ 189 h 191"/>
                  <a:gd name="T116" fmla="*/ 250 w 432"/>
                  <a:gd name="T117" fmla="*/ 187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32" h="191">
                    <a:moveTo>
                      <a:pt x="250" y="187"/>
                    </a:moveTo>
                    <a:cubicBezTo>
                      <a:pt x="263" y="189"/>
                      <a:pt x="265" y="178"/>
                      <a:pt x="278" y="182"/>
                    </a:cubicBezTo>
                    <a:cubicBezTo>
                      <a:pt x="290" y="187"/>
                      <a:pt x="298" y="180"/>
                      <a:pt x="311" y="182"/>
                    </a:cubicBezTo>
                    <a:cubicBezTo>
                      <a:pt x="313" y="182"/>
                      <a:pt x="314" y="182"/>
                      <a:pt x="316" y="182"/>
                    </a:cubicBezTo>
                    <a:cubicBezTo>
                      <a:pt x="316" y="182"/>
                      <a:pt x="316" y="182"/>
                      <a:pt x="317" y="182"/>
                    </a:cubicBezTo>
                    <a:cubicBezTo>
                      <a:pt x="318" y="182"/>
                      <a:pt x="319" y="182"/>
                      <a:pt x="319" y="182"/>
                    </a:cubicBezTo>
                    <a:cubicBezTo>
                      <a:pt x="320" y="182"/>
                      <a:pt x="320" y="182"/>
                      <a:pt x="321" y="181"/>
                    </a:cubicBezTo>
                    <a:cubicBezTo>
                      <a:pt x="322" y="181"/>
                      <a:pt x="322" y="181"/>
                      <a:pt x="323" y="181"/>
                    </a:cubicBezTo>
                    <a:cubicBezTo>
                      <a:pt x="323" y="181"/>
                      <a:pt x="324" y="181"/>
                      <a:pt x="324" y="181"/>
                    </a:cubicBezTo>
                    <a:cubicBezTo>
                      <a:pt x="325" y="180"/>
                      <a:pt x="326" y="180"/>
                      <a:pt x="327" y="179"/>
                    </a:cubicBezTo>
                    <a:cubicBezTo>
                      <a:pt x="327" y="179"/>
                      <a:pt x="327" y="179"/>
                      <a:pt x="328" y="179"/>
                    </a:cubicBezTo>
                    <a:cubicBezTo>
                      <a:pt x="328" y="179"/>
                      <a:pt x="328" y="178"/>
                      <a:pt x="329" y="178"/>
                    </a:cubicBezTo>
                    <a:cubicBezTo>
                      <a:pt x="329" y="178"/>
                      <a:pt x="330" y="177"/>
                      <a:pt x="330" y="177"/>
                    </a:cubicBezTo>
                    <a:cubicBezTo>
                      <a:pt x="330" y="177"/>
                      <a:pt x="330" y="177"/>
                      <a:pt x="331" y="176"/>
                    </a:cubicBezTo>
                    <a:cubicBezTo>
                      <a:pt x="331" y="176"/>
                      <a:pt x="331" y="176"/>
                      <a:pt x="332" y="175"/>
                    </a:cubicBezTo>
                    <a:cubicBezTo>
                      <a:pt x="332" y="175"/>
                      <a:pt x="332" y="175"/>
                      <a:pt x="332" y="175"/>
                    </a:cubicBezTo>
                    <a:cubicBezTo>
                      <a:pt x="333" y="174"/>
                      <a:pt x="334" y="173"/>
                      <a:pt x="334" y="171"/>
                    </a:cubicBezTo>
                    <a:cubicBezTo>
                      <a:pt x="337" y="165"/>
                      <a:pt x="350" y="155"/>
                      <a:pt x="359" y="165"/>
                    </a:cubicBezTo>
                    <a:cubicBezTo>
                      <a:pt x="368" y="175"/>
                      <a:pt x="378" y="173"/>
                      <a:pt x="382" y="180"/>
                    </a:cubicBezTo>
                    <a:cubicBezTo>
                      <a:pt x="386" y="187"/>
                      <a:pt x="392" y="187"/>
                      <a:pt x="403" y="189"/>
                    </a:cubicBezTo>
                    <a:cubicBezTo>
                      <a:pt x="414" y="191"/>
                      <a:pt x="430" y="190"/>
                      <a:pt x="431" y="182"/>
                    </a:cubicBezTo>
                    <a:cubicBezTo>
                      <a:pt x="432" y="175"/>
                      <a:pt x="431" y="170"/>
                      <a:pt x="424" y="168"/>
                    </a:cubicBezTo>
                    <a:cubicBezTo>
                      <a:pt x="416" y="167"/>
                      <a:pt x="412" y="164"/>
                      <a:pt x="409" y="157"/>
                    </a:cubicBezTo>
                    <a:cubicBezTo>
                      <a:pt x="407" y="151"/>
                      <a:pt x="398" y="149"/>
                      <a:pt x="408" y="139"/>
                    </a:cubicBezTo>
                    <a:cubicBezTo>
                      <a:pt x="413" y="134"/>
                      <a:pt x="416" y="129"/>
                      <a:pt x="417" y="124"/>
                    </a:cubicBezTo>
                    <a:cubicBezTo>
                      <a:pt x="417" y="124"/>
                      <a:pt x="417" y="124"/>
                      <a:pt x="417" y="124"/>
                    </a:cubicBezTo>
                    <a:cubicBezTo>
                      <a:pt x="409" y="117"/>
                      <a:pt x="399" y="121"/>
                      <a:pt x="387" y="119"/>
                    </a:cubicBezTo>
                    <a:cubicBezTo>
                      <a:pt x="387" y="119"/>
                      <a:pt x="387" y="119"/>
                      <a:pt x="387" y="119"/>
                    </a:cubicBezTo>
                    <a:cubicBezTo>
                      <a:pt x="386" y="118"/>
                      <a:pt x="385" y="118"/>
                      <a:pt x="384" y="118"/>
                    </a:cubicBezTo>
                    <a:cubicBezTo>
                      <a:pt x="384" y="118"/>
                      <a:pt x="384" y="118"/>
                      <a:pt x="384" y="118"/>
                    </a:cubicBezTo>
                    <a:cubicBezTo>
                      <a:pt x="383" y="118"/>
                      <a:pt x="382" y="117"/>
                      <a:pt x="381" y="117"/>
                    </a:cubicBezTo>
                    <a:cubicBezTo>
                      <a:pt x="381" y="117"/>
                      <a:pt x="381" y="117"/>
                      <a:pt x="380" y="117"/>
                    </a:cubicBezTo>
                    <a:cubicBezTo>
                      <a:pt x="379" y="116"/>
                      <a:pt x="378" y="116"/>
                      <a:pt x="377" y="115"/>
                    </a:cubicBezTo>
                    <a:cubicBezTo>
                      <a:pt x="360" y="106"/>
                      <a:pt x="376" y="107"/>
                      <a:pt x="376" y="95"/>
                    </a:cubicBezTo>
                    <a:cubicBezTo>
                      <a:pt x="376" y="84"/>
                      <a:pt x="361" y="79"/>
                      <a:pt x="351" y="79"/>
                    </a:cubicBezTo>
                    <a:cubicBezTo>
                      <a:pt x="340" y="79"/>
                      <a:pt x="339" y="74"/>
                      <a:pt x="336" y="67"/>
                    </a:cubicBezTo>
                    <a:cubicBezTo>
                      <a:pt x="333" y="59"/>
                      <a:pt x="317" y="64"/>
                      <a:pt x="303" y="64"/>
                    </a:cubicBezTo>
                    <a:cubicBezTo>
                      <a:pt x="290" y="64"/>
                      <a:pt x="284" y="66"/>
                      <a:pt x="280" y="71"/>
                    </a:cubicBezTo>
                    <a:cubicBezTo>
                      <a:pt x="276" y="76"/>
                      <a:pt x="266" y="80"/>
                      <a:pt x="259" y="80"/>
                    </a:cubicBezTo>
                    <a:cubicBezTo>
                      <a:pt x="252" y="80"/>
                      <a:pt x="244" y="69"/>
                      <a:pt x="242" y="63"/>
                    </a:cubicBezTo>
                    <a:cubicBezTo>
                      <a:pt x="241" y="57"/>
                      <a:pt x="234" y="54"/>
                      <a:pt x="222" y="52"/>
                    </a:cubicBezTo>
                    <a:cubicBezTo>
                      <a:pt x="211" y="50"/>
                      <a:pt x="204" y="43"/>
                      <a:pt x="197" y="35"/>
                    </a:cubicBezTo>
                    <a:cubicBezTo>
                      <a:pt x="191" y="27"/>
                      <a:pt x="155" y="30"/>
                      <a:pt x="138" y="32"/>
                    </a:cubicBezTo>
                    <a:cubicBezTo>
                      <a:pt x="122" y="33"/>
                      <a:pt x="115" y="33"/>
                      <a:pt x="101" y="27"/>
                    </a:cubicBezTo>
                    <a:cubicBezTo>
                      <a:pt x="88" y="22"/>
                      <a:pt x="72" y="9"/>
                      <a:pt x="63" y="6"/>
                    </a:cubicBezTo>
                    <a:cubicBezTo>
                      <a:pt x="53" y="2"/>
                      <a:pt x="42" y="6"/>
                      <a:pt x="36" y="3"/>
                    </a:cubicBezTo>
                    <a:cubicBezTo>
                      <a:pt x="30" y="0"/>
                      <a:pt x="19" y="1"/>
                      <a:pt x="13" y="3"/>
                    </a:cubicBezTo>
                    <a:cubicBezTo>
                      <a:pt x="10" y="3"/>
                      <a:pt x="4" y="5"/>
                      <a:pt x="0" y="5"/>
                    </a:cubicBezTo>
                    <a:cubicBezTo>
                      <a:pt x="3" y="8"/>
                      <a:pt x="7" y="10"/>
                      <a:pt x="11" y="12"/>
                    </a:cubicBezTo>
                    <a:cubicBezTo>
                      <a:pt x="44" y="27"/>
                      <a:pt x="43" y="38"/>
                      <a:pt x="77" y="54"/>
                    </a:cubicBezTo>
                    <a:cubicBezTo>
                      <a:pt x="112" y="70"/>
                      <a:pt x="102" y="80"/>
                      <a:pt x="102" y="98"/>
                    </a:cubicBezTo>
                    <a:cubicBezTo>
                      <a:pt x="102" y="117"/>
                      <a:pt x="122" y="133"/>
                      <a:pt x="117" y="141"/>
                    </a:cubicBezTo>
                    <a:cubicBezTo>
                      <a:pt x="115" y="145"/>
                      <a:pt x="109" y="151"/>
                      <a:pt x="102" y="156"/>
                    </a:cubicBezTo>
                    <a:cubicBezTo>
                      <a:pt x="105" y="160"/>
                      <a:pt x="111" y="163"/>
                      <a:pt x="117" y="163"/>
                    </a:cubicBezTo>
                    <a:cubicBezTo>
                      <a:pt x="131" y="163"/>
                      <a:pt x="160" y="167"/>
                      <a:pt x="166" y="161"/>
                    </a:cubicBezTo>
                    <a:cubicBezTo>
                      <a:pt x="172" y="156"/>
                      <a:pt x="194" y="152"/>
                      <a:pt x="198" y="160"/>
                    </a:cubicBezTo>
                    <a:cubicBezTo>
                      <a:pt x="201" y="168"/>
                      <a:pt x="204" y="178"/>
                      <a:pt x="214" y="180"/>
                    </a:cubicBezTo>
                    <a:cubicBezTo>
                      <a:pt x="221" y="181"/>
                      <a:pt x="225" y="184"/>
                      <a:pt x="229" y="189"/>
                    </a:cubicBezTo>
                    <a:cubicBezTo>
                      <a:pt x="234" y="188"/>
                      <a:pt x="242" y="186"/>
                      <a:pt x="250" y="18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3" name="Freeform 237">
                <a:extLst>
                  <a:ext uri="{FF2B5EF4-FFF2-40B4-BE49-F238E27FC236}">
                    <a16:creationId xmlns:a16="http://schemas.microsoft.com/office/drawing/2014/main" id="{B14C3244-2EC4-F04B-B600-A0FAD79CF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1873"/>
                <a:ext cx="50" cy="47"/>
              </a:xfrm>
              <a:custGeom>
                <a:avLst/>
                <a:gdLst>
                  <a:gd name="T0" fmla="*/ 73 w 198"/>
                  <a:gd name="T1" fmla="*/ 117 h 188"/>
                  <a:gd name="T2" fmla="*/ 76 w 198"/>
                  <a:gd name="T3" fmla="*/ 118 h 188"/>
                  <a:gd name="T4" fmla="*/ 91 w 198"/>
                  <a:gd name="T5" fmla="*/ 135 h 188"/>
                  <a:gd name="T6" fmla="*/ 126 w 198"/>
                  <a:gd name="T7" fmla="*/ 177 h 188"/>
                  <a:gd name="T8" fmla="*/ 159 w 198"/>
                  <a:gd name="T9" fmla="*/ 187 h 188"/>
                  <a:gd name="T10" fmla="*/ 174 w 198"/>
                  <a:gd name="T11" fmla="*/ 188 h 188"/>
                  <a:gd name="T12" fmla="*/ 177 w 198"/>
                  <a:gd name="T13" fmla="*/ 188 h 188"/>
                  <a:gd name="T14" fmla="*/ 179 w 198"/>
                  <a:gd name="T15" fmla="*/ 187 h 188"/>
                  <a:gd name="T16" fmla="*/ 182 w 198"/>
                  <a:gd name="T17" fmla="*/ 187 h 188"/>
                  <a:gd name="T18" fmla="*/ 184 w 198"/>
                  <a:gd name="T19" fmla="*/ 187 h 188"/>
                  <a:gd name="T20" fmla="*/ 187 w 198"/>
                  <a:gd name="T21" fmla="*/ 186 h 188"/>
                  <a:gd name="T22" fmla="*/ 190 w 198"/>
                  <a:gd name="T23" fmla="*/ 185 h 188"/>
                  <a:gd name="T24" fmla="*/ 192 w 198"/>
                  <a:gd name="T25" fmla="*/ 184 h 188"/>
                  <a:gd name="T26" fmla="*/ 195 w 198"/>
                  <a:gd name="T27" fmla="*/ 183 h 188"/>
                  <a:gd name="T28" fmla="*/ 198 w 198"/>
                  <a:gd name="T29" fmla="*/ 181 h 188"/>
                  <a:gd name="T30" fmla="*/ 195 w 198"/>
                  <a:gd name="T31" fmla="*/ 164 h 188"/>
                  <a:gd name="T32" fmla="*/ 172 w 198"/>
                  <a:gd name="T33" fmla="*/ 125 h 188"/>
                  <a:gd name="T34" fmla="*/ 151 w 198"/>
                  <a:gd name="T35" fmla="*/ 81 h 188"/>
                  <a:gd name="T36" fmla="*/ 130 w 198"/>
                  <a:gd name="T37" fmla="*/ 45 h 188"/>
                  <a:gd name="T38" fmla="*/ 110 w 198"/>
                  <a:gd name="T39" fmla="*/ 18 h 188"/>
                  <a:gd name="T40" fmla="*/ 103 w 198"/>
                  <a:gd name="T41" fmla="*/ 0 h 188"/>
                  <a:gd name="T42" fmla="*/ 101 w 198"/>
                  <a:gd name="T43" fmla="*/ 2 h 188"/>
                  <a:gd name="T44" fmla="*/ 99 w 198"/>
                  <a:gd name="T45" fmla="*/ 4 h 188"/>
                  <a:gd name="T46" fmla="*/ 95 w 198"/>
                  <a:gd name="T47" fmla="*/ 6 h 188"/>
                  <a:gd name="T48" fmla="*/ 92 w 198"/>
                  <a:gd name="T49" fmla="*/ 6 h 188"/>
                  <a:gd name="T50" fmla="*/ 88 w 198"/>
                  <a:gd name="T51" fmla="*/ 7 h 188"/>
                  <a:gd name="T52" fmla="*/ 82 w 198"/>
                  <a:gd name="T53" fmla="*/ 7 h 188"/>
                  <a:gd name="T54" fmla="*/ 21 w 198"/>
                  <a:gd name="T55" fmla="*/ 12 h 188"/>
                  <a:gd name="T56" fmla="*/ 6 w 198"/>
                  <a:gd name="T57" fmla="*/ 24 h 188"/>
                  <a:gd name="T58" fmla="*/ 28 w 198"/>
                  <a:gd name="T59" fmla="*/ 94 h 188"/>
                  <a:gd name="T60" fmla="*/ 69 w 198"/>
                  <a:gd name="T61" fmla="*/ 118 h 188"/>
                  <a:gd name="T62" fmla="*/ 71 w 198"/>
                  <a:gd name="T63" fmla="*/ 11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8" h="188">
                    <a:moveTo>
                      <a:pt x="71" y="118"/>
                    </a:moveTo>
                    <a:cubicBezTo>
                      <a:pt x="72" y="117"/>
                      <a:pt x="73" y="117"/>
                      <a:pt x="73" y="117"/>
                    </a:cubicBezTo>
                    <a:cubicBezTo>
                      <a:pt x="74" y="117"/>
                      <a:pt x="74" y="117"/>
                      <a:pt x="74" y="117"/>
                    </a:cubicBezTo>
                    <a:cubicBezTo>
                      <a:pt x="75" y="117"/>
                      <a:pt x="75" y="118"/>
                      <a:pt x="76" y="118"/>
                    </a:cubicBezTo>
                    <a:cubicBezTo>
                      <a:pt x="77" y="118"/>
                      <a:pt x="78" y="118"/>
                      <a:pt x="79" y="119"/>
                    </a:cubicBezTo>
                    <a:cubicBezTo>
                      <a:pt x="87" y="123"/>
                      <a:pt x="91" y="124"/>
                      <a:pt x="91" y="135"/>
                    </a:cubicBezTo>
                    <a:cubicBezTo>
                      <a:pt x="91" y="147"/>
                      <a:pt x="102" y="163"/>
                      <a:pt x="111" y="164"/>
                    </a:cubicBezTo>
                    <a:cubicBezTo>
                      <a:pt x="120" y="165"/>
                      <a:pt x="112" y="174"/>
                      <a:pt x="126" y="177"/>
                    </a:cubicBezTo>
                    <a:cubicBezTo>
                      <a:pt x="139" y="181"/>
                      <a:pt x="144" y="186"/>
                      <a:pt x="157" y="187"/>
                    </a:cubicBezTo>
                    <a:cubicBezTo>
                      <a:pt x="158" y="187"/>
                      <a:pt x="159" y="187"/>
                      <a:pt x="159" y="187"/>
                    </a:cubicBezTo>
                    <a:cubicBezTo>
                      <a:pt x="160" y="187"/>
                      <a:pt x="160" y="187"/>
                      <a:pt x="160" y="187"/>
                    </a:cubicBezTo>
                    <a:cubicBezTo>
                      <a:pt x="164" y="187"/>
                      <a:pt x="169" y="188"/>
                      <a:pt x="174" y="188"/>
                    </a:cubicBezTo>
                    <a:cubicBezTo>
                      <a:pt x="174" y="188"/>
                      <a:pt x="174" y="188"/>
                      <a:pt x="174" y="188"/>
                    </a:cubicBezTo>
                    <a:cubicBezTo>
                      <a:pt x="175" y="188"/>
                      <a:pt x="176" y="188"/>
                      <a:pt x="177" y="188"/>
                    </a:cubicBezTo>
                    <a:cubicBezTo>
                      <a:pt x="177" y="188"/>
                      <a:pt x="177" y="188"/>
                      <a:pt x="177" y="188"/>
                    </a:cubicBezTo>
                    <a:cubicBezTo>
                      <a:pt x="177" y="188"/>
                      <a:pt x="178" y="188"/>
                      <a:pt x="179" y="187"/>
                    </a:cubicBezTo>
                    <a:cubicBezTo>
                      <a:pt x="179" y="187"/>
                      <a:pt x="179" y="187"/>
                      <a:pt x="179" y="187"/>
                    </a:cubicBezTo>
                    <a:cubicBezTo>
                      <a:pt x="180" y="187"/>
                      <a:pt x="181" y="187"/>
                      <a:pt x="182" y="187"/>
                    </a:cubicBezTo>
                    <a:cubicBezTo>
                      <a:pt x="182" y="187"/>
                      <a:pt x="182" y="187"/>
                      <a:pt x="182" y="187"/>
                    </a:cubicBezTo>
                    <a:cubicBezTo>
                      <a:pt x="183" y="187"/>
                      <a:pt x="183" y="187"/>
                      <a:pt x="184" y="187"/>
                    </a:cubicBezTo>
                    <a:cubicBezTo>
                      <a:pt x="184" y="187"/>
                      <a:pt x="184" y="187"/>
                      <a:pt x="185" y="187"/>
                    </a:cubicBezTo>
                    <a:cubicBezTo>
                      <a:pt x="185" y="186"/>
                      <a:pt x="186" y="186"/>
                      <a:pt x="187" y="186"/>
                    </a:cubicBezTo>
                    <a:cubicBezTo>
                      <a:pt x="187" y="186"/>
                      <a:pt x="187" y="186"/>
                      <a:pt x="187" y="186"/>
                    </a:cubicBezTo>
                    <a:cubicBezTo>
                      <a:pt x="188" y="186"/>
                      <a:pt x="189" y="185"/>
                      <a:pt x="190" y="185"/>
                    </a:cubicBezTo>
                    <a:cubicBezTo>
                      <a:pt x="190" y="185"/>
                      <a:pt x="190" y="185"/>
                      <a:pt x="190" y="185"/>
                    </a:cubicBezTo>
                    <a:cubicBezTo>
                      <a:pt x="191" y="185"/>
                      <a:pt x="191" y="184"/>
                      <a:pt x="192" y="18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193" y="183"/>
                      <a:pt x="194" y="183"/>
                      <a:pt x="195" y="183"/>
                    </a:cubicBezTo>
                    <a:cubicBezTo>
                      <a:pt x="195" y="183"/>
                      <a:pt x="195" y="183"/>
                      <a:pt x="195" y="183"/>
                    </a:cubicBezTo>
                    <a:cubicBezTo>
                      <a:pt x="196" y="182"/>
                      <a:pt x="197" y="182"/>
                      <a:pt x="198" y="181"/>
                    </a:cubicBezTo>
                    <a:cubicBezTo>
                      <a:pt x="198" y="181"/>
                      <a:pt x="198" y="181"/>
                      <a:pt x="198" y="181"/>
                    </a:cubicBezTo>
                    <a:cubicBezTo>
                      <a:pt x="197" y="175"/>
                      <a:pt x="196" y="167"/>
                      <a:pt x="195" y="164"/>
                    </a:cubicBezTo>
                    <a:cubicBezTo>
                      <a:pt x="193" y="159"/>
                      <a:pt x="191" y="153"/>
                      <a:pt x="191" y="139"/>
                    </a:cubicBezTo>
                    <a:cubicBezTo>
                      <a:pt x="191" y="126"/>
                      <a:pt x="176" y="132"/>
                      <a:pt x="172" y="125"/>
                    </a:cubicBezTo>
                    <a:cubicBezTo>
                      <a:pt x="168" y="119"/>
                      <a:pt x="157" y="111"/>
                      <a:pt x="146" y="105"/>
                    </a:cubicBezTo>
                    <a:cubicBezTo>
                      <a:pt x="135" y="99"/>
                      <a:pt x="151" y="87"/>
                      <a:pt x="151" y="81"/>
                    </a:cubicBezTo>
                    <a:cubicBezTo>
                      <a:pt x="150" y="75"/>
                      <a:pt x="135" y="65"/>
                      <a:pt x="130" y="62"/>
                    </a:cubicBezTo>
                    <a:cubicBezTo>
                      <a:pt x="125" y="60"/>
                      <a:pt x="123" y="48"/>
                      <a:pt x="130" y="45"/>
                    </a:cubicBezTo>
                    <a:cubicBezTo>
                      <a:pt x="138" y="43"/>
                      <a:pt x="136" y="32"/>
                      <a:pt x="131" y="29"/>
                    </a:cubicBezTo>
                    <a:cubicBezTo>
                      <a:pt x="125" y="26"/>
                      <a:pt x="119" y="22"/>
                      <a:pt x="110" y="18"/>
                    </a:cubicBezTo>
                    <a:cubicBezTo>
                      <a:pt x="105" y="16"/>
                      <a:pt x="104" y="8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2" y="1"/>
                      <a:pt x="102" y="1"/>
                      <a:pt x="102" y="1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1" y="2"/>
                      <a:pt x="100" y="3"/>
                      <a:pt x="100" y="3"/>
                    </a:cubicBezTo>
                    <a:cubicBezTo>
                      <a:pt x="99" y="3"/>
                      <a:pt x="99" y="4"/>
                      <a:pt x="99" y="4"/>
                    </a:cubicBezTo>
                    <a:cubicBezTo>
                      <a:pt x="98" y="4"/>
                      <a:pt x="98" y="4"/>
                      <a:pt x="98" y="4"/>
                    </a:cubicBezTo>
                    <a:cubicBezTo>
                      <a:pt x="97" y="5"/>
                      <a:pt x="96" y="5"/>
                      <a:pt x="95" y="6"/>
                    </a:cubicBezTo>
                    <a:cubicBezTo>
                      <a:pt x="95" y="6"/>
                      <a:pt x="94" y="6"/>
                      <a:pt x="94" y="6"/>
                    </a:cubicBezTo>
                    <a:cubicBezTo>
                      <a:pt x="93" y="6"/>
                      <a:pt x="93" y="6"/>
                      <a:pt x="92" y="6"/>
                    </a:cubicBezTo>
                    <a:cubicBezTo>
                      <a:pt x="91" y="7"/>
                      <a:pt x="91" y="7"/>
                      <a:pt x="90" y="7"/>
                    </a:cubicBezTo>
                    <a:cubicBezTo>
                      <a:pt x="90" y="7"/>
                      <a:pt x="89" y="7"/>
                      <a:pt x="88" y="7"/>
                    </a:cubicBezTo>
                    <a:cubicBezTo>
                      <a:pt x="87" y="7"/>
                      <a:pt x="87" y="7"/>
                      <a:pt x="87" y="7"/>
                    </a:cubicBezTo>
                    <a:cubicBezTo>
                      <a:pt x="85" y="7"/>
                      <a:pt x="84" y="7"/>
                      <a:pt x="82" y="7"/>
                    </a:cubicBezTo>
                    <a:cubicBezTo>
                      <a:pt x="69" y="5"/>
                      <a:pt x="61" y="12"/>
                      <a:pt x="49" y="7"/>
                    </a:cubicBezTo>
                    <a:cubicBezTo>
                      <a:pt x="36" y="3"/>
                      <a:pt x="34" y="14"/>
                      <a:pt x="21" y="12"/>
                    </a:cubicBezTo>
                    <a:cubicBezTo>
                      <a:pt x="13" y="11"/>
                      <a:pt x="5" y="13"/>
                      <a:pt x="0" y="14"/>
                    </a:cubicBezTo>
                    <a:cubicBezTo>
                      <a:pt x="2" y="17"/>
                      <a:pt x="4" y="20"/>
                      <a:pt x="6" y="24"/>
                    </a:cubicBezTo>
                    <a:cubicBezTo>
                      <a:pt x="11" y="37"/>
                      <a:pt x="22" y="37"/>
                      <a:pt x="21" y="49"/>
                    </a:cubicBezTo>
                    <a:cubicBezTo>
                      <a:pt x="20" y="61"/>
                      <a:pt x="22" y="89"/>
                      <a:pt x="28" y="94"/>
                    </a:cubicBezTo>
                    <a:cubicBezTo>
                      <a:pt x="35" y="99"/>
                      <a:pt x="47" y="111"/>
                      <a:pt x="56" y="113"/>
                    </a:cubicBezTo>
                    <a:cubicBezTo>
                      <a:pt x="61" y="115"/>
                      <a:pt x="66" y="116"/>
                      <a:pt x="69" y="118"/>
                    </a:cubicBezTo>
                    <a:cubicBezTo>
                      <a:pt x="69" y="118"/>
                      <a:pt x="69" y="118"/>
                      <a:pt x="69" y="118"/>
                    </a:cubicBezTo>
                    <a:cubicBezTo>
                      <a:pt x="69" y="118"/>
                      <a:pt x="70" y="118"/>
                      <a:pt x="71" y="118"/>
                    </a:cubicBezTo>
                    <a:cubicBezTo>
                      <a:pt x="71" y="118"/>
                      <a:pt x="71" y="118"/>
                      <a:pt x="71" y="11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4" name="Freeform 238">
                <a:extLst>
                  <a:ext uri="{FF2B5EF4-FFF2-40B4-BE49-F238E27FC236}">
                    <a16:creationId xmlns:a16="http://schemas.microsoft.com/office/drawing/2014/main" id="{6662888D-C3BD-E644-8575-AE65843D9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6" y="1860"/>
                <a:ext cx="79" cy="69"/>
              </a:xfrm>
              <a:custGeom>
                <a:avLst/>
                <a:gdLst>
                  <a:gd name="T0" fmla="*/ 76 w 313"/>
                  <a:gd name="T1" fmla="*/ 15 h 272"/>
                  <a:gd name="T2" fmla="*/ 77 w 313"/>
                  <a:gd name="T3" fmla="*/ 33 h 272"/>
                  <a:gd name="T4" fmla="*/ 92 w 313"/>
                  <a:gd name="T5" fmla="*/ 44 h 272"/>
                  <a:gd name="T6" fmla="*/ 99 w 313"/>
                  <a:gd name="T7" fmla="*/ 58 h 272"/>
                  <a:gd name="T8" fmla="*/ 71 w 313"/>
                  <a:gd name="T9" fmla="*/ 65 h 272"/>
                  <a:gd name="T10" fmla="*/ 50 w 313"/>
                  <a:gd name="T11" fmla="*/ 56 h 272"/>
                  <a:gd name="T12" fmla="*/ 27 w 313"/>
                  <a:gd name="T13" fmla="*/ 41 h 272"/>
                  <a:gd name="T14" fmla="*/ 2 w 313"/>
                  <a:gd name="T15" fmla="*/ 47 h 272"/>
                  <a:gd name="T16" fmla="*/ 0 w 313"/>
                  <a:gd name="T17" fmla="*/ 51 h 272"/>
                  <a:gd name="T18" fmla="*/ 0 w 313"/>
                  <a:gd name="T19" fmla="*/ 51 h 272"/>
                  <a:gd name="T20" fmla="*/ 7 w 313"/>
                  <a:gd name="T21" fmla="*/ 69 h 272"/>
                  <a:gd name="T22" fmla="*/ 28 w 313"/>
                  <a:gd name="T23" fmla="*/ 80 h 272"/>
                  <a:gd name="T24" fmla="*/ 27 w 313"/>
                  <a:gd name="T25" fmla="*/ 96 h 272"/>
                  <a:gd name="T26" fmla="*/ 27 w 313"/>
                  <a:gd name="T27" fmla="*/ 113 h 272"/>
                  <a:gd name="T28" fmla="*/ 48 w 313"/>
                  <a:gd name="T29" fmla="*/ 132 h 272"/>
                  <a:gd name="T30" fmla="*/ 43 w 313"/>
                  <a:gd name="T31" fmla="*/ 156 h 272"/>
                  <a:gd name="T32" fmla="*/ 69 w 313"/>
                  <a:gd name="T33" fmla="*/ 176 h 272"/>
                  <a:gd name="T34" fmla="*/ 88 w 313"/>
                  <a:gd name="T35" fmla="*/ 190 h 272"/>
                  <a:gd name="T36" fmla="*/ 92 w 313"/>
                  <a:gd name="T37" fmla="*/ 215 h 272"/>
                  <a:gd name="T38" fmla="*/ 95 w 313"/>
                  <a:gd name="T39" fmla="*/ 232 h 272"/>
                  <a:gd name="T40" fmla="*/ 97 w 313"/>
                  <a:gd name="T41" fmla="*/ 230 h 272"/>
                  <a:gd name="T42" fmla="*/ 128 w 313"/>
                  <a:gd name="T43" fmla="*/ 204 h 272"/>
                  <a:gd name="T44" fmla="*/ 154 w 313"/>
                  <a:gd name="T45" fmla="*/ 187 h 272"/>
                  <a:gd name="T46" fmla="*/ 179 w 313"/>
                  <a:gd name="T47" fmla="*/ 176 h 272"/>
                  <a:gd name="T48" fmla="*/ 200 w 313"/>
                  <a:gd name="T49" fmla="*/ 186 h 272"/>
                  <a:gd name="T50" fmla="*/ 198 w 313"/>
                  <a:gd name="T51" fmla="*/ 206 h 272"/>
                  <a:gd name="T52" fmla="*/ 197 w 313"/>
                  <a:gd name="T53" fmla="*/ 228 h 272"/>
                  <a:gd name="T54" fmla="*/ 188 w 313"/>
                  <a:gd name="T55" fmla="*/ 245 h 272"/>
                  <a:gd name="T56" fmla="*/ 204 w 313"/>
                  <a:gd name="T57" fmla="*/ 256 h 272"/>
                  <a:gd name="T58" fmla="*/ 220 w 313"/>
                  <a:gd name="T59" fmla="*/ 267 h 272"/>
                  <a:gd name="T60" fmla="*/ 246 w 313"/>
                  <a:gd name="T61" fmla="*/ 270 h 272"/>
                  <a:gd name="T62" fmla="*/ 240 w 313"/>
                  <a:gd name="T63" fmla="*/ 254 h 272"/>
                  <a:gd name="T64" fmla="*/ 248 w 313"/>
                  <a:gd name="T65" fmla="*/ 227 h 272"/>
                  <a:gd name="T66" fmla="*/ 265 w 313"/>
                  <a:gd name="T67" fmla="*/ 206 h 272"/>
                  <a:gd name="T68" fmla="*/ 276 w 313"/>
                  <a:gd name="T69" fmla="*/ 169 h 272"/>
                  <a:gd name="T70" fmla="*/ 299 w 313"/>
                  <a:gd name="T71" fmla="*/ 138 h 272"/>
                  <a:gd name="T72" fmla="*/ 298 w 313"/>
                  <a:gd name="T73" fmla="*/ 105 h 272"/>
                  <a:gd name="T74" fmla="*/ 274 w 313"/>
                  <a:gd name="T75" fmla="*/ 80 h 272"/>
                  <a:gd name="T76" fmla="*/ 258 w 313"/>
                  <a:gd name="T77" fmla="*/ 50 h 272"/>
                  <a:gd name="T78" fmla="*/ 239 w 313"/>
                  <a:gd name="T79" fmla="*/ 23 h 272"/>
                  <a:gd name="T80" fmla="*/ 236 w 313"/>
                  <a:gd name="T81" fmla="*/ 21 h 272"/>
                  <a:gd name="T82" fmla="*/ 235 w 313"/>
                  <a:gd name="T83" fmla="*/ 20 h 272"/>
                  <a:gd name="T84" fmla="*/ 234 w 313"/>
                  <a:gd name="T85" fmla="*/ 19 h 272"/>
                  <a:gd name="T86" fmla="*/ 233 w 313"/>
                  <a:gd name="T87" fmla="*/ 18 h 272"/>
                  <a:gd name="T88" fmla="*/ 232 w 313"/>
                  <a:gd name="T89" fmla="*/ 16 h 272"/>
                  <a:gd name="T90" fmla="*/ 231 w 313"/>
                  <a:gd name="T91" fmla="*/ 15 h 272"/>
                  <a:gd name="T92" fmla="*/ 230 w 313"/>
                  <a:gd name="T93" fmla="*/ 13 h 272"/>
                  <a:gd name="T94" fmla="*/ 229 w 313"/>
                  <a:gd name="T95" fmla="*/ 11 h 272"/>
                  <a:gd name="T96" fmla="*/ 228 w 313"/>
                  <a:gd name="T97" fmla="*/ 10 h 272"/>
                  <a:gd name="T98" fmla="*/ 227 w 313"/>
                  <a:gd name="T99" fmla="*/ 8 h 272"/>
                  <a:gd name="T100" fmla="*/ 227 w 313"/>
                  <a:gd name="T101" fmla="*/ 7 h 272"/>
                  <a:gd name="T102" fmla="*/ 225 w 313"/>
                  <a:gd name="T103" fmla="*/ 5 h 272"/>
                  <a:gd name="T104" fmla="*/ 215 w 313"/>
                  <a:gd name="T105" fmla="*/ 24 h 272"/>
                  <a:gd name="T106" fmla="*/ 198 w 313"/>
                  <a:gd name="T107" fmla="*/ 39 h 272"/>
                  <a:gd name="T108" fmla="*/ 179 w 313"/>
                  <a:gd name="T109" fmla="*/ 54 h 272"/>
                  <a:gd name="T110" fmla="*/ 151 w 313"/>
                  <a:gd name="T111" fmla="*/ 56 h 272"/>
                  <a:gd name="T112" fmla="*/ 116 w 313"/>
                  <a:gd name="T113" fmla="*/ 23 h 272"/>
                  <a:gd name="T114" fmla="*/ 86 w 313"/>
                  <a:gd name="T115" fmla="*/ 0 h 272"/>
                  <a:gd name="T116" fmla="*/ 85 w 313"/>
                  <a:gd name="T117" fmla="*/ 0 h 272"/>
                  <a:gd name="T118" fmla="*/ 76 w 313"/>
                  <a:gd name="T119" fmla="*/ 15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13" h="272">
                    <a:moveTo>
                      <a:pt x="76" y="15"/>
                    </a:moveTo>
                    <a:cubicBezTo>
                      <a:pt x="66" y="25"/>
                      <a:pt x="75" y="27"/>
                      <a:pt x="77" y="33"/>
                    </a:cubicBezTo>
                    <a:cubicBezTo>
                      <a:pt x="80" y="40"/>
                      <a:pt x="84" y="43"/>
                      <a:pt x="92" y="44"/>
                    </a:cubicBezTo>
                    <a:cubicBezTo>
                      <a:pt x="99" y="46"/>
                      <a:pt x="100" y="51"/>
                      <a:pt x="99" y="58"/>
                    </a:cubicBezTo>
                    <a:cubicBezTo>
                      <a:pt x="98" y="66"/>
                      <a:pt x="82" y="67"/>
                      <a:pt x="71" y="65"/>
                    </a:cubicBezTo>
                    <a:cubicBezTo>
                      <a:pt x="60" y="63"/>
                      <a:pt x="54" y="63"/>
                      <a:pt x="50" y="56"/>
                    </a:cubicBezTo>
                    <a:cubicBezTo>
                      <a:pt x="46" y="49"/>
                      <a:pt x="36" y="51"/>
                      <a:pt x="27" y="41"/>
                    </a:cubicBezTo>
                    <a:cubicBezTo>
                      <a:pt x="18" y="31"/>
                      <a:pt x="5" y="41"/>
                      <a:pt x="2" y="47"/>
                    </a:cubicBezTo>
                    <a:cubicBezTo>
                      <a:pt x="2" y="49"/>
                      <a:pt x="1" y="50"/>
                      <a:pt x="0" y="5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1" y="59"/>
                      <a:pt x="2" y="67"/>
                      <a:pt x="7" y="69"/>
                    </a:cubicBezTo>
                    <a:cubicBezTo>
                      <a:pt x="16" y="73"/>
                      <a:pt x="22" y="77"/>
                      <a:pt x="28" y="80"/>
                    </a:cubicBezTo>
                    <a:cubicBezTo>
                      <a:pt x="33" y="83"/>
                      <a:pt x="35" y="94"/>
                      <a:pt x="27" y="96"/>
                    </a:cubicBezTo>
                    <a:cubicBezTo>
                      <a:pt x="20" y="99"/>
                      <a:pt x="22" y="111"/>
                      <a:pt x="27" y="113"/>
                    </a:cubicBezTo>
                    <a:cubicBezTo>
                      <a:pt x="32" y="116"/>
                      <a:pt x="47" y="126"/>
                      <a:pt x="48" y="132"/>
                    </a:cubicBezTo>
                    <a:cubicBezTo>
                      <a:pt x="48" y="138"/>
                      <a:pt x="32" y="150"/>
                      <a:pt x="43" y="156"/>
                    </a:cubicBezTo>
                    <a:cubicBezTo>
                      <a:pt x="54" y="162"/>
                      <a:pt x="65" y="170"/>
                      <a:pt x="69" y="176"/>
                    </a:cubicBezTo>
                    <a:cubicBezTo>
                      <a:pt x="73" y="183"/>
                      <a:pt x="88" y="177"/>
                      <a:pt x="88" y="190"/>
                    </a:cubicBezTo>
                    <a:cubicBezTo>
                      <a:pt x="88" y="204"/>
                      <a:pt x="90" y="210"/>
                      <a:pt x="92" y="215"/>
                    </a:cubicBezTo>
                    <a:cubicBezTo>
                      <a:pt x="93" y="218"/>
                      <a:pt x="94" y="226"/>
                      <a:pt x="95" y="232"/>
                    </a:cubicBezTo>
                    <a:cubicBezTo>
                      <a:pt x="95" y="231"/>
                      <a:pt x="96" y="231"/>
                      <a:pt x="97" y="230"/>
                    </a:cubicBezTo>
                    <a:cubicBezTo>
                      <a:pt x="111" y="219"/>
                      <a:pt x="116" y="214"/>
                      <a:pt x="128" y="204"/>
                    </a:cubicBezTo>
                    <a:cubicBezTo>
                      <a:pt x="140" y="194"/>
                      <a:pt x="143" y="187"/>
                      <a:pt x="154" y="187"/>
                    </a:cubicBezTo>
                    <a:cubicBezTo>
                      <a:pt x="165" y="187"/>
                      <a:pt x="165" y="177"/>
                      <a:pt x="179" y="176"/>
                    </a:cubicBezTo>
                    <a:cubicBezTo>
                      <a:pt x="192" y="174"/>
                      <a:pt x="200" y="175"/>
                      <a:pt x="200" y="186"/>
                    </a:cubicBezTo>
                    <a:cubicBezTo>
                      <a:pt x="200" y="198"/>
                      <a:pt x="193" y="200"/>
                      <a:pt x="198" y="206"/>
                    </a:cubicBezTo>
                    <a:cubicBezTo>
                      <a:pt x="203" y="212"/>
                      <a:pt x="207" y="224"/>
                      <a:pt x="197" y="228"/>
                    </a:cubicBezTo>
                    <a:cubicBezTo>
                      <a:pt x="187" y="231"/>
                      <a:pt x="185" y="240"/>
                      <a:pt x="188" y="245"/>
                    </a:cubicBezTo>
                    <a:cubicBezTo>
                      <a:pt x="191" y="250"/>
                      <a:pt x="199" y="251"/>
                      <a:pt x="204" y="256"/>
                    </a:cubicBezTo>
                    <a:cubicBezTo>
                      <a:pt x="209" y="260"/>
                      <a:pt x="215" y="260"/>
                      <a:pt x="220" y="267"/>
                    </a:cubicBezTo>
                    <a:cubicBezTo>
                      <a:pt x="224" y="271"/>
                      <a:pt x="235" y="272"/>
                      <a:pt x="246" y="270"/>
                    </a:cubicBezTo>
                    <a:cubicBezTo>
                      <a:pt x="244" y="265"/>
                      <a:pt x="241" y="260"/>
                      <a:pt x="240" y="254"/>
                    </a:cubicBezTo>
                    <a:cubicBezTo>
                      <a:pt x="237" y="242"/>
                      <a:pt x="249" y="235"/>
                      <a:pt x="248" y="227"/>
                    </a:cubicBezTo>
                    <a:cubicBezTo>
                      <a:pt x="247" y="219"/>
                      <a:pt x="249" y="217"/>
                      <a:pt x="265" y="206"/>
                    </a:cubicBezTo>
                    <a:cubicBezTo>
                      <a:pt x="281" y="195"/>
                      <a:pt x="276" y="185"/>
                      <a:pt x="276" y="169"/>
                    </a:cubicBezTo>
                    <a:cubicBezTo>
                      <a:pt x="276" y="153"/>
                      <a:pt x="285" y="154"/>
                      <a:pt x="299" y="138"/>
                    </a:cubicBezTo>
                    <a:cubicBezTo>
                      <a:pt x="313" y="122"/>
                      <a:pt x="309" y="111"/>
                      <a:pt x="298" y="105"/>
                    </a:cubicBezTo>
                    <a:cubicBezTo>
                      <a:pt x="287" y="99"/>
                      <a:pt x="281" y="85"/>
                      <a:pt x="274" y="80"/>
                    </a:cubicBezTo>
                    <a:cubicBezTo>
                      <a:pt x="267" y="75"/>
                      <a:pt x="261" y="66"/>
                      <a:pt x="258" y="50"/>
                    </a:cubicBezTo>
                    <a:cubicBezTo>
                      <a:pt x="255" y="34"/>
                      <a:pt x="248" y="27"/>
                      <a:pt x="239" y="23"/>
                    </a:cubicBezTo>
                    <a:cubicBezTo>
                      <a:pt x="238" y="22"/>
                      <a:pt x="237" y="22"/>
                      <a:pt x="236" y="21"/>
                    </a:cubicBezTo>
                    <a:cubicBezTo>
                      <a:pt x="236" y="21"/>
                      <a:pt x="235" y="21"/>
                      <a:pt x="235" y="20"/>
                    </a:cubicBezTo>
                    <a:cubicBezTo>
                      <a:pt x="235" y="20"/>
                      <a:pt x="234" y="19"/>
                      <a:pt x="234" y="19"/>
                    </a:cubicBezTo>
                    <a:cubicBezTo>
                      <a:pt x="233" y="18"/>
                      <a:pt x="233" y="18"/>
                      <a:pt x="233" y="18"/>
                    </a:cubicBezTo>
                    <a:cubicBezTo>
                      <a:pt x="233" y="17"/>
                      <a:pt x="232" y="17"/>
                      <a:pt x="232" y="16"/>
                    </a:cubicBezTo>
                    <a:cubicBezTo>
                      <a:pt x="232" y="16"/>
                      <a:pt x="231" y="15"/>
                      <a:pt x="231" y="15"/>
                    </a:cubicBezTo>
                    <a:cubicBezTo>
                      <a:pt x="231" y="14"/>
                      <a:pt x="230" y="14"/>
                      <a:pt x="230" y="13"/>
                    </a:cubicBezTo>
                    <a:cubicBezTo>
                      <a:pt x="230" y="12"/>
                      <a:pt x="230" y="12"/>
                      <a:pt x="229" y="11"/>
                    </a:cubicBezTo>
                    <a:cubicBezTo>
                      <a:pt x="229" y="11"/>
                      <a:pt x="229" y="10"/>
                      <a:pt x="228" y="10"/>
                    </a:cubicBezTo>
                    <a:cubicBezTo>
                      <a:pt x="228" y="9"/>
                      <a:pt x="228" y="8"/>
                      <a:pt x="227" y="8"/>
                    </a:cubicBezTo>
                    <a:cubicBezTo>
                      <a:pt x="227" y="8"/>
                      <a:pt x="227" y="7"/>
                      <a:pt x="227" y="7"/>
                    </a:cubicBezTo>
                    <a:cubicBezTo>
                      <a:pt x="226" y="6"/>
                      <a:pt x="226" y="5"/>
                      <a:pt x="225" y="5"/>
                    </a:cubicBezTo>
                    <a:cubicBezTo>
                      <a:pt x="222" y="11"/>
                      <a:pt x="218" y="20"/>
                      <a:pt x="215" y="24"/>
                    </a:cubicBezTo>
                    <a:cubicBezTo>
                      <a:pt x="210" y="31"/>
                      <a:pt x="210" y="38"/>
                      <a:pt x="198" y="39"/>
                    </a:cubicBezTo>
                    <a:cubicBezTo>
                      <a:pt x="187" y="41"/>
                      <a:pt x="184" y="46"/>
                      <a:pt x="179" y="54"/>
                    </a:cubicBezTo>
                    <a:cubicBezTo>
                      <a:pt x="174" y="62"/>
                      <a:pt x="160" y="58"/>
                      <a:pt x="151" y="56"/>
                    </a:cubicBezTo>
                    <a:cubicBezTo>
                      <a:pt x="142" y="54"/>
                      <a:pt x="126" y="37"/>
                      <a:pt x="116" y="23"/>
                    </a:cubicBezTo>
                    <a:cubicBezTo>
                      <a:pt x="106" y="9"/>
                      <a:pt x="96" y="9"/>
                      <a:pt x="86" y="0"/>
                    </a:cubicBezTo>
                    <a:cubicBezTo>
                      <a:pt x="86" y="0"/>
                      <a:pt x="86" y="0"/>
                      <a:pt x="85" y="0"/>
                    </a:cubicBezTo>
                    <a:cubicBezTo>
                      <a:pt x="84" y="5"/>
                      <a:pt x="81" y="10"/>
                      <a:pt x="76" y="1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5" name="Freeform 239">
                <a:extLst>
                  <a:ext uri="{FF2B5EF4-FFF2-40B4-BE49-F238E27FC236}">
                    <a16:creationId xmlns:a16="http://schemas.microsoft.com/office/drawing/2014/main" id="{06108ADC-3054-5E40-96F5-CE29E00C3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3" y="1651"/>
                <a:ext cx="518" cy="219"/>
              </a:xfrm>
              <a:custGeom>
                <a:avLst/>
                <a:gdLst>
                  <a:gd name="T0" fmla="*/ 30 w 2048"/>
                  <a:gd name="T1" fmla="*/ 313 h 865"/>
                  <a:gd name="T2" fmla="*/ 116 w 2048"/>
                  <a:gd name="T3" fmla="*/ 351 h 865"/>
                  <a:gd name="T4" fmla="*/ 164 w 2048"/>
                  <a:gd name="T5" fmla="*/ 395 h 865"/>
                  <a:gd name="T6" fmla="*/ 206 w 2048"/>
                  <a:gd name="T7" fmla="*/ 472 h 865"/>
                  <a:gd name="T8" fmla="*/ 180 w 2048"/>
                  <a:gd name="T9" fmla="*/ 542 h 865"/>
                  <a:gd name="T10" fmla="*/ 266 w 2048"/>
                  <a:gd name="T11" fmla="*/ 584 h 865"/>
                  <a:gd name="T12" fmla="*/ 374 w 2048"/>
                  <a:gd name="T13" fmla="*/ 599 h 865"/>
                  <a:gd name="T14" fmla="*/ 455 w 2048"/>
                  <a:gd name="T15" fmla="*/ 649 h 865"/>
                  <a:gd name="T16" fmla="*/ 507 w 2048"/>
                  <a:gd name="T17" fmla="*/ 708 h 865"/>
                  <a:gd name="T18" fmla="*/ 570 w 2048"/>
                  <a:gd name="T19" fmla="*/ 767 h 865"/>
                  <a:gd name="T20" fmla="*/ 747 w 2048"/>
                  <a:gd name="T21" fmla="*/ 781 h 865"/>
                  <a:gd name="T22" fmla="*/ 892 w 2048"/>
                  <a:gd name="T23" fmla="*/ 793 h 865"/>
                  <a:gd name="T24" fmla="*/ 990 w 2048"/>
                  <a:gd name="T25" fmla="*/ 835 h 865"/>
                  <a:gd name="T26" fmla="*/ 1102 w 2048"/>
                  <a:gd name="T27" fmla="*/ 853 h 865"/>
                  <a:gd name="T28" fmla="*/ 1203 w 2048"/>
                  <a:gd name="T29" fmla="*/ 802 h 865"/>
                  <a:gd name="T30" fmla="*/ 1363 w 2048"/>
                  <a:gd name="T31" fmla="*/ 790 h 865"/>
                  <a:gd name="T32" fmla="*/ 1491 w 2048"/>
                  <a:gd name="T33" fmla="*/ 717 h 865"/>
                  <a:gd name="T34" fmla="*/ 1499 w 2048"/>
                  <a:gd name="T35" fmla="*/ 638 h 865"/>
                  <a:gd name="T36" fmla="*/ 1564 w 2048"/>
                  <a:gd name="T37" fmla="*/ 585 h 865"/>
                  <a:gd name="T38" fmla="*/ 1674 w 2048"/>
                  <a:gd name="T39" fmla="*/ 592 h 865"/>
                  <a:gd name="T40" fmla="*/ 1811 w 2048"/>
                  <a:gd name="T41" fmla="*/ 522 h 865"/>
                  <a:gd name="T42" fmla="*/ 1946 w 2048"/>
                  <a:gd name="T43" fmla="*/ 449 h 865"/>
                  <a:gd name="T44" fmla="*/ 2043 w 2048"/>
                  <a:gd name="T45" fmla="*/ 455 h 865"/>
                  <a:gd name="T46" fmla="*/ 1945 w 2048"/>
                  <a:gd name="T47" fmla="*/ 351 h 865"/>
                  <a:gd name="T48" fmla="*/ 1852 w 2048"/>
                  <a:gd name="T49" fmla="*/ 361 h 865"/>
                  <a:gd name="T50" fmla="*/ 1767 w 2048"/>
                  <a:gd name="T51" fmla="*/ 336 h 865"/>
                  <a:gd name="T52" fmla="*/ 1810 w 2048"/>
                  <a:gd name="T53" fmla="*/ 248 h 865"/>
                  <a:gd name="T54" fmla="*/ 1836 w 2048"/>
                  <a:gd name="T55" fmla="*/ 194 h 865"/>
                  <a:gd name="T56" fmla="*/ 1804 w 2048"/>
                  <a:gd name="T57" fmla="*/ 182 h 865"/>
                  <a:gd name="T58" fmla="*/ 1724 w 2048"/>
                  <a:gd name="T59" fmla="*/ 168 h 865"/>
                  <a:gd name="T60" fmla="*/ 1646 w 2048"/>
                  <a:gd name="T61" fmla="*/ 179 h 865"/>
                  <a:gd name="T62" fmla="*/ 1575 w 2048"/>
                  <a:gd name="T63" fmla="*/ 224 h 865"/>
                  <a:gd name="T64" fmla="*/ 1464 w 2048"/>
                  <a:gd name="T65" fmla="*/ 253 h 865"/>
                  <a:gd name="T66" fmla="*/ 1324 w 2048"/>
                  <a:gd name="T67" fmla="*/ 241 h 865"/>
                  <a:gd name="T68" fmla="*/ 1238 w 2048"/>
                  <a:gd name="T69" fmla="*/ 187 h 865"/>
                  <a:gd name="T70" fmla="*/ 1157 w 2048"/>
                  <a:gd name="T71" fmla="*/ 154 h 865"/>
                  <a:gd name="T72" fmla="*/ 1080 w 2048"/>
                  <a:gd name="T73" fmla="*/ 151 h 865"/>
                  <a:gd name="T74" fmla="*/ 997 w 2048"/>
                  <a:gd name="T75" fmla="*/ 169 h 865"/>
                  <a:gd name="T76" fmla="*/ 920 w 2048"/>
                  <a:gd name="T77" fmla="*/ 121 h 865"/>
                  <a:gd name="T78" fmla="*/ 872 w 2048"/>
                  <a:gd name="T79" fmla="*/ 65 h 865"/>
                  <a:gd name="T80" fmla="*/ 787 w 2048"/>
                  <a:gd name="T81" fmla="*/ 39 h 865"/>
                  <a:gd name="T82" fmla="*/ 715 w 2048"/>
                  <a:gd name="T83" fmla="*/ 11 h 865"/>
                  <a:gd name="T84" fmla="*/ 654 w 2048"/>
                  <a:gd name="T85" fmla="*/ 62 h 865"/>
                  <a:gd name="T86" fmla="*/ 650 w 2048"/>
                  <a:gd name="T87" fmla="*/ 124 h 865"/>
                  <a:gd name="T88" fmla="*/ 658 w 2048"/>
                  <a:gd name="T89" fmla="*/ 176 h 865"/>
                  <a:gd name="T90" fmla="*/ 606 w 2048"/>
                  <a:gd name="T91" fmla="*/ 206 h 865"/>
                  <a:gd name="T92" fmla="*/ 547 w 2048"/>
                  <a:gd name="T93" fmla="*/ 197 h 865"/>
                  <a:gd name="T94" fmla="*/ 477 w 2048"/>
                  <a:gd name="T95" fmla="*/ 191 h 865"/>
                  <a:gd name="T96" fmla="*/ 416 w 2048"/>
                  <a:gd name="T97" fmla="*/ 143 h 865"/>
                  <a:gd name="T98" fmla="*/ 322 w 2048"/>
                  <a:gd name="T99" fmla="*/ 129 h 865"/>
                  <a:gd name="T100" fmla="*/ 258 w 2048"/>
                  <a:gd name="T101" fmla="*/ 127 h 865"/>
                  <a:gd name="T102" fmla="*/ 165 w 2048"/>
                  <a:gd name="T103" fmla="*/ 167 h 865"/>
                  <a:gd name="T104" fmla="*/ 102 w 2048"/>
                  <a:gd name="T105" fmla="*/ 218 h 865"/>
                  <a:gd name="T106" fmla="*/ 10 w 2048"/>
                  <a:gd name="T107" fmla="*/ 253 h 865"/>
                  <a:gd name="T108" fmla="*/ 5 w 2048"/>
                  <a:gd name="T109" fmla="*/ 259 h 865"/>
                  <a:gd name="T110" fmla="*/ 3 w 2048"/>
                  <a:gd name="T111" fmla="*/ 260 h 8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048" h="865">
                    <a:moveTo>
                      <a:pt x="2" y="278"/>
                    </a:moveTo>
                    <a:cubicBezTo>
                      <a:pt x="6" y="289"/>
                      <a:pt x="10" y="289"/>
                      <a:pt x="12" y="296"/>
                    </a:cubicBezTo>
                    <a:cubicBezTo>
                      <a:pt x="14" y="303"/>
                      <a:pt x="16" y="308"/>
                      <a:pt x="30" y="313"/>
                    </a:cubicBezTo>
                    <a:cubicBezTo>
                      <a:pt x="44" y="318"/>
                      <a:pt x="47" y="320"/>
                      <a:pt x="49" y="326"/>
                    </a:cubicBezTo>
                    <a:cubicBezTo>
                      <a:pt x="51" y="332"/>
                      <a:pt x="68" y="349"/>
                      <a:pt x="81" y="350"/>
                    </a:cubicBezTo>
                    <a:cubicBezTo>
                      <a:pt x="94" y="351"/>
                      <a:pt x="112" y="344"/>
                      <a:pt x="116" y="351"/>
                    </a:cubicBezTo>
                    <a:cubicBezTo>
                      <a:pt x="120" y="358"/>
                      <a:pt x="126" y="357"/>
                      <a:pt x="134" y="359"/>
                    </a:cubicBezTo>
                    <a:cubicBezTo>
                      <a:pt x="142" y="361"/>
                      <a:pt x="151" y="370"/>
                      <a:pt x="154" y="375"/>
                    </a:cubicBezTo>
                    <a:cubicBezTo>
                      <a:pt x="157" y="380"/>
                      <a:pt x="163" y="385"/>
                      <a:pt x="164" y="395"/>
                    </a:cubicBezTo>
                    <a:cubicBezTo>
                      <a:pt x="165" y="405"/>
                      <a:pt x="167" y="415"/>
                      <a:pt x="180" y="425"/>
                    </a:cubicBezTo>
                    <a:cubicBezTo>
                      <a:pt x="193" y="435"/>
                      <a:pt x="190" y="445"/>
                      <a:pt x="202" y="450"/>
                    </a:cubicBezTo>
                    <a:cubicBezTo>
                      <a:pt x="214" y="455"/>
                      <a:pt x="220" y="466"/>
                      <a:pt x="206" y="472"/>
                    </a:cubicBezTo>
                    <a:cubicBezTo>
                      <a:pt x="192" y="478"/>
                      <a:pt x="190" y="493"/>
                      <a:pt x="197" y="498"/>
                    </a:cubicBezTo>
                    <a:cubicBezTo>
                      <a:pt x="204" y="503"/>
                      <a:pt x="213" y="505"/>
                      <a:pt x="200" y="514"/>
                    </a:cubicBezTo>
                    <a:cubicBezTo>
                      <a:pt x="187" y="523"/>
                      <a:pt x="181" y="533"/>
                      <a:pt x="180" y="542"/>
                    </a:cubicBezTo>
                    <a:cubicBezTo>
                      <a:pt x="179" y="551"/>
                      <a:pt x="170" y="555"/>
                      <a:pt x="186" y="563"/>
                    </a:cubicBezTo>
                    <a:cubicBezTo>
                      <a:pt x="202" y="571"/>
                      <a:pt x="194" y="580"/>
                      <a:pt x="212" y="582"/>
                    </a:cubicBezTo>
                    <a:cubicBezTo>
                      <a:pt x="230" y="584"/>
                      <a:pt x="253" y="580"/>
                      <a:pt x="266" y="584"/>
                    </a:cubicBezTo>
                    <a:cubicBezTo>
                      <a:pt x="279" y="588"/>
                      <a:pt x="283" y="591"/>
                      <a:pt x="296" y="591"/>
                    </a:cubicBezTo>
                    <a:cubicBezTo>
                      <a:pt x="309" y="591"/>
                      <a:pt x="317" y="589"/>
                      <a:pt x="328" y="590"/>
                    </a:cubicBezTo>
                    <a:cubicBezTo>
                      <a:pt x="339" y="591"/>
                      <a:pt x="366" y="586"/>
                      <a:pt x="374" y="599"/>
                    </a:cubicBezTo>
                    <a:cubicBezTo>
                      <a:pt x="382" y="612"/>
                      <a:pt x="387" y="615"/>
                      <a:pt x="397" y="618"/>
                    </a:cubicBezTo>
                    <a:cubicBezTo>
                      <a:pt x="407" y="621"/>
                      <a:pt x="415" y="621"/>
                      <a:pt x="421" y="628"/>
                    </a:cubicBezTo>
                    <a:cubicBezTo>
                      <a:pt x="427" y="635"/>
                      <a:pt x="440" y="647"/>
                      <a:pt x="455" y="649"/>
                    </a:cubicBezTo>
                    <a:cubicBezTo>
                      <a:pt x="470" y="651"/>
                      <a:pt x="481" y="652"/>
                      <a:pt x="486" y="662"/>
                    </a:cubicBezTo>
                    <a:cubicBezTo>
                      <a:pt x="491" y="672"/>
                      <a:pt x="484" y="675"/>
                      <a:pt x="495" y="682"/>
                    </a:cubicBezTo>
                    <a:cubicBezTo>
                      <a:pt x="506" y="689"/>
                      <a:pt x="506" y="697"/>
                      <a:pt x="507" y="708"/>
                    </a:cubicBezTo>
                    <a:cubicBezTo>
                      <a:pt x="508" y="719"/>
                      <a:pt x="510" y="727"/>
                      <a:pt x="521" y="736"/>
                    </a:cubicBezTo>
                    <a:cubicBezTo>
                      <a:pt x="532" y="745"/>
                      <a:pt x="534" y="739"/>
                      <a:pt x="542" y="756"/>
                    </a:cubicBezTo>
                    <a:cubicBezTo>
                      <a:pt x="550" y="773"/>
                      <a:pt x="556" y="768"/>
                      <a:pt x="570" y="767"/>
                    </a:cubicBezTo>
                    <a:cubicBezTo>
                      <a:pt x="584" y="766"/>
                      <a:pt x="611" y="760"/>
                      <a:pt x="631" y="771"/>
                    </a:cubicBezTo>
                    <a:cubicBezTo>
                      <a:pt x="651" y="782"/>
                      <a:pt x="674" y="778"/>
                      <a:pt x="687" y="778"/>
                    </a:cubicBezTo>
                    <a:cubicBezTo>
                      <a:pt x="700" y="778"/>
                      <a:pt x="729" y="789"/>
                      <a:pt x="747" y="781"/>
                    </a:cubicBezTo>
                    <a:cubicBezTo>
                      <a:pt x="765" y="773"/>
                      <a:pt x="774" y="772"/>
                      <a:pt x="786" y="773"/>
                    </a:cubicBezTo>
                    <a:cubicBezTo>
                      <a:pt x="798" y="774"/>
                      <a:pt x="809" y="774"/>
                      <a:pt x="823" y="780"/>
                    </a:cubicBezTo>
                    <a:cubicBezTo>
                      <a:pt x="837" y="786"/>
                      <a:pt x="867" y="774"/>
                      <a:pt x="892" y="793"/>
                    </a:cubicBezTo>
                    <a:cubicBezTo>
                      <a:pt x="917" y="812"/>
                      <a:pt x="916" y="817"/>
                      <a:pt x="930" y="817"/>
                    </a:cubicBezTo>
                    <a:cubicBezTo>
                      <a:pt x="944" y="817"/>
                      <a:pt x="946" y="824"/>
                      <a:pt x="963" y="824"/>
                    </a:cubicBezTo>
                    <a:cubicBezTo>
                      <a:pt x="980" y="824"/>
                      <a:pt x="979" y="828"/>
                      <a:pt x="990" y="835"/>
                    </a:cubicBezTo>
                    <a:cubicBezTo>
                      <a:pt x="1001" y="842"/>
                      <a:pt x="1005" y="843"/>
                      <a:pt x="1019" y="841"/>
                    </a:cubicBezTo>
                    <a:cubicBezTo>
                      <a:pt x="1033" y="839"/>
                      <a:pt x="1049" y="829"/>
                      <a:pt x="1062" y="843"/>
                    </a:cubicBezTo>
                    <a:cubicBezTo>
                      <a:pt x="1075" y="857"/>
                      <a:pt x="1091" y="865"/>
                      <a:pt x="1102" y="853"/>
                    </a:cubicBezTo>
                    <a:cubicBezTo>
                      <a:pt x="1113" y="841"/>
                      <a:pt x="1113" y="836"/>
                      <a:pt x="1126" y="836"/>
                    </a:cubicBezTo>
                    <a:cubicBezTo>
                      <a:pt x="1139" y="836"/>
                      <a:pt x="1135" y="822"/>
                      <a:pt x="1153" y="821"/>
                    </a:cubicBezTo>
                    <a:cubicBezTo>
                      <a:pt x="1171" y="820"/>
                      <a:pt x="1188" y="805"/>
                      <a:pt x="1203" y="802"/>
                    </a:cubicBezTo>
                    <a:cubicBezTo>
                      <a:pt x="1218" y="799"/>
                      <a:pt x="1246" y="791"/>
                      <a:pt x="1260" y="791"/>
                    </a:cubicBezTo>
                    <a:cubicBezTo>
                      <a:pt x="1274" y="791"/>
                      <a:pt x="1282" y="788"/>
                      <a:pt x="1310" y="791"/>
                    </a:cubicBezTo>
                    <a:cubicBezTo>
                      <a:pt x="1338" y="794"/>
                      <a:pt x="1350" y="794"/>
                      <a:pt x="1363" y="790"/>
                    </a:cubicBezTo>
                    <a:cubicBezTo>
                      <a:pt x="1376" y="786"/>
                      <a:pt x="1393" y="774"/>
                      <a:pt x="1409" y="774"/>
                    </a:cubicBezTo>
                    <a:cubicBezTo>
                      <a:pt x="1425" y="774"/>
                      <a:pt x="1435" y="768"/>
                      <a:pt x="1450" y="755"/>
                    </a:cubicBezTo>
                    <a:cubicBezTo>
                      <a:pt x="1465" y="742"/>
                      <a:pt x="1462" y="725"/>
                      <a:pt x="1491" y="717"/>
                    </a:cubicBezTo>
                    <a:cubicBezTo>
                      <a:pt x="1520" y="709"/>
                      <a:pt x="1522" y="700"/>
                      <a:pt x="1530" y="695"/>
                    </a:cubicBezTo>
                    <a:cubicBezTo>
                      <a:pt x="1538" y="690"/>
                      <a:pt x="1543" y="678"/>
                      <a:pt x="1526" y="669"/>
                    </a:cubicBezTo>
                    <a:cubicBezTo>
                      <a:pt x="1509" y="660"/>
                      <a:pt x="1497" y="644"/>
                      <a:pt x="1499" y="638"/>
                    </a:cubicBezTo>
                    <a:cubicBezTo>
                      <a:pt x="1501" y="632"/>
                      <a:pt x="1501" y="626"/>
                      <a:pt x="1509" y="621"/>
                    </a:cubicBezTo>
                    <a:cubicBezTo>
                      <a:pt x="1517" y="616"/>
                      <a:pt x="1513" y="591"/>
                      <a:pt x="1529" y="588"/>
                    </a:cubicBezTo>
                    <a:cubicBezTo>
                      <a:pt x="1545" y="585"/>
                      <a:pt x="1549" y="573"/>
                      <a:pt x="1564" y="585"/>
                    </a:cubicBezTo>
                    <a:cubicBezTo>
                      <a:pt x="1579" y="597"/>
                      <a:pt x="1579" y="602"/>
                      <a:pt x="1594" y="604"/>
                    </a:cubicBezTo>
                    <a:cubicBezTo>
                      <a:pt x="1609" y="606"/>
                      <a:pt x="1622" y="614"/>
                      <a:pt x="1638" y="609"/>
                    </a:cubicBezTo>
                    <a:cubicBezTo>
                      <a:pt x="1654" y="604"/>
                      <a:pt x="1662" y="595"/>
                      <a:pt x="1674" y="592"/>
                    </a:cubicBezTo>
                    <a:cubicBezTo>
                      <a:pt x="1686" y="589"/>
                      <a:pt x="1693" y="557"/>
                      <a:pt x="1709" y="557"/>
                    </a:cubicBezTo>
                    <a:cubicBezTo>
                      <a:pt x="1725" y="557"/>
                      <a:pt x="1755" y="571"/>
                      <a:pt x="1774" y="558"/>
                    </a:cubicBezTo>
                    <a:cubicBezTo>
                      <a:pt x="1793" y="545"/>
                      <a:pt x="1803" y="542"/>
                      <a:pt x="1811" y="522"/>
                    </a:cubicBezTo>
                    <a:cubicBezTo>
                      <a:pt x="1819" y="502"/>
                      <a:pt x="1823" y="484"/>
                      <a:pt x="1850" y="481"/>
                    </a:cubicBezTo>
                    <a:cubicBezTo>
                      <a:pt x="1877" y="478"/>
                      <a:pt x="1884" y="464"/>
                      <a:pt x="1904" y="465"/>
                    </a:cubicBezTo>
                    <a:cubicBezTo>
                      <a:pt x="1924" y="466"/>
                      <a:pt x="1931" y="449"/>
                      <a:pt x="1946" y="449"/>
                    </a:cubicBezTo>
                    <a:cubicBezTo>
                      <a:pt x="1961" y="449"/>
                      <a:pt x="1976" y="445"/>
                      <a:pt x="1985" y="451"/>
                    </a:cubicBezTo>
                    <a:cubicBezTo>
                      <a:pt x="1994" y="457"/>
                      <a:pt x="1994" y="469"/>
                      <a:pt x="2010" y="463"/>
                    </a:cubicBezTo>
                    <a:cubicBezTo>
                      <a:pt x="2026" y="457"/>
                      <a:pt x="2038" y="461"/>
                      <a:pt x="2043" y="455"/>
                    </a:cubicBezTo>
                    <a:cubicBezTo>
                      <a:pt x="2048" y="449"/>
                      <a:pt x="2048" y="430"/>
                      <a:pt x="2033" y="419"/>
                    </a:cubicBezTo>
                    <a:cubicBezTo>
                      <a:pt x="2018" y="408"/>
                      <a:pt x="1989" y="386"/>
                      <a:pt x="1982" y="374"/>
                    </a:cubicBezTo>
                    <a:cubicBezTo>
                      <a:pt x="1975" y="362"/>
                      <a:pt x="1952" y="354"/>
                      <a:pt x="1945" y="351"/>
                    </a:cubicBezTo>
                    <a:cubicBezTo>
                      <a:pt x="1938" y="348"/>
                      <a:pt x="1914" y="345"/>
                      <a:pt x="1906" y="353"/>
                    </a:cubicBezTo>
                    <a:cubicBezTo>
                      <a:pt x="1898" y="361"/>
                      <a:pt x="1891" y="376"/>
                      <a:pt x="1879" y="375"/>
                    </a:cubicBezTo>
                    <a:cubicBezTo>
                      <a:pt x="1867" y="374"/>
                      <a:pt x="1866" y="357"/>
                      <a:pt x="1852" y="361"/>
                    </a:cubicBezTo>
                    <a:cubicBezTo>
                      <a:pt x="1838" y="365"/>
                      <a:pt x="1807" y="357"/>
                      <a:pt x="1803" y="363"/>
                    </a:cubicBezTo>
                    <a:cubicBezTo>
                      <a:pt x="1799" y="369"/>
                      <a:pt x="1796" y="385"/>
                      <a:pt x="1780" y="371"/>
                    </a:cubicBezTo>
                    <a:cubicBezTo>
                      <a:pt x="1764" y="357"/>
                      <a:pt x="1752" y="339"/>
                      <a:pt x="1767" y="336"/>
                    </a:cubicBezTo>
                    <a:cubicBezTo>
                      <a:pt x="1782" y="333"/>
                      <a:pt x="1785" y="335"/>
                      <a:pt x="1785" y="317"/>
                    </a:cubicBezTo>
                    <a:cubicBezTo>
                      <a:pt x="1785" y="299"/>
                      <a:pt x="1781" y="296"/>
                      <a:pt x="1793" y="285"/>
                    </a:cubicBezTo>
                    <a:cubicBezTo>
                      <a:pt x="1805" y="274"/>
                      <a:pt x="1798" y="258"/>
                      <a:pt x="1810" y="248"/>
                    </a:cubicBezTo>
                    <a:cubicBezTo>
                      <a:pt x="1820" y="240"/>
                      <a:pt x="1827" y="214"/>
                      <a:pt x="1838" y="197"/>
                    </a:cubicBezTo>
                    <a:cubicBezTo>
                      <a:pt x="1838" y="197"/>
                      <a:pt x="1838" y="197"/>
                      <a:pt x="1838" y="197"/>
                    </a:cubicBezTo>
                    <a:cubicBezTo>
                      <a:pt x="1837" y="196"/>
                      <a:pt x="1837" y="195"/>
                      <a:pt x="1836" y="194"/>
                    </a:cubicBezTo>
                    <a:cubicBezTo>
                      <a:pt x="1836" y="194"/>
                      <a:pt x="1836" y="194"/>
                      <a:pt x="1836" y="194"/>
                    </a:cubicBezTo>
                    <a:cubicBezTo>
                      <a:pt x="1835" y="193"/>
                      <a:pt x="1835" y="192"/>
                      <a:pt x="1834" y="191"/>
                    </a:cubicBezTo>
                    <a:cubicBezTo>
                      <a:pt x="1826" y="182"/>
                      <a:pt x="1816" y="184"/>
                      <a:pt x="1804" y="182"/>
                    </a:cubicBezTo>
                    <a:cubicBezTo>
                      <a:pt x="1792" y="180"/>
                      <a:pt x="1789" y="186"/>
                      <a:pt x="1783" y="192"/>
                    </a:cubicBezTo>
                    <a:cubicBezTo>
                      <a:pt x="1777" y="198"/>
                      <a:pt x="1757" y="196"/>
                      <a:pt x="1745" y="189"/>
                    </a:cubicBezTo>
                    <a:cubicBezTo>
                      <a:pt x="1733" y="181"/>
                      <a:pt x="1742" y="175"/>
                      <a:pt x="1724" y="168"/>
                    </a:cubicBezTo>
                    <a:cubicBezTo>
                      <a:pt x="1706" y="161"/>
                      <a:pt x="1700" y="161"/>
                      <a:pt x="1686" y="161"/>
                    </a:cubicBezTo>
                    <a:cubicBezTo>
                      <a:pt x="1671" y="162"/>
                      <a:pt x="1674" y="163"/>
                      <a:pt x="1664" y="169"/>
                    </a:cubicBezTo>
                    <a:cubicBezTo>
                      <a:pt x="1654" y="176"/>
                      <a:pt x="1659" y="177"/>
                      <a:pt x="1646" y="179"/>
                    </a:cubicBezTo>
                    <a:cubicBezTo>
                      <a:pt x="1632" y="182"/>
                      <a:pt x="1633" y="189"/>
                      <a:pt x="1620" y="194"/>
                    </a:cubicBezTo>
                    <a:cubicBezTo>
                      <a:pt x="1608" y="199"/>
                      <a:pt x="1610" y="204"/>
                      <a:pt x="1608" y="215"/>
                    </a:cubicBezTo>
                    <a:cubicBezTo>
                      <a:pt x="1606" y="225"/>
                      <a:pt x="1589" y="224"/>
                      <a:pt x="1575" y="224"/>
                    </a:cubicBezTo>
                    <a:cubicBezTo>
                      <a:pt x="1561" y="224"/>
                      <a:pt x="1559" y="229"/>
                      <a:pt x="1546" y="231"/>
                    </a:cubicBezTo>
                    <a:cubicBezTo>
                      <a:pt x="1532" y="233"/>
                      <a:pt x="1519" y="237"/>
                      <a:pt x="1498" y="237"/>
                    </a:cubicBezTo>
                    <a:cubicBezTo>
                      <a:pt x="1476" y="237"/>
                      <a:pt x="1480" y="253"/>
                      <a:pt x="1464" y="253"/>
                    </a:cubicBezTo>
                    <a:cubicBezTo>
                      <a:pt x="1448" y="254"/>
                      <a:pt x="1418" y="253"/>
                      <a:pt x="1400" y="253"/>
                    </a:cubicBezTo>
                    <a:cubicBezTo>
                      <a:pt x="1383" y="253"/>
                      <a:pt x="1383" y="248"/>
                      <a:pt x="1365" y="239"/>
                    </a:cubicBezTo>
                    <a:cubicBezTo>
                      <a:pt x="1347" y="231"/>
                      <a:pt x="1339" y="239"/>
                      <a:pt x="1324" y="241"/>
                    </a:cubicBezTo>
                    <a:cubicBezTo>
                      <a:pt x="1308" y="242"/>
                      <a:pt x="1308" y="230"/>
                      <a:pt x="1297" y="225"/>
                    </a:cubicBezTo>
                    <a:cubicBezTo>
                      <a:pt x="1286" y="221"/>
                      <a:pt x="1281" y="214"/>
                      <a:pt x="1280" y="198"/>
                    </a:cubicBezTo>
                    <a:cubicBezTo>
                      <a:pt x="1278" y="182"/>
                      <a:pt x="1254" y="187"/>
                      <a:pt x="1238" y="187"/>
                    </a:cubicBezTo>
                    <a:cubicBezTo>
                      <a:pt x="1222" y="187"/>
                      <a:pt x="1218" y="169"/>
                      <a:pt x="1206" y="159"/>
                    </a:cubicBezTo>
                    <a:cubicBezTo>
                      <a:pt x="1194" y="148"/>
                      <a:pt x="1186" y="161"/>
                      <a:pt x="1174" y="162"/>
                    </a:cubicBezTo>
                    <a:cubicBezTo>
                      <a:pt x="1162" y="163"/>
                      <a:pt x="1164" y="156"/>
                      <a:pt x="1157" y="154"/>
                    </a:cubicBezTo>
                    <a:cubicBezTo>
                      <a:pt x="1150" y="152"/>
                      <a:pt x="1144" y="154"/>
                      <a:pt x="1134" y="148"/>
                    </a:cubicBezTo>
                    <a:cubicBezTo>
                      <a:pt x="1124" y="142"/>
                      <a:pt x="1120" y="143"/>
                      <a:pt x="1104" y="143"/>
                    </a:cubicBezTo>
                    <a:cubicBezTo>
                      <a:pt x="1088" y="143"/>
                      <a:pt x="1092" y="151"/>
                      <a:pt x="1080" y="151"/>
                    </a:cubicBezTo>
                    <a:cubicBezTo>
                      <a:pt x="1069" y="152"/>
                      <a:pt x="1070" y="151"/>
                      <a:pt x="1056" y="159"/>
                    </a:cubicBezTo>
                    <a:cubicBezTo>
                      <a:pt x="1042" y="166"/>
                      <a:pt x="1042" y="172"/>
                      <a:pt x="1031" y="174"/>
                    </a:cubicBezTo>
                    <a:cubicBezTo>
                      <a:pt x="1020" y="176"/>
                      <a:pt x="1008" y="177"/>
                      <a:pt x="997" y="169"/>
                    </a:cubicBezTo>
                    <a:cubicBezTo>
                      <a:pt x="986" y="162"/>
                      <a:pt x="980" y="163"/>
                      <a:pt x="960" y="157"/>
                    </a:cubicBezTo>
                    <a:cubicBezTo>
                      <a:pt x="939" y="152"/>
                      <a:pt x="939" y="147"/>
                      <a:pt x="929" y="141"/>
                    </a:cubicBezTo>
                    <a:cubicBezTo>
                      <a:pt x="919" y="135"/>
                      <a:pt x="922" y="131"/>
                      <a:pt x="920" y="121"/>
                    </a:cubicBezTo>
                    <a:cubicBezTo>
                      <a:pt x="919" y="110"/>
                      <a:pt x="918" y="101"/>
                      <a:pt x="913" y="96"/>
                    </a:cubicBezTo>
                    <a:cubicBezTo>
                      <a:pt x="908" y="91"/>
                      <a:pt x="908" y="83"/>
                      <a:pt x="904" y="73"/>
                    </a:cubicBezTo>
                    <a:cubicBezTo>
                      <a:pt x="901" y="63"/>
                      <a:pt x="888" y="64"/>
                      <a:pt x="872" y="65"/>
                    </a:cubicBezTo>
                    <a:cubicBezTo>
                      <a:pt x="857" y="65"/>
                      <a:pt x="852" y="55"/>
                      <a:pt x="843" y="55"/>
                    </a:cubicBezTo>
                    <a:cubicBezTo>
                      <a:pt x="834" y="54"/>
                      <a:pt x="826" y="49"/>
                      <a:pt x="818" y="42"/>
                    </a:cubicBezTo>
                    <a:cubicBezTo>
                      <a:pt x="810" y="35"/>
                      <a:pt x="802" y="39"/>
                      <a:pt x="787" y="39"/>
                    </a:cubicBezTo>
                    <a:cubicBezTo>
                      <a:pt x="772" y="40"/>
                      <a:pt x="766" y="40"/>
                      <a:pt x="761" y="33"/>
                    </a:cubicBezTo>
                    <a:cubicBezTo>
                      <a:pt x="756" y="25"/>
                      <a:pt x="753" y="25"/>
                      <a:pt x="742" y="23"/>
                    </a:cubicBezTo>
                    <a:cubicBezTo>
                      <a:pt x="732" y="21"/>
                      <a:pt x="727" y="23"/>
                      <a:pt x="715" y="11"/>
                    </a:cubicBezTo>
                    <a:cubicBezTo>
                      <a:pt x="703" y="0"/>
                      <a:pt x="704" y="11"/>
                      <a:pt x="702" y="20"/>
                    </a:cubicBezTo>
                    <a:cubicBezTo>
                      <a:pt x="700" y="29"/>
                      <a:pt x="696" y="29"/>
                      <a:pt x="681" y="35"/>
                    </a:cubicBezTo>
                    <a:cubicBezTo>
                      <a:pt x="666" y="40"/>
                      <a:pt x="663" y="59"/>
                      <a:pt x="654" y="62"/>
                    </a:cubicBezTo>
                    <a:cubicBezTo>
                      <a:pt x="644" y="65"/>
                      <a:pt x="648" y="75"/>
                      <a:pt x="642" y="83"/>
                    </a:cubicBezTo>
                    <a:cubicBezTo>
                      <a:pt x="637" y="91"/>
                      <a:pt x="638" y="94"/>
                      <a:pt x="638" y="103"/>
                    </a:cubicBezTo>
                    <a:cubicBezTo>
                      <a:pt x="639" y="113"/>
                      <a:pt x="647" y="115"/>
                      <a:pt x="650" y="124"/>
                    </a:cubicBezTo>
                    <a:cubicBezTo>
                      <a:pt x="652" y="133"/>
                      <a:pt x="655" y="135"/>
                      <a:pt x="666" y="142"/>
                    </a:cubicBezTo>
                    <a:cubicBezTo>
                      <a:pt x="676" y="149"/>
                      <a:pt x="676" y="155"/>
                      <a:pt x="668" y="159"/>
                    </a:cubicBezTo>
                    <a:cubicBezTo>
                      <a:pt x="660" y="164"/>
                      <a:pt x="663" y="167"/>
                      <a:pt x="658" y="176"/>
                    </a:cubicBezTo>
                    <a:cubicBezTo>
                      <a:pt x="654" y="185"/>
                      <a:pt x="649" y="185"/>
                      <a:pt x="637" y="187"/>
                    </a:cubicBezTo>
                    <a:cubicBezTo>
                      <a:pt x="625" y="189"/>
                      <a:pt x="625" y="193"/>
                      <a:pt x="621" y="199"/>
                    </a:cubicBezTo>
                    <a:cubicBezTo>
                      <a:pt x="617" y="205"/>
                      <a:pt x="609" y="201"/>
                      <a:pt x="606" y="206"/>
                    </a:cubicBezTo>
                    <a:cubicBezTo>
                      <a:pt x="604" y="211"/>
                      <a:pt x="603" y="214"/>
                      <a:pt x="598" y="208"/>
                    </a:cubicBezTo>
                    <a:cubicBezTo>
                      <a:pt x="594" y="202"/>
                      <a:pt x="588" y="207"/>
                      <a:pt x="584" y="199"/>
                    </a:cubicBezTo>
                    <a:cubicBezTo>
                      <a:pt x="580" y="190"/>
                      <a:pt x="561" y="197"/>
                      <a:pt x="547" y="197"/>
                    </a:cubicBezTo>
                    <a:cubicBezTo>
                      <a:pt x="533" y="197"/>
                      <a:pt x="538" y="189"/>
                      <a:pt x="527" y="186"/>
                    </a:cubicBezTo>
                    <a:cubicBezTo>
                      <a:pt x="516" y="183"/>
                      <a:pt x="506" y="186"/>
                      <a:pt x="500" y="193"/>
                    </a:cubicBezTo>
                    <a:cubicBezTo>
                      <a:pt x="493" y="201"/>
                      <a:pt x="485" y="195"/>
                      <a:pt x="477" y="191"/>
                    </a:cubicBezTo>
                    <a:cubicBezTo>
                      <a:pt x="469" y="186"/>
                      <a:pt x="462" y="191"/>
                      <a:pt x="455" y="182"/>
                    </a:cubicBezTo>
                    <a:cubicBezTo>
                      <a:pt x="448" y="173"/>
                      <a:pt x="438" y="180"/>
                      <a:pt x="426" y="176"/>
                    </a:cubicBezTo>
                    <a:cubicBezTo>
                      <a:pt x="415" y="172"/>
                      <a:pt x="413" y="155"/>
                      <a:pt x="416" y="143"/>
                    </a:cubicBezTo>
                    <a:cubicBezTo>
                      <a:pt x="420" y="132"/>
                      <a:pt x="384" y="137"/>
                      <a:pt x="363" y="137"/>
                    </a:cubicBezTo>
                    <a:cubicBezTo>
                      <a:pt x="342" y="137"/>
                      <a:pt x="338" y="137"/>
                      <a:pt x="334" y="131"/>
                    </a:cubicBezTo>
                    <a:cubicBezTo>
                      <a:pt x="331" y="124"/>
                      <a:pt x="328" y="127"/>
                      <a:pt x="322" y="129"/>
                    </a:cubicBezTo>
                    <a:cubicBezTo>
                      <a:pt x="315" y="132"/>
                      <a:pt x="307" y="129"/>
                      <a:pt x="306" y="122"/>
                    </a:cubicBezTo>
                    <a:cubicBezTo>
                      <a:pt x="306" y="115"/>
                      <a:pt x="299" y="116"/>
                      <a:pt x="286" y="117"/>
                    </a:cubicBezTo>
                    <a:cubicBezTo>
                      <a:pt x="274" y="117"/>
                      <a:pt x="276" y="127"/>
                      <a:pt x="258" y="127"/>
                    </a:cubicBezTo>
                    <a:cubicBezTo>
                      <a:pt x="241" y="126"/>
                      <a:pt x="252" y="143"/>
                      <a:pt x="238" y="142"/>
                    </a:cubicBezTo>
                    <a:cubicBezTo>
                      <a:pt x="224" y="141"/>
                      <a:pt x="214" y="144"/>
                      <a:pt x="205" y="153"/>
                    </a:cubicBezTo>
                    <a:cubicBezTo>
                      <a:pt x="196" y="161"/>
                      <a:pt x="183" y="167"/>
                      <a:pt x="165" y="167"/>
                    </a:cubicBezTo>
                    <a:cubicBezTo>
                      <a:pt x="147" y="168"/>
                      <a:pt x="143" y="184"/>
                      <a:pt x="130" y="184"/>
                    </a:cubicBezTo>
                    <a:cubicBezTo>
                      <a:pt x="116" y="184"/>
                      <a:pt x="121" y="195"/>
                      <a:pt x="118" y="203"/>
                    </a:cubicBezTo>
                    <a:cubicBezTo>
                      <a:pt x="116" y="211"/>
                      <a:pt x="112" y="221"/>
                      <a:pt x="102" y="218"/>
                    </a:cubicBezTo>
                    <a:cubicBezTo>
                      <a:pt x="92" y="215"/>
                      <a:pt x="86" y="218"/>
                      <a:pt x="74" y="226"/>
                    </a:cubicBezTo>
                    <a:cubicBezTo>
                      <a:pt x="62" y="234"/>
                      <a:pt x="54" y="227"/>
                      <a:pt x="42" y="227"/>
                    </a:cubicBezTo>
                    <a:cubicBezTo>
                      <a:pt x="30" y="227"/>
                      <a:pt x="20" y="241"/>
                      <a:pt x="10" y="253"/>
                    </a:cubicBezTo>
                    <a:cubicBezTo>
                      <a:pt x="10" y="254"/>
                      <a:pt x="9" y="255"/>
                      <a:pt x="8" y="256"/>
                    </a:cubicBezTo>
                    <a:cubicBezTo>
                      <a:pt x="8" y="256"/>
                      <a:pt x="8" y="257"/>
                      <a:pt x="8" y="257"/>
                    </a:cubicBezTo>
                    <a:cubicBezTo>
                      <a:pt x="7" y="257"/>
                      <a:pt x="6" y="258"/>
                      <a:pt x="5" y="259"/>
                    </a:cubicBezTo>
                    <a:cubicBezTo>
                      <a:pt x="5" y="259"/>
                      <a:pt x="5" y="259"/>
                      <a:pt x="5" y="259"/>
                    </a:cubicBezTo>
                    <a:cubicBezTo>
                      <a:pt x="5" y="259"/>
                      <a:pt x="4" y="260"/>
                      <a:pt x="3" y="260"/>
                    </a:cubicBezTo>
                    <a:cubicBezTo>
                      <a:pt x="3" y="260"/>
                      <a:pt x="3" y="260"/>
                      <a:pt x="3" y="260"/>
                    </a:cubicBezTo>
                    <a:cubicBezTo>
                      <a:pt x="2" y="261"/>
                      <a:pt x="1" y="261"/>
                      <a:pt x="1" y="261"/>
                    </a:cubicBezTo>
                    <a:cubicBezTo>
                      <a:pt x="0" y="267"/>
                      <a:pt x="0" y="273"/>
                      <a:pt x="2" y="27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6" name="Freeform 240">
                <a:extLst>
                  <a:ext uri="{FF2B5EF4-FFF2-40B4-BE49-F238E27FC236}">
                    <a16:creationId xmlns:a16="http://schemas.microsoft.com/office/drawing/2014/main" id="{84EAC7BC-883E-094B-B234-033EEB9765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8" y="2142"/>
                <a:ext cx="76" cy="95"/>
              </a:xfrm>
              <a:custGeom>
                <a:avLst/>
                <a:gdLst>
                  <a:gd name="T0" fmla="*/ 292 w 299"/>
                  <a:gd name="T1" fmla="*/ 355 h 376"/>
                  <a:gd name="T2" fmla="*/ 287 w 299"/>
                  <a:gd name="T3" fmla="*/ 325 h 376"/>
                  <a:gd name="T4" fmla="*/ 287 w 299"/>
                  <a:gd name="T5" fmla="*/ 323 h 376"/>
                  <a:gd name="T6" fmla="*/ 287 w 299"/>
                  <a:gd name="T7" fmla="*/ 320 h 376"/>
                  <a:gd name="T8" fmla="*/ 288 w 299"/>
                  <a:gd name="T9" fmla="*/ 316 h 376"/>
                  <a:gd name="T10" fmla="*/ 289 w 299"/>
                  <a:gd name="T11" fmla="*/ 306 h 376"/>
                  <a:gd name="T12" fmla="*/ 288 w 299"/>
                  <a:gd name="T13" fmla="*/ 304 h 376"/>
                  <a:gd name="T14" fmla="*/ 288 w 299"/>
                  <a:gd name="T15" fmla="*/ 302 h 376"/>
                  <a:gd name="T16" fmla="*/ 287 w 299"/>
                  <a:gd name="T17" fmla="*/ 300 h 376"/>
                  <a:gd name="T18" fmla="*/ 276 w 299"/>
                  <a:gd name="T19" fmla="*/ 249 h 376"/>
                  <a:gd name="T20" fmla="*/ 269 w 299"/>
                  <a:gd name="T21" fmla="*/ 201 h 376"/>
                  <a:gd name="T22" fmla="*/ 240 w 299"/>
                  <a:gd name="T23" fmla="*/ 211 h 376"/>
                  <a:gd name="T24" fmla="*/ 211 w 299"/>
                  <a:gd name="T25" fmla="*/ 235 h 376"/>
                  <a:gd name="T26" fmla="*/ 194 w 299"/>
                  <a:gd name="T27" fmla="*/ 191 h 376"/>
                  <a:gd name="T28" fmla="*/ 219 w 299"/>
                  <a:gd name="T29" fmla="*/ 167 h 376"/>
                  <a:gd name="T30" fmla="*/ 249 w 299"/>
                  <a:gd name="T31" fmla="*/ 151 h 376"/>
                  <a:gd name="T32" fmla="*/ 271 w 299"/>
                  <a:gd name="T33" fmla="*/ 122 h 376"/>
                  <a:gd name="T34" fmla="*/ 262 w 299"/>
                  <a:gd name="T35" fmla="*/ 97 h 376"/>
                  <a:gd name="T36" fmla="*/ 205 w 299"/>
                  <a:gd name="T37" fmla="*/ 95 h 376"/>
                  <a:gd name="T38" fmla="*/ 127 w 299"/>
                  <a:gd name="T39" fmla="*/ 91 h 376"/>
                  <a:gd name="T40" fmla="*/ 109 w 299"/>
                  <a:gd name="T41" fmla="*/ 59 h 376"/>
                  <a:gd name="T42" fmla="*/ 104 w 299"/>
                  <a:gd name="T43" fmla="*/ 25 h 376"/>
                  <a:gd name="T44" fmla="*/ 61 w 299"/>
                  <a:gd name="T45" fmla="*/ 19 h 376"/>
                  <a:gd name="T46" fmla="*/ 39 w 299"/>
                  <a:gd name="T47" fmla="*/ 12 h 376"/>
                  <a:gd name="T48" fmla="*/ 37 w 299"/>
                  <a:gd name="T49" fmla="*/ 12 h 376"/>
                  <a:gd name="T50" fmla="*/ 36 w 299"/>
                  <a:gd name="T51" fmla="*/ 11 h 376"/>
                  <a:gd name="T52" fmla="*/ 34 w 299"/>
                  <a:gd name="T53" fmla="*/ 11 h 376"/>
                  <a:gd name="T54" fmla="*/ 33 w 299"/>
                  <a:gd name="T55" fmla="*/ 10 h 376"/>
                  <a:gd name="T56" fmla="*/ 32 w 299"/>
                  <a:gd name="T57" fmla="*/ 10 h 376"/>
                  <a:gd name="T58" fmla="*/ 30 w 299"/>
                  <a:gd name="T59" fmla="*/ 9 h 376"/>
                  <a:gd name="T60" fmla="*/ 21 w 299"/>
                  <a:gd name="T61" fmla="*/ 0 h 376"/>
                  <a:gd name="T62" fmla="*/ 21 w 299"/>
                  <a:gd name="T63" fmla="*/ 7 h 376"/>
                  <a:gd name="T64" fmla="*/ 8 w 299"/>
                  <a:gd name="T65" fmla="*/ 30 h 376"/>
                  <a:gd name="T66" fmla="*/ 8 w 299"/>
                  <a:gd name="T67" fmla="*/ 48 h 376"/>
                  <a:gd name="T68" fmla="*/ 30 w 299"/>
                  <a:gd name="T69" fmla="*/ 71 h 376"/>
                  <a:gd name="T70" fmla="*/ 51 w 299"/>
                  <a:gd name="T71" fmla="*/ 90 h 376"/>
                  <a:gd name="T72" fmla="*/ 20 w 299"/>
                  <a:gd name="T73" fmla="*/ 106 h 376"/>
                  <a:gd name="T74" fmla="*/ 11 w 299"/>
                  <a:gd name="T75" fmla="*/ 133 h 376"/>
                  <a:gd name="T76" fmla="*/ 39 w 299"/>
                  <a:gd name="T77" fmla="*/ 171 h 376"/>
                  <a:gd name="T78" fmla="*/ 50 w 299"/>
                  <a:gd name="T79" fmla="*/ 230 h 376"/>
                  <a:gd name="T80" fmla="*/ 54 w 299"/>
                  <a:gd name="T81" fmla="*/ 284 h 376"/>
                  <a:gd name="T82" fmla="*/ 62 w 299"/>
                  <a:gd name="T83" fmla="*/ 340 h 376"/>
                  <a:gd name="T84" fmla="*/ 102 w 299"/>
                  <a:gd name="T85" fmla="*/ 318 h 376"/>
                  <a:gd name="T86" fmla="*/ 167 w 299"/>
                  <a:gd name="T87" fmla="*/ 304 h 376"/>
                  <a:gd name="T88" fmla="*/ 191 w 299"/>
                  <a:gd name="T89" fmla="*/ 270 h 376"/>
                  <a:gd name="T90" fmla="*/ 233 w 299"/>
                  <a:gd name="T91" fmla="*/ 285 h 376"/>
                  <a:gd name="T92" fmla="*/ 254 w 299"/>
                  <a:gd name="T93" fmla="*/ 369 h 376"/>
                  <a:gd name="T94" fmla="*/ 269 w 299"/>
                  <a:gd name="T95" fmla="*/ 354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99" h="376">
                    <a:moveTo>
                      <a:pt x="269" y="354"/>
                    </a:moveTo>
                    <a:cubicBezTo>
                      <a:pt x="271" y="350"/>
                      <a:pt x="285" y="355"/>
                      <a:pt x="292" y="355"/>
                    </a:cubicBezTo>
                    <a:cubicBezTo>
                      <a:pt x="299" y="356"/>
                      <a:pt x="296" y="346"/>
                      <a:pt x="289" y="339"/>
                    </a:cubicBezTo>
                    <a:cubicBezTo>
                      <a:pt x="283" y="333"/>
                      <a:pt x="289" y="329"/>
                      <a:pt x="287" y="325"/>
                    </a:cubicBezTo>
                    <a:cubicBezTo>
                      <a:pt x="287" y="324"/>
                      <a:pt x="287" y="324"/>
                      <a:pt x="287" y="323"/>
                    </a:cubicBezTo>
                    <a:cubicBezTo>
                      <a:pt x="287" y="323"/>
                      <a:pt x="287" y="323"/>
                      <a:pt x="287" y="323"/>
                    </a:cubicBezTo>
                    <a:cubicBezTo>
                      <a:pt x="287" y="322"/>
                      <a:pt x="287" y="322"/>
                      <a:pt x="287" y="321"/>
                    </a:cubicBezTo>
                    <a:cubicBezTo>
                      <a:pt x="287" y="321"/>
                      <a:pt x="287" y="320"/>
                      <a:pt x="287" y="320"/>
                    </a:cubicBezTo>
                    <a:cubicBezTo>
                      <a:pt x="287" y="320"/>
                      <a:pt x="287" y="319"/>
                      <a:pt x="287" y="318"/>
                    </a:cubicBezTo>
                    <a:cubicBezTo>
                      <a:pt x="287" y="318"/>
                      <a:pt x="287" y="317"/>
                      <a:pt x="288" y="316"/>
                    </a:cubicBezTo>
                    <a:cubicBezTo>
                      <a:pt x="288" y="316"/>
                      <a:pt x="288" y="316"/>
                      <a:pt x="288" y="316"/>
                    </a:cubicBezTo>
                    <a:cubicBezTo>
                      <a:pt x="288" y="313"/>
                      <a:pt x="289" y="309"/>
                      <a:pt x="289" y="306"/>
                    </a:cubicBezTo>
                    <a:cubicBezTo>
                      <a:pt x="289" y="306"/>
                      <a:pt x="289" y="306"/>
                      <a:pt x="289" y="306"/>
                    </a:cubicBezTo>
                    <a:cubicBezTo>
                      <a:pt x="289" y="305"/>
                      <a:pt x="288" y="304"/>
                      <a:pt x="288" y="304"/>
                    </a:cubicBezTo>
                    <a:cubicBezTo>
                      <a:pt x="288" y="303"/>
                      <a:pt x="288" y="303"/>
                      <a:pt x="288" y="303"/>
                    </a:cubicBezTo>
                    <a:cubicBezTo>
                      <a:pt x="288" y="303"/>
                      <a:pt x="288" y="302"/>
                      <a:pt x="288" y="302"/>
                    </a:cubicBezTo>
                    <a:cubicBezTo>
                      <a:pt x="288" y="302"/>
                      <a:pt x="288" y="302"/>
                      <a:pt x="288" y="301"/>
                    </a:cubicBezTo>
                    <a:cubicBezTo>
                      <a:pt x="287" y="301"/>
                      <a:pt x="287" y="300"/>
                      <a:pt x="287" y="300"/>
                    </a:cubicBezTo>
                    <a:cubicBezTo>
                      <a:pt x="282" y="295"/>
                      <a:pt x="285" y="285"/>
                      <a:pt x="286" y="271"/>
                    </a:cubicBezTo>
                    <a:cubicBezTo>
                      <a:pt x="287" y="258"/>
                      <a:pt x="277" y="255"/>
                      <a:pt x="276" y="249"/>
                    </a:cubicBezTo>
                    <a:cubicBezTo>
                      <a:pt x="275" y="243"/>
                      <a:pt x="273" y="237"/>
                      <a:pt x="269" y="234"/>
                    </a:cubicBezTo>
                    <a:cubicBezTo>
                      <a:pt x="266" y="231"/>
                      <a:pt x="269" y="209"/>
                      <a:pt x="269" y="201"/>
                    </a:cubicBezTo>
                    <a:cubicBezTo>
                      <a:pt x="269" y="192"/>
                      <a:pt x="259" y="195"/>
                      <a:pt x="248" y="197"/>
                    </a:cubicBezTo>
                    <a:cubicBezTo>
                      <a:pt x="237" y="200"/>
                      <a:pt x="245" y="210"/>
                      <a:pt x="240" y="211"/>
                    </a:cubicBezTo>
                    <a:cubicBezTo>
                      <a:pt x="235" y="213"/>
                      <a:pt x="238" y="226"/>
                      <a:pt x="233" y="239"/>
                    </a:cubicBezTo>
                    <a:cubicBezTo>
                      <a:pt x="229" y="251"/>
                      <a:pt x="217" y="235"/>
                      <a:pt x="211" y="235"/>
                    </a:cubicBezTo>
                    <a:cubicBezTo>
                      <a:pt x="204" y="235"/>
                      <a:pt x="202" y="231"/>
                      <a:pt x="202" y="223"/>
                    </a:cubicBezTo>
                    <a:cubicBezTo>
                      <a:pt x="202" y="214"/>
                      <a:pt x="196" y="198"/>
                      <a:pt x="194" y="191"/>
                    </a:cubicBezTo>
                    <a:cubicBezTo>
                      <a:pt x="192" y="185"/>
                      <a:pt x="203" y="183"/>
                      <a:pt x="203" y="177"/>
                    </a:cubicBezTo>
                    <a:cubicBezTo>
                      <a:pt x="203" y="172"/>
                      <a:pt x="219" y="171"/>
                      <a:pt x="219" y="167"/>
                    </a:cubicBezTo>
                    <a:cubicBezTo>
                      <a:pt x="220" y="163"/>
                      <a:pt x="228" y="163"/>
                      <a:pt x="233" y="163"/>
                    </a:cubicBezTo>
                    <a:cubicBezTo>
                      <a:pt x="239" y="162"/>
                      <a:pt x="247" y="158"/>
                      <a:pt x="249" y="151"/>
                    </a:cubicBezTo>
                    <a:cubicBezTo>
                      <a:pt x="251" y="143"/>
                      <a:pt x="261" y="139"/>
                      <a:pt x="261" y="133"/>
                    </a:cubicBezTo>
                    <a:cubicBezTo>
                      <a:pt x="261" y="127"/>
                      <a:pt x="262" y="125"/>
                      <a:pt x="271" y="122"/>
                    </a:cubicBezTo>
                    <a:cubicBezTo>
                      <a:pt x="281" y="119"/>
                      <a:pt x="275" y="111"/>
                      <a:pt x="273" y="108"/>
                    </a:cubicBezTo>
                    <a:cubicBezTo>
                      <a:pt x="270" y="105"/>
                      <a:pt x="270" y="98"/>
                      <a:pt x="262" y="97"/>
                    </a:cubicBezTo>
                    <a:cubicBezTo>
                      <a:pt x="254" y="95"/>
                      <a:pt x="248" y="94"/>
                      <a:pt x="229" y="99"/>
                    </a:cubicBezTo>
                    <a:cubicBezTo>
                      <a:pt x="211" y="105"/>
                      <a:pt x="218" y="97"/>
                      <a:pt x="205" y="95"/>
                    </a:cubicBezTo>
                    <a:cubicBezTo>
                      <a:pt x="191" y="94"/>
                      <a:pt x="164" y="98"/>
                      <a:pt x="155" y="97"/>
                    </a:cubicBezTo>
                    <a:cubicBezTo>
                      <a:pt x="145" y="97"/>
                      <a:pt x="133" y="95"/>
                      <a:pt x="127" y="91"/>
                    </a:cubicBezTo>
                    <a:cubicBezTo>
                      <a:pt x="122" y="86"/>
                      <a:pt x="116" y="86"/>
                      <a:pt x="109" y="82"/>
                    </a:cubicBezTo>
                    <a:cubicBezTo>
                      <a:pt x="101" y="78"/>
                      <a:pt x="115" y="65"/>
                      <a:pt x="109" y="59"/>
                    </a:cubicBezTo>
                    <a:cubicBezTo>
                      <a:pt x="103" y="53"/>
                      <a:pt x="113" y="44"/>
                      <a:pt x="113" y="36"/>
                    </a:cubicBezTo>
                    <a:cubicBezTo>
                      <a:pt x="113" y="28"/>
                      <a:pt x="113" y="23"/>
                      <a:pt x="104" y="25"/>
                    </a:cubicBezTo>
                    <a:cubicBezTo>
                      <a:pt x="95" y="27"/>
                      <a:pt x="91" y="38"/>
                      <a:pt x="79" y="36"/>
                    </a:cubicBezTo>
                    <a:cubicBezTo>
                      <a:pt x="68" y="34"/>
                      <a:pt x="65" y="28"/>
                      <a:pt x="61" y="19"/>
                    </a:cubicBezTo>
                    <a:cubicBezTo>
                      <a:pt x="57" y="11"/>
                      <a:pt x="54" y="12"/>
                      <a:pt x="41" y="12"/>
                    </a:cubicBezTo>
                    <a:cubicBezTo>
                      <a:pt x="41" y="12"/>
                      <a:pt x="40" y="12"/>
                      <a:pt x="39" y="12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38" y="12"/>
                      <a:pt x="38" y="12"/>
                      <a:pt x="37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6" y="12"/>
                      <a:pt x="36" y="12"/>
                      <a:pt x="36" y="11"/>
                    </a:cubicBezTo>
                    <a:cubicBezTo>
                      <a:pt x="36" y="11"/>
                      <a:pt x="35" y="11"/>
                      <a:pt x="35" y="11"/>
                    </a:cubicBezTo>
                    <a:cubicBezTo>
                      <a:pt x="35" y="11"/>
                      <a:pt x="35" y="11"/>
                      <a:pt x="34" y="1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3" y="11"/>
                      <a:pt x="33" y="11"/>
                      <a:pt x="33" y="10"/>
                    </a:cubicBezTo>
                    <a:cubicBezTo>
                      <a:pt x="33" y="10"/>
                      <a:pt x="33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1" y="10"/>
                      <a:pt x="31" y="9"/>
                    </a:cubicBezTo>
                    <a:cubicBezTo>
                      <a:pt x="31" y="9"/>
                      <a:pt x="31" y="9"/>
                      <a:pt x="30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6"/>
                      <a:pt x="25" y="3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2"/>
                      <a:pt x="21" y="5"/>
                      <a:pt x="21" y="7"/>
                    </a:cubicBezTo>
                    <a:cubicBezTo>
                      <a:pt x="23" y="11"/>
                      <a:pt x="26" y="19"/>
                      <a:pt x="18" y="21"/>
                    </a:cubicBezTo>
                    <a:cubicBezTo>
                      <a:pt x="9" y="22"/>
                      <a:pt x="14" y="29"/>
                      <a:pt x="8" y="30"/>
                    </a:cubicBezTo>
                    <a:cubicBezTo>
                      <a:pt x="2" y="31"/>
                      <a:pt x="0" y="38"/>
                      <a:pt x="0" y="42"/>
                    </a:cubicBezTo>
                    <a:cubicBezTo>
                      <a:pt x="0" y="47"/>
                      <a:pt x="5" y="46"/>
                      <a:pt x="8" y="48"/>
                    </a:cubicBezTo>
                    <a:cubicBezTo>
                      <a:pt x="12" y="49"/>
                      <a:pt x="16" y="50"/>
                      <a:pt x="18" y="55"/>
                    </a:cubicBezTo>
                    <a:cubicBezTo>
                      <a:pt x="20" y="60"/>
                      <a:pt x="25" y="70"/>
                      <a:pt x="30" y="71"/>
                    </a:cubicBezTo>
                    <a:cubicBezTo>
                      <a:pt x="36" y="72"/>
                      <a:pt x="54" y="74"/>
                      <a:pt x="55" y="75"/>
                    </a:cubicBezTo>
                    <a:cubicBezTo>
                      <a:pt x="56" y="77"/>
                      <a:pt x="54" y="84"/>
                      <a:pt x="51" y="90"/>
                    </a:cubicBezTo>
                    <a:cubicBezTo>
                      <a:pt x="48" y="97"/>
                      <a:pt x="43" y="96"/>
                      <a:pt x="33" y="96"/>
                    </a:cubicBezTo>
                    <a:cubicBezTo>
                      <a:pt x="24" y="96"/>
                      <a:pt x="20" y="103"/>
                      <a:pt x="20" y="106"/>
                    </a:cubicBezTo>
                    <a:cubicBezTo>
                      <a:pt x="20" y="109"/>
                      <a:pt x="9" y="110"/>
                      <a:pt x="8" y="115"/>
                    </a:cubicBezTo>
                    <a:cubicBezTo>
                      <a:pt x="7" y="121"/>
                      <a:pt x="5" y="127"/>
                      <a:pt x="11" y="133"/>
                    </a:cubicBezTo>
                    <a:cubicBezTo>
                      <a:pt x="16" y="138"/>
                      <a:pt x="19" y="144"/>
                      <a:pt x="25" y="147"/>
                    </a:cubicBezTo>
                    <a:cubicBezTo>
                      <a:pt x="30" y="150"/>
                      <a:pt x="42" y="161"/>
                      <a:pt x="39" y="171"/>
                    </a:cubicBezTo>
                    <a:cubicBezTo>
                      <a:pt x="35" y="181"/>
                      <a:pt x="35" y="203"/>
                      <a:pt x="39" y="213"/>
                    </a:cubicBezTo>
                    <a:cubicBezTo>
                      <a:pt x="42" y="222"/>
                      <a:pt x="44" y="226"/>
                      <a:pt x="50" y="230"/>
                    </a:cubicBezTo>
                    <a:cubicBezTo>
                      <a:pt x="55" y="235"/>
                      <a:pt x="55" y="242"/>
                      <a:pt x="55" y="249"/>
                    </a:cubicBezTo>
                    <a:cubicBezTo>
                      <a:pt x="55" y="257"/>
                      <a:pt x="52" y="277"/>
                      <a:pt x="54" y="284"/>
                    </a:cubicBezTo>
                    <a:cubicBezTo>
                      <a:pt x="56" y="292"/>
                      <a:pt x="60" y="293"/>
                      <a:pt x="61" y="299"/>
                    </a:cubicBezTo>
                    <a:cubicBezTo>
                      <a:pt x="61" y="304"/>
                      <a:pt x="62" y="328"/>
                      <a:pt x="62" y="340"/>
                    </a:cubicBezTo>
                    <a:cubicBezTo>
                      <a:pt x="69" y="345"/>
                      <a:pt x="73" y="340"/>
                      <a:pt x="75" y="328"/>
                    </a:cubicBezTo>
                    <a:cubicBezTo>
                      <a:pt x="78" y="316"/>
                      <a:pt x="94" y="326"/>
                      <a:pt x="102" y="318"/>
                    </a:cubicBezTo>
                    <a:cubicBezTo>
                      <a:pt x="111" y="311"/>
                      <a:pt x="128" y="313"/>
                      <a:pt x="140" y="316"/>
                    </a:cubicBezTo>
                    <a:cubicBezTo>
                      <a:pt x="151" y="318"/>
                      <a:pt x="163" y="317"/>
                      <a:pt x="167" y="304"/>
                    </a:cubicBezTo>
                    <a:cubicBezTo>
                      <a:pt x="171" y="291"/>
                      <a:pt x="178" y="303"/>
                      <a:pt x="188" y="297"/>
                    </a:cubicBezTo>
                    <a:cubicBezTo>
                      <a:pt x="199" y="291"/>
                      <a:pt x="197" y="284"/>
                      <a:pt x="191" y="270"/>
                    </a:cubicBezTo>
                    <a:cubicBezTo>
                      <a:pt x="186" y="255"/>
                      <a:pt x="203" y="261"/>
                      <a:pt x="214" y="261"/>
                    </a:cubicBezTo>
                    <a:cubicBezTo>
                      <a:pt x="226" y="261"/>
                      <a:pt x="227" y="274"/>
                      <a:pt x="233" y="285"/>
                    </a:cubicBezTo>
                    <a:cubicBezTo>
                      <a:pt x="239" y="297"/>
                      <a:pt x="240" y="304"/>
                      <a:pt x="242" y="326"/>
                    </a:cubicBezTo>
                    <a:cubicBezTo>
                      <a:pt x="243" y="347"/>
                      <a:pt x="250" y="351"/>
                      <a:pt x="254" y="369"/>
                    </a:cubicBezTo>
                    <a:cubicBezTo>
                      <a:pt x="255" y="371"/>
                      <a:pt x="256" y="373"/>
                      <a:pt x="258" y="376"/>
                    </a:cubicBezTo>
                    <a:cubicBezTo>
                      <a:pt x="270" y="371"/>
                      <a:pt x="268" y="358"/>
                      <a:pt x="269" y="35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7" name="Freeform 241">
                <a:extLst>
                  <a:ext uri="{FF2B5EF4-FFF2-40B4-BE49-F238E27FC236}">
                    <a16:creationId xmlns:a16="http://schemas.microsoft.com/office/drawing/2014/main" id="{EB577BF6-68FC-4D4C-8935-CB9153E47D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2" y="1954"/>
                <a:ext cx="277" cy="237"/>
              </a:xfrm>
              <a:custGeom>
                <a:avLst/>
                <a:gdLst>
                  <a:gd name="T0" fmla="*/ 511 w 1097"/>
                  <a:gd name="T1" fmla="*/ 898 h 938"/>
                  <a:gd name="T2" fmla="*/ 589 w 1097"/>
                  <a:gd name="T3" fmla="*/ 899 h 938"/>
                  <a:gd name="T4" fmla="*/ 634 w 1097"/>
                  <a:gd name="T5" fmla="*/ 900 h 938"/>
                  <a:gd name="T6" fmla="*/ 629 w 1097"/>
                  <a:gd name="T7" fmla="*/ 832 h 938"/>
                  <a:gd name="T8" fmla="*/ 585 w 1097"/>
                  <a:gd name="T9" fmla="*/ 776 h 938"/>
                  <a:gd name="T10" fmla="*/ 544 w 1097"/>
                  <a:gd name="T11" fmla="*/ 728 h 938"/>
                  <a:gd name="T12" fmla="*/ 604 w 1097"/>
                  <a:gd name="T13" fmla="*/ 643 h 938"/>
                  <a:gd name="T14" fmla="*/ 646 w 1097"/>
                  <a:gd name="T15" fmla="*/ 661 h 938"/>
                  <a:gd name="T16" fmla="*/ 713 w 1097"/>
                  <a:gd name="T17" fmla="*/ 619 h 938"/>
                  <a:gd name="T18" fmla="*/ 789 w 1097"/>
                  <a:gd name="T19" fmla="*/ 535 h 938"/>
                  <a:gd name="T20" fmla="*/ 843 w 1097"/>
                  <a:gd name="T21" fmla="*/ 454 h 938"/>
                  <a:gd name="T22" fmla="*/ 865 w 1097"/>
                  <a:gd name="T23" fmla="*/ 411 h 938"/>
                  <a:gd name="T24" fmla="*/ 917 w 1097"/>
                  <a:gd name="T25" fmla="*/ 352 h 938"/>
                  <a:gd name="T26" fmla="*/ 852 w 1097"/>
                  <a:gd name="T27" fmla="*/ 304 h 938"/>
                  <a:gd name="T28" fmla="*/ 836 w 1097"/>
                  <a:gd name="T29" fmla="*/ 219 h 938"/>
                  <a:gd name="T30" fmla="*/ 873 w 1097"/>
                  <a:gd name="T31" fmla="*/ 172 h 938"/>
                  <a:gd name="T32" fmla="*/ 982 w 1097"/>
                  <a:gd name="T33" fmla="*/ 174 h 938"/>
                  <a:gd name="T34" fmla="*/ 1080 w 1097"/>
                  <a:gd name="T35" fmla="*/ 144 h 938"/>
                  <a:gd name="T36" fmla="*/ 1047 w 1097"/>
                  <a:gd name="T37" fmla="*/ 117 h 938"/>
                  <a:gd name="T38" fmla="*/ 1021 w 1097"/>
                  <a:gd name="T39" fmla="*/ 110 h 938"/>
                  <a:gd name="T40" fmla="*/ 957 w 1097"/>
                  <a:gd name="T41" fmla="*/ 76 h 938"/>
                  <a:gd name="T42" fmla="*/ 933 w 1097"/>
                  <a:gd name="T43" fmla="*/ 22 h 938"/>
                  <a:gd name="T44" fmla="*/ 876 w 1097"/>
                  <a:gd name="T45" fmla="*/ 0 h 938"/>
                  <a:gd name="T46" fmla="*/ 865 w 1097"/>
                  <a:gd name="T47" fmla="*/ 5 h 938"/>
                  <a:gd name="T48" fmla="*/ 863 w 1097"/>
                  <a:gd name="T49" fmla="*/ 7 h 938"/>
                  <a:gd name="T50" fmla="*/ 764 w 1097"/>
                  <a:gd name="T51" fmla="*/ 16 h 938"/>
                  <a:gd name="T52" fmla="*/ 682 w 1097"/>
                  <a:gd name="T53" fmla="*/ 54 h 938"/>
                  <a:gd name="T54" fmla="*/ 673 w 1097"/>
                  <a:gd name="T55" fmla="*/ 102 h 938"/>
                  <a:gd name="T56" fmla="*/ 642 w 1097"/>
                  <a:gd name="T57" fmla="*/ 187 h 938"/>
                  <a:gd name="T58" fmla="*/ 624 w 1097"/>
                  <a:gd name="T59" fmla="*/ 227 h 938"/>
                  <a:gd name="T60" fmla="*/ 572 w 1097"/>
                  <a:gd name="T61" fmla="*/ 233 h 938"/>
                  <a:gd name="T62" fmla="*/ 558 w 1097"/>
                  <a:gd name="T63" fmla="*/ 287 h 938"/>
                  <a:gd name="T64" fmla="*/ 534 w 1097"/>
                  <a:gd name="T65" fmla="*/ 360 h 938"/>
                  <a:gd name="T66" fmla="*/ 494 w 1097"/>
                  <a:gd name="T67" fmla="*/ 385 h 938"/>
                  <a:gd name="T68" fmla="*/ 419 w 1097"/>
                  <a:gd name="T69" fmla="*/ 395 h 938"/>
                  <a:gd name="T70" fmla="*/ 396 w 1097"/>
                  <a:gd name="T71" fmla="*/ 416 h 938"/>
                  <a:gd name="T72" fmla="*/ 345 w 1097"/>
                  <a:gd name="T73" fmla="*/ 499 h 938"/>
                  <a:gd name="T74" fmla="*/ 251 w 1097"/>
                  <a:gd name="T75" fmla="*/ 535 h 938"/>
                  <a:gd name="T76" fmla="*/ 98 w 1097"/>
                  <a:gd name="T77" fmla="*/ 545 h 938"/>
                  <a:gd name="T78" fmla="*/ 0 w 1097"/>
                  <a:gd name="T79" fmla="*/ 513 h 938"/>
                  <a:gd name="T80" fmla="*/ 1 w 1097"/>
                  <a:gd name="T81" fmla="*/ 517 h 938"/>
                  <a:gd name="T82" fmla="*/ 2 w 1097"/>
                  <a:gd name="T83" fmla="*/ 521 h 938"/>
                  <a:gd name="T84" fmla="*/ 3 w 1097"/>
                  <a:gd name="T85" fmla="*/ 523 h 938"/>
                  <a:gd name="T86" fmla="*/ 6 w 1097"/>
                  <a:gd name="T87" fmla="*/ 526 h 938"/>
                  <a:gd name="T88" fmla="*/ 40 w 1097"/>
                  <a:gd name="T89" fmla="*/ 574 h 938"/>
                  <a:gd name="T90" fmla="*/ 128 w 1097"/>
                  <a:gd name="T91" fmla="*/ 693 h 938"/>
                  <a:gd name="T92" fmla="*/ 78 w 1097"/>
                  <a:gd name="T93" fmla="*/ 755 h 938"/>
                  <a:gd name="T94" fmla="*/ 45 w 1097"/>
                  <a:gd name="T95" fmla="*/ 844 h 938"/>
                  <a:gd name="T96" fmla="*/ 195 w 1097"/>
                  <a:gd name="T97" fmla="*/ 824 h 938"/>
                  <a:gd name="T98" fmla="*/ 363 w 1097"/>
                  <a:gd name="T99" fmla="*/ 829 h 938"/>
                  <a:gd name="T100" fmla="*/ 453 w 1097"/>
                  <a:gd name="T101" fmla="*/ 932 h 9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97" h="938">
                    <a:moveTo>
                      <a:pt x="476" y="923"/>
                    </a:moveTo>
                    <a:cubicBezTo>
                      <a:pt x="486" y="923"/>
                      <a:pt x="496" y="924"/>
                      <a:pt x="496" y="916"/>
                    </a:cubicBezTo>
                    <a:cubicBezTo>
                      <a:pt x="496" y="908"/>
                      <a:pt x="499" y="898"/>
                      <a:pt x="511" y="898"/>
                    </a:cubicBezTo>
                    <a:cubicBezTo>
                      <a:pt x="523" y="898"/>
                      <a:pt x="543" y="893"/>
                      <a:pt x="547" y="901"/>
                    </a:cubicBezTo>
                    <a:cubicBezTo>
                      <a:pt x="551" y="909"/>
                      <a:pt x="555" y="909"/>
                      <a:pt x="566" y="909"/>
                    </a:cubicBezTo>
                    <a:cubicBezTo>
                      <a:pt x="577" y="909"/>
                      <a:pt x="579" y="899"/>
                      <a:pt x="589" y="899"/>
                    </a:cubicBezTo>
                    <a:cubicBezTo>
                      <a:pt x="599" y="899"/>
                      <a:pt x="595" y="886"/>
                      <a:pt x="605" y="887"/>
                    </a:cubicBezTo>
                    <a:cubicBezTo>
                      <a:pt x="615" y="888"/>
                      <a:pt x="620" y="892"/>
                      <a:pt x="622" y="899"/>
                    </a:cubicBezTo>
                    <a:cubicBezTo>
                      <a:pt x="624" y="906"/>
                      <a:pt x="626" y="909"/>
                      <a:pt x="634" y="900"/>
                    </a:cubicBezTo>
                    <a:cubicBezTo>
                      <a:pt x="642" y="891"/>
                      <a:pt x="648" y="894"/>
                      <a:pt x="644" y="884"/>
                    </a:cubicBezTo>
                    <a:cubicBezTo>
                      <a:pt x="640" y="874"/>
                      <a:pt x="650" y="875"/>
                      <a:pt x="641" y="863"/>
                    </a:cubicBezTo>
                    <a:cubicBezTo>
                      <a:pt x="632" y="851"/>
                      <a:pt x="640" y="834"/>
                      <a:pt x="629" y="832"/>
                    </a:cubicBezTo>
                    <a:cubicBezTo>
                      <a:pt x="618" y="830"/>
                      <a:pt x="625" y="810"/>
                      <a:pt x="612" y="808"/>
                    </a:cubicBezTo>
                    <a:cubicBezTo>
                      <a:pt x="599" y="806"/>
                      <a:pt x="591" y="801"/>
                      <a:pt x="588" y="795"/>
                    </a:cubicBezTo>
                    <a:cubicBezTo>
                      <a:pt x="585" y="789"/>
                      <a:pt x="579" y="779"/>
                      <a:pt x="585" y="776"/>
                    </a:cubicBezTo>
                    <a:cubicBezTo>
                      <a:pt x="591" y="773"/>
                      <a:pt x="596" y="766"/>
                      <a:pt x="590" y="754"/>
                    </a:cubicBezTo>
                    <a:cubicBezTo>
                      <a:pt x="584" y="742"/>
                      <a:pt x="584" y="743"/>
                      <a:pt x="575" y="742"/>
                    </a:cubicBezTo>
                    <a:cubicBezTo>
                      <a:pt x="566" y="741"/>
                      <a:pt x="545" y="734"/>
                      <a:pt x="544" y="728"/>
                    </a:cubicBezTo>
                    <a:cubicBezTo>
                      <a:pt x="543" y="722"/>
                      <a:pt x="539" y="706"/>
                      <a:pt x="552" y="701"/>
                    </a:cubicBezTo>
                    <a:cubicBezTo>
                      <a:pt x="565" y="696"/>
                      <a:pt x="565" y="695"/>
                      <a:pt x="576" y="676"/>
                    </a:cubicBezTo>
                    <a:cubicBezTo>
                      <a:pt x="587" y="657"/>
                      <a:pt x="594" y="643"/>
                      <a:pt x="604" y="643"/>
                    </a:cubicBezTo>
                    <a:cubicBezTo>
                      <a:pt x="614" y="643"/>
                      <a:pt x="620" y="648"/>
                      <a:pt x="622" y="656"/>
                    </a:cubicBezTo>
                    <a:cubicBezTo>
                      <a:pt x="624" y="664"/>
                      <a:pt x="628" y="668"/>
                      <a:pt x="631" y="668"/>
                    </a:cubicBezTo>
                    <a:cubicBezTo>
                      <a:pt x="634" y="668"/>
                      <a:pt x="644" y="671"/>
                      <a:pt x="646" y="661"/>
                    </a:cubicBezTo>
                    <a:cubicBezTo>
                      <a:pt x="648" y="651"/>
                      <a:pt x="653" y="653"/>
                      <a:pt x="661" y="653"/>
                    </a:cubicBezTo>
                    <a:cubicBezTo>
                      <a:pt x="669" y="653"/>
                      <a:pt x="698" y="654"/>
                      <a:pt x="699" y="641"/>
                    </a:cubicBezTo>
                    <a:cubicBezTo>
                      <a:pt x="700" y="628"/>
                      <a:pt x="704" y="624"/>
                      <a:pt x="713" y="619"/>
                    </a:cubicBezTo>
                    <a:cubicBezTo>
                      <a:pt x="722" y="614"/>
                      <a:pt x="722" y="585"/>
                      <a:pt x="738" y="583"/>
                    </a:cubicBezTo>
                    <a:cubicBezTo>
                      <a:pt x="754" y="581"/>
                      <a:pt x="757" y="582"/>
                      <a:pt x="768" y="565"/>
                    </a:cubicBezTo>
                    <a:cubicBezTo>
                      <a:pt x="779" y="548"/>
                      <a:pt x="787" y="549"/>
                      <a:pt x="789" y="535"/>
                    </a:cubicBezTo>
                    <a:cubicBezTo>
                      <a:pt x="791" y="521"/>
                      <a:pt x="792" y="504"/>
                      <a:pt x="804" y="503"/>
                    </a:cubicBezTo>
                    <a:cubicBezTo>
                      <a:pt x="816" y="502"/>
                      <a:pt x="825" y="509"/>
                      <a:pt x="829" y="489"/>
                    </a:cubicBezTo>
                    <a:cubicBezTo>
                      <a:pt x="833" y="469"/>
                      <a:pt x="832" y="461"/>
                      <a:pt x="843" y="454"/>
                    </a:cubicBezTo>
                    <a:cubicBezTo>
                      <a:pt x="854" y="447"/>
                      <a:pt x="858" y="437"/>
                      <a:pt x="867" y="437"/>
                    </a:cubicBezTo>
                    <a:cubicBezTo>
                      <a:pt x="876" y="437"/>
                      <a:pt x="884" y="429"/>
                      <a:pt x="876" y="427"/>
                    </a:cubicBezTo>
                    <a:cubicBezTo>
                      <a:pt x="868" y="425"/>
                      <a:pt x="865" y="418"/>
                      <a:pt x="865" y="411"/>
                    </a:cubicBezTo>
                    <a:cubicBezTo>
                      <a:pt x="865" y="404"/>
                      <a:pt x="874" y="396"/>
                      <a:pt x="869" y="389"/>
                    </a:cubicBezTo>
                    <a:cubicBezTo>
                      <a:pt x="864" y="382"/>
                      <a:pt x="865" y="369"/>
                      <a:pt x="878" y="366"/>
                    </a:cubicBezTo>
                    <a:cubicBezTo>
                      <a:pt x="891" y="363"/>
                      <a:pt x="916" y="358"/>
                      <a:pt x="917" y="352"/>
                    </a:cubicBezTo>
                    <a:cubicBezTo>
                      <a:pt x="918" y="346"/>
                      <a:pt x="921" y="340"/>
                      <a:pt x="906" y="338"/>
                    </a:cubicBezTo>
                    <a:cubicBezTo>
                      <a:pt x="891" y="336"/>
                      <a:pt x="871" y="335"/>
                      <a:pt x="870" y="325"/>
                    </a:cubicBezTo>
                    <a:cubicBezTo>
                      <a:pt x="869" y="315"/>
                      <a:pt x="852" y="311"/>
                      <a:pt x="852" y="304"/>
                    </a:cubicBezTo>
                    <a:cubicBezTo>
                      <a:pt x="852" y="297"/>
                      <a:pt x="838" y="287"/>
                      <a:pt x="840" y="274"/>
                    </a:cubicBezTo>
                    <a:cubicBezTo>
                      <a:pt x="842" y="261"/>
                      <a:pt x="825" y="246"/>
                      <a:pt x="837" y="238"/>
                    </a:cubicBezTo>
                    <a:cubicBezTo>
                      <a:pt x="849" y="230"/>
                      <a:pt x="847" y="225"/>
                      <a:pt x="836" y="219"/>
                    </a:cubicBezTo>
                    <a:cubicBezTo>
                      <a:pt x="825" y="213"/>
                      <a:pt x="824" y="211"/>
                      <a:pt x="824" y="201"/>
                    </a:cubicBezTo>
                    <a:cubicBezTo>
                      <a:pt x="824" y="191"/>
                      <a:pt x="824" y="166"/>
                      <a:pt x="837" y="166"/>
                    </a:cubicBezTo>
                    <a:cubicBezTo>
                      <a:pt x="850" y="166"/>
                      <a:pt x="859" y="172"/>
                      <a:pt x="873" y="172"/>
                    </a:cubicBezTo>
                    <a:cubicBezTo>
                      <a:pt x="887" y="172"/>
                      <a:pt x="899" y="174"/>
                      <a:pt x="903" y="178"/>
                    </a:cubicBezTo>
                    <a:cubicBezTo>
                      <a:pt x="907" y="182"/>
                      <a:pt x="921" y="190"/>
                      <a:pt x="939" y="186"/>
                    </a:cubicBezTo>
                    <a:cubicBezTo>
                      <a:pt x="957" y="182"/>
                      <a:pt x="962" y="175"/>
                      <a:pt x="982" y="174"/>
                    </a:cubicBezTo>
                    <a:cubicBezTo>
                      <a:pt x="1002" y="173"/>
                      <a:pt x="1013" y="173"/>
                      <a:pt x="1017" y="161"/>
                    </a:cubicBezTo>
                    <a:cubicBezTo>
                      <a:pt x="1021" y="149"/>
                      <a:pt x="1034" y="136"/>
                      <a:pt x="1046" y="136"/>
                    </a:cubicBezTo>
                    <a:cubicBezTo>
                      <a:pt x="1058" y="136"/>
                      <a:pt x="1075" y="135"/>
                      <a:pt x="1080" y="144"/>
                    </a:cubicBezTo>
                    <a:cubicBezTo>
                      <a:pt x="1085" y="153"/>
                      <a:pt x="1096" y="159"/>
                      <a:pt x="1097" y="150"/>
                    </a:cubicBezTo>
                    <a:cubicBezTo>
                      <a:pt x="1097" y="143"/>
                      <a:pt x="1096" y="129"/>
                      <a:pt x="1088" y="115"/>
                    </a:cubicBezTo>
                    <a:cubicBezTo>
                      <a:pt x="1079" y="121"/>
                      <a:pt x="1058" y="118"/>
                      <a:pt x="1047" y="117"/>
                    </a:cubicBezTo>
                    <a:cubicBezTo>
                      <a:pt x="1046" y="117"/>
                      <a:pt x="1046" y="117"/>
                      <a:pt x="1046" y="117"/>
                    </a:cubicBezTo>
                    <a:cubicBezTo>
                      <a:pt x="1045" y="117"/>
                      <a:pt x="1044" y="117"/>
                      <a:pt x="1044" y="117"/>
                    </a:cubicBezTo>
                    <a:cubicBezTo>
                      <a:pt x="1032" y="116"/>
                      <a:pt x="1037" y="112"/>
                      <a:pt x="1021" y="110"/>
                    </a:cubicBezTo>
                    <a:cubicBezTo>
                      <a:pt x="1005" y="108"/>
                      <a:pt x="1009" y="106"/>
                      <a:pt x="1002" y="96"/>
                    </a:cubicBezTo>
                    <a:cubicBezTo>
                      <a:pt x="994" y="86"/>
                      <a:pt x="986" y="90"/>
                      <a:pt x="976" y="90"/>
                    </a:cubicBezTo>
                    <a:cubicBezTo>
                      <a:pt x="966" y="90"/>
                      <a:pt x="964" y="82"/>
                      <a:pt x="957" y="76"/>
                    </a:cubicBezTo>
                    <a:cubicBezTo>
                      <a:pt x="950" y="70"/>
                      <a:pt x="961" y="60"/>
                      <a:pt x="961" y="51"/>
                    </a:cubicBezTo>
                    <a:cubicBezTo>
                      <a:pt x="961" y="43"/>
                      <a:pt x="954" y="35"/>
                      <a:pt x="948" y="33"/>
                    </a:cubicBezTo>
                    <a:cubicBezTo>
                      <a:pt x="942" y="30"/>
                      <a:pt x="944" y="25"/>
                      <a:pt x="933" y="22"/>
                    </a:cubicBezTo>
                    <a:cubicBezTo>
                      <a:pt x="922" y="19"/>
                      <a:pt x="921" y="16"/>
                      <a:pt x="917" y="11"/>
                    </a:cubicBezTo>
                    <a:cubicBezTo>
                      <a:pt x="913" y="5"/>
                      <a:pt x="908" y="7"/>
                      <a:pt x="894" y="7"/>
                    </a:cubicBezTo>
                    <a:cubicBezTo>
                      <a:pt x="886" y="7"/>
                      <a:pt x="880" y="3"/>
                      <a:pt x="876" y="0"/>
                    </a:cubicBezTo>
                    <a:cubicBezTo>
                      <a:pt x="873" y="1"/>
                      <a:pt x="870" y="2"/>
                      <a:pt x="867" y="4"/>
                    </a:cubicBezTo>
                    <a:cubicBezTo>
                      <a:pt x="867" y="4"/>
                      <a:pt x="866" y="4"/>
                      <a:pt x="866" y="4"/>
                    </a:cubicBezTo>
                    <a:cubicBezTo>
                      <a:pt x="866" y="5"/>
                      <a:pt x="865" y="5"/>
                      <a:pt x="865" y="5"/>
                    </a:cubicBezTo>
                    <a:cubicBezTo>
                      <a:pt x="865" y="5"/>
                      <a:pt x="865" y="5"/>
                      <a:pt x="864" y="6"/>
                    </a:cubicBezTo>
                    <a:cubicBezTo>
                      <a:pt x="864" y="6"/>
                      <a:pt x="864" y="6"/>
                      <a:pt x="863" y="7"/>
                    </a:cubicBezTo>
                    <a:cubicBezTo>
                      <a:pt x="863" y="7"/>
                      <a:pt x="863" y="7"/>
                      <a:pt x="863" y="7"/>
                    </a:cubicBezTo>
                    <a:cubicBezTo>
                      <a:pt x="862" y="8"/>
                      <a:pt x="862" y="9"/>
                      <a:pt x="861" y="9"/>
                    </a:cubicBezTo>
                    <a:cubicBezTo>
                      <a:pt x="857" y="16"/>
                      <a:pt x="836" y="16"/>
                      <a:pt x="819" y="15"/>
                    </a:cubicBezTo>
                    <a:cubicBezTo>
                      <a:pt x="802" y="13"/>
                      <a:pt x="784" y="15"/>
                      <a:pt x="764" y="16"/>
                    </a:cubicBezTo>
                    <a:cubicBezTo>
                      <a:pt x="744" y="17"/>
                      <a:pt x="730" y="17"/>
                      <a:pt x="727" y="23"/>
                    </a:cubicBezTo>
                    <a:cubicBezTo>
                      <a:pt x="724" y="30"/>
                      <a:pt x="707" y="36"/>
                      <a:pt x="699" y="42"/>
                    </a:cubicBezTo>
                    <a:cubicBezTo>
                      <a:pt x="691" y="48"/>
                      <a:pt x="693" y="53"/>
                      <a:pt x="682" y="54"/>
                    </a:cubicBezTo>
                    <a:cubicBezTo>
                      <a:pt x="670" y="55"/>
                      <a:pt x="669" y="61"/>
                      <a:pt x="660" y="66"/>
                    </a:cubicBezTo>
                    <a:cubicBezTo>
                      <a:pt x="650" y="71"/>
                      <a:pt x="650" y="80"/>
                      <a:pt x="658" y="82"/>
                    </a:cubicBezTo>
                    <a:cubicBezTo>
                      <a:pt x="667" y="84"/>
                      <a:pt x="666" y="96"/>
                      <a:pt x="673" y="102"/>
                    </a:cubicBezTo>
                    <a:cubicBezTo>
                      <a:pt x="680" y="108"/>
                      <a:pt x="676" y="123"/>
                      <a:pt x="678" y="140"/>
                    </a:cubicBezTo>
                    <a:cubicBezTo>
                      <a:pt x="680" y="157"/>
                      <a:pt x="657" y="164"/>
                      <a:pt x="648" y="171"/>
                    </a:cubicBezTo>
                    <a:cubicBezTo>
                      <a:pt x="638" y="179"/>
                      <a:pt x="637" y="182"/>
                      <a:pt x="642" y="187"/>
                    </a:cubicBezTo>
                    <a:cubicBezTo>
                      <a:pt x="648" y="191"/>
                      <a:pt x="650" y="193"/>
                      <a:pt x="651" y="203"/>
                    </a:cubicBezTo>
                    <a:cubicBezTo>
                      <a:pt x="652" y="213"/>
                      <a:pt x="650" y="218"/>
                      <a:pt x="640" y="219"/>
                    </a:cubicBezTo>
                    <a:cubicBezTo>
                      <a:pt x="629" y="219"/>
                      <a:pt x="633" y="227"/>
                      <a:pt x="624" y="227"/>
                    </a:cubicBezTo>
                    <a:cubicBezTo>
                      <a:pt x="616" y="227"/>
                      <a:pt x="604" y="230"/>
                      <a:pt x="602" y="227"/>
                    </a:cubicBezTo>
                    <a:cubicBezTo>
                      <a:pt x="601" y="225"/>
                      <a:pt x="597" y="220"/>
                      <a:pt x="584" y="220"/>
                    </a:cubicBezTo>
                    <a:cubicBezTo>
                      <a:pt x="570" y="220"/>
                      <a:pt x="571" y="227"/>
                      <a:pt x="572" y="233"/>
                    </a:cubicBezTo>
                    <a:cubicBezTo>
                      <a:pt x="574" y="239"/>
                      <a:pt x="580" y="245"/>
                      <a:pt x="592" y="257"/>
                    </a:cubicBezTo>
                    <a:cubicBezTo>
                      <a:pt x="603" y="269"/>
                      <a:pt x="590" y="272"/>
                      <a:pt x="586" y="279"/>
                    </a:cubicBezTo>
                    <a:cubicBezTo>
                      <a:pt x="583" y="285"/>
                      <a:pt x="578" y="287"/>
                      <a:pt x="558" y="287"/>
                    </a:cubicBezTo>
                    <a:cubicBezTo>
                      <a:pt x="539" y="287"/>
                      <a:pt x="538" y="303"/>
                      <a:pt x="538" y="315"/>
                    </a:cubicBezTo>
                    <a:cubicBezTo>
                      <a:pt x="538" y="328"/>
                      <a:pt x="528" y="331"/>
                      <a:pt x="526" y="339"/>
                    </a:cubicBezTo>
                    <a:cubicBezTo>
                      <a:pt x="523" y="347"/>
                      <a:pt x="534" y="351"/>
                      <a:pt x="534" y="360"/>
                    </a:cubicBezTo>
                    <a:cubicBezTo>
                      <a:pt x="534" y="369"/>
                      <a:pt x="534" y="373"/>
                      <a:pt x="528" y="377"/>
                    </a:cubicBezTo>
                    <a:cubicBezTo>
                      <a:pt x="522" y="381"/>
                      <a:pt x="518" y="384"/>
                      <a:pt x="516" y="391"/>
                    </a:cubicBezTo>
                    <a:cubicBezTo>
                      <a:pt x="513" y="399"/>
                      <a:pt x="502" y="395"/>
                      <a:pt x="494" y="385"/>
                    </a:cubicBezTo>
                    <a:cubicBezTo>
                      <a:pt x="487" y="375"/>
                      <a:pt x="465" y="381"/>
                      <a:pt x="459" y="384"/>
                    </a:cubicBezTo>
                    <a:cubicBezTo>
                      <a:pt x="453" y="387"/>
                      <a:pt x="448" y="393"/>
                      <a:pt x="440" y="391"/>
                    </a:cubicBezTo>
                    <a:cubicBezTo>
                      <a:pt x="432" y="389"/>
                      <a:pt x="421" y="388"/>
                      <a:pt x="419" y="395"/>
                    </a:cubicBezTo>
                    <a:cubicBezTo>
                      <a:pt x="417" y="401"/>
                      <a:pt x="434" y="407"/>
                      <a:pt x="434" y="412"/>
                    </a:cubicBezTo>
                    <a:cubicBezTo>
                      <a:pt x="434" y="417"/>
                      <a:pt x="421" y="421"/>
                      <a:pt x="412" y="421"/>
                    </a:cubicBezTo>
                    <a:cubicBezTo>
                      <a:pt x="402" y="421"/>
                      <a:pt x="403" y="425"/>
                      <a:pt x="396" y="416"/>
                    </a:cubicBezTo>
                    <a:cubicBezTo>
                      <a:pt x="388" y="407"/>
                      <a:pt x="384" y="414"/>
                      <a:pt x="373" y="421"/>
                    </a:cubicBezTo>
                    <a:cubicBezTo>
                      <a:pt x="362" y="427"/>
                      <a:pt x="372" y="429"/>
                      <a:pt x="352" y="442"/>
                    </a:cubicBezTo>
                    <a:cubicBezTo>
                      <a:pt x="332" y="455"/>
                      <a:pt x="344" y="480"/>
                      <a:pt x="345" y="499"/>
                    </a:cubicBezTo>
                    <a:cubicBezTo>
                      <a:pt x="346" y="519"/>
                      <a:pt x="344" y="522"/>
                      <a:pt x="329" y="526"/>
                    </a:cubicBezTo>
                    <a:cubicBezTo>
                      <a:pt x="314" y="530"/>
                      <a:pt x="306" y="529"/>
                      <a:pt x="296" y="532"/>
                    </a:cubicBezTo>
                    <a:cubicBezTo>
                      <a:pt x="285" y="535"/>
                      <a:pt x="266" y="535"/>
                      <a:pt x="251" y="535"/>
                    </a:cubicBezTo>
                    <a:cubicBezTo>
                      <a:pt x="236" y="535"/>
                      <a:pt x="224" y="536"/>
                      <a:pt x="208" y="543"/>
                    </a:cubicBezTo>
                    <a:cubicBezTo>
                      <a:pt x="193" y="551"/>
                      <a:pt x="178" y="546"/>
                      <a:pt x="156" y="546"/>
                    </a:cubicBezTo>
                    <a:cubicBezTo>
                      <a:pt x="133" y="546"/>
                      <a:pt x="110" y="545"/>
                      <a:pt x="98" y="545"/>
                    </a:cubicBezTo>
                    <a:cubicBezTo>
                      <a:pt x="87" y="545"/>
                      <a:pt x="76" y="544"/>
                      <a:pt x="66" y="538"/>
                    </a:cubicBezTo>
                    <a:cubicBezTo>
                      <a:pt x="56" y="532"/>
                      <a:pt x="50" y="531"/>
                      <a:pt x="35" y="529"/>
                    </a:cubicBezTo>
                    <a:cubicBezTo>
                      <a:pt x="26" y="527"/>
                      <a:pt x="10" y="519"/>
                      <a:pt x="0" y="513"/>
                    </a:cubicBezTo>
                    <a:cubicBezTo>
                      <a:pt x="0" y="513"/>
                      <a:pt x="0" y="513"/>
                      <a:pt x="0" y="513"/>
                    </a:cubicBezTo>
                    <a:cubicBezTo>
                      <a:pt x="0" y="514"/>
                      <a:pt x="0" y="516"/>
                      <a:pt x="1" y="517"/>
                    </a:cubicBezTo>
                    <a:cubicBezTo>
                      <a:pt x="1" y="517"/>
                      <a:pt x="1" y="517"/>
                      <a:pt x="1" y="517"/>
                    </a:cubicBezTo>
                    <a:cubicBezTo>
                      <a:pt x="1" y="518"/>
                      <a:pt x="1" y="518"/>
                      <a:pt x="1" y="519"/>
                    </a:cubicBezTo>
                    <a:cubicBezTo>
                      <a:pt x="1" y="519"/>
                      <a:pt x="1" y="519"/>
                      <a:pt x="1" y="519"/>
                    </a:cubicBezTo>
                    <a:cubicBezTo>
                      <a:pt x="1" y="519"/>
                      <a:pt x="2" y="520"/>
                      <a:pt x="2" y="521"/>
                    </a:cubicBezTo>
                    <a:cubicBezTo>
                      <a:pt x="2" y="521"/>
                      <a:pt x="2" y="521"/>
                      <a:pt x="2" y="521"/>
                    </a:cubicBezTo>
                    <a:cubicBezTo>
                      <a:pt x="2" y="521"/>
                      <a:pt x="3" y="522"/>
                      <a:pt x="3" y="523"/>
                    </a:cubicBezTo>
                    <a:cubicBezTo>
                      <a:pt x="3" y="523"/>
                      <a:pt x="3" y="523"/>
                      <a:pt x="3" y="523"/>
                    </a:cubicBezTo>
                    <a:cubicBezTo>
                      <a:pt x="4" y="523"/>
                      <a:pt x="4" y="524"/>
                      <a:pt x="5" y="524"/>
                    </a:cubicBezTo>
                    <a:cubicBezTo>
                      <a:pt x="5" y="525"/>
                      <a:pt x="5" y="525"/>
                      <a:pt x="5" y="525"/>
                    </a:cubicBezTo>
                    <a:cubicBezTo>
                      <a:pt x="5" y="525"/>
                      <a:pt x="6" y="526"/>
                      <a:pt x="6" y="526"/>
                    </a:cubicBezTo>
                    <a:cubicBezTo>
                      <a:pt x="7" y="527"/>
                      <a:pt x="7" y="527"/>
                      <a:pt x="7" y="527"/>
                    </a:cubicBezTo>
                    <a:cubicBezTo>
                      <a:pt x="8" y="527"/>
                      <a:pt x="8" y="528"/>
                      <a:pt x="9" y="529"/>
                    </a:cubicBezTo>
                    <a:cubicBezTo>
                      <a:pt x="30" y="546"/>
                      <a:pt x="36" y="563"/>
                      <a:pt x="40" y="574"/>
                    </a:cubicBezTo>
                    <a:cubicBezTo>
                      <a:pt x="43" y="585"/>
                      <a:pt x="61" y="610"/>
                      <a:pt x="80" y="615"/>
                    </a:cubicBezTo>
                    <a:cubicBezTo>
                      <a:pt x="98" y="619"/>
                      <a:pt x="121" y="624"/>
                      <a:pt x="121" y="646"/>
                    </a:cubicBezTo>
                    <a:cubicBezTo>
                      <a:pt x="121" y="668"/>
                      <a:pt x="116" y="687"/>
                      <a:pt x="128" y="693"/>
                    </a:cubicBezTo>
                    <a:cubicBezTo>
                      <a:pt x="139" y="700"/>
                      <a:pt x="159" y="698"/>
                      <a:pt x="153" y="709"/>
                    </a:cubicBezTo>
                    <a:cubicBezTo>
                      <a:pt x="147" y="721"/>
                      <a:pt x="150" y="734"/>
                      <a:pt x="140" y="737"/>
                    </a:cubicBezTo>
                    <a:cubicBezTo>
                      <a:pt x="131" y="739"/>
                      <a:pt x="91" y="735"/>
                      <a:pt x="78" y="755"/>
                    </a:cubicBezTo>
                    <a:cubicBezTo>
                      <a:pt x="66" y="775"/>
                      <a:pt x="53" y="779"/>
                      <a:pt x="52" y="789"/>
                    </a:cubicBezTo>
                    <a:cubicBezTo>
                      <a:pt x="50" y="798"/>
                      <a:pt x="46" y="825"/>
                      <a:pt x="46" y="833"/>
                    </a:cubicBezTo>
                    <a:cubicBezTo>
                      <a:pt x="46" y="836"/>
                      <a:pt x="45" y="840"/>
                      <a:pt x="45" y="844"/>
                    </a:cubicBezTo>
                    <a:cubicBezTo>
                      <a:pt x="68" y="847"/>
                      <a:pt x="66" y="845"/>
                      <a:pt x="79" y="833"/>
                    </a:cubicBezTo>
                    <a:cubicBezTo>
                      <a:pt x="93" y="820"/>
                      <a:pt x="142" y="842"/>
                      <a:pt x="155" y="835"/>
                    </a:cubicBezTo>
                    <a:cubicBezTo>
                      <a:pt x="168" y="827"/>
                      <a:pt x="178" y="826"/>
                      <a:pt x="195" y="824"/>
                    </a:cubicBezTo>
                    <a:cubicBezTo>
                      <a:pt x="212" y="823"/>
                      <a:pt x="249" y="823"/>
                      <a:pt x="281" y="827"/>
                    </a:cubicBezTo>
                    <a:cubicBezTo>
                      <a:pt x="312" y="832"/>
                      <a:pt x="311" y="816"/>
                      <a:pt x="325" y="814"/>
                    </a:cubicBezTo>
                    <a:cubicBezTo>
                      <a:pt x="340" y="813"/>
                      <a:pt x="355" y="816"/>
                      <a:pt x="363" y="829"/>
                    </a:cubicBezTo>
                    <a:cubicBezTo>
                      <a:pt x="370" y="842"/>
                      <a:pt x="368" y="855"/>
                      <a:pt x="384" y="857"/>
                    </a:cubicBezTo>
                    <a:cubicBezTo>
                      <a:pt x="400" y="860"/>
                      <a:pt x="398" y="878"/>
                      <a:pt x="404" y="898"/>
                    </a:cubicBezTo>
                    <a:cubicBezTo>
                      <a:pt x="410" y="918"/>
                      <a:pt x="433" y="922"/>
                      <a:pt x="453" y="932"/>
                    </a:cubicBezTo>
                    <a:cubicBezTo>
                      <a:pt x="457" y="934"/>
                      <a:pt x="460" y="936"/>
                      <a:pt x="462" y="938"/>
                    </a:cubicBezTo>
                    <a:cubicBezTo>
                      <a:pt x="466" y="930"/>
                      <a:pt x="470" y="923"/>
                      <a:pt x="476" y="92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8" name="Freeform 242">
                <a:extLst>
                  <a:ext uri="{FF2B5EF4-FFF2-40B4-BE49-F238E27FC236}">
                    <a16:creationId xmlns:a16="http://schemas.microsoft.com/office/drawing/2014/main" id="{7FEA4E3B-D083-F148-88E8-565B21C12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9" y="1974"/>
                <a:ext cx="468" cy="478"/>
              </a:xfrm>
              <a:custGeom>
                <a:avLst/>
                <a:gdLst>
                  <a:gd name="T0" fmla="*/ 1790 w 1851"/>
                  <a:gd name="T1" fmla="*/ 539 h 1890"/>
                  <a:gd name="T2" fmla="*/ 1764 w 1851"/>
                  <a:gd name="T3" fmla="*/ 462 h 1890"/>
                  <a:gd name="T4" fmla="*/ 1654 w 1851"/>
                  <a:gd name="T5" fmla="*/ 487 h 1890"/>
                  <a:gd name="T6" fmla="*/ 1520 w 1851"/>
                  <a:gd name="T7" fmla="*/ 581 h 1890"/>
                  <a:gd name="T8" fmla="*/ 1512 w 1851"/>
                  <a:gd name="T9" fmla="*/ 630 h 1890"/>
                  <a:gd name="T10" fmla="*/ 1404 w 1851"/>
                  <a:gd name="T11" fmla="*/ 644 h 1890"/>
                  <a:gd name="T12" fmla="*/ 1309 w 1851"/>
                  <a:gd name="T13" fmla="*/ 612 h 1890"/>
                  <a:gd name="T14" fmla="*/ 1302 w 1851"/>
                  <a:gd name="T15" fmla="*/ 562 h 1890"/>
                  <a:gd name="T16" fmla="*/ 1280 w 1851"/>
                  <a:gd name="T17" fmla="*/ 571 h 1890"/>
                  <a:gd name="T18" fmla="*/ 1274 w 1851"/>
                  <a:gd name="T19" fmla="*/ 571 h 1890"/>
                  <a:gd name="T20" fmla="*/ 1262 w 1851"/>
                  <a:gd name="T21" fmla="*/ 637 h 1890"/>
                  <a:gd name="T22" fmla="*/ 1181 w 1851"/>
                  <a:gd name="T23" fmla="*/ 672 h 1890"/>
                  <a:gd name="T24" fmla="*/ 1039 w 1851"/>
                  <a:gd name="T25" fmla="*/ 612 h 1890"/>
                  <a:gd name="T26" fmla="*/ 915 w 1851"/>
                  <a:gd name="T27" fmla="*/ 591 h 1890"/>
                  <a:gd name="T28" fmla="*/ 798 w 1851"/>
                  <a:gd name="T29" fmla="*/ 532 h 1890"/>
                  <a:gd name="T30" fmla="*/ 798 w 1851"/>
                  <a:gd name="T31" fmla="*/ 429 h 1890"/>
                  <a:gd name="T32" fmla="*/ 766 w 1851"/>
                  <a:gd name="T33" fmla="*/ 389 h 1890"/>
                  <a:gd name="T34" fmla="*/ 654 w 1851"/>
                  <a:gd name="T35" fmla="*/ 268 h 1890"/>
                  <a:gd name="T36" fmla="*/ 716 w 1851"/>
                  <a:gd name="T37" fmla="*/ 226 h 1890"/>
                  <a:gd name="T38" fmla="*/ 697 w 1851"/>
                  <a:gd name="T39" fmla="*/ 141 h 1890"/>
                  <a:gd name="T40" fmla="*/ 756 w 1851"/>
                  <a:gd name="T41" fmla="*/ 33 h 1890"/>
                  <a:gd name="T42" fmla="*/ 628 w 1851"/>
                  <a:gd name="T43" fmla="*/ 37 h 1890"/>
                  <a:gd name="T44" fmla="*/ 520 w 1851"/>
                  <a:gd name="T45" fmla="*/ 96 h 1890"/>
                  <a:gd name="T46" fmla="*/ 374 w 1851"/>
                  <a:gd name="T47" fmla="*/ 141 h 1890"/>
                  <a:gd name="T48" fmla="*/ 455 w 1851"/>
                  <a:gd name="T49" fmla="*/ 274 h 1890"/>
                  <a:gd name="T50" fmla="*/ 381 w 1851"/>
                  <a:gd name="T51" fmla="*/ 376 h 1890"/>
                  <a:gd name="T52" fmla="*/ 251 w 1851"/>
                  <a:gd name="T53" fmla="*/ 541 h 1890"/>
                  <a:gd name="T54" fmla="*/ 142 w 1851"/>
                  <a:gd name="T55" fmla="*/ 565 h 1890"/>
                  <a:gd name="T56" fmla="*/ 123 w 1851"/>
                  <a:gd name="T57" fmla="*/ 698 h 1890"/>
                  <a:gd name="T58" fmla="*/ 172 w 1851"/>
                  <a:gd name="T59" fmla="*/ 822 h 1890"/>
                  <a:gd name="T60" fmla="*/ 49 w 1851"/>
                  <a:gd name="T61" fmla="*/ 820 h 1890"/>
                  <a:gd name="T62" fmla="*/ 134 w 1851"/>
                  <a:gd name="T63" fmla="*/ 917 h 1890"/>
                  <a:gd name="T64" fmla="*/ 193 w 1851"/>
                  <a:gd name="T65" fmla="*/ 1056 h 1890"/>
                  <a:gd name="T66" fmla="*/ 303 w 1851"/>
                  <a:gd name="T67" fmla="*/ 1056 h 1890"/>
                  <a:gd name="T68" fmla="*/ 425 w 1851"/>
                  <a:gd name="T69" fmla="*/ 1575 h 1890"/>
                  <a:gd name="T70" fmla="*/ 649 w 1851"/>
                  <a:gd name="T71" fmla="*/ 1834 h 1890"/>
                  <a:gd name="T72" fmla="*/ 751 w 1851"/>
                  <a:gd name="T73" fmla="*/ 1639 h 1890"/>
                  <a:gd name="T74" fmla="*/ 771 w 1851"/>
                  <a:gd name="T75" fmla="*/ 1404 h 1890"/>
                  <a:gd name="T76" fmla="*/ 1003 w 1851"/>
                  <a:gd name="T77" fmla="*/ 1225 h 1890"/>
                  <a:gd name="T78" fmla="*/ 1214 w 1851"/>
                  <a:gd name="T79" fmla="*/ 1006 h 1890"/>
                  <a:gd name="T80" fmla="*/ 1324 w 1851"/>
                  <a:gd name="T81" fmla="*/ 965 h 1890"/>
                  <a:gd name="T82" fmla="*/ 1288 w 1851"/>
                  <a:gd name="T83" fmla="*/ 813 h 1890"/>
                  <a:gd name="T84" fmla="*/ 1318 w 1851"/>
                  <a:gd name="T85" fmla="*/ 741 h 1890"/>
                  <a:gd name="T86" fmla="*/ 1281 w 1851"/>
                  <a:gd name="T87" fmla="*/ 687 h 1890"/>
                  <a:gd name="T88" fmla="*/ 1294 w 1851"/>
                  <a:gd name="T89" fmla="*/ 675 h 1890"/>
                  <a:gd name="T90" fmla="*/ 1298 w 1851"/>
                  <a:gd name="T91" fmla="*/ 677 h 1890"/>
                  <a:gd name="T92" fmla="*/ 1304 w 1851"/>
                  <a:gd name="T93" fmla="*/ 678 h 1890"/>
                  <a:gd name="T94" fmla="*/ 1372 w 1851"/>
                  <a:gd name="T95" fmla="*/ 748 h 1890"/>
                  <a:gd name="T96" fmla="*/ 1536 w 1851"/>
                  <a:gd name="T97" fmla="*/ 774 h 1890"/>
                  <a:gd name="T98" fmla="*/ 1466 w 1851"/>
                  <a:gd name="T99" fmla="*/ 843 h 1890"/>
                  <a:gd name="T100" fmla="*/ 1511 w 1851"/>
                  <a:gd name="T101" fmla="*/ 863 h 1890"/>
                  <a:gd name="T102" fmla="*/ 1551 w 1851"/>
                  <a:gd name="T103" fmla="*/ 967 h 1890"/>
                  <a:gd name="T104" fmla="*/ 1592 w 1851"/>
                  <a:gd name="T105" fmla="*/ 957 h 1890"/>
                  <a:gd name="T106" fmla="*/ 1602 w 1851"/>
                  <a:gd name="T107" fmla="*/ 847 h 1890"/>
                  <a:gd name="T108" fmla="*/ 1672 w 1851"/>
                  <a:gd name="T109" fmla="*/ 801 h 1890"/>
                  <a:gd name="T110" fmla="*/ 1707 w 1851"/>
                  <a:gd name="T111" fmla="*/ 719 h 1890"/>
                  <a:gd name="T112" fmla="*/ 1819 w 1851"/>
                  <a:gd name="T113" fmla="*/ 622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51" h="1890">
                    <a:moveTo>
                      <a:pt x="1851" y="546"/>
                    </a:moveTo>
                    <a:cubicBezTo>
                      <a:pt x="1850" y="546"/>
                      <a:pt x="1850" y="546"/>
                      <a:pt x="1849" y="546"/>
                    </a:cubicBezTo>
                    <a:cubicBezTo>
                      <a:pt x="1848" y="546"/>
                      <a:pt x="1848" y="546"/>
                      <a:pt x="1847" y="545"/>
                    </a:cubicBezTo>
                    <a:cubicBezTo>
                      <a:pt x="1841" y="543"/>
                      <a:pt x="1835" y="545"/>
                      <a:pt x="1830" y="547"/>
                    </a:cubicBezTo>
                    <a:cubicBezTo>
                      <a:pt x="1825" y="548"/>
                      <a:pt x="1824" y="545"/>
                      <a:pt x="1820" y="539"/>
                    </a:cubicBezTo>
                    <a:cubicBezTo>
                      <a:pt x="1815" y="534"/>
                      <a:pt x="1803" y="541"/>
                      <a:pt x="1790" y="539"/>
                    </a:cubicBezTo>
                    <a:cubicBezTo>
                      <a:pt x="1778" y="538"/>
                      <a:pt x="1789" y="526"/>
                      <a:pt x="1794" y="522"/>
                    </a:cubicBezTo>
                    <a:cubicBezTo>
                      <a:pt x="1800" y="519"/>
                      <a:pt x="1799" y="514"/>
                      <a:pt x="1799" y="509"/>
                    </a:cubicBezTo>
                    <a:cubicBezTo>
                      <a:pt x="1798" y="504"/>
                      <a:pt x="1795" y="499"/>
                      <a:pt x="1788" y="496"/>
                    </a:cubicBezTo>
                    <a:cubicBezTo>
                      <a:pt x="1781" y="492"/>
                      <a:pt x="1786" y="484"/>
                      <a:pt x="1785" y="480"/>
                    </a:cubicBezTo>
                    <a:cubicBezTo>
                      <a:pt x="1785" y="476"/>
                      <a:pt x="1779" y="471"/>
                      <a:pt x="1774" y="470"/>
                    </a:cubicBezTo>
                    <a:cubicBezTo>
                      <a:pt x="1769" y="469"/>
                      <a:pt x="1770" y="461"/>
                      <a:pt x="1764" y="462"/>
                    </a:cubicBezTo>
                    <a:cubicBezTo>
                      <a:pt x="1758" y="462"/>
                      <a:pt x="1756" y="473"/>
                      <a:pt x="1750" y="473"/>
                    </a:cubicBezTo>
                    <a:cubicBezTo>
                      <a:pt x="1743" y="473"/>
                      <a:pt x="1735" y="488"/>
                      <a:pt x="1731" y="493"/>
                    </a:cubicBezTo>
                    <a:cubicBezTo>
                      <a:pt x="1728" y="497"/>
                      <a:pt x="1722" y="495"/>
                      <a:pt x="1717" y="491"/>
                    </a:cubicBezTo>
                    <a:cubicBezTo>
                      <a:pt x="1712" y="487"/>
                      <a:pt x="1709" y="491"/>
                      <a:pt x="1700" y="491"/>
                    </a:cubicBezTo>
                    <a:cubicBezTo>
                      <a:pt x="1690" y="491"/>
                      <a:pt x="1689" y="481"/>
                      <a:pt x="1682" y="474"/>
                    </a:cubicBezTo>
                    <a:cubicBezTo>
                      <a:pt x="1675" y="466"/>
                      <a:pt x="1666" y="480"/>
                      <a:pt x="1654" y="487"/>
                    </a:cubicBezTo>
                    <a:cubicBezTo>
                      <a:pt x="1643" y="493"/>
                      <a:pt x="1641" y="500"/>
                      <a:pt x="1633" y="511"/>
                    </a:cubicBezTo>
                    <a:cubicBezTo>
                      <a:pt x="1625" y="522"/>
                      <a:pt x="1612" y="522"/>
                      <a:pt x="1601" y="521"/>
                    </a:cubicBezTo>
                    <a:cubicBezTo>
                      <a:pt x="1590" y="521"/>
                      <a:pt x="1589" y="526"/>
                      <a:pt x="1585" y="535"/>
                    </a:cubicBezTo>
                    <a:cubicBezTo>
                      <a:pt x="1582" y="543"/>
                      <a:pt x="1575" y="550"/>
                      <a:pt x="1564" y="552"/>
                    </a:cubicBezTo>
                    <a:cubicBezTo>
                      <a:pt x="1553" y="554"/>
                      <a:pt x="1554" y="566"/>
                      <a:pt x="1551" y="576"/>
                    </a:cubicBezTo>
                    <a:cubicBezTo>
                      <a:pt x="1548" y="586"/>
                      <a:pt x="1528" y="582"/>
                      <a:pt x="1520" y="581"/>
                    </a:cubicBezTo>
                    <a:cubicBezTo>
                      <a:pt x="1511" y="579"/>
                      <a:pt x="1505" y="585"/>
                      <a:pt x="1498" y="586"/>
                    </a:cubicBezTo>
                    <a:cubicBezTo>
                      <a:pt x="1497" y="586"/>
                      <a:pt x="1497" y="586"/>
                      <a:pt x="1496" y="586"/>
                    </a:cubicBezTo>
                    <a:cubicBezTo>
                      <a:pt x="1493" y="588"/>
                      <a:pt x="1489" y="587"/>
                      <a:pt x="1486" y="588"/>
                    </a:cubicBezTo>
                    <a:cubicBezTo>
                      <a:pt x="1483" y="590"/>
                      <a:pt x="1483" y="595"/>
                      <a:pt x="1484" y="598"/>
                    </a:cubicBezTo>
                    <a:cubicBezTo>
                      <a:pt x="1486" y="600"/>
                      <a:pt x="1494" y="606"/>
                      <a:pt x="1503" y="607"/>
                    </a:cubicBezTo>
                    <a:cubicBezTo>
                      <a:pt x="1513" y="608"/>
                      <a:pt x="1511" y="626"/>
                      <a:pt x="1512" y="630"/>
                    </a:cubicBezTo>
                    <a:cubicBezTo>
                      <a:pt x="1512" y="634"/>
                      <a:pt x="1518" y="638"/>
                      <a:pt x="1525" y="644"/>
                    </a:cubicBezTo>
                    <a:cubicBezTo>
                      <a:pt x="1531" y="650"/>
                      <a:pt x="1507" y="646"/>
                      <a:pt x="1495" y="646"/>
                    </a:cubicBezTo>
                    <a:cubicBezTo>
                      <a:pt x="1482" y="646"/>
                      <a:pt x="1473" y="647"/>
                      <a:pt x="1463" y="647"/>
                    </a:cubicBezTo>
                    <a:cubicBezTo>
                      <a:pt x="1454" y="647"/>
                      <a:pt x="1437" y="647"/>
                      <a:pt x="1433" y="653"/>
                    </a:cubicBezTo>
                    <a:cubicBezTo>
                      <a:pt x="1430" y="659"/>
                      <a:pt x="1418" y="657"/>
                      <a:pt x="1417" y="651"/>
                    </a:cubicBezTo>
                    <a:cubicBezTo>
                      <a:pt x="1416" y="646"/>
                      <a:pt x="1412" y="644"/>
                      <a:pt x="1404" y="644"/>
                    </a:cubicBezTo>
                    <a:cubicBezTo>
                      <a:pt x="1397" y="644"/>
                      <a:pt x="1395" y="644"/>
                      <a:pt x="1393" y="653"/>
                    </a:cubicBezTo>
                    <a:cubicBezTo>
                      <a:pt x="1390" y="661"/>
                      <a:pt x="1378" y="659"/>
                      <a:pt x="1372" y="659"/>
                    </a:cubicBezTo>
                    <a:cubicBezTo>
                      <a:pt x="1365" y="660"/>
                      <a:pt x="1353" y="657"/>
                      <a:pt x="1351" y="654"/>
                    </a:cubicBezTo>
                    <a:cubicBezTo>
                      <a:pt x="1349" y="651"/>
                      <a:pt x="1334" y="648"/>
                      <a:pt x="1325" y="648"/>
                    </a:cubicBezTo>
                    <a:cubicBezTo>
                      <a:pt x="1315" y="648"/>
                      <a:pt x="1318" y="635"/>
                      <a:pt x="1311" y="632"/>
                    </a:cubicBezTo>
                    <a:cubicBezTo>
                      <a:pt x="1304" y="629"/>
                      <a:pt x="1310" y="623"/>
                      <a:pt x="1309" y="612"/>
                    </a:cubicBezTo>
                    <a:cubicBezTo>
                      <a:pt x="1309" y="608"/>
                      <a:pt x="1310" y="604"/>
                      <a:pt x="1312" y="601"/>
                    </a:cubicBezTo>
                    <a:cubicBezTo>
                      <a:pt x="1311" y="600"/>
                      <a:pt x="1311" y="600"/>
                      <a:pt x="1311" y="600"/>
                    </a:cubicBezTo>
                    <a:cubicBezTo>
                      <a:pt x="1311" y="600"/>
                      <a:pt x="1311" y="599"/>
                      <a:pt x="1310" y="599"/>
                    </a:cubicBezTo>
                    <a:cubicBezTo>
                      <a:pt x="1310" y="599"/>
                      <a:pt x="1310" y="599"/>
                      <a:pt x="1310" y="598"/>
                    </a:cubicBezTo>
                    <a:cubicBezTo>
                      <a:pt x="1307" y="594"/>
                      <a:pt x="1311" y="578"/>
                      <a:pt x="1311" y="573"/>
                    </a:cubicBezTo>
                    <a:cubicBezTo>
                      <a:pt x="1311" y="567"/>
                      <a:pt x="1309" y="562"/>
                      <a:pt x="1302" y="562"/>
                    </a:cubicBezTo>
                    <a:cubicBezTo>
                      <a:pt x="1294" y="561"/>
                      <a:pt x="1289" y="564"/>
                      <a:pt x="1284" y="569"/>
                    </a:cubicBezTo>
                    <a:cubicBezTo>
                      <a:pt x="1284" y="569"/>
                      <a:pt x="1284" y="569"/>
                      <a:pt x="1283" y="570"/>
                    </a:cubicBezTo>
                    <a:cubicBezTo>
                      <a:pt x="1283" y="570"/>
                      <a:pt x="1283" y="570"/>
                      <a:pt x="1283" y="570"/>
                    </a:cubicBezTo>
                    <a:cubicBezTo>
                      <a:pt x="1282" y="570"/>
                      <a:pt x="1282" y="570"/>
                      <a:pt x="1282" y="570"/>
                    </a:cubicBezTo>
                    <a:cubicBezTo>
                      <a:pt x="1282" y="570"/>
                      <a:pt x="1281" y="570"/>
                      <a:pt x="1281" y="570"/>
                    </a:cubicBezTo>
                    <a:cubicBezTo>
                      <a:pt x="1281" y="570"/>
                      <a:pt x="1281" y="571"/>
                      <a:pt x="1280" y="571"/>
                    </a:cubicBezTo>
                    <a:cubicBezTo>
                      <a:pt x="1280" y="571"/>
                      <a:pt x="1280" y="571"/>
                      <a:pt x="1280" y="571"/>
                    </a:cubicBezTo>
                    <a:cubicBezTo>
                      <a:pt x="1279" y="571"/>
                      <a:pt x="1279" y="571"/>
                      <a:pt x="1278" y="571"/>
                    </a:cubicBezTo>
                    <a:cubicBezTo>
                      <a:pt x="1278" y="571"/>
                      <a:pt x="1278" y="571"/>
                      <a:pt x="1278" y="571"/>
                    </a:cubicBezTo>
                    <a:cubicBezTo>
                      <a:pt x="1277" y="571"/>
                      <a:pt x="1277" y="571"/>
                      <a:pt x="1276" y="571"/>
                    </a:cubicBezTo>
                    <a:cubicBezTo>
                      <a:pt x="1276" y="571"/>
                      <a:pt x="1276" y="571"/>
                      <a:pt x="1276" y="571"/>
                    </a:cubicBezTo>
                    <a:cubicBezTo>
                      <a:pt x="1275" y="571"/>
                      <a:pt x="1274" y="571"/>
                      <a:pt x="1274" y="571"/>
                    </a:cubicBezTo>
                    <a:cubicBezTo>
                      <a:pt x="1274" y="571"/>
                      <a:pt x="1274" y="571"/>
                      <a:pt x="1273" y="571"/>
                    </a:cubicBezTo>
                    <a:cubicBezTo>
                      <a:pt x="1272" y="571"/>
                      <a:pt x="1270" y="571"/>
                      <a:pt x="1268" y="571"/>
                    </a:cubicBezTo>
                    <a:cubicBezTo>
                      <a:pt x="1269" y="576"/>
                      <a:pt x="1269" y="581"/>
                      <a:pt x="1269" y="584"/>
                    </a:cubicBezTo>
                    <a:cubicBezTo>
                      <a:pt x="1269" y="589"/>
                      <a:pt x="1270" y="597"/>
                      <a:pt x="1265" y="598"/>
                    </a:cubicBezTo>
                    <a:cubicBezTo>
                      <a:pt x="1260" y="598"/>
                      <a:pt x="1258" y="603"/>
                      <a:pt x="1259" y="608"/>
                    </a:cubicBezTo>
                    <a:cubicBezTo>
                      <a:pt x="1260" y="612"/>
                      <a:pt x="1258" y="635"/>
                      <a:pt x="1262" y="637"/>
                    </a:cubicBezTo>
                    <a:cubicBezTo>
                      <a:pt x="1267" y="639"/>
                      <a:pt x="1268" y="643"/>
                      <a:pt x="1268" y="648"/>
                    </a:cubicBezTo>
                    <a:cubicBezTo>
                      <a:pt x="1268" y="653"/>
                      <a:pt x="1272" y="655"/>
                      <a:pt x="1273" y="661"/>
                    </a:cubicBezTo>
                    <a:cubicBezTo>
                      <a:pt x="1266" y="660"/>
                      <a:pt x="1261" y="668"/>
                      <a:pt x="1256" y="673"/>
                    </a:cubicBezTo>
                    <a:cubicBezTo>
                      <a:pt x="1250" y="681"/>
                      <a:pt x="1240" y="673"/>
                      <a:pt x="1230" y="674"/>
                    </a:cubicBezTo>
                    <a:cubicBezTo>
                      <a:pt x="1219" y="675"/>
                      <a:pt x="1217" y="676"/>
                      <a:pt x="1205" y="670"/>
                    </a:cubicBezTo>
                    <a:cubicBezTo>
                      <a:pt x="1193" y="664"/>
                      <a:pt x="1192" y="672"/>
                      <a:pt x="1181" y="672"/>
                    </a:cubicBezTo>
                    <a:cubicBezTo>
                      <a:pt x="1170" y="672"/>
                      <a:pt x="1157" y="665"/>
                      <a:pt x="1140" y="663"/>
                    </a:cubicBezTo>
                    <a:cubicBezTo>
                      <a:pt x="1124" y="662"/>
                      <a:pt x="1122" y="661"/>
                      <a:pt x="1118" y="654"/>
                    </a:cubicBezTo>
                    <a:cubicBezTo>
                      <a:pt x="1114" y="647"/>
                      <a:pt x="1112" y="649"/>
                      <a:pt x="1096" y="651"/>
                    </a:cubicBezTo>
                    <a:cubicBezTo>
                      <a:pt x="1080" y="653"/>
                      <a:pt x="1083" y="646"/>
                      <a:pt x="1072" y="644"/>
                    </a:cubicBezTo>
                    <a:cubicBezTo>
                      <a:pt x="1062" y="642"/>
                      <a:pt x="1054" y="639"/>
                      <a:pt x="1052" y="631"/>
                    </a:cubicBezTo>
                    <a:cubicBezTo>
                      <a:pt x="1050" y="623"/>
                      <a:pt x="1044" y="622"/>
                      <a:pt x="1039" y="612"/>
                    </a:cubicBezTo>
                    <a:cubicBezTo>
                      <a:pt x="1034" y="602"/>
                      <a:pt x="1027" y="604"/>
                      <a:pt x="1018" y="603"/>
                    </a:cubicBezTo>
                    <a:cubicBezTo>
                      <a:pt x="1008" y="603"/>
                      <a:pt x="1008" y="607"/>
                      <a:pt x="1001" y="611"/>
                    </a:cubicBezTo>
                    <a:cubicBezTo>
                      <a:pt x="994" y="616"/>
                      <a:pt x="984" y="610"/>
                      <a:pt x="976" y="607"/>
                    </a:cubicBezTo>
                    <a:cubicBezTo>
                      <a:pt x="968" y="603"/>
                      <a:pt x="962" y="609"/>
                      <a:pt x="953" y="611"/>
                    </a:cubicBezTo>
                    <a:cubicBezTo>
                      <a:pt x="944" y="614"/>
                      <a:pt x="941" y="608"/>
                      <a:pt x="937" y="599"/>
                    </a:cubicBezTo>
                    <a:cubicBezTo>
                      <a:pt x="933" y="591"/>
                      <a:pt x="924" y="590"/>
                      <a:pt x="915" y="591"/>
                    </a:cubicBezTo>
                    <a:cubicBezTo>
                      <a:pt x="906" y="591"/>
                      <a:pt x="896" y="587"/>
                      <a:pt x="890" y="577"/>
                    </a:cubicBezTo>
                    <a:cubicBezTo>
                      <a:pt x="885" y="568"/>
                      <a:pt x="880" y="574"/>
                      <a:pt x="876" y="577"/>
                    </a:cubicBezTo>
                    <a:cubicBezTo>
                      <a:pt x="872" y="581"/>
                      <a:pt x="867" y="582"/>
                      <a:pt x="861" y="575"/>
                    </a:cubicBezTo>
                    <a:cubicBezTo>
                      <a:pt x="855" y="569"/>
                      <a:pt x="844" y="566"/>
                      <a:pt x="839" y="555"/>
                    </a:cubicBezTo>
                    <a:cubicBezTo>
                      <a:pt x="834" y="543"/>
                      <a:pt x="824" y="543"/>
                      <a:pt x="816" y="541"/>
                    </a:cubicBezTo>
                    <a:cubicBezTo>
                      <a:pt x="808" y="540"/>
                      <a:pt x="802" y="539"/>
                      <a:pt x="798" y="532"/>
                    </a:cubicBezTo>
                    <a:cubicBezTo>
                      <a:pt x="794" y="525"/>
                      <a:pt x="783" y="527"/>
                      <a:pt x="772" y="525"/>
                    </a:cubicBezTo>
                    <a:cubicBezTo>
                      <a:pt x="760" y="523"/>
                      <a:pt x="762" y="515"/>
                      <a:pt x="758" y="501"/>
                    </a:cubicBezTo>
                    <a:cubicBezTo>
                      <a:pt x="755" y="488"/>
                      <a:pt x="762" y="488"/>
                      <a:pt x="768" y="483"/>
                    </a:cubicBezTo>
                    <a:cubicBezTo>
                      <a:pt x="773" y="479"/>
                      <a:pt x="774" y="476"/>
                      <a:pt x="773" y="467"/>
                    </a:cubicBezTo>
                    <a:cubicBezTo>
                      <a:pt x="772" y="459"/>
                      <a:pt x="777" y="455"/>
                      <a:pt x="780" y="446"/>
                    </a:cubicBezTo>
                    <a:cubicBezTo>
                      <a:pt x="782" y="437"/>
                      <a:pt x="787" y="436"/>
                      <a:pt x="798" y="429"/>
                    </a:cubicBezTo>
                    <a:cubicBezTo>
                      <a:pt x="807" y="424"/>
                      <a:pt x="809" y="420"/>
                      <a:pt x="807" y="414"/>
                    </a:cubicBezTo>
                    <a:cubicBezTo>
                      <a:pt x="806" y="413"/>
                      <a:pt x="806" y="412"/>
                      <a:pt x="806" y="412"/>
                    </a:cubicBezTo>
                    <a:cubicBezTo>
                      <a:pt x="806" y="412"/>
                      <a:pt x="806" y="412"/>
                      <a:pt x="806" y="411"/>
                    </a:cubicBezTo>
                    <a:cubicBezTo>
                      <a:pt x="806" y="411"/>
                      <a:pt x="805" y="410"/>
                      <a:pt x="805" y="409"/>
                    </a:cubicBezTo>
                    <a:cubicBezTo>
                      <a:pt x="801" y="401"/>
                      <a:pt x="797" y="405"/>
                      <a:pt x="790" y="399"/>
                    </a:cubicBezTo>
                    <a:cubicBezTo>
                      <a:pt x="784" y="394"/>
                      <a:pt x="778" y="393"/>
                      <a:pt x="766" y="389"/>
                    </a:cubicBezTo>
                    <a:cubicBezTo>
                      <a:pt x="753" y="384"/>
                      <a:pt x="754" y="379"/>
                      <a:pt x="747" y="367"/>
                    </a:cubicBezTo>
                    <a:cubicBezTo>
                      <a:pt x="740" y="355"/>
                      <a:pt x="736" y="362"/>
                      <a:pt x="724" y="362"/>
                    </a:cubicBezTo>
                    <a:cubicBezTo>
                      <a:pt x="712" y="362"/>
                      <a:pt x="710" y="354"/>
                      <a:pt x="704" y="341"/>
                    </a:cubicBezTo>
                    <a:cubicBezTo>
                      <a:pt x="698" y="327"/>
                      <a:pt x="689" y="336"/>
                      <a:pt x="678" y="336"/>
                    </a:cubicBezTo>
                    <a:cubicBezTo>
                      <a:pt x="666" y="336"/>
                      <a:pt x="670" y="299"/>
                      <a:pt x="666" y="287"/>
                    </a:cubicBezTo>
                    <a:cubicBezTo>
                      <a:pt x="663" y="275"/>
                      <a:pt x="660" y="277"/>
                      <a:pt x="654" y="268"/>
                    </a:cubicBezTo>
                    <a:cubicBezTo>
                      <a:pt x="648" y="259"/>
                      <a:pt x="652" y="251"/>
                      <a:pt x="658" y="251"/>
                    </a:cubicBezTo>
                    <a:cubicBezTo>
                      <a:pt x="664" y="251"/>
                      <a:pt x="670" y="245"/>
                      <a:pt x="674" y="247"/>
                    </a:cubicBezTo>
                    <a:cubicBezTo>
                      <a:pt x="677" y="249"/>
                      <a:pt x="678" y="261"/>
                      <a:pt x="682" y="267"/>
                    </a:cubicBezTo>
                    <a:cubicBezTo>
                      <a:pt x="685" y="273"/>
                      <a:pt x="697" y="263"/>
                      <a:pt x="702" y="256"/>
                    </a:cubicBezTo>
                    <a:cubicBezTo>
                      <a:pt x="706" y="249"/>
                      <a:pt x="715" y="250"/>
                      <a:pt x="721" y="244"/>
                    </a:cubicBezTo>
                    <a:cubicBezTo>
                      <a:pt x="727" y="238"/>
                      <a:pt x="721" y="231"/>
                      <a:pt x="716" y="226"/>
                    </a:cubicBezTo>
                    <a:cubicBezTo>
                      <a:pt x="710" y="221"/>
                      <a:pt x="711" y="218"/>
                      <a:pt x="710" y="214"/>
                    </a:cubicBezTo>
                    <a:cubicBezTo>
                      <a:pt x="710" y="210"/>
                      <a:pt x="703" y="203"/>
                      <a:pt x="694" y="199"/>
                    </a:cubicBezTo>
                    <a:cubicBezTo>
                      <a:pt x="686" y="196"/>
                      <a:pt x="678" y="182"/>
                      <a:pt x="681" y="173"/>
                    </a:cubicBezTo>
                    <a:cubicBezTo>
                      <a:pt x="684" y="163"/>
                      <a:pt x="680" y="162"/>
                      <a:pt x="672" y="153"/>
                    </a:cubicBezTo>
                    <a:cubicBezTo>
                      <a:pt x="664" y="145"/>
                      <a:pt x="671" y="138"/>
                      <a:pt x="678" y="133"/>
                    </a:cubicBezTo>
                    <a:cubicBezTo>
                      <a:pt x="686" y="129"/>
                      <a:pt x="692" y="135"/>
                      <a:pt x="697" y="141"/>
                    </a:cubicBezTo>
                    <a:cubicBezTo>
                      <a:pt x="702" y="148"/>
                      <a:pt x="708" y="141"/>
                      <a:pt x="721" y="138"/>
                    </a:cubicBezTo>
                    <a:cubicBezTo>
                      <a:pt x="734" y="135"/>
                      <a:pt x="740" y="115"/>
                      <a:pt x="745" y="107"/>
                    </a:cubicBezTo>
                    <a:cubicBezTo>
                      <a:pt x="750" y="99"/>
                      <a:pt x="754" y="96"/>
                      <a:pt x="762" y="94"/>
                    </a:cubicBezTo>
                    <a:cubicBezTo>
                      <a:pt x="770" y="92"/>
                      <a:pt x="770" y="75"/>
                      <a:pt x="769" y="66"/>
                    </a:cubicBezTo>
                    <a:cubicBezTo>
                      <a:pt x="768" y="57"/>
                      <a:pt x="774" y="55"/>
                      <a:pt x="777" y="46"/>
                    </a:cubicBezTo>
                    <a:cubicBezTo>
                      <a:pt x="780" y="37"/>
                      <a:pt x="768" y="36"/>
                      <a:pt x="756" y="33"/>
                    </a:cubicBezTo>
                    <a:cubicBezTo>
                      <a:pt x="744" y="31"/>
                      <a:pt x="738" y="23"/>
                      <a:pt x="729" y="11"/>
                    </a:cubicBezTo>
                    <a:cubicBezTo>
                      <a:pt x="720" y="0"/>
                      <a:pt x="706" y="1"/>
                      <a:pt x="694" y="1"/>
                    </a:cubicBezTo>
                    <a:cubicBezTo>
                      <a:pt x="681" y="1"/>
                      <a:pt x="680" y="5"/>
                      <a:pt x="669" y="8"/>
                    </a:cubicBezTo>
                    <a:cubicBezTo>
                      <a:pt x="658" y="11"/>
                      <a:pt x="658" y="19"/>
                      <a:pt x="648" y="20"/>
                    </a:cubicBezTo>
                    <a:cubicBezTo>
                      <a:pt x="637" y="21"/>
                      <a:pt x="638" y="27"/>
                      <a:pt x="629" y="35"/>
                    </a:cubicBezTo>
                    <a:cubicBezTo>
                      <a:pt x="629" y="36"/>
                      <a:pt x="628" y="36"/>
                      <a:pt x="628" y="37"/>
                    </a:cubicBezTo>
                    <a:cubicBezTo>
                      <a:pt x="627" y="37"/>
                      <a:pt x="627" y="37"/>
                      <a:pt x="626" y="37"/>
                    </a:cubicBezTo>
                    <a:cubicBezTo>
                      <a:pt x="634" y="51"/>
                      <a:pt x="635" y="65"/>
                      <a:pt x="635" y="72"/>
                    </a:cubicBezTo>
                    <a:cubicBezTo>
                      <a:pt x="634" y="81"/>
                      <a:pt x="623" y="75"/>
                      <a:pt x="618" y="66"/>
                    </a:cubicBezTo>
                    <a:cubicBezTo>
                      <a:pt x="613" y="57"/>
                      <a:pt x="596" y="58"/>
                      <a:pt x="584" y="58"/>
                    </a:cubicBezTo>
                    <a:cubicBezTo>
                      <a:pt x="572" y="58"/>
                      <a:pt x="559" y="71"/>
                      <a:pt x="555" y="83"/>
                    </a:cubicBezTo>
                    <a:cubicBezTo>
                      <a:pt x="551" y="95"/>
                      <a:pt x="540" y="95"/>
                      <a:pt x="520" y="96"/>
                    </a:cubicBezTo>
                    <a:cubicBezTo>
                      <a:pt x="500" y="97"/>
                      <a:pt x="495" y="104"/>
                      <a:pt x="477" y="108"/>
                    </a:cubicBezTo>
                    <a:cubicBezTo>
                      <a:pt x="459" y="112"/>
                      <a:pt x="445" y="104"/>
                      <a:pt x="441" y="100"/>
                    </a:cubicBezTo>
                    <a:cubicBezTo>
                      <a:pt x="437" y="96"/>
                      <a:pt x="425" y="94"/>
                      <a:pt x="411" y="94"/>
                    </a:cubicBezTo>
                    <a:cubicBezTo>
                      <a:pt x="397" y="94"/>
                      <a:pt x="388" y="88"/>
                      <a:pt x="375" y="88"/>
                    </a:cubicBezTo>
                    <a:cubicBezTo>
                      <a:pt x="362" y="88"/>
                      <a:pt x="362" y="113"/>
                      <a:pt x="362" y="123"/>
                    </a:cubicBezTo>
                    <a:cubicBezTo>
                      <a:pt x="362" y="133"/>
                      <a:pt x="363" y="135"/>
                      <a:pt x="374" y="141"/>
                    </a:cubicBezTo>
                    <a:cubicBezTo>
                      <a:pt x="385" y="147"/>
                      <a:pt x="387" y="152"/>
                      <a:pt x="375" y="160"/>
                    </a:cubicBezTo>
                    <a:cubicBezTo>
                      <a:pt x="363" y="168"/>
                      <a:pt x="380" y="183"/>
                      <a:pt x="378" y="196"/>
                    </a:cubicBezTo>
                    <a:cubicBezTo>
                      <a:pt x="376" y="209"/>
                      <a:pt x="390" y="219"/>
                      <a:pt x="390" y="226"/>
                    </a:cubicBezTo>
                    <a:cubicBezTo>
                      <a:pt x="390" y="233"/>
                      <a:pt x="407" y="237"/>
                      <a:pt x="408" y="247"/>
                    </a:cubicBezTo>
                    <a:cubicBezTo>
                      <a:pt x="409" y="257"/>
                      <a:pt x="429" y="258"/>
                      <a:pt x="444" y="260"/>
                    </a:cubicBezTo>
                    <a:cubicBezTo>
                      <a:pt x="459" y="262"/>
                      <a:pt x="456" y="268"/>
                      <a:pt x="455" y="274"/>
                    </a:cubicBezTo>
                    <a:cubicBezTo>
                      <a:pt x="454" y="280"/>
                      <a:pt x="429" y="285"/>
                      <a:pt x="416" y="288"/>
                    </a:cubicBezTo>
                    <a:cubicBezTo>
                      <a:pt x="403" y="291"/>
                      <a:pt x="402" y="304"/>
                      <a:pt x="407" y="311"/>
                    </a:cubicBezTo>
                    <a:cubicBezTo>
                      <a:pt x="412" y="318"/>
                      <a:pt x="403" y="326"/>
                      <a:pt x="403" y="333"/>
                    </a:cubicBezTo>
                    <a:cubicBezTo>
                      <a:pt x="403" y="340"/>
                      <a:pt x="406" y="347"/>
                      <a:pt x="414" y="349"/>
                    </a:cubicBezTo>
                    <a:cubicBezTo>
                      <a:pt x="422" y="351"/>
                      <a:pt x="414" y="359"/>
                      <a:pt x="405" y="359"/>
                    </a:cubicBezTo>
                    <a:cubicBezTo>
                      <a:pt x="396" y="359"/>
                      <a:pt x="392" y="369"/>
                      <a:pt x="381" y="376"/>
                    </a:cubicBezTo>
                    <a:cubicBezTo>
                      <a:pt x="370" y="383"/>
                      <a:pt x="371" y="391"/>
                      <a:pt x="367" y="411"/>
                    </a:cubicBezTo>
                    <a:cubicBezTo>
                      <a:pt x="363" y="431"/>
                      <a:pt x="354" y="424"/>
                      <a:pt x="342" y="425"/>
                    </a:cubicBezTo>
                    <a:cubicBezTo>
                      <a:pt x="330" y="426"/>
                      <a:pt x="329" y="443"/>
                      <a:pt x="327" y="457"/>
                    </a:cubicBezTo>
                    <a:cubicBezTo>
                      <a:pt x="325" y="471"/>
                      <a:pt x="317" y="470"/>
                      <a:pt x="306" y="487"/>
                    </a:cubicBezTo>
                    <a:cubicBezTo>
                      <a:pt x="295" y="504"/>
                      <a:pt x="292" y="503"/>
                      <a:pt x="276" y="505"/>
                    </a:cubicBezTo>
                    <a:cubicBezTo>
                      <a:pt x="260" y="507"/>
                      <a:pt x="260" y="536"/>
                      <a:pt x="251" y="541"/>
                    </a:cubicBezTo>
                    <a:cubicBezTo>
                      <a:pt x="242" y="546"/>
                      <a:pt x="238" y="550"/>
                      <a:pt x="237" y="563"/>
                    </a:cubicBezTo>
                    <a:cubicBezTo>
                      <a:pt x="236" y="576"/>
                      <a:pt x="207" y="575"/>
                      <a:pt x="199" y="575"/>
                    </a:cubicBezTo>
                    <a:cubicBezTo>
                      <a:pt x="191" y="575"/>
                      <a:pt x="186" y="573"/>
                      <a:pt x="184" y="583"/>
                    </a:cubicBezTo>
                    <a:cubicBezTo>
                      <a:pt x="182" y="593"/>
                      <a:pt x="172" y="590"/>
                      <a:pt x="169" y="590"/>
                    </a:cubicBezTo>
                    <a:cubicBezTo>
                      <a:pt x="166" y="590"/>
                      <a:pt x="162" y="586"/>
                      <a:pt x="160" y="578"/>
                    </a:cubicBezTo>
                    <a:cubicBezTo>
                      <a:pt x="158" y="570"/>
                      <a:pt x="152" y="565"/>
                      <a:pt x="142" y="565"/>
                    </a:cubicBezTo>
                    <a:cubicBezTo>
                      <a:pt x="132" y="565"/>
                      <a:pt x="125" y="579"/>
                      <a:pt x="114" y="598"/>
                    </a:cubicBezTo>
                    <a:cubicBezTo>
                      <a:pt x="103" y="617"/>
                      <a:pt x="103" y="618"/>
                      <a:pt x="90" y="623"/>
                    </a:cubicBezTo>
                    <a:cubicBezTo>
                      <a:pt x="77" y="628"/>
                      <a:pt x="81" y="644"/>
                      <a:pt x="82" y="650"/>
                    </a:cubicBezTo>
                    <a:cubicBezTo>
                      <a:pt x="83" y="656"/>
                      <a:pt x="104" y="663"/>
                      <a:pt x="113" y="664"/>
                    </a:cubicBezTo>
                    <a:cubicBezTo>
                      <a:pt x="122" y="665"/>
                      <a:pt x="122" y="664"/>
                      <a:pt x="128" y="676"/>
                    </a:cubicBezTo>
                    <a:cubicBezTo>
                      <a:pt x="134" y="688"/>
                      <a:pt x="129" y="695"/>
                      <a:pt x="123" y="698"/>
                    </a:cubicBezTo>
                    <a:cubicBezTo>
                      <a:pt x="117" y="701"/>
                      <a:pt x="123" y="711"/>
                      <a:pt x="126" y="717"/>
                    </a:cubicBezTo>
                    <a:cubicBezTo>
                      <a:pt x="129" y="723"/>
                      <a:pt x="137" y="728"/>
                      <a:pt x="150" y="730"/>
                    </a:cubicBezTo>
                    <a:cubicBezTo>
                      <a:pt x="163" y="732"/>
                      <a:pt x="156" y="752"/>
                      <a:pt x="167" y="754"/>
                    </a:cubicBezTo>
                    <a:cubicBezTo>
                      <a:pt x="178" y="756"/>
                      <a:pt x="170" y="773"/>
                      <a:pt x="179" y="785"/>
                    </a:cubicBezTo>
                    <a:cubicBezTo>
                      <a:pt x="188" y="797"/>
                      <a:pt x="178" y="796"/>
                      <a:pt x="182" y="806"/>
                    </a:cubicBezTo>
                    <a:cubicBezTo>
                      <a:pt x="186" y="816"/>
                      <a:pt x="180" y="813"/>
                      <a:pt x="172" y="822"/>
                    </a:cubicBezTo>
                    <a:cubicBezTo>
                      <a:pt x="164" y="831"/>
                      <a:pt x="162" y="828"/>
                      <a:pt x="160" y="821"/>
                    </a:cubicBezTo>
                    <a:cubicBezTo>
                      <a:pt x="158" y="814"/>
                      <a:pt x="153" y="810"/>
                      <a:pt x="143" y="809"/>
                    </a:cubicBezTo>
                    <a:cubicBezTo>
                      <a:pt x="133" y="808"/>
                      <a:pt x="137" y="821"/>
                      <a:pt x="127" y="821"/>
                    </a:cubicBezTo>
                    <a:cubicBezTo>
                      <a:pt x="117" y="821"/>
                      <a:pt x="115" y="831"/>
                      <a:pt x="104" y="831"/>
                    </a:cubicBezTo>
                    <a:cubicBezTo>
                      <a:pt x="93" y="831"/>
                      <a:pt x="89" y="831"/>
                      <a:pt x="85" y="823"/>
                    </a:cubicBezTo>
                    <a:cubicBezTo>
                      <a:pt x="81" y="815"/>
                      <a:pt x="61" y="820"/>
                      <a:pt x="49" y="820"/>
                    </a:cubicBezTo>
                    <a:cubicBezTo>
                      <a:pt x="37" y="820"/>
                      <a:pt x="34" y="830"/>
                      <a:pt x="34" y="838"/>
                    </a:cubicBezTo>
                    <a:cubicBezTo>
                      <a:pt x="34" y="846"/>
                      <a:pt x="24" y="845"/>
                      <a:pt x="14" y="845"/>
                    </a:cubicBezTo>
                    <a:cubicBezTo>
                      <a:pt x="8" y="845"/>
                      <a:pt x="4" y="852"/>
                      <a:pt x="0" y="860"/>
                    </a:cubicBezTo>
                    <a:cubicBezTo>
                      <a:pt x="12" y="867"/>
                      <a:pt x="14" y="875"/>
                      <a:pt x="20" y="887"/>
                    </a:cubicBezTo>
                    <a:cubicBezTo>
                      <a:pt x="27" y="901"/>
                      <a:pt x="58" y="904"/>
                      <a:pt x="74" y="917"/>
                    </a:cubicBezTo>
                    <a:cubicBezTo>
                      <a:pt x="90" y="930"/>
                      <a:pt x="116" y="904"/>
                      <a:pt x="134" y="917"/>
                    </a:cubicBezTo>
                    <a:cubicBezTo>
                      <a:pt x="153" y="930"/>
                      <a:pt x="133" y="934"/>
                      <a:pt x="114" y="937"/>
                    </a:cubicBezTo>
                    <a:cubicBezTo>
                      <a:pt x="96" y="940"/>
                      <a:pt x="97" y="949"/>
                      <a:pt x="83" y="947"/>
                    </a:cubicBezTo>
                    <a:cubicBezTo>
                      <a:pt x="68" y="946"/>
                      <a:pt x="55" y="943"/>
                      <a:pt x="55" y="953"/>
                    </a:cubicBezTo>
                    <a:cubicBezTo>
                      <a:pt x="55" y="963"/>
                      <a:pt x="88" y="993"/>
                      <a:pt x="100" y="1010"/>
                    </a:cubicBezTo>
                    <a:cubicBezTo>
                      <a:pt x="111" y="1027"/>
                      <a:pt x="129" y="1042"/>
                      <a:pt x="151" y="1055"/>
                    </a:cubicBezTo>
                    <a:cubicBezTo>
                      <a:pt x="174" y="1068"/>
                      <a:pt x="180" y="1072"/>
                      <a:pt x="193" y="1056"/>
                    </a:cubicBezTo>
                    <a:cubicBezTo>
                      <a:pt x="206" y="1040"/>
                      <a:pt x="226" y="1042"/>
                      <a:pt x="242" y="1032"/>
                    </a:cubicBezTo>
                    <a:cubicBezTo>
                      <a:pt x="258" y="1022"/>
                      <a:pt x="265" y="1012"/>
                      <a:pt x="259" y="1002"/>
                    </a:cubicBezTo>
                    <a:cubicBezTo>
                      <a:pt x="253" y="992"/>
                      <a:pt x="260" y="966"/>
                      <a:pt x="260" y="954"/>
                    </a:cubicBezTo>
                    <a:cubicBezTo>
                      <a:pt x="260" y="943"/>
                      <a:pt x="278" y="959"/>
                      <a:pt x="282" y="973"/>
                    </a:cubicBezTo>
                    <a:cubicBezTo>
                      <a:pt x="286" y="987"/>
                      <a:pt x="288" y="987"/>
                      <a:pt x="285" y="1003"/>
                    </a:cubicBezTo>
                    <a:cubicBezTo>
                      <a:pt x="282" y="1019"/>
                      <a:pt x="301" y="1043"/>
                      <a:pt x="303" y="1056"/>
                    </a:cubicBezTo>
                    <a:cubicBezTo>
                      <a:pt x="306" y="1069"/>
                      <a:pt x="305" y="1075"/>
                      <a:pt x="286" y="1098"/>
                    </a:cubicBezTo>
                    <a:cubicBezTo>
                      <a:pt x="268" y="1121"/>
                      <a:pt x="286" y="1145"/>
                      <a:pt x="288" y="1164"/>
                    </a:cubicBezTo>
                    <a:cubicBezTo>
                      <a:pt x="289" y="1182"/>
                      <a:pt x="321" y="1270"/>
                      <a:pt x="325" y="1303"/>
                    </a:cubicBezTo>
                    <a:cubicBezTo>
                      <a:pt x="329" y="1336"/>
                      <a:pt x="339" y="1376"/>
                      <a:pt x="355" y="1403"/>
                    </a:cubicBezTo>
                    <a:cubicBezTo>
                      <a:pt x="371" y="1430"/>
                      <a:pt x="389" y="1466"/>
                      <a:pt x="404" y="1500"/>
                    </a:cubicBezTo>
                    <a:cubicBezTo>
                      <a:pt x="418" y="1535"/>
                      <a:pt x="422" y="1552"/>
                      <a:pt x="425" y="1575"/>
                    </a:cubicBezTo>
                    <a:cubicBezTo>
                      <a:pt x="428" y="1598"/>
                      <a:pt x="445" y="1621"/>
                      <a:pt x="465" y="1651"/>
                    </a:cubicBezTo>
                    <a:cubicBezTo>
                      <a:pt x="485" y="1681"/>
                      <a:pt x="501" y="1707"/>
                      <a:pt x="511" y="1737"/>
                    </a:cubicBezTo>
                    <a:cubicBezTo>
                      <a:pt x="521" y="1767"/>
                      <a:pt x="521" y="1784"/>
                      <a:pt x="526" y="1809"/>
                    </a:cubicBezTo>
                    <a:cubicBezTo>
                      <a:pt x="530" y="1833"/>
                      <a:pt x="560" y="1856"/>
                      <a:pt x="567" y="1873"/>
                    </a:cubicBezTo>
                    <a:cubicBezTo>
                      <a:pt x="574" y="1890"/>
                      <a:pt x="607" y="1889"/>
                      <a:pt x="616" y="1877"/>
                    </a:cubicBezTo>
                    <a:cubicBezTo>
                      <a:pt x="624" y="1866"/>
                      <a:pt x="647" y="1850"/>
                      <a:pt x="649" y="1834"/>
                    </a:cubicBezTo>
                    <a:cubicBezTo>
                      <a:pt x="650" y="1819"/>
                      <a:pt x="660" y="1821"/>
                      <a:pt x="682" y="1816"/>
                    </a:cubicBezTo>
                    <a:cubicBezTo>
                      <a:pt x="703" y="1810"/>
                      <a:pt x="696" y="1796"/>
                      <a:pt x="695" y="1787"/>
                    </a:cubicBezTo>
                    <a:cubicBezTo>
                      <a:pt x="693" y="1778"/>
                      <a:pt x="712" y="1751"/>
                      <a:pt x="722" y="1743"/>
                    </a:cubicBezTo>
                    <a:cubicBezTo>
                      <a:pt x="732" y="1734"/>
                      <a:pt x="748" y="1735"/>
                      <a:pt x="749" y="1727"/>
                    </a:cubicBezTo>
                    <a:cubicBezTo>
                      <a:pt x="751" y="1718"/>
                      <a:pt x="745" y="1691"/>
                      <a:pt x="742" y="1680"/>
                    </a:cubicBezTo>
                    <a:cubicBezTo>
                      <a:pt x="739" y="1668"/>
                      <a:pt x="746" y="1654"/>
                      <a:pt x="751" y="1639"/>
                    </a:cubicBezTo>
                    <a:cubicBezTo>
                      <a:pt x="755" y="1625"/>
                      <a:pt x="762" y="1609"/>
                      <a:pt x="771" y="1598"/>
                    </a:cubicBezTo>
                    <a:cubicBezTo>
                      <a:pt x="779" y="1586"/>
                      <a:pt x="779" y="1574"/>
                      <a:pt x="778" y="1561"/>
                    </a:cubicBezTo>
                    <a:cubicBezTo>
                      <a:pt x="776" y="1548"/>
                      <a:pt x="776" y="1533"/>
                      <a:pt x="776" y="1518"/>
                    </a:cubicBezTo>
                    <a:cubicBezTo>
                      <a:pt x="776" y="1502"/>
                      <a:pt x="765" y="1500"/>
                      <a:pt x="769" y="1489"/>
                    </a:cubicBezTo>
                    <a:cubicBezTo>
                      <a:pt x="774" y="1478"/>
                      <a:pt x="768" y="1462"/>
                      <a:pt x="763" y="1452"/>
                    </a:cubicBezTo>
                    <a:cubicBezTo>
                      <a:pt x="759" y="1442"/>
                      <a:pt x="765" y="1424"/>
                      <a:pt x="771" y="1404"/>
                    </a:cubicBezTo>
                    <a:cubicBezTo>
                      <a:pt x="776" y="1384"/>
                      <a:pt x="776" y="1389"/>
                      <a:pt x="798" y="1389"/>
                    </a:cubicBezTo>
                    <a:cubicBezTo>
                      <a:pt x="819" y="1389"/>
                      <a:pt x="831" y="1377"/>
                      <a:pt x="842" y="1359"/>
                    </a:cubicBezTo>
                    <a:cubicBezTo>
                      <a:pt x="854" y="1340"/>
                      <a:pt x="872" y="1351"/>
                      <a:pt x="891" y="1340"/>
                    </a:cubicBezTo>
                    <a:cubicBezTo>
                      <a:pt x="910" y="1328"/>
                      <a:pt x="910" y="1298"/>
                      <a:pt x="918" y="1290"/>
                    </a:cubicBezTo>
                    <a:cubicBezTo>
                      <a:pt x="927" y="1281"/>
                      <a:pt x="950" y="1277"/>
                      <a:pt x="958" y="1265"/>
                    </a:cubicBezTo>
                    <a:cubicBezTo>
                      <a:pt x="967" y="1254"/>
                      <a:pt x="993" y="1232"/>
                      <a:pt x="1003" y="1225"/>
                    </a:cubicBezTo>
                    <a:cubicBezTo>
                      <a:pt x="1013" y="1218"/>
                      <a:pt x="1033" y="1207"/>
                      <a:pt x="1053" y="1182"/>
                    </a:cubicBezTo>
                    <a:cubicBezTo>
                      <a:pt x="1073" y="1158"/>
                      <a:pt x="1083" y="1138"/>
                      <a:pt x="1100" y="1133"/>
                    </a:cubicBezTo>
                    <a:cubicBezTo>
                      <a:pt x="1118" y="1129"/>
                      <a:pt x="1130" y="1125"/>
                      <a:pt x="1146" y="1119"/>
                    </a:cubicBezTo>
                    <a:cubicBezTo>
                      <a:pt x="1162" y="1113"/>
                      <a:pt x="1178" y="1088"/>
                      <a:pt x="1191" y="1076"/>
                    </a:cubicBezTo>
                    <a:cubicBezTo>
                      <a:pt x="1204" y="1065"/>
                      <a:pt x="1195" y="1050"/>
                      <a:pt x="1196" y="1036"/>
                    </a:cubicBezTo>
                    <a:cubicBezTo>
                      <a:pt x="1198" y="1022"/>
                      <a:pt x="1201" y="1006"/>
                      <a:pt x="1214" y="1006"/>
                    </a:cubicBezTo>
                    <a:cubicBezTo>
                      <a:pt x="1226" y="1006"/>
                      <a:pt x="1244" y="1003"/>
                      <a:pt x="1248" y="994"/>
                    </a:cubicBezTo>
                    <a:cubicBezTo>
                      <a:pt x="1252" y="986"/>
                      <a:pt x="1262" y="980"/>
                      <a:pt x="1267" y="994"/>
                    </a:cubicBezTo>
                    <a:cubicBezTo>
                      <a:pt x="1271" y="1009"/>
                      <a:pt x="1288" y="1004"/>
                      <a:pt x="1288" y="1004"/>
                    </a:cubicBezTo>
                    <a:cubicBezTo>
                      <a:pt x="1288" y="1004"/>
                      <a:pt x="1314" y="997"/>
                      <a:pt x="1322" y="1004"/>
                    </a:cubicBezTo>
                    <a:cubicBezTo>
                      <a:pt x="1323" y="1005"/>
                      <a:pt x="1324" y="1006"/>
                      <a:pt x="1325" y="1006"/>
                    </a:cubicBezTo>
                    <a:cubicBezTo>
                      <a:pt x="1325" y="994"/>
                      <a:pt x="1324" y="970"/>
                      <a:pt x="1324" y="965"/>
                    </a:cubicBezTo>
                    <a:cubicBezTo>
                      <a:pt x="1323" y="959"/>
                      <a:pt x="1319" y="958"/>
                      <a:pt x="1317" y="950"/>
                    </a:cubicBezTo>
                    <a:cubicBezTo>
                      <a:pt x="1315" y="943"/>
                      <a:pt x="1318" y="923"/>
                      <a:pt x="1318" y="915"/>
                    </a:cubicBezTo>
                    <a:cubicBezTo>
                      <a:pt x="1318" y="908"/>
                      <a:pt x="1318" y="901"/>
                      <a:pt x="1313" y="896"/>
                    </a:cubicBezTo>
                    <a:cubicBezTo>
                      <a:pt x="1307" y="892"/>
                      <a:pt x="1305" y="888"/>
                      <a:pt x="1302" y="879"/>
                    </a:cubicBezTo>
                    <a:cubicBezTo>
                      <a:pt x="1298" y="869"/>
                      <a:pt x="1298" y="847"/>
                      <a:pt x="1302" y="837"/>
                    </a:cubicBezTo>
                    <a:cubicBezTo>
                      <a:pt x="1305" y="827"/>
                      <a:pt x="1293" y="816"/>
                      <a:pt x="1288" y="813"/>
                    </a:cubicBezTo>
                    <a:cubicBezTo>
                      <a:pt x="1282" y="810"/>
                      <a:pt x="1279" y="804"/>
                      <a:pt x="1274" y="799"/>
                    </a:cubicBezTo>
                    <a:cubicBezTo>
                      <a:pt x="1268" y="793"/>
                      <a:pt x="1270" y="787"/>
                      <a:pt x="1271" y="781"/>
                    </a:cubicBezTo>
                    <a:cubicBezTo>
                      <a:pt x="1272" y="776"/>
                      <a:pt x="1283" y="775"/>
                      <a:pt x="1283" y="772"/>
                    </a:cubicBezTo>
                    <a:cubicBezTo>
                      <a:pt x="1283" y="769"/>
                      <a:pt x="1287" y="762"/>
                      <a:pt x="1296" y="762"/>
                    </a:cubicBezTo>
                    <a:cubicBezTo>
                      <a:pt x="1306" y="762"/>
                      <a:pt x="1311" y="763"/>
                      <a:pt x="1314" y="756"/>
                    </a:cubicBezTo>
                    <a:cubicBezTo>
                      <a:pt x="1317" y="750"/>
                      <a:pt x="1319" y="743"/>
                      <a:pt x="1318" y="741"/>
                    </a:cubicBezTo>
                    <a:cubicBezTo>
                      <a:pt x="1317" y="740"/>
                      <a:pt x="1299" y="738"/>
                      <a:pt x="1293" y="737"/>
                    </a:cubicBezTo>
                    <a:cubicBezTo>
                      <a:pt x="1288" y="736"/>
                      <a:pt x="1283" y="726"/>
                      <a:pt x="1281" y="721"/>
                    </a:cubicBezTo>
                    <a:cubicBezTo>
                      <a:pt x="1279" y="716"/>
                      <a:pt x="1275" y="715"/>
                      <a:pt x="1271" y="714"/>
                    </a:cubicBezTo>
                    <a:cubicBezTo>
                      <a:pt x="1268" y="712"/>
                      <a:pt x="1263" y="713"/>
                      <a:pt x="1263" y="708"/>
                    </a:cubicBezTo>
                    <a:cubicBezTo>
                      <a:pt x="1263" y="704"/>
                      <a:pt x="1265" y="697"/>
                      <a:pt x="1271" y="696"/>
                    </a:cubicBezTo>
                    <a:cubicBezTo>
                      <a:pt x="1277" y="695"/>
                      <a:pt x="1272" y="688"/>
                      <a:pt x="1281" y="687"/>
                    </a:cubicBezTo>
                    <a:cubicBezTo>
                      <a:pt x="1289" y="685"/>
                      <a:pt x="1286" y="677"/>
                      <a:pt x="1284" y="673"/>
                    </a:cubicBezTo>
                    <a:cubicBezTo>
                      <a:pt x="1284" y="671"/>
                      <a:pt x="1284" y="668"/>
                      <a:pt x="1284" y="666"/>
                    </a:cubicBezTo>
                    <a:cubicBezTo>
                      <a:pt x="1284" y="666"/>
                      <a:pt x="1284" y="666"/>
                      <a:pt x="1284" y="666"/>
                    </a:cubicBezTo>
                    <a:cubicBezTo>
                      <a:pt x="1288" y="669"/>
                      <a:pt x="1291" y="672"/>
                      <a:pt x="1293" y="675"/>
                    </a:cubicBezTo>
                    <a:cubicBezTo>
                      <a:pt x="1293" y="675"/>
                      <a:pt x="1293" y="675"/>
                      <a:pt x="1293" y="675"/>
                    </a:cubicBezTo>
                    <a:cubicBezTo>
                      <a:pt x="1294" y="675"/>
                      <a:pt x="1294" y="675"/>
                      <a:pt x="1294" y="675"/>
                    </a:cubicBezTo>
                    <a:cubicBezTo>
                      <a:pt x="1294" y="676"/>
                      <a:pt x="1295" y="676"/>
                      <a:pt x="1295" y="676"/>
                    </a:cubicBezTo>
                    <a:cubicBezTo>
                      <a:pt x="1295" y="676"/>
                      <a:pt x="1295" y="676"/>
                      <a:pt x="1295" y="676"/>
                    </a:cubicBezTo>
                    <a:cubicBezTo>
                      <a:pt x="1296" y="676"/>
                      <a:pt x="1296" y="676"/>
                      <a:pt x="1296" y="676"/>
                    </a:cubicBezTo>
                    <a:cubicBezTo>
                      <a:pt x="1296" y="677"/>
                      <a:pt x="1296" y="677"/>
                      <a:pt x="1297" y="677"/>
                    </a:cubicBezTo>
                    <a:cubicBezTo>
                      <a:pt x="1297" y="677"/>
                      <a:pt x="1297" y="677"/>
                      <a:pt x="1297" y="677"/>
                    </a:cubicBezTo>
                    <a:cubicBezTo>
                      <a:pt x="1298" y="677"/>
                      <a:pt x="1298" y="677"/>
                      <a:pt x="1298" y="677"/>
                    </a:cubicBezTo>
                    <a:cubicBezTo>
                      <a:pt x="1298" y="677"/>
                      <a:pt x="1299" y="677"/>
                      <a:pt x="1299" y="677"/>
                    </a:cubicBezTo>
                    <a:cubicBezTo>
                      <a:pt x="1299" y="678"/>
                      <a:pt x="1299" y="678"/>
                      <a:pt x="1300" y="678"/>
                    </a:cubicBezTo>
                    <a:cubicBezTo>
                      <a:pt x="1300" y="678"/>
                      <a:pt x="1300" y="678"/>
                      <a:pt x="1300" y="678"/>
                    </a:cubicBezTo>
                    <a:cubicBezTo>
                      <a:pt x="1301" y="678"/>
                      <a:pt x="1301" y="678"/>
                      <a:pt x="1302" y="678"/>
                    </a:cubicBezTo>
                    <a:cubicBezTo>
                      <a:pt x="1302" y="678"/>
                      <a:pt x="1302" y="678"/>
                      <a:pt x="1302" y="678"/>
                    </a:cubicBezTo>
                    <a:cubicBezTo>
                      <a:pt x="1303" y="678"/>
                      <a:pt x="1304" y="678"/>
                      <a:pt x="1304" y="678"/>
                    </a:cubicBezTo>
                    <a:cubicBezTo>
                      <a:pt x="1317" y="678"/>
                      <a:pt x="1320" y="677"/>
                      <a:pt x="1324" y="685"/>
                    </a:cubicBezTo>
                    <a:cubicBezTo>
                      <a:pt x="1328" y="694"/>
                      <a:pt x="1331" y="700"/>
                      <a:pt x="1342" y="702"/>
                    </a:cubicBezTo>
                    <a:cubicBezTo>
                      <a:pt x="1354" y="704"/>
                      <a:pt x="1358" y="693"/>
                      <a:pt x="1367" y="691"/>
                    </a:cubicBezTo>
                    <a:cubicBezTo>
                      <a:pt x="1376" y="689"/>
                      <a:pt x="1376" y="694"/>
                      <a:pt x="1376" y="702"/>
                    </a:cubicBezTo>
                    <a:cubicBezTo>
                      <a:pt x="1376" y="710"/>
                      <a:pt x="1366" y="719"/>
                      <a:pt x="1372" y="725"/>
                    </a:cubicBezTo>
                    <a:cubicBezTo>
                      <a:pt x="1378" y="731"/>
                      <a:pt x="1364" y="744"/>
                      <a:pt x="1372" y="748"/>
                    </a:cubicBezTo>
                    <a:cubicBezTo>
                      <a:pt x="1379" y="752"/>
                      <a:pt x="1385" y="752"/>
                      <a:pt x="1390" y="757"/>
                    </a:cubicBezTo>
                    <a:cubicBezTo>
                      <a:pt x="1396" y="761"/>
                      <a:pt x="1408" y="763"/>
                      <a:pt x="1418" y="763"/>
                    </a:cubicBezTo>
                    <a:cubicBezTo>
                      <a:pt x="1427" y="764"/>
                      <a:pt x="1454" y="760"/>
                      <a:pt x="1468" y="761"/>
                    </a:cubicBezTo>
                    <a:cubicBezTo>
                      <a:pt x="1481" y="763"/>
                      <a:pt x="1474" y="771"/>
                      <a:pt x="1492" y="765"/>
                    </a:cubicBezTo>
                    <a:cubicBezTo>
                      <a:pt x="1511" y="760"/>
                      <a:pt x="1517" y="761"/>
                      <a:pt x="1525" y="763"/>
                    </a:cubicBezTo>
                    <a:cubicBezTo>
                      <a:pt x="1533" y="764"/>
                      <a:pt x="1533" y="771"/>
                      <a:pt x="1536" y="774"/>
                    </a:cubicBezTo>
                    <a:cubicBezTo>
                      <a:pt x="1538" y="777"/>
                      <a:pt x="1544" y="785"/>
                      <a:pt x="1534" y="788"/>
                    </a:cubicBezTo>
                    <a:cubicBezTo>
                      <a:pt x="1525" y="791"/>
                      <a:pt x="1524" y="793"/>
                      <a:pt x="1524" y="799"/>
                    </a:cubicBezTo>
                    <a:cubicBezTo>
                      <a:pt x="1524" y="805"/>
                      <a:pt x="1514" y="809"/>
                      <a:pt x="1512" y="817"/>
                    </a:cubicBezTo>
                    <a:cubicBezTo>
                      <a:pt x="1510" y="824"/>
                      <a:pt x="1502" y="828"/>
                      <a:pt x="1496" y="829"/>
                    </a:cubicBezTo>
                    <a:cubicBezTo>
                      <a:pt x="1491" y="829"/>
                      <a:pt x="1483" y="829"/>
                      <a:pt x="1482" y="833"/>
                    </a:cubicBezTo>
                    <a:cubicBezTo>
                      <a:pt x="1482" y="837"/>
                      <a:pt x="1466" y="838"/>
                      <a:pt x="1466" y="843"/>
                    </a:cubicBezTo>
                    <a:cubicBezTo>
                      <a:pt x="1466" y="849"/>
                      <a:pt x="1455" y="851"/>
                      <a:pt x="1457" y="857"/>
                    </a:cubicBezTo>
                    <a:cubicBezTo>
                      <a:pt x="1459" y="864"/>
                      <a:pt x="1465" y="880"/>
                      <a:pt x="1465" y="889"/>
                    </a:cubicBezTo>
                    <a:cubicBezTo>
                      <a:pt x="1465" y="897"/>
                      <a:pt x="1467" y="901"/>
                      <a:pt x="1474" y="901"/>
                    </a:cubicBezTo>
                    <a:cubicBezTo>
                      <a:pt x="1480" y="901"/>
                      <a:pt x="1492" y="917"/>
                      <a:pt x="1496" y="905"/>
                    </a:cubicBezTo>
                    <a:cubicBezTo>
                      <a:pt x="1501" y="892"/>
                      <a:pt x="1498" y="879"/>
                      <a:pt x="1503" y="877"/>
                    </a:cubicBezTo>
                    <a:cubicBezTo>
                      <a:pt x="1508" y="876"/>
                      <a:pt x="1500" y="866"/>
                      <a:pt x="1511" y="863"/>
                    </a:cubicBezTo>
                    <a:cubicBezTo>
                      <a:pt x="1522" y="861"/>
                      <a:pt x="1532" y="858"/>
                      <a:pt x="1532" y="867"/>
                    </a:cubicBezTo>
                    <a:cubicBezTo>
                      <a:pt x="1532" y="875"/>
                      <a:pt x="1529" y="897"/>
                      <a:pt x="1532" y="900"/>
                    </a:cubicBezTo>
                    <a:cubicBezTo>
                      <a:pt x="1536" y="903"/>
                      <a:pt x="1538" y="909"/>
                      <a:pt x="1539" y="915"/>
                    </a:cubicBezTo>
                    <a:cubicBezTo>
                      <a:pt x="1540" y="921"/>
                      <a:pt x="1550" y="924"/>
                      <a:pt x="1549" y="937"/>
                    </a:cubicBezTo>
                    <a:cubicBezTo>
                      <a:pt x="1548" y="951"/>
                      <a:pt x="1545" y="961"/>
                      <a:pt x="1550" y="966"/>
                    </a:cubicBezTo>
                    <a:cubicBezTo>
                      <a:pt x="1550" y="966"/>
                      <a:pt x="1550" y="967"/>
                      <a:pt x="1551" y="967"/>
                    </a:cubicBezTo>
                    <a:cubicBezTo>
                      <a:pt x="1551" y="968"/>
                      <a:pt x="1551" y="968"/>
                      <a:pt x="1551" y="968"/>
                    </a:cubicBezTo>
                    <a:cubicBezTo>
                      <a:pt x="1551" y="968"/>
                      <a:pt x="1551" y="969"/>
                      <a:pt x="1551" y="969"/>
                    </a:cubicBezTo>
                    <a:cubicBezTo>
                      <a:pt x="1551" y="970"/>
                      <a:pt x="1551" y="970"/>
                      <a:pt x="1551" y="970"/>
                    </a:cubicBezTo>
                    <a:cubicBezTo>
                      <a:pt x="1555" y="970"/>
                      <a:pt x="1559" y="970"/>
                      <a:pt x="1563" y="972"/>
                    </a:cubicBezTo>
                    <a:cubicBezTo>
                      <a:pt x="1572" y="975"/>
                      <a:pt x="1580" y="978"/>
                      <a:pt x="1580" y="970"/>
                    </a:cubicBezTo>
                    <a:cubicBezTo>
                      <a:pt x="1581" y="962"/>
                      <a:pt x="1592" y="963"/>
                      <a:pt x="1592" y="957"/>
                    </a:cubicBezTo>
                    <a:cubicBezTo>
                      <a:pt x="1592" y="950"/>
                      <a:pt x="1590" y="943"/>
                      <a:pt x="1586" y="943"/>
                    </a:cubicBezTo>
                    <a:cubicBezTo>
                      <a:pt x="1581" y="943"/>
                      <a:pt x="1580" y="943"/>
                      <a:pt x="1580" y="934"/>
                    </a:cubicBezTo>
                    <a:cubicBezTo>
                      <a:pt x="1580" y="926"/>
                      <a:pt x="1578" y="913"/>
                      <a:pt x="1586" y="910"/>
                    </a:cubicBezTo>
                    <a:cubicBezTo>
                      <a:pt x="1593" y="906"/>
                      <a:pt x="1599" y="903"/>
                      <a:pt x="1599" y="892"/>
                    </a:cubicBezTo>
                    <a:cubicBezTo>
                      <a:pt x="1599" y="882"/>
                      <a:pt x="1597" y="863"/>
                      <a:pt x="1603" y="860"/>
                    </a:cubicBezTo>
                    <a:cubicBezTo>
                      <a:pt x="1608" y="857"/>
                      <a:pt x="1607" y="851"/>
                      <a:pt x="1602" y="847"/>
                    </a:cubicBezTo>
                    <a:cubicBezTo>
                      <a:pt x="1596" y="843"/>
                      <a:pt x="1594" y="835"/>
                      <a:pt x="1604" y="835"/>
                    </a:cubicBezTo>
                    <a:cubicBezTo>
                      <a:pt x="1615" y="835"/>
                      <a:pt x="1614" y="843"/>
                      <a:pt x="1626" y="842"/>
                    </a:cubicBezTo>
                    <a:cubicBezTo>
                      <a:pt x="1638" y="842"/>
                      <a:pt x="1641" y="849"/>
                      <a:pt x="1642" y="854"/>
                    </a:cubicBezTo>
                    <a:cubicBezTo>
                      <a:pt x="1643" y="858"/>
                      <a:pt x="1651" y="854"/>
                      <a:pt x="1651" y="845"/>
                    </a:cubicBezTo>
                    <a:cubicBezTo>
                      <a:pt x="1650" y="836"/>
                      <a:pt x="1645" y="819"/>
                      <a:pt x="1659" y="819"/>
                    </a:cubicBezTo>
                    <a:cubicBezTo>
                      <a:pt x="1673" y="818"/>
                      <a:pt x="1659" y="803"/>
                      <a:pt x="1672" y="801"/>
                    </a:cubicBezTo>
                    <a:cubicBezTo>
                      <a:pt x="1684" y="800"/>
                      <a:pt x="1680" y="789"/>
                      <a:pt x="1681" y="782"/>
                    </a:cubicBezTo>
                    <a:cubicBezTo>
                      <a:pt x="1681" y="775"/>
                      <a:pt x="1690" y="771"/>
                      <a:pt x="1684" y="767"/>
                    </a:cubicBezTo>
                    <a:cubicBezTo>
                      <a:pt x="1679" y="762"/>
                      <a:pt x="1674" y="762"/>
                      <a:pt x="1674" y="757"/>
                    </a:cubicBezTo>
                    <a:cubicBezTo>
                      <a:pt x="1675" y="753"/>
                      <a:pt x="1679" y="755"/>
                      <a:pt x="1680" y="747"/>
                    </a:cubicBezTo>
                    <a:cubicBezTo>
                      <a:pt x="1680" y="738"/>
                      <a:pt x="1687" y="738"/>
                      <a:pt x="1691" y="737"/>
                    </a:cubicBezTo>
                    <a:cubicBezTo>
                      <a:pt x="1696" y="736"/>
                      <a:pt x="1707" y="728"/>
                      <a:pt x="1707" y="719"/>
                    </a:cubicBezTo>
                    <a:cubicBezTo>
                      <a:pt x="1708" y="710"/>
                      <a:pt x="1719" y="707"/>
                      <a:pt x="1713" y="700"/>
                    </a:cubicBezTo>
                    <a:cubicBezTo>
                      <a:pt x="1707" y="693"/>
                      <a:pt x="1705" y="696"/>
                      <a:pt x="1708" y="684"/>
                    </a:cubicBezTo>
                    <a:cubicBezTo>
                      <a:pt x="1710" y="671"/>
                      <a:pt x="1714" y="658"/>
                      <a:pt x="1728" y="657"/>
                    </a:cubicBezTo>
                    <a:cubicBezTo>
                      <a:pt x="1743" y="656"/>
                      <a:pt x="1752" y="643"/>
                      <a:pt x="1759" y="630"/>
                    </a:cubicBezTo>
                    <a:cubicBezTo>
                      <a:pt x="1765" y="618"/>
                      <a:pt x="1784" y="615"/>
                      <a:pt x="1792" y="615"/>
                    </a:cubicBezTo>
                    <a:cubicBezTo>
                      <a:pt x="1800" y="615"/>
                      <a:pt x="1812" y="611"/>
                      <a:pt x="1819" y="622"/>
                    </a:cubicBezTo>
                    <a:cubicBezTo>
                      <a:pt x="1825" y="632"/>
                      <a:pt x="1833" y="627"/>
                      <a:pt x="1833" y="619"/>
                    </a:cubicBezTo>
                    <a:cubicBezTo>
                      <a:pt x="1832" y="611"/>
                      <a:pt x="1820" y="611"/>
                      <a:pt x="1822" y="599"/>
                    </a:cubicBezTo>
                    <a:cubicBezTo>
                      <a:pt x="1824" y="588"/>
                      <a:pt x="1825" y="580"/>
                      <a:pt x="1836" y="577"/>
                    </a:cubicBezTo>
                    <a:cubicBezTo>
                      <a:pt x="1848" y="574"/>
                      <a:pt x="1850" y="569"/>
                      <a:pt x="1850" y="560"/>
                    </a:cubicBezTo>
                    <a:cubicBezTo>
                      <a:pt x="1850" y="555"/>
                      <a:pt x="1851" y="551"/>
                      <a:pt x="1851" y="54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89" name="Freeform 243">
                <a:extLst>
                  <a:ext uri="{FF2B5EF4-FFF2-40B4-BE49-F238E27FC236}">
                    <a16:creationId xmlns:a16="http://schemas.microsoft.com/office/drawing/2014/main" id="{39DB2448-6CF8-464F-A839-A67CAD8E5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0" y="2074"/>
                <a:ext cx="131" cy="72"/>
              </a:xfrm>
              <a:custGeom>
                <a:avLst/>
                <a:gdLst>
                  <a:gd name="T0" fmla="*/ 507 w 518"/>
                  <a:gd name="T1" fmla="*/ 240 h 284"/>
                  <a:gd name="T2" fmla="*/ 504 w 518"/>
                  <a:gd name="T3" fmla="*/ 211 h 284"/>
                  <a:gd name="T4" fmla="*/ 510 w 518"/>
                  <a:gd name="T5" fmla="*/ 201 h 284"/>
                  <a:gd name="T6" fmla="*/ 514 w 518"/>
                  <a:gd name="T7" fmla="*/ 187 h 284"/>
                  <a:gd name="T8" fmla="*/ 513 w 518"/>
                  <a:gd name="T9" fmla="*/ 174 h 284"/>
                  <a:gd name="T10" fmla="*/ 498 w 518"/>
                  <a:gd name="T11" fmla="*/ 173 h 284"/>
                  <a:gd name="T12" fmla="*/ 480 w 518"/>
                  <a:gd name="T13" fmla="*/ 183 h 284"/>
                  <a:gd name="T14" fmla="*/ 458 w 518"/>
                  <a:gd name="T15" fmla="*/ 184 h 284"/>
                  <a:gd name="T16" fmla="*/ 435 w 518"/>
                  <a:gd name="T17" fmla="*/ 168 h 284"/>
                  <a:gd name="T18" fmla="*/ 419 w 518"/>
                  <a:gd name="T19" fmla="*/ 174 h 284"/>
                  <a:gd name="T20" fmla="*/ 395 w 518"/>
                  <a:gd name="T21" fmla="*/ 170 h 284"/>
                  <a:gd name="T22" fmla="*/ 381 w 518"/>
                  <a:gd name="T23" fmla="*/ 156 h 284"/>
                  <a:gd name="T24" fmla="*/ 347 w 518"/>
                  <a:gd name="T25" fmla="*/ 147 h 284"/>
                  <a:gd name="T26" fmla="*/ 329 w 518"/>
                  <a:gd name="T27" fmla="*/ 135 h 284"/>
                  <a:gd name="T28" fmla="*/ 303 w 518"/>
                  <a:gd name="T29" fmla="*/ 126 h 284"/>
                  <a:gd name="T30" fmla="*/ 283 w 518"/>
                  <a:gd name="T31" fmla="*/ 108 h 284"/>
                  <a:gd name="T32" fmla="*/ 250 w 518"/>
                  <a:gd name="T33" fmla="*/ 103 h 284"/>
                  <a:gd name="T34" fmla="*/ 224 w 518"/>
                  <a:gd name="T35" fmla="*/ 85 h 284"/>
                  <a:gd name="T36" fmla="*/ 204 w 518"/>
                  <a:gd name="T37" fmla="*/ 70 h 284"/>
                  <a:gd name="T38" fmla="*/ 169 w 518"/>
                  <a:gd name="T39" fmla="*/ 41 h 284"/>
                  <a:gd name="T40" fmla="*/ 148 w 518"/>
                  <a:gd name="T41" fmla="*/ 35 h 284"/>
                  <a:gd name="T42" fmla="*/ 134 w 518"/>
                  <a:gd name="T43" fmla="*/ 17 h 284"/>
                  <a:gd name="T44" fmla="*/ 113 w 518"/>
                  <a:gd name="T45" fmla="*/ 10 h 284"/>
                  <a:gd name="T46" fmla="*/ 98 w 518"/>
                  <a:gd name="T47" fmla="*/ 1 h 284"/>
                  <a:gd name="T48" fmla="*/ 86 w 518"/>
                  <a:gd name="T49" fmla="*/ 10 h 284"/>
                  <a:gd name="T50" fmla="*/ 77 w 518"/>
                  <a:gd name="T51" fmla="*/ 26 h 284"/>
                  <a:gd name="T52" fmla="*/ 62 w 518"/>
                  <a:gd name="T53" fmla="*/ 20 h 284"/>
                  <a:gd name="T54" fmla="*/ 52 w 518"/>
                  <a:gd name="T55" fmla="*/ 17 h 284"/>
                  <a:gd name="T56" fmla="*/ 43 w 518"/>
                  <a:gd name="T57" fmla="*/ 32 h 284"/>
                  <a:gd name="T58" fmla="*/ 25 w 518"/>
                  <a:gd name="T59" fmla="*/ 49 h 284"/>
                  <a:gd name="T60" fmla="*/ 18 w 518"/>
                  <a:gd name="T61" fmla="*/ 70 h 284"/>
                  <a:gd name="T62" fmla="*/ 13 w 518"/>
                  <a:gd name="T63" fmla="*/ 86 h 284"/>
                  <a:gd name="T64" fmla="*/ 3 w 518"/>
                  <a:gd name="T65" fmla="*/ 104 h 284"/>
                  <a:gd name="T66" fmla="*/ 17 w 518"/>
                  <a:gd name="T67" fmla="*/ 128 h 284"/>
                  <a:gd name="T68" fmla="*/ 43 w 518"/>
                  <a:gd name="T69" fmla="*/ 135 h 284"/>
                  <a:gd name="T70" fmla="*/ 61 w 518"/>
                  <a:gd name="T71" fmla="*/ 144 h 284"/>
                  <a:gd name="T72" fmla="*/ 84 w 518"/>
                  <a:gd name="T73" fmla="*/ 158 h 284"/>
                  <a:gd name="T74" fmla="*/ 106 w 518"/>
                  <a:gd name="T75" fmla="*/ 178 h 284"/>
                  <a:gd name="T76" fmla="*/ 121 w 518"/>
                  <a:gd name="T77" fmla="*/ 180 h 284"/>
                  <a:gd name="T78" fmla="*/ 135 w 518"/>
                  <a:gd name="T79" fmla="*/ 180 h 284"/>
                  <a:gd name="T80" fmla="*/ 160 w 518"/>
                  <a:gd name="T81" fmla="*/ 194 h 284"/>
                  <a:gd name="T82" fmla="*/ 182 w 518"/>
                  <a:gd name="T83" fmla="*/ 202 h 284"/>
                  <a:gd name="T84" fmla="*/ 198 w 518"/>
                  <a:gd name="T85" fmla="*/ 214 h 284"/>
                  <a:gd name="T86" fmla="*/ 221 w 518"/>
                  <a:gd name="T87" fmla="*/ 210 h 284"/>
                  <a:gd name="T88" fmla="*/ 246 w 518"/>
                  <a:gd name="T89" fmla="*/ 214 h 284"/>
                  <a:gd name="T90" fmla="*/ 263 w 518"/>
                  <a:gd name="T91" fmla="*/ 206 h 284"/>
                  <a:gd name="T92" fmla="*/ 284 w 518"/>
                  <a:gd name="T93" fmla="*/ 215 h 284"/>
                  <a:gd name="T94" fmla="*/ 297 w 518"/>
                  <a:gd name="T95" fmla="*/ 234 h 284"/>
                  <a:gd name="T96" fmla="*/ 317 w 518"/>
                  <a:gd name="T97" fmla="*/ 247 h 284"/>
                  <a:gd name="T98" fmla="*/ 341 w 518"/>
                  <a:gd name="T99" fmla="*/ 254 h 284"/>
                  <a:gd name="T100" fmla="*/ 363 w 518"/>
                  <a:gd name="T101" fmla="*/ 257 h 284"/>
                  <a:gd name="T102" fmla="*/ 385 w 518"/>
                  <a:gd name="T103" fmla="*/ 266 h 284"/>
                  <a:gd name="T104" fmla="*/ 426 w 518"/>
                  <a:gd name="T105" fmla="*/ 275 h 284"/>
                  <a:gd name="T106" fmla="*/ 450 w 518"/>
                  <a:gd name="T107" fmla="*/ 273 h 284"/>
                  <a:gd name="T108" fmla="*/ 475 w 518"/>
                  <a:gd name="T109" fmla="*/ 277 h 284"/>
                  <a:gd name="T110" fmla="*/ 501 w 518"/>
                  <a:gd name="T111" fmla="*/ 276 h 284"/>
                  <a:gd name="T112" fmla="*/ 518 w 518"/>
                  <a:gd name="T113" fmla="*/ 264 h 284"/>
                  <a:gd name="T114" fmla="*/ 513 w 518"/>
                  <a:gd name="T115" fmla="*/ 251 h 284"/>
                  <a:gd name="T116" fmla="*/ 507 w 518"/>
                  <a:gd name="T117" fmla="*/ 24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18" h="284">
                    <a:moveTo>
                      <a:pt x="507" y="240"/>
                    </a:moveTo>
                    <a:cubicBezTo>
                      <a:pt x="503" y="238"/>
                      <a:pt x="505" y="215"/>
                      <a:pt x="504" y="211"/>
                    </a:cubicBezTo>
                    <a:cubicBezTo>
                      <a:pt x="503" y="206"/>
                      <a:pt x="505" y="201"/>
                      <a:pt x="510" y="201"/>
                    </a:cubicBezTo>
                    <a:cubicBezTo>
                      <a:pt x="515" y="200"/>
                      <a:pt x="514" y="192"/>
                      <a:pt x="514" y="187"/>
                    </a:cubicBezTo>
                    <a:cubicBezTo>
                      <a:pt x="514" y="184"/>
                      <a:pt x="514" y="179"/>
                      <a:pt x="513" y="174"/>
                    </a:cubicBezTo>
                    <a:cubicBezTo>
                      <a:pt x="508" y="174"/>
                      <a:pt x="503" y="173"/>
                      <a:pt x="498" y="173"/>
                    </a:cubicBezTo>
                    <a:cubicBezTo>
                      <a:pt x="486" y="173"/>
                      <a:pt x="486" y="183"/>
                      <a:pt x="480" y="183"/>
                    </a:cubicBezTo>
                    <a:cubicBezTo>
                      <a:pt x="473" y="183"/>
                      <a:pt x="462" y="184"/>
                      <a:pt x="458" y="184"/>
                    </a:cubicBezTo>
                    <a:cubicBezTo>
                      <a:pt x="455" y="183"/>
                      <a:pt x="441" y="175"/>
                      <a:pt x="435" y="168"/>
                    </a:cubicBezTo>
                    <a:cubicBezTo>
                      <a:pt x="428" y="161"/>
                      <a:pt x="422" y="168"/>
                      <a:pt x="419" y="174"/>
                    </a:cubicBezTo>
                    <a:cubicBezTo>
                      <a:pt x="416" y="180"/>
                      <a:pt x="404" y="170"/>
                      <a:pt x="395" y="170"/>
                    </a:cubicBezTo>
                    <a:cubicBezTo>
                      <a:pt x="387" y="169"/>
                      <a:pt x="385" y="160"/>
                      <a:pt x="381" y="156"/>
                    </a:cubicBezTo>
                    <a:cubicBezTo>
                      <a:pt x="377" y="152"/>
                      <a:pt x="355" y="148"/>
                      <a:pt x="347" y="147"/>
                    </a:cubicBezTo>
                    <a:cubicBezTo>
                      <a:pt x="340" y="147"/>
                      <a:pt x="333" y="144"/>
                      <a:pt x="329" y="135"/>
                    </a:cubicBezTo>
                    <a:cubicBezTo>
                      <a:pt x="325" y="127"/>
                      <a:pt x="314" y="128"/>
                      <a:pt x="303" y="126"/>
                    </a:cubicBezTo>
                    <a:cubicBezTo>
                      <a:pt x="293" y="124"/>
                      <a:pt x="290" y="117"/>
                      <a:pt x="283" y="108"/>
                    </a:cubicBezTo>
                    <a:cubicBezTo>
                      <a:pt x="275" y="100"/>
                      <a:pt x="264" y="103"/>
                      <a:pt x="250" y="103"/>
                    </a:cubicBezTo>
                    <a:cubicBezTo>
                      <a:pt x="235" y="103"/>
                      <a:pt x="232" y="93"/>
                      <a:pt x="224" y="85"/>
                    </a:cubicBezTo>
                    <a:cubicBezTo>
                      <a:pt x="216" y="78"/>
                      <a:pt x="216" y="73"/>
                      <a:pt x="204" y="70"/>
                    </a:cubicBezTo>
                    <a:cubicBezTo>
                      <a:pt x="192" y="66"/>
                      <a:pt x="173" y="47"/>
                      <a:pt x="169" y="41"/>
                    </a:cubicBezTo>
                    <a:cubicBezTo>
                      <a:pt x="165" y="36"/>
                      <a:pt x="156" y="36"/>
                      <a:pt x="148" y="35"/>
                    </a:cubicBezTo>
                    <a:cubicBezTo>
                      <a:pt x="140" y="33"/>
                      <a:pt x="137" y="23"/>
                      <a:pt x="134" y="17"/>
                    </a:cubicBezTo>
                    <a:cubicBezTo>
                      <a:pt x="132" y="11"/>
                      <a:pt x="120" y="10"/>
                      <a:pt x="113" y="10"/>
                    </a:cubicBezTo>
                    <a:cubicBezTo>
                      <a:pt x="106" y="10"/>
                      <a:pt x="104" y="0"/>
                      <a:pt x="98" y="1"/>
                    </a:cubicBezTo>
                    <a:cubicBezTo>
                      <a:pt x="91" y="1"/>
                      <a:pt x="92" y="9"/>
                      <a:pt x="86" y="10"/>
                    </a:cubicBezTo>
                    <a:cubicBezTo>
                      <a:pt x="79" y="11"/>
                      <a:pt x="82" y="27"/>
                      <a:pt x="77" y="26"/>
                    </a:cubicBezTo>
                    <a:cubicBezTo>
                      <a:pt x="73" y="26"/>
                      <a:pt x="72" y="25"/>
                      <a:pt x="62" y="20"/>
                    </a:cubicBezTo>
                    <a:cubicBezTo>
                      <a:pt x="59" y="18"/>
                      <a:pt x="55" y="17"/>
                      <a:pt x="52" y="17"/>
                    </a:cubicBezTo>
                    <a:cubicBezTo>
                      <a:pt x="54" y="23"/>
                      <a:pt x="52" y="27"/>
                      <a:pt x="43" y="32"/>
                    </a:cubicBezTo>
                    <a:cubicBezTo>
                      <a:pt x="32" y="39"/>
                      <a:pt x="27" y="40"/>
                      <a:pt x="25" y="49"/>
                    </a:cubicBezTo>
                    <a:cubicBezTo>
                      <a:pt x="22" y="58"/>
                      <a:pt x="17" y="62"/>
                      <a:pt x="18" y="70"/>
                    </a:cubicBezTo>
                    <a:cubicBezTo>
                      <a:pt x="19" y="79"/>
                      <a:pt x="18" y="82"/>
                      <a:pt x="13" y="86"/>
                    </a:cubicBezTo>
                    <a:cubicBezTo>
                      <a:pt x="7" y="91"/>
                      <a:pt x="0" y="91"/>
                      <a:pt x="3" y="104"/>
                    </a:cubicBezTo>
                    <a:cubicBezTo>
                      <a:pt x="7" y="118"/>
                      <a:pt x="5" y="126"/>
                      <a:pt x="17" y="128"/>
                    </a:cubicBezTo>
                    <a:cubicBezTo>
                      <a:pt x="28" y="130"/>
                      <a:pt x="39" y="128"/>
                      <a:pt x="43" y="135"/>
                    </a:cubicBezTo>
                    <a:cubicBezTo>
                      <a:pt x="47" y="142"/>
                      <a:pt x="53" y="143"/>
                      <a:pt x="61" y="144"/>
                    </a:cubicBezTo>
                    <a:cubicBezTo>
                      <a:pt x="69" y="146"/>
                      <a:pt x="79" y="146"/>
                      <a:pt x="84" y="158"/>
                    </a:cubicBezTo>
                    <a:cubicBezTo>
                      <a:pt x="89" y="169"/>
                      <a:pt x="100" y="172"/>
                      <a:pt x="106" y="178"/>
                    </a:cubicBezTo>
                    <a:cubicBezTo>
                      <a:pt x="112" y="185"/>
                      <a:pt x="117" y="184"/>
                      <a:pt x="121" y="180"/>
                    </a:cubicBezTo>
                    <a:cubicBezTo>
                      <a:pt x="125" y="177"/>
                      <a:pt x="130" y="171"/>
                      <a:pt x="135" y="180"/>
                    </a:cubicBezTo>
                    <a:cubicBezTo>
                      <a:pt x="141" y="190"/>
                      <a:pt x="151" y="194"/>
                      <a:pt x="160" y="194"/>
                    </a:cubicBezTo>
                    <a:cubicBezTo>
                      <a:pt x="169" y="193"/>
                      <a:pt x="178" y="194"/>
                      <a:pt x="182" y="202"/>
                    </a:cubicBezTo>
                    <a:cubicBezTo>
                      <a:pt x="186" y="211"/>
                      <a:pt x="189" y="217"/>
                      <a:pt x="198" y="214"/>
                    </a:cubicBezTo>
                    <a:cubicBezTo>
                      <a:pt x="207" y="212"/>
                      <a:pt x="213" y="206"/>
                      <a:pt x="221" y="210"/>
                    </a:cubicBezTo>
                    <a:cubicBezTo>
                      <a:pt x="229" y="213"/>
                      <a:pt x="239" y="219"/>
                      <a:pt x="246" y="214"/>
                    </a:cubicBezTo>
                    <a:cubicBezTo>
                      <a:pt x="253" y="210"/>
                      <a:pt x="253" y="206"/>
                      <a:pt x="263" y="206"/>
                    </a:cubicBezTo>
                    <a:cubicBezTo>
                      <a:pt x="272" y="207"/>
                      <a:pt x="279" y="205"/>
                      <a:pt x="284" y="215"/>
                    </a:cubicBezTo>
                    <a:cubicBezTo>
                      <a:pt x="289" y="225"/>
                      <a:pt x="295" y="226"/>
                      <a:pt x="297" y="234"/>
                    </a:cubicBezTo>
                    <a:cubicBezTo>
                      <a:pt x="299" y="242"/>
                      <a:pt x="307" y="245"/>
                      <a:pt x="317" y="247"/>
                    </a:cubicBezTo>
                    <a:cubicBezTo>
                      <a:pt x="328" y="249"/>
                      <a:pt x="325" y="256"/>
                      <a:pt x="341" y="254"/>
                    </a:cubicBezTo>
                    <a:cubicBezTo>
                      <a:pt x="357" y="252"/>
                      <a:pt x="359" y="250"/>
                      <a:pt x="363" y="257"/>
                    </a:cubicBezTo>
                    <a:cubicBezTo>
                      <a:pt x="367" y="264"/>
                      <a:pt x="369" y="265"/>
                      <a:pt x="385" y="266"/>
                    </a:cubicBezTo>
                    <a:cubicBezTo>
                      <a:pt x="402" y="268"/>
                      <a:pt x="415" y="275"/>
                      <a:pt x="426" y="275"/>
                    </a:cubicBezTo>
                    <a:cubicBezTo>
                      <a:pt x="437" y="275"/>
                      <a:pt x="438" y="267"/>
                      <a:pt x="450" y="273"/>
                    </a:cubicBezTo>
                    <a:cubicBezTo>
                      <a:pt x="462" y="279"/>
                      <a:pt x="464" y="278"/>
                      <a:pt x="475" y="277"/>
                    </a:cubicBezTo>
                    <a:cubicBezTo>
                      <a:pt x="485" y="276"/>
                      <a:pt x="495" y="284"/>
                      <a:pt x="501" y="276"/>
                    </a:cubicBezTo>
                    <a:cubicBezTo>
                      <a:pt x="506" y="271"/>
                      <a:pt x="511" y="263"/>
                      <a:pt x="518" y="264"/>
                    </a:cubicBezTo>
                    <a:cubicBezTo>
                      <a:pt x="517" y="258"/>
                      <a:pt x="513" y="256"/>
                      <a:pt x="513" y="251"/>
                    </a:cubicBezTo>
                    <a:cubicBezTo>
                      <a:pt x="513" y="246"/>
                      <a:pt x="512" y="242"/>
                      <a:pt x="507" y="24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0" name="Freeform 244">
                <a:extLst>
                  <a:ext uri="{FF2B5EF4-FFF2-40B4-BE49-F238E27FC236}">
                    <a16:creationId xmlns:a16="http://schemas.microsoft.com/office/drawing/2014/main" id="{B5CF870D-8151-EA47-AA0A-7BF3B6603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" y="2109"/>
                <a:ext cx="57" cy="32"/>
              </a:xfrm>
              <a:custGeom>
                <a:avLst/>
                <a:gdLst>
                  <a:gd name="T0" fmla="*/ 5 w 227"/>
                  <a:gd name="T1" fmla="*/ 75 h 124"/>
                  <a:gd name="T2" fmla="*/ 7 w 227"/>
                  <a:gd name="T3" fmla="*/ 95 h 124"/>
                  <a:gd name="T4" fmla="*/ 21 w 227"/>
                  <a:gd name="T5" fmla="*/ 111 h 124"/>
                  <a:gd name="T6" fmla="*/ 47 w 227"/>
                  <a:gd name="T7" fmla="*/ 117 h 124"/>
                  <a:gd name="T8" fmla="*/ 68 w 227"/>
                  <a:gd name="T9" fmla="*/ 122 h 124"/>
                  <a:gd name="T10" fmla="*/ 89 w 227"/>
                  <a:gd name="T11" fmla="*/ 116 h 124"/>
                  <a:gd name="T12" fmla="*/ 100 w 227"/>
                  <a:gd name="T13" fmla="*/ 107 h 124"/>
                  <a:gd name="T14" fmla="*/ 113 w 227"/>
                  <a:gd name="T15" fmla="*/ 114 h 124"/>
                  <a:gd name="T16" fmla="*/ 129 w 227"/>
                  <a:gd name="T17" fmla="*/ 116 h 124"/>
                  <a:gd name="T18" fmla="*/ 159 w 227"/>
                  <a:gd name="T19" fmla="*/ 110 h 124"/>
                  <a:gd name="T20" fmla="*/ 191 w 227"/>
                  <a:gd name="T21" fmla="*/ 109 h 124"/>
                  <a:gd name="T22" fmla="*/ 221 w 227"/>
                  <a:gd name="T23" fmla="*/ 107 h 124"/>
                  <a:gd name="T24" fmla="*/ 208 w 227"/>
                  <a:gd name="T25" fmla="*/ 93 h 124"/>
                  <a:gd name="T26" fmla="*/ 199 w 227"/>
                  <a:gd name="T27" fmla="*/ 70 h 124"/>
                  <a:gd name="T28" fmla="*/ 180 w 227"/>
                  <a:gd name="T29" fmla="*/ 61 h 124"/>
                  <a:gd name="T30" fmla="*/ 182 w 227"/>
                  <a:gd name="T31" fmla="*/ 51 h 124"/>
                  <a:gd name="T32" fmla="*/ 192 w 227"/>
                  <a:gd name="T33" fmla="*/ 49 h 124"/>
                  <a:gd name="T34" fmla="*/ 183 w 227"/>
                  <a:gd name="T35" fmla="*/ 35 h 124"/>
                  <a:gd name="T36" fmla="*/ 170 w 227"/>
                  <a:gd name="T37" fmla="*/ 24 h 124"/>
                  <a:gd name="T38" fmla="*/ 142 w 227"/>
                  <a:gd name="T39" fmla="*/ 27 h 124"/>
                  <a:gd name="T40" fmla="*/ 119 w 227"/>
                  <a:gd name="T41" fmla="*/ 29 h 124"/>
                  <a:gd name="T42" fmla="*/ 100 w 227"/>
                  <a:gd name="T43" fmla="*/ 12 h 124"/>
                  <a:gd name="T44" fmla="*/ 83 w 227"/>
                  <a:gd name="T45" fmla="*/ 4 h 124"/>
                  <a:gd name="T46" fmla="*/ 69 w 227"/>
                  <a:gd name="T47" fmla="*/ 9 h 124"/>
                  <a:gd name="T48" fmla="*/ 47 w 227"/>
                  <a:gd name="T49" fmla="*/ 27 h 124"/>
                  <a:gd name="T50" fmla="*/ 33 w 227"/>
                  <a:gd name="T51" fmla="*/ 43 h 124"/>
                  <a:gd name="T52" fmla="*/ 21 w 227"/>
                  <a:gd name="T53" fmla="*/ 61 h 124"/>
                  <a:gd name="T54" fmla="*/ 8 w 227"/>
                  <a:gd name="T55" fmla="*/ 64 h 124"/>
                  <a:gd name="T56" fmla="*/ 5 w 227"/>
                  <a:gd name="T57" fmla="*/ 7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27" h="124">
                    <a:moveTo>
                      <a:pt x="5" y="75"/>
                    </a:moveTo>
                    <a:cubicBezTo>
                      <a:pt x="6" y="86"/>
                      <a:pt x="0" y="92"/>
                      <a:pt x="7" y="95"/>
                    </a:cubicBezTo>
                    <a:cubicBezTo>
                      <a:pt x="14" y="98"/>
                      <a:pt x="11" y="111"/>
                      <a:pt x="21" y="111"/>
                    </a:cubicBezTo>
                    <a:cubicBezTo>
                      <a:pt x="30" y="111"/>
                      <a:pt x="45" y="114"/>
                      <a:pt x="47" y="117"/>
                    </a:cubicBezTo>
                    <a:cubicBezTo>
                      <a:pt x="49" y="120"/>
                      <a:pt x="61" y="123"/>
                      <a:pt x="68" y="122"/>
                    </a:cubicBezTo>
                    <a:cubicBezTo>
                      <a:pt x="74" y="122"/>
                      <a:pt x="86" y="124"/>
                      <a:pt x="89" y="116"/>
                    </a:cubicBezTo>
                    <a:cubicBezTo>
                      <a:pt x="91" y="107"/>
                      <a:pt x="93" y="107"/>
                      <a:pt x="100" y="107"/>
                    </a:cubicBezTo>
                    <a:cubicBezTo>
                      <a:pt x="108" y="107"/>
                      <a:pt x="112" y="109"/>
                      <a:pt x="113" y="114"/>
                    </a:cubicBezTo>
                    <a:cubicBezTo>
                      <a:pt x="114" y="120"/>
                      <a:pt x="126" y="122"/>
                      <a:pt x="129" y="116"/>
                    </a:cubicBezTo>
                    <a:cubicBezTo>
                      <a:pt x="133" y="110"/>
                      <a:pt x="150" y="110"/>
                      <a:pt x="159" y="110"/>
                    </a:cubicBezTo>
                    <a:cubicBezTo>
                      <a:pt x="169" y="110"/>
                      <a:pt x="178" y="109"/>
                      <a:pt x="191" y="109"/>
                    </a:cubicBezTo>
                    <a:cubicBezTo>
                      <a:pt x="203" y="109"/>
                      <a:pt x="227" y="113"/>
                      <a:pt x="221" y="107"/>
                    </a:cubicBezTo>
                    <a:cubicBezTo>
                      <a:pt x="214" y="101"/>
                      <a:pt x="208" y="97"/>
                      <a:pt x="208" y="93"/>
                    </a:cubicBezTo>
                    <a:cubicBezTo>
                      <a:pt x="207" y="89"/>
                      <a:pt x="209" y="71"/>
                      <a:pt x="199" y="70"/>
                    </a:cubicBezTo>
                    <a:cubicBezTo>
                      <a:pt x="190" y="69"/>
                      <a:pt x="182" y="63"/>
                      <a:pt x="180" y="61"/>
                    </a:cubicBezTo>
                    <a:cubicBezTo>
                      <a:pt x="179" y="58"/>
                      <a:pt x="179" y="53"/>
                      <a:pt x="182" y="51"/>
                    </a:cubicBezTo>
                    <a:cubicBezTo>
                      <a:pt x="185" y="50"/>
                      <a:pt x="189" y="51"/>
                      <a:pt x="192" y="49"/>
                    </a:cubicBezTo>
                    <a:cubicBezTo>
                      <a:pt x="187" y="49"/>
                      <a:pt x="190" y="38"/>
                      <a:pt x="183" y="35"/>
                    </a:cubicBezTo>
                    <a:cubicBezTo>
                      <a:pt x="176" y="32"/>
                      <a:pt x="179" y="29"/>
                      <a:pt x="170" y="24"/>
                    </a:cubicBezTo>
                    <a:cubicBezTo>
                      <a:pt x="162" y="19"/>
                      <a:pt x="149" y="28"/>
                      <a:pt x="142" y="27"/>
                    </a:cubicBezTo>
                    <a:cubicBezTo>
                      <a:pt x="135" y="26"/>
                      <a:pt x="127" y="28"/>
                      <a:pt x="119" y="29"/>
                    </a:cubicBezTo>
                    <a:cubicBezTo>
                      <a:pt x="110" y="29"/>
                      <a:pt x="108" y="14"/>
                      <a:pt x="100" y="12"/>
                    </a:cubicBezTo>
                    <a:cubicBezTo>
                      <a:pt x="93" y="10"/>
                      <a:pt x="88" y="9"/>
                      <a:pt x="83" y="4"/>
                    </a:cubicBezTo>
                    <a:cubicBezTo>
                      <a:pt x="79" y="0"/>
                      <a:pt x="74" y="8"/>
                      <a:pt x="69" y="9"/>
                    </a:cubicBezTo>
                    <a:cubicBezTo>
                      <a:pt x="64" y="10"/>
                      <a:pt x="54" y="24"/>
                      <a:pt x="47" y="27"/>
                    </a:cubicBezTo>
                    <a:cubicBezTo>
                      <a:pt x="39" y="29"/>
                      <a:pt x="38" y="41"/>
                      <a:pt x="33" y="43"/>
                    </a:cubicBezTo>
                    <a:cubicBezTo>
                      <a:pt x="28" y="45"/>
                      <a:pt x="25" y="50"/>
                      <a:pt x="21" y="61"/>
                    </a:cubicBezTo>
                    <a:cubicBezTo>
                      <a:pt x="18" y="70"/>
                      <a:pt x="11" y="67"/>
                      <a:pt x="8" y="64"/>
                    </a:cubicBezTo>
                    <a:cubicBezTo>
                      <a:pt x="6" y="67"/>
                      <a:pt x="5" y="71"/>
                      <a:pt x="5" y="7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1" name="Freeform 245">
                <a:extLst>
                  <a:ext uri="{FF2B5EF4-FFF2-40B4-BE49-F238E27FC236}">
                    <a16:creationId xmlns:a16="http://schemas.microsoft.com/office/drawing/2014/main" id="{F2892DAB-01E5-E444-B22C-4884FA8AB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8" y="2555"/>
                <a:ext cx="10" cy="6"/>
              </a:xfrm>
              <a:custGeom>
                <a:avLst/>
                <a:gdLst>
                  <a:gd name="T0" fmla="*/ 28 w 37"/>
                  <a:gd name="T1" fmla="*/ 2 h 26"/>
                  <a:gd name="T2" fmla="*/ 7 w 37"/>
                  <a:gd name="T3" fmla="*/ 8 h 26"/>
                  <a:gd name="T4" fmla="*/ 0 w 37"/>
                  <a:gd name="T5" fmla="*/ 23 h 26"/>
                  <a:gd name="T6" fmla="*/ 37 w 37"/>
                  <a:gd name="T7" fmla="*/ 6 h 26"/>
                  <a:gd name="T8" fmla="*/ 28 w 37"/>
                  <a:gd name="T9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6">
                    <a:moveTo>
                      <a:pt x="28" y="2"/>
                    </a:moveTo>
                    <a:cubicBezTo>
                      <a:pt x="23" y="0"/>
                      <a:pt x="17" y="5"/>
                      <a:pt x="7" y="8"/>
                    </a:cubicBezTo>
                    <a:cubicBezTo>
                      <a:pt x="2" y="10"/>
                      <a:pt x="0" y="17"/>
                      <a:pt x="0" y="23"/>
                    </a:cubicBezTo>
                    <a:cubicBezTo>
                      <a:pt x="11" y="26"/>
                      <a:pt x="33" y="19"/>
                      <a:pt x="37" y="6"/>
                    </a:cubicBezTo>
                    <a:cubicBezTo>
                      <a:pt x="34" y="5"/>
                      <a:pt x="31" y="3"/>
                      <a:pt x="28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2" name="Freeform 246">
                <a:extLst>
                  <a:ext uri="{FF2B5EF4-FFF2-40B4-BE49-F238E27FC236}">
                    <a16:creationId xmlns:a16="http://schemas.microsoft.com/office/drawing/2014/main" id="{CA50B2B9-199D-144D-BFA1-F8C7038BD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5" y="2420"/>
                <a:ext cx="42" cy="67"/>
              </a:xfrm>
              <a:custGeom>
                <a:avLst/>
                <a:gdLst>
                  <a:gd name="T0" fmla="*/ 154 w 166"/>
                  <a:gd name="T1" fmla="*/ 130 h 266"/>
                  <a:gd name="T2" fmla="*/ 117 w 166"/>
                  <a:gd name="T3" fmla="*/ 107 h 266"/>
                  <a:gd name="T4" fmla="*/ 68 w 166"/>
                  <a:gd name="T5" fmla="*/ 25 h 266"/>
                  <a:gd name="T6" fmla="*/ 27 w 166"/>
                  <a:gd name="T7" fmla="*/ 1 h 266"/>
                  <a:gd name="T8" fmla="*/ 22 w 166"/>
                  <a:gd name="T9" fmla="*/ 18 h 266"/>
                  <a:gd name="T10" fmla="*/ 29 w 166"/>
                  <a:gd name="T11" fmla="*/ 42 h 266"/>
                  <a:gd name="T12" fmla="*/ 24 w 166"/>
                  <a:gd name="T13" fmla="*/ 61 h 266"/>
                  <a:gd name="T14" fmla="*/ 5 w 166"/>
                  <a:gd name="T15" fmla="*/ 75 h 266"/>
                  <a:gd name="T16" fmla="*/ 4 w 166"/>
                  <a:gd name="T17" fmla="*/ 103 h 266"/>
                  <a:gd name="T18" fmla="*/ 1 w 166"/>
                  <a:gd name="T19" fmla="*/ 133 h 266"/>
                  <a:gd name="T20" fmla="*/ 1 w 166"/>
                  <a:gd name="T21" fmla="*/ 176 h 266"/>
                  <a:gd name="T22" fmla="*/ 5 w 166"/>
                  <a:gd name="T23" fmla="*/ 200 h 266"/>
                  <a:gd name="T24" fmla="*/ 11 w 166"/>
                  <a:gd name="T25" fmla="*/ 227 h 266"/>
                  <a:gd name="T26" fmla="*/ 29 w 166"/>
                  <a:gd name="T27" fmla="*/ 250 h 266"/>
                  <a:gd name="T28" fmla="*/ 50 w 166"/>
                  <a:gd name="T29" fmla="*/ 263 h 266"/>
                  <a:gd name="T30" fmla="*/ 70 w 166"/>
                  <a:gd name="T31" fmla="*/ 260 h 266"/>
                  <a:gd name="T32" fmla="*/ 100 w 166"/>
                  <a:gd name="T33" fmla="*/ 248 h 266"/>
                  <a:gd name="T34" fmla="*/ 142 w 166"/>
                  <a:gd name="T35" fmla="*/ 216 h 266"/>
                  <a:gd name="T36" fmla="*/ 146 w 166"/>
                  <a:gd name="T37" fmla="*/ 177 h 266"/>
                  <a:gd name="T38" fmla="*/ 154 w 166"/>
                  <a:gd name="T39" fmla="*/ 13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6" h="266">
                    <a:moveTo>
                      <a:pt x="154" y="130"/>
                    </a:moveTo>
                    <a:cubicBezTo>
                      <a:pt x="142" y="122"/>
                      <a:pt x="120" y="126"/>
                      <a:pt x="117" y="107"/>
                    </a:cubicBezTo>
                    <a:cubicBezTo>
                      <a:pt x="115" y="89"/>
                      <a:pt x="79" y="32"/>
                      <a:pt x="68" y="25"/>
                    </a:cubicBezTo>
                    <a:cubicBezTo>
                      <a:pt x="58" y="17"/>
                      <a:pt x="45" y="0"/>
                      <a:pt x="27" y="1"/>
                    </a:cubicBezTo>
                    <a:cubicBezTo>
                      <a:pt x="27" y="1"/>
                      <a:pt x="13" y="11"/>
                      <a:pt x="22" y="18"/>
                    </a:cubicBezTo>
                    <a:cubicBezTo>
                      <a:pt x="31" y="25"/>
                      <a:pt x="29" y="26"/>
                      <a:pt x="29" y="42"/>
                    </a:cubicBezTo>
                    <a:cubicBezTo>
                      <a:pt x="28" y="58"/>
                      <a:pt x="33" y="57"/>
                      <a:pt x="24" y="61"/>
                    </a:cubicBezTo>
                    <a:cubicBezTo>
                      <a:pt x="15" y="65"/>
                      <a:pt x="4" y="65"/>
                      <a:pt x="5" y="75"/>
                    </a:cubicBezTo>
                    <a:cubicBezTo>
                      <a:pt x="6" y="86"/>
                      <a:pt x="7" y="97"/>
                      <a:pt x="4" y="103"/>
                    </a:cubicBezTo>
                    <a:cubicBezTo>
                      <a:pt x="0" y="109"/>
                      <a:pt x="3" y="126"/>
                      <a:pt x="1" y="133"/>
                    </a:cubicBezTo>
                    <a:cubicBezTo>
                      <a:pt x="0" y="140"/>
                      <a:pt x="1" y="166"/>
                      <a:pt x="1" y="176"/>
                    </a:cubicBezTo>
                    <a:cubicBezTo>
                      <a:pt x="1" y="187"/>
                      <a:pt x="1" y="190"/>
                      <a:pt x="5" y="200"/>
                    </a:cubicBezTo>
                    <a:cubicBezTo>
                      <a:pt x="10" y="210"/>
                      <a:pt x="9" y="217"/>
                      <a:pt x="11" y="227"/>
                    </a:cubicBezTo>
                    <a:cubicBezTo>
                      <a:pt x="13" y="237"/>
                      <a:pt x="22" y="241"/>
                      <a:pt x="29" y="250"/>
                    </a:cubicBezTo>
                    <a:cubicBezTo>
                      <a:pt x="36" y="259"/>
                      <a:pt x="42" y="261"/>
                      <a:pt x="50" y="263"/>
                    </a:cubicBezTo>
                    <a:cubicBezTo>
                      <a:pt x="58" y="266"/>
                      <a:pt x="66" y="265"/>
                      <a:pt x="70" y="260"/>
                    </a:cubicBezTo>
                    <a:cubicBezTo>
                      <a:pt x="75" y="256"/>
                      <a:pt x="89" y="250"/>
                      <a:pt x="100" y="248"/>
                    </a:cubicBezTo>
                    <a:cubicBezTo>
                      <a:pt x="110" y="245"/>
                      <a:pt x="140" y="224"/>
                      <a:pt x="142" y="216"/>
                    </a:cubicBezTo>
                    <a:cubicBezTo>
                      <a:pt x="143" y="207"/>
                      <a:pt x="142" y="188"/>
                      <a:pt x="146" y="177"/>
                    </a:cubicBezTo>
                    <a:cubicBezTo>
                      <a:pt x="150" y="166"/>
                      <a:pt x="166" y="138"/>
                      <a:pt x="154" y="13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3" name="Freeform 247">
                <a:extLst>
                  <a:ext uri="{FF2B5EF4-FFF2-40B4-BE49-F238E27FC236}">
                    <a16:creationId xmlns:a16="http://schemas.microsoft.com/office/drawing/2014/main" id="{A31548F6-7754-AE40-9927-C26C30CFA8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6" y="2272"/>
                <a:ext cx="169" cy="105"/>
              </a:xfrm>
              <a:custGeom>
                <a:avLst/>
                <a:gdLst>
                  <a:gd name="T0" fmla="*/ 595 w 668"/>
                  <a:gd name="T1" fmla="*/ 0 h 418"/>
                  <a:gd name="T2" fmla="*/ 364 w 668"/>
                  <a:gd name="T3" fmla="*/ 81 h 418"/>
                  <a:gd name="T4" fmla="*/ 295 w 668"/>
                  <a:gd name="T5" fmla="*/ 167 h 418"/>
                  <a:gd name="T6" fmla="*/ 232 w 668"/>
                  <a:gd name="T7" fmla="*/ 133 h 418"/>
                  <a:gd name="T8" fmla="*/ 121 w 668"/>
                  <a:gd name="T9" fmla="*/ 99 h 418"/>
                  <a:gd name="T10" fmla="*/ 99 w 668"/>
                  <a:gd name="T11" fmla="*/ 102 h 418"/>
                  <a:gd name="T12" fmla="*/ 82 w 668"/>
                  <a:gd name="T13" fmla="*/ 105 h 418"/>
                  <a:gd name="T14" fmla="*/ 68 w 668"/>
                  <a:gd name="T15" fmla="*/ 99 h 418"/>
                  <a:gd name="T16" fmla="*/ 56 w 668"/>
                  <a:gd name="T17" fmla="*/ 92 h 418"/>
                  <a:gd name="T18" fmla="*/ 40 w 668"/>
                  <a:gd name="T19" fmla="*/ 104 h 418"/>
                  <a:gd name="T20" fmla="*/ 27 w 668"/>
                  <a:gd name="T21" fmla="*/ 123 h 418"/>
                  <a:gd name="T22" fmla="*/ 33 w 668"/>
                  <a:gd name="T23" fmla="*/ 149 h 418"/>
                  <a:gd name="T24" fmla="*/ 9 w 668"/>
                  <a:gd name="T25" fmla="*/ 162 h 418"/>
                  <a:gd name="T26" fmla="*/ 4 w 668"/>
                  <a:gd name="T27" fmla="*/ 224 h 418"/>
                  <a:gd name="T28" fmla="*/ 23 w 668"/>
                  <a:gd name="T29" fmla="*/ 288 h 418"/>
                  <a:gd name="T30" fmla="*/ 39 w 668"/>
                  <a:gd name="T31" fmla="*/ 365 h 418"/>
                  <a:gd name="T32" fmla="*/ 67 w 668"/>
                  <a:gd name="T33" fmla="*/ 410 h 418"/>
                  <a:gd name="T34" fmla="*/ 112 w 668"/>
                  <a:gd name="T35" fmla="*/ 407 h 418"/>
                  <a:gd name="T36" fmla="*/ 147 w 668"/>
                  <a:gd name="T37" fmla="*/ 403 h 418"/>
                  <a:gd name="T38" fmla="*/ 183 w 668"/>
                  <a:gd name="T39" fmla="*/ 370 h 418"/>
                  <a:gd name="T40" fmla="*/ 261 w 668"/>
                  <a:gd name="T41" fmla="*/ 355 h 418"/>
                  <a:gd name="T42" fmla="*/ 308 w 668"/>
                  <a:gd name="T43" fmla="*/ 338 h 418"/>
                  <a:gd name="T44" fmla="*/ 351 w 668"/>
                  <a:gd name="T45" fmla="*/ 320 h 418"/>
                  <a:gd name="T46" fmla="*/ 410 w 668"/>
                  <a:gd name="T47" fmla="*/ 294 h 418"/>
                  <a:gd name="T48" fmla="*/ 464 w 668"/>
                  <a:gd name="T49" fmla="*/ 267 h 418"/>
                  <a:gd name="T50" fmla="*/ 530 w 668"/>
                  <a:gd name="T51" fmla="*/ 254 h 418"/>
                  <a:gd name="T52" fmla="*/ 590 w 668"/>
                  <a:gd name="T53" fmla="*/ 224 h 418"/>
                  <a:gd name="T54" fmla="*/ 615 w 668"/>
                  <a:gd name="T55" fmla="*/ 179 h 418"/>
                  <a:gd name="T56" fmla="*/ 646 w 668"/>
                  <a:gd name="T57" fmla="*/ 158 h 418"/>
                  <a:gd name="T58" fmla="*/ 668 w 668"/>
                  <a:gd name="T59" fmla="*/ 151 h 418"/>
                  <a:gd name="T60" fmla="*/ 596 w 668"/>
                  <a:gd name="T61" fmla="*/ 0 h 418"/>
                  <a:gd name="T62" fmla="*/ 595 w 668"/>
                  <a:gd name="T6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68" h="418">
                    <a:moveTo>
                      <a:pt x="595" y="0"/>
                    </a:moveTo>
                    <a:cubicBezTo>
                      <a:pt x="595" y="0"/>
                      <a:pt x="407" y="59"/>
                      <a:pt x="364" y="81"/>
                    </a:cubicBezTo>
                    <a:cubicBezTo>
                      <a:pt x="322" y="102"/>
                      <a:pt x="323" y="109"/>
                      <a:pt x="295" y="167"/>
                    </a:cubicBezTo>
                    <a:cubicBezTo>
                      <a:pt x="267" y="226"/>
                      <a:pt x="254" y="150"/>
                      <a:pt x="232" y="133"/>
                    </a:cubicBezTo>
                    <a:cubicBezTo>
                      <a:pt x="211" y="115"/>
                      <a:pt x="127" y="105"/>
                      <a:pt x="121" y="99"/>
                    </a:cubicBezTo>
                    <a:cubicBezTo>
                      <a:pt x="114" y="93"/>
                      <a:pt x="104" y="98"/>
                      <a:pt x="99" y="102"/>
                    </a:cubicBezTo>
                    <a:cubicBezTo>
                      <a:pt x="95" y="107"/>
                      <a:pt x="89" y="105"/>
                      <a:pt x="82" y="105"/>
                    </a:cubicBezTo>
                    <a:cubicBezTo>
                      <a:pt x="75" y="105"/>
                      <a:pt x="71" y="105"/>
                      <a:pt x="68" y="99"/>
                    </a:cubicBezTo>
                    <a:cubicBezTo>
                      <a:pt x="66" y="94"/>
                      <a:pt x="64" y="94"/>
                      <a:pt x="56" y="92"/>
                    </a:cubicBezTo>
                    <a:cubicBezTo>
                      <a:pt x="48" y="90"/>
                      <a:pt x="40" y="94"/>
                      <a:pt x="40" y="104"/>
                    </a:cubicBezTo>
                    <a:cubicBezTo>
                      <a:pt x="39" y="114"/>
                      <a:pt x="34" y="117"/>
                      <a:pt x="27" y="123"/>
                    </a:cubicBezTo>
                    <a:cubicBezTo>
                      <a:pt x="19" y="130"/>
                      <a:pt x="33" y="139"/>
                      <a:pt x="33" y="149"/>
                    </a:cubicBezTo>
                    <a:cubicBezTo>
                      <a:pt x="34" y="156"/>
                      <a:pt x="19" y="160"/>
                      <a:pt x="9" y="162"/>
                    </a:cubicBezTo>
                    <a:cubicBezTo>
                      <a:pt x="11" y="178"/>
                      <a:pt x="7" y="199"/>
                      <a:pt x="4" y="224"/>
                    </a:cubicBezTo>
                    <a:cubicBezTo>
                      <a:pt x="0" y="259"/>
                      <a:pt x="8" y="261"/>
                      <a:pt x="23" y="288"/>
                    </a:cubicBezTo>
                    <a:cubicBezTo>
                      <a:pt x="37" y="315"/>
                      <a:pt x="41" y="342"/>
                      <a:pt x="39" y="365"/>
                    </a:cubicBezTo>
                    <a:cubicBezTo>
                      <a:pt x="36" y="388"/>
                      <a:pt x="56" y="403"/>
                      <a:pt x="67" y="410"/>
                    </a:cubicBezTo>
                    <a:cubicBezTo>
                      <a:pt x="79" y="417"/>
                      <a:pt x="102" y="418"/>
                      <a:pt x="112" y="407"/>
                    </a:cubicBezTo>
                    <a:cubicBezTo>
                      <a:pt x="122" y="396"/>
                      <a:pt x="129" y="404"/>
                      <a:pt x="147" y="403"/>
                    </a:cubicBezTo>
                    <a:cubicBezTo>
                      <a:pt x="166" y="401"/>
                      <a:pt x="176" y="381"/>
                      <a:pt x="183" y="370"/>
                    </a:cubicBezTo>
                    <a:cubicBezTo>
                      <a:pt x="190" y="358"/>
                      <a:pt x="242" y="358"/>
                      <a:pt x="261" y="355"/>
                    </a:cubicBezTo>
                    <a:cubicBezTo>
                      <a:pt x="279" y="353"/>
                      <a:pt x="295" y="348"/>
                      <a:pt x="308" y="338"/>
                    </a:cubicBezTo>
                    <a:cubicBezTo>
                      <a:pt x="321" y="328"/>
                      <a:pt x="331" y="314"/>
                      <a:pt x="351" y="320"/>
                    </a:cubicBezTo>
                    <a:cubicBezTo>
                      <a:pt x="371" y="325"/>
                      <a:pt x="393" y="320"/>
                      <a:pt x="410" y="294"/>
                    </a:cubicBezTo>
                    <a:cubicBezTo>
                      <a:pt x="427" y="268"/>
                      <a:pt x="440" y="282"/>
                      <a:pt x="464" y="267"/>
                    </a:cubicBezTo>
                    <a:cubicBezTo>
                      <a:pt x="489" y="251"/>
                      <a:pt x="494" y="261"/>
                      <a:pt x="530" y="254"/>
                    </a:cubicBezTo>
                    <a:cubicBezTo>
                      <a:pt x="566" y="246"/>
                      <a:pt x="566" y="228"/>
                      <a:pt x="590" y="224"/>
                    </a:cubicBezTo>
                    <a:cubicBezTo>
                      <a:pt x="615" y="219"/>
                      <a:pt x="610" y="192"/>
                      <a:pt x="615" y="179"/>
                    </a:cubicBezTo>
                    <a:cubicBezTo>
                      <a:pt x="619" y="166"/>
                      <a:pt x="632" y="165"/>
                      <a:pt x="646" y="158"/>
                    </a:cubicBezTo>
                    <a:cubicBezTo>
                      <a:pt x="654" y="154"/>
                      <a:pt x="661" y="152"/>
                      <a:pt x="668" y="151"/>
                    </a:cubicBezTo>
                    <a:cubicBezTo>
                      <a:pt x="596" y="0"/>
                      <a:pt x="596" y="0"/>
                      <a:pt x="596" y="0"/>
                    </a:cubicBezTo>
                    <a:cubicBezTo>
                      <a:pt x="595" y="0"/>
                      <a:pt x="595" y="0"/>
                      <a:pt x="595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4" name="Freeform 248">
                <a:extLst>
                  <a:ext uri="{FF2B5EF4-FFF2-40B4-BE49-F238E27FC236}">
                    <a16:creationId xmlns:a16="http://schemas.microsoft.com/office/drawing/2014/main" id="{2D45D9E7-6DB5-A742-BCDF-BA31781CD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9" y="2043"/>
                <a:ext cx="338" cy="286"/>
              </a:xfrm>
              <a:custGeom>
                <a:avLst/>
                <a:gdLst>
                  <a:gd name="T0" fmla="*/ 763 w 1334"/>
                  <a:gd name="T1" fmla="*/ 218 h 1131"/>
                  <a:gd name="T2" fmla="*/ 758 w 1334"/>
                  <a:gd name="T3" fmla="*/ 218 h 1131"/>
                  <a:gd name="T4" fmla="*/ 752 w 1334"/>
                  <a:gd name="T5" fmla="*/ 218 h 1131"/>
                  <a:gd name="T6" fmla="*/ 747 w 1334"/>
                  <a:gd name="T7" fmla="*/ 218 h 1131"/>
                  <a:gd name="T8" fmla="*/ 742 w 1334"/>
                  <a:gd name="T9" fmla="*/ 218 h 1131"/>
                  <a:gd name="T10" fmla="*/ 725 w 1334"/>
                  <a:gd name="T11" fmla="*/ 217 h 1131"/>
                  <a:gd name="T12" fmla="*/ 718 w 1334"/>
                  <a:gd name="T13" fmla="*/ 217 h 1131"/>
                  <a:gd name="T14" fmla="*/ 706 w 1334"/>
                  <a:gd name="T15" fmla="*/ 217 h 1131"/>
                  <a:gd name="T16" fmla="*/ 698 w 1334"/>
                  <a:gd name="T17" fmla="*/ 217 h 1131"/>
                  <a:gd name="T18" fmla="*/ 686 w 1334"/>
                  <a:gd name="T19" fmla="*/ 216 h 1131"/>
                  <a:gd name="T20" fmla="*/ 678 w 1334"/>
                  <a:gd name="T21" fmla="*/ 216 h 1131"/>
                  <a:gd name="T22" fmla="*/ 667 w 1334"/>
                  <a:gd name="T23" fmla="*/ 215 h 1131"/>
                  <a:gd name="T24" fmla="*/ 660 w 1334"/>
                  <a:gd name="T25" fmla="*/ 214 h 1131"/>
                  <a:gd name="T26" fmla="*/ 510 w 1334"/>
                  <a:gd name="T27" fmla="*/ 112 h 1131"/>
                  <a:gd name="T28" fmla="*/ 301 w 1334"/>
                  <a:gd name="T29" fmla="*/ 7 h 1131"/>
                  <a:gd name="T30" fmla="*/ 170 w 1334"/>
                  <a:gd name="T31" fmla="*/ 60 h 1131"/>
                  <a:gd name="T32" fmla="*/ 195 w 1334"/>
                  <a:gd name="T33" fmla="*/ 124 h 1131"/>
                  <a:gd name="T34" fmla="*/ 89 w 1334"/>
                  <a:gd name="T35" fmla="*/ 206 h 1131"/>
                  <a:gd name="T36" fmla="*/ 10 w 1334"/>
                  <a:gd name="T37" fmla="*/ 196 h 1131"/>
                  <a:gd name="T38" fmla="*/ 8 w 1334"/>
                  <a:gd name="T39" fmla="*/ 202 h 1131"/>
                  <a:gd name="T40" fmla="*/ 5 w 1334"/>
                  <a:gd name="T41" fmla="*/ 211 h 1131"/>
                  <a:gd name="T42" fmla="*/ 20 w 1334"/>
                  <a:gd name="T43" fmla="*/ 283 h 1131"/>
                  <a:gd name="T44" fmla="*/ 143 w 1334"/>
                  <a:gd name="T45" fmla="*/ 459 h 1131"/>
                  <a:gd name="T46" fmla="*/ 206 w 1334"/>
                  <a:gd name="T47" fmla="*/ 557 h 1131"/>
                  <a:gd name="T48" fmla="*/ 275 w 1334"/>
                  <a:gd name="T49" fmla="*/ 683 h 1131"/>
                  <a:gd name="T50" fmla="*/ 306 w 1334"/>
                  <a:gd name="T51" fmla="*/ 796 h 1131"/>
                  <a:gd name="T52" fmla="*/ 414 w 1334"/>
                  <a:gd name="T53" fmla="*/ 915 h 1131"/>
                  <a:gd name="T54" fmla="*/ 504 w 1334"/>
                  <a:gd name="T55" fmla="*/ 1048 h 1131"/>
                  <a:gd name="T56" fmla="*/ 530 w 1334"/>
                  <a:gd name="T57" fmla="*/ 1028 h 1131"/>
                  <a:gd name="T58" fmla="*/ 571 w 1334"/>
                  <a:gd name="T59" fmla="*/ 1004 h 1131"/>
                  <a:gd name="T60" fmla="*/ 624 w 1334"/>
                  <a:gd name="T61" fmla="*/ 1004 h 1131"/>
                  <a:gd name="T62" fmla="*/ 867 w 1334"/>
                  <a:gd name="T63" fmla="*/ 986 h 1131"/>
                  <a:gd name="T64" fmla="*/ 1099 w 1334"/>
                  <a:gd name="T65" fmla="*/ 904 h 1131"/>
                  <a:gd name="T66" fmla="*/ 1309 w 1334"/>
                  <a:gd name="T67" fmla="*/ 780 h 1131"/>
                  <a:gd name="T68" fmla="*/ 1309 w 1334"/>
                  <a:gd name="T69" fmla="*/ 669 h 1131"/>
                  <a:gd name="T70" fmla="*/ 1308 w 1334"/>
                  <a:gd name="T71" fmla="*/ 664 h 1131"/>
                  <a:gd name="T72" fmla="*/ 1307 w 1334"/>
                  <a:gd name="T73" fmla="*/ 658 h 1131"/>
                  <a:gd name="T74" fmla="*/ 1193 w 1334"/>
                  <a:gd name="T75" fmla="*/ 640 h 1131"/>
                  <a:gd name="T76" fmla="*/ 1097 w 1334"/>
                  <a:gd name="T77" fmla="*/ 594 h 1131"/>
                  <a:gd name="T78" fmla="*/ 1063 w 1334"/>
                  <a:gd name="T79" fmla="*/ 522 h 1131"/>
                  <a:gd name="T80" fmla="*/ 1034 w 1334"/>
                  <a:gd name="T81" fmla="*/ 526 h 1131"/>
                  <a:gd name="T82" fmla="*/ 1013 w 1334"/>
                  <a:gd name="T83" fmla="*/ 494 h 1131"/>
                  <a:gd name="T84" fmla="*/ 976 w 1334"/>
                  <a:gd name="T85" fmla="*/ 380 h 1131"/>
                  <a:gd name="T86" fmla="*/ 886 w 1334"/>
                  <a:gd name="T87" fmla="*/ 269 h 1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34" h="1131">
                    <a:moveTo>
                      <a:pt x="853" y="259"/>
                    </a:moveTo>
                    <a:cubicBezTo>
                      <a:pt x="837" y="259"/>
                      <a:pt x="822" y="260"/>
                      <a:pt x="818" y="240"/>
                    </a:cubicBezTo>
                    <a:cubicBezTo>
                      <a:pt x="814" y="220"/>
                      <a:pt x="781" y="218"/>
                      <a:pt x="763" y="218"/>
                    </a:cubicBezTo>
                    <a:cubicBezTo>
                      <a:pt x="763" y="218"/>
                      <a:pt x="761" y="218"/>
                      <a:pt x="760" y="218"/>
                    </a:cubicBezTo>
                    <a:cubicBezTo>
                      <a:pt x="760" y="218"/>
                      <a:pt x="760" y="218"/>
                      <a:pt x="759" y="218"/>
                    </a:cubicBezTo>
                    <a:cubicBezTo>
                      <a:pt x="759" y="218"/>
                      <a:pt x="758" y="218"/>
                      <a:pt x="758" y="218"/>
                    </a:cubicBezTo>
                    <a:cubicBezTo>
                      <a:pt x="757" y="218"/>
                      <a:pt x="757" y="218"/>
                      <a:pt x="757" y="218"/>
                    </a:cubicBezTo>
                    <a:cubicBezTo>
                      <a:pt x="756" y="218"/>
                      <a:pt x="755" y="218"/>
                      <a:pt x="754" y="218"/>
                    </a:cubicBezTo>
                    <a:cubicBezTo>
                      <a:pt x="754" y="218"/>
                      <a:pt x="753" y="218"/>
                      <a:pt x="752" y="218"/>
                    </a:cubicBezTo>
                    <a:cubicBezTo>
                      <a:pt x="752" y="218"/>
                      <a:pt x="752" y="218"/>
                      <a:pt x="752" y="218"/>
                    </a:cubicBezTo>
                    <a:cubicBezTo>
                      <a:pt x="752" y="218"/>
                      <a:pt x="751" y="218"/>
                      <a:pt x="751" y="218"/>
                    </a:cubicBezTo>
                    <a:cubicBezTo>
                      <a:pt x="750" y="218"/>
                      <a:pt x="749" y="218"/>
                      <a:pt x="747" y="218"/>
                    </a:cubicBezTo>
                    <a:cubicBezTo>
                      <a:pt x="747" y="218"/>
                      <a:pt x="747" y="218"/>
                      <a:pt x="747" y="218"/>
                    </a:cubicBezTo>
                    <a:cubicBezTo>
                      <a:pt x="746" y="218"/>
                      <a:pt x="744" y="218"/>
                      <a:pt x="742" y="218"/>
                    </a:cubicBezTo>
                    <a:cubicBezTo>
                      <a:pt x="742" y="218"/>
                      <a:pt x="742" y="218"/>
                      <a:pt x="742" y="218"/>
                    </a:cubicBezTo>
                    <a:cubicBezTo>
                      <a:pt x="740" y="218"/>
                      <a:pt x="738" y="218"/>
                      <a:pt x="737" y="218"/>
                    </a:cubicBezTo>
                    <a:cubicBezTo>
                      <a:pt x="736" y="218"/>
                      <a:pt x="736" y="218"/>
                      <a:pt x="736" y="218"/>
                    </a:cubicBezTo>
                    <a:cubicBezTo>
                      <a:pt x="733" y="218"/>
                      <a:pt x="729" y="218"/>
                      <a:pt x="725" y="217"/>
                    </a:cubicBezTo>
                    <a:cubicBezTo>
                      <a:pt x="725" y="217"/>
                      <a:pt x="724" y="217"/>
                      <a:pt x="724" y="217"/>
                    </a:cubicBezTo>
                    <a:cubicBezTo>
                      <a:pt x="722" y="217"/>
                      <a:pt x="720" y="217"/>
                      <a:pt x="718" y="217"/>
                    </a:cubicBezTo>
                    <a:cubicBezTo>
                      <a:pt x="718" y="217"/>
                      <a:pt x="718" y="217"/>
                      <a:pt x="718" y="217"/>
                    </a:cubicBezTo>
                    <a:cubicBezTo>
                      <a:pt x="716" y="217"/>
                      <a:pt x="714" y="217"/>
                      <a:pt x="712" y="217"/>
                    </a:cubicBezTo>
                    <a:cubicBezTo>
                      <a:pt x="712" y="217"/>
                      <a:pt x="712" y="217"/>
                      <a:pt x="712" y="217"/>
                    </a:cubicBezTo>
                    <a:cubicBezTo>
                      <a:pt x="710" y="217"/>
                      <a:pt x="708" y="217"/>
                      <a:pt x="706" y="217"/>
                    </a:cubicBezTo>
                    <a:cubicBezTo>
                      <a:pt x="705" y="217"/>
                      <a:pt x="705" y="217"/>
                      <a:pt x="705" y="217"/>
                    </a:cubicBezTo>
                    <a:cubicBezTo>
                      <a:pt x="703" y="217"/>
                      <a:pt x="701" y="217"/>
                      <a:pt x="699" y="217"/>
                    </a:cubicBezTo>
                    <a:cubicBezTo>
                      <a:pt x="699" y="217"/>
                      <a:pt x="698" y="217"/>
                      <a:pt x="698" y="217"/>
                    </a:cubicBezTo>
                    <a:cubicBezTo>
                      <a:pt x="696" y="217"/>
                      <a:pt x="694" y="217"/>
                      <a:pt x="692" y="216"/>
                    </a:cubicBezTo>
                    <a:cubicBezTo>
                      <a:pt x="692" y="216"/>
                      <a:pt x="692" y="216"/>
                      <a:pt x="692" y="216"/>
                    </a:cubicBezTo>
                    <a:cubicBezTo>
                      <a:pt x="690" y="216"/>
                      <a:pt x="688" y="216"/>
                      <a:pt x="686" y="216"/>
                    </a:cubicBezTo>
                    <a:cubicBezTo>
                      <a:pt x="686" y="216"/>
                      <a:pt x="685" y="216"/>
                      <a:pt x="685" y="216"/>
                    </a:cubicBezTo>
                    <a:cubicBezTo>
                      <a:pt x="683" y="216"/>
                      <a:pt x="681" y="216"/>
                      <a:pt x="679" y="216"/>
                    </a:cubicBezTo>
                    <a:cubicBezTo>
                      <a:pt x="679" y="216"/>
                      <a:pt x="679" y="216"/>
                      <a:pt x="678" y="216"/>
                    </a:cubicBezTo>
                    <a:cubicBezTo>
                      <a:pt x="676" y="216"/>
                      <a:pt x="675" y="216"/>
                      <a:pt x="673" y="215"/>
                    </a:cubicBezTo>
                    <a:cubicBezTo>
                      <a:pt x="673" y="215"/>
                      <a:pt x="673" y="215"/>
                      <a:pt x="673" y="215"/>
                    </a:cubicBezTo>
                    <a:cubicBezTo>
                      <a:pt x="671" y="215"/>
                      <a:pt x="669" y="215"/>
                      <a:pt x="667" y="215"/>
                    </a:cubicBezTo>
                    <a:cubicBezTo>
                      <a:pt x="667" y="215"/>
                      <a:pt x="667" y="215"/>
                      <a:pt x="666" y="215"/>
                    </a:cubicBezTo>
                    <a:cubicBezTo>
                      <a:pt x="664" y="215"/>
                      <a:pt x="663" y="215"/>
                      <a:pt x="661" y="214"/>
                    </a:cubicBezTo>
                    <a:cubicBezTo>
                      <a:pt x="661" y="214"/>
                      <a:pt x="661" y="214"/>
                      <a:pt x="660" y="214"/>
                    </a:cubicBezTo>
                    <a:cubicBezTo>
                      <a:pt x="659" y="214"/>
                      <a:pt x="657" y="214"/>
                      <a:pt x="655" y="214"/>
                    </a:cubicBezTo>
                    <a:cubicBezTo>
                      <a:pt x="622" y="210"/>
                      <a:pt x="609" y="194"/>
                      <a:pt x="594" y="180"/>
                    </a:cubicBezTo>
                    <a:cubicBezTo>
                      <a:pt x="579" y="167"/>
                      <a:pt x="526" y="123"/>
                      <a:pt x="510" y="112"/>
                    </a:cubicBezTo>
                    <a:cubicBezTo>
                      <a:pt x="494" y="102"/>
                      <a:pt x="462" y="70"/>
                      <a:pt x="443" y="64"/>
                    </a:cubicBezTo>
                    <a:cubicBezTo>
                      <a:pt x="425" y="59"/>
                      <a:pt x="410" y="56"/>
                      <a:pt x="383" y="31"/>
                    </a:cubicBezTo>
                    <a:cubicBezTo>
                      <a:pt x="357" y="6"/>
                      <a:pt x="325" y="14"/>
                      <a:pt x="301" y="7"/>
                    </a:cubicBezTo>
                    <a:cubicBezTo>
                      <a:pt x="277" y="0"/>
                      <a:pt x="267" y="4"/>
                      <a:pt x="258" y="12"/>
                    </a:cubicBezTo>
                    <a:cubicBezTo>
                      <a:pt x="249" y="20"/>
                      <a:pt x="226" y="22"/>
                      <a:pt x="205" y="26"/>
                    </a:cubicBezTo>
                    <a:cubicBezTo>
                      <a:pt x="183" y="30"/>
                      <a:pt x="174" y="42"/>
                      <a:pt x="170" y="60"/>
                    </a:cubicBezTo>
                    <a:cubicBezTo>
                      <a:pt x="166" y="79"/>
                      <a:pt x="175" y="83"/>
                      <a:pt x="185" y="88"/>
                    </a:cubicBezTo>
                    <a:cubicBezTo>
                      <a:pt x="194" y="94"/>
                      <a:pt x="194" y="99"/>
                      <a:pt x="199" y="106"/>
                    </a:cubicBezTo>
                    <a:cubicBezTo>
                      <a:pt x="205" y="112"/>
                      <a:pt x="203" y="123"/>
                      <a:pt x="195" y="124"/>
                    </a:cubicBezTo>
                    <a:cubicBezTo>
                      <a:pt x="187" y="126"/>
                      <a:pt x="183" y="132"/>
                      <a:pt x="182" y="146"/>
                    </a:cubicBezTo>
                    <a:cubicBezTo>
                      <a:pt x="181" y="159"/>
                      <a:pt x="159" y="156"/>
                      <a:pt x="141" y="156"/>
                    </a:cubicBezTo>
                    <a:cubicBezTo>
                      <a:pt x="122" y="156"/>
                      <a:pt x="103" y="194"/>
                      <a:pt x="89" y="206"/>
                    </a:cubicBezTo>
                    <a:cubicBezTo>
                      <a:pt x="74" y="218"/>
                      <a:pt x="69" y="210"/>
                      <a:pt x="54" y="202"/>
                    </a:cubicBezTo>
                    <a:cubicBezTo>
                      <a:pt x="43" y="196"/>
                      <a:pt x="21" y="196"/>
                      <a:pt x="10" y="196"/>
                    </a:cubicBezTo>
                    <a:cubicBezTo>
                      <a:pt x="10" y="196"/>
                      <a:pt x="10" y="196"/>
                      <a:pt x="10" y="196"/>
                    </a:cubicBezTo>
                    <a:cubicBezTo>
                      <a:pt x="10" y="197"/>
                      <a:pt x="10" y="198"/>
                      <a:pt x="9" y="199"/>
                    </a:cubicBezTo>
                    <a:cubicBezTo>
                      <a:pt x="9" y="199"/>
                      <a:pt x="9" y="199"/>
                      <a:pt x="9" y="199"/>
                    </a:cubicBezTo>
                    <a:cubicBezTo>
                      <a:pt x="9" y="200"/>
                      <a:pt x="9" y="201"/>
                      <a:pt x="8" y="202"/>
                    </a:cubicBezTo>
                    <a:cubicBezTo>
                      <a:pt x="8" y="203"/>
                      <a:pt x="8" y="203"/>
                      <a:pt x="8" y="204"/>
                    </a:cubicBezTo>
                    <a:cubicBezTo>
                      <a:pt x="7" y="204"/>
                      <a:pt x="7" y="205"/>
                      <a:pt x="7" y="206"/>
                    </a:cubicBezTo>
                    <a:cubicBezTo>
                      <a:pt x="6" y="207"/>
                      <a:pt x="6" y="209"/>
                      <a:pt x="5" y="211"/>
                    </a:cubicBezTo>
                    <a:cubicBezTo>
                      <a:pt x="11" y="211"/>
                      <a:pt x="6" y="224"/>
                      <a:pt x="10" y="240"/>
                    </a:cubicBezTo>
                    <a:cubicBezTo>
                      <a:pt x="14" y="258"/>
                      <a:pt x="3" y="256"/>
                      <a:pt x="1" y="273"/>
                    </a:cubicBezTo>
                    <a:cubicBezTo>
                      <a:pt x="0" y="290"/>
                      <a:pt x="4" y="283"/>
                      <a:pt x="20" y="283"/>
                    </a:cubicBezTo>
                    <a:cubicBezTo>
                      <a:pt x="36" y="283"/>
                      <a:pt x="43" y="306"/>
                      <a:pt x="57" y="327"/>
                    </a:cubicBezTo>
                    <a:cubicBezTo>
                      <a:pt x="71" y="349"/>
                      <a:pt x="80" y="365"/>
                      <a:pt x="93" y="390"/>
                    </a:cubicBezTo>
                    <a:cubicBezTo>
                      <a:pt x="106" y="416"/>
                      <a:pt x="129" y="438"/>
                      <a:pt x="143" y="459"/>
                    </a:cubicBezTo>
                    <a:cubicBezTo>
                      <a:pt x="157" y="481"/>
                      <a:pt x="157" y="473"/>
                      <a:pt x="157" y="494"/>
                    </a:cubicBezTo>
                    <a:cubicBezTo>
                      <a:pt x="157" y="514"/>
                      <a:pt x="160" y="512"/>
                      <a:pt x="170" y="532"/>
                    </a:cubicBezTo>
                    <a:cubicBezTo>
                      <a:pt x="180" y="552"/>
                      <a:pt x="185" y="552"/>
                      <a:pt x="206" y="557"/>
                    </a:cubicBezTo>
                    <a:cubicBezTo>
                      <a:pt x="228" y="561"/>
                      <a:pt x="236" y="577"/>
                      <a:pt x="245" y="595"/>
                    </a:cubicBezTo>
                    <a:cubicBezTo>
                      <a:pt x="253" y="614"/>
                      <a:pt x="265" y="625"/>
                      <a:pt x="272" y="641"/>
                    </a:cubicBezTo>
                    <a:cubicBezTo>
                      <a:pt x="279" y="657"/>
                      <a:pt x="282" y="670"/>
                      <a:pt x="275" y="683"/>
                    </a:cubicBezTo>
                    <a:cubicBezTo>
                      <a:pt x="268" y="696"/>
                      <a:pt x="272" y="701"/>
                      <a:pt x="278" y="717"/>
                    </a:cubicBezTo>
                    <a:cubicBezTo>
                      <a:pt x="284" y="733"/>
                      <a:pt x="279" y="742"/>
                      <a:pt x="282" y="752"/>
                    </a:cubicBezTo>
                    <a:cubicBezTo>
                      <a:pt x="285" y="762"/>
                      <a:pt x="298" y="783"/>
                      <a:pt x="306" y="796"/>
                    </a:cubicBezTo>
                    <a:cubicBezTo>
                      <a:pt x="315" y="809"/>
                      <a:pt x="321" y="809"/>
                      <a:pt x="342" y="813"/>
                    </a:cubicBezTo>
                    <a:cubicBezTo>
                      <a:pt x="364" y="817"/>
                      <a:pt x="375" y="838"/>
                      <a:pt x="387" y="853"/>
                    </a:cubicBezTo>
                    <a:cubicBezTo>
                      <a:pt x="398" y="869"/>
                      <a:pt x="410" y="893"/>
                      <a:pt x="414" y="915"/>
                    </a:cubicBezTo>
                    <a:cubicBezTo>
                      <a:pt x="418" y="936"/>
                      <a:pt x="445" y="972"/>
                      <a:pt x="464" y="982"/>
                    </a:cubicBezTo>
                    <a:cubicBezTo>
                      <a:pt x="483" y="992"/>
                      <a:pt x="481" y="998"/>
                      <a:pt x="484" y="1012"/>
                    </a:cubicBezTo>
                    <a:cubicBezTo>
                      <a:pt x="487" y="1027"/>
                      <a:pt x="490" y="1032"/>
                      <a:pt x="504" y="1048"/>
                    </a:cubicBezTo>
                    <a:cubicBezTo>
                      <a:pt x="509" y="1053"/>
                      <a:pt x="511" y="1060"/>
                      <a:pt x="512" y="1067"/>
                    </a:cubicBezTo>
                    <a:cubicBezTo>
                      <a:pt x="522" y="1065"/>
                      <a:pt x="537" y="1061"/>
                      <a:pt x="536" y="1054"/>
                    </a:cubicBezTo>
                    <a:cubicBezTo>
                      <a:pt x="536" y="1044"/>
                      <a:pt x="522" y="1035"/>
                      <a:pt x="530" y="1028"/>
                    </a:cubicBezTo>
                    <a:cubicBezTo>
                      <a:pt x="537" y="1022"/>
                      <a:pt x="542" y="1019"/>
                      <a:pt x="543" y="1009"/>
                    </a:cubicBezTo>
                    <a:cubicBezTo>
                      <a:pt x="543" y="999"/>
                      <a:pt x="551" y="995"/>
                      <a:pt x="559" y="997"/>
                    </a:cubicBezTo>
                    <a:cubicBezTo>
                      <a:pt x="567" y="999"/>
                      <a:pt x="569" y="999"/>
                      <a:pt x="571" y="1004"/>
                    </a:cubicBezTo>
                    <a:cubicBezTo>
                      <a:pt x="574" y="1010"/>
                      <a:pt x="578" y="1010"/>
                      <a:pt x="585" y="1010"/>
                    </a:cubicBezTo>
                    <a:cubicBezTo>
                      <a:pt x="592" y="1010"/>
                      <a:pt x="598" y="1012"/>
                      <a:pt x="602" y="1007"/>
                    </a:cubicBezTo>
                    <a:cubicBezTo>
                      <a:pt x="607" y="1003"/>
                      <a:pt x="617" y="998"/>
                      <a:pt x="624" y="1004"/>
                    </a:cubicBezTo>
                    <a:cubicBezTo>
                      <a:pt x="630" y="1010"/>
                      <a:pt x="714" y="1020"/>
                      <a:pt x="735" y="1038"/>
                    </a:cubicBezTo>
                    <a:cubicBezTo>
                      <a:pt x="757" y="1055"/>
                      <a:pt x="770" y="1131"/>
                      <a:pt x="798" y="1072"/>
                    </a:cubicBezTo>
                    <a:cubicBezTo>
                      <a:pt x="826" y="1014"/>
                      <a:pt x="825" y="1007"/>
                      <a:pt x="867" y="986"/>
                    </a:cubicBezTo>
                    <a:cubicBezTo>
                      <a:pt x="910" y="964"/>
                      <a:pt x="1098" y="905"/>
                      <a:pt x="1098" y="905"/>
                    </a:cubicBezTo>
                    <a:cubicBezTo>
                      <a:pt x="1098" y="905"/>
                      <a:pt x="1098" y="905"/>
                      <a:pt x="1099" y="905"/>
                    </a:cubicBezTo>
                    <a:cubicBezTo>
                      <a:pt x="1099" y="904"/>
                      <a:pt x="1099" y="904"/>
                      <a:pt x="1099" y="904"/>
                    </a:cubicBezTo>
                    <a:cubicBezTo>
                      <a:pt x="1099" y="904"/>
                      <a:pt x="1189" y="870"/>
                      <a:pt x="1203" y="866"/>
                    </a:cubicBezTo>
                    <a:cubicBezTo>
                      <a:pt x="1218" y="863"/>
                      <a:pt x="1289" y="843"/>
                      <a:pt x="1294" y="824"/>
                    </a:cubicBezTo>
                    <a:cubicBezTo>
                      <a:pt x="1299" y="804"/>
                      <a:pt x="1303" y="787"/>
                      <a:pt x="1309" y="780"/>
                    </a:cubicBezTo>
                    <a:cubicBezTo>
                      <a:pt x="1315" y="774"/>
                      <a:pt x="1313" y="743"/>
                      <a:pt x="1323" y="736"/>
                    </a:cubicBezTo>
                    <a:cubicBezTo>
                      <a:pt x="1332" y="730"/>
                      <a:pt x="1334" y="710"/>
                      <a:pt x="1332" y="701"/>
                    </a:cubicBezTo>
                    <a:cubicBezTo>
                      <a:pt x="1330" y="692"/>
                      <a:pt x="1311" y="676"/>
                      <a:pt x="1309" y="669"/>
                    </a:cubicBezTo>
                    <a:cubicBezTo>
                      <a:pt x="1309" y="668"/>
                      <a:pt x="1309" y="667"/>
                      <a:pt x="1309" y="667"/>
                    </a:cubicBezTo>
                    <a:cubicBezTo>
                      <a:pt x="1308" y="666"/>
                      <a:pt x="1308" y="665"/>
                      <a:pt x="1308" y="664"/>
                    </a:cubicBezTo>
                    <a:cubicBezTo>
                      <a:pt x="1308" y="664"/>
                      <a:pt x="1308" y="664"/>
                      <a:pt x="1308" y="664"/>
                    </a:cubicBezTo>
                    <a:cubicBezTo>
                      <a:pt x="1308" y="663"/>
                      <a:pt x="1307" y="662"/>
                      <a:pt x="1307" y="661"/>
                    </a:cubicBezTo>
                    <a:cubicBezTo>
                      <a:pt x="1307" y="661"/>
                      <a:pt x="1307" y="661"/>
                      <a:pt x="1307" y="661"/>
                    </a:cubicBezTo>
                    <a:cubicBezTo>
                      <a:pt x="1307" y="660"/>
                      <a:pt x="1307" y="659"/>
                      <a:pt x="1307" y="658"/>
                    </a:cubicBezTo>
                    <a:cubicBezTo>
                      <a:pt x="1307" y="658"/>
                      <a:pt x="1307" y="658"/>
                      <a:pt x="1307" y="658"/>
                    </a:cubicBezTo>
                    <a:cubicBezTo>
                      <a:pt x="1284" y="656"/>
                      <a:pt x="1240" y="653"/>
                      <a:pt x="1229" y="653"/>
                    </a:cubicBezTo>
                    <a:cubicBezTo>
                      <a:pt x="1216" y="653"/>
                      <a:pt x="1206" y="644"/>
                      <a:pt x="1193" y="640"/>
                    </a:cubicBezTo>
                    <a:cubicBezTo>
                      <a:pt x="1179" y="637"/>
                      <a:pt x="1165" y="642"/>
                      <a:pt x="1149" y="644"/>
                    </a:cubicBezTo>
                    <a:cubicBezTo>
                      <a:pt x="1132" y="646"/>
                      <a:pt x="1125" y="630"/>
                      <a:pt x="1121" y="624"/>
                    </a:cubicBezTo>
                    <a:cubicBezTo>
                      <a:pt x="1116" y="618"/>
                      <a:pt x="1103" y="603"/>
                      <a:pt x="1097" y="594"/>
                    </a:cubicBezTo>
                    <a:cubicBezTo>
                      <a:pt x="1093" y="590"/>
                      <a:pt x="1092" y="580"/>
                      <a:pt x="1091" y="571"/>
                    </a:cubicBezTo>
                    <a:cubicBezTo>
                      <a:pt x="1086" y="566"/>
                      <a:pt x="1082" y="555"/>
                      <a:pt x="1076" y="549"/>
                    </a:cubicBezTo>
                    <a:cubicBezTo>
                      <a:pt x="1066" y="539"/>
                      <a:pt x="1060" y="532"/>
                      <a:pt x="1063" y="522"/>
                    </a:cubicBezTo>
                    <a:cubicBezTo>
                      <a:pt x="1063" y="522"/>
                      <a:pt x="1064" y="521"/>
                      <a:pt x="1064" y="521"/>
                    </a:cubicBezTo>
                    <a:cubicBezTo>
                      <a:pt x="1058" y="521"/>
                      <a:pt x="1055" y="524"/>
                      <a:pt x="1049" y="527"/>
                    </a:cubicBezTo>
                    <a:cubicBezTo>
                      <a:pt x="1041" y="530"/>
                      <a:pt x="1038" y="527"/>
                      <a:pt x="1034" y="526"/>
                    </a:cubicBezTo>
                    <a:cubicBezTo>
                      <a:pt x="1029" y="524"/>
                      <a:pt x="1024" y="514"/>
                      <a:pt x="1023" y="510"/>
                    </a:cubicBezTo>
                    <a:cubicBezTo>
                      <a:pt x="1022" y="506"/>
                      <a:pt x="1018" y="504"/>
                      <a:pt x="1015" y="501"/>
                    </a:cubicBezTo>
                    <a:cubicBezTo>
                      <a:pt x="1013" y="500"/>
                      <a:pt x="1013" y="497"/>
                      <a:pt x="1013" y="494"/>
                    </a:cubicBezTo>
                    <a:cubicBezTo>
                      <a:pt x="1010" y="493"/>
                      <a:pt x="1007" y="491"/>
                      <a:pt x="1006" y="485"/>
                    </a:cubicBezTo>
                    <a:cubicBezTo>
                      <a:pt x="1002" y="469"/>
                      <a:pt x="997" y="456"/>
                      <a:pt x="980" y="439"/>
                    </a:cubicBezTo>
                    <a:cubicBezTo>
                      <a:pt x="963" y="422"/>
                      <a:pt x="980" y="405"/>
                      <a:pt x="976" y="380"/>
                    </a:cubicBezTo>
                    <a:cubicBezTo>
                      <a:pt x="972" y="356"/>
                      <a:pt x="954" y="352"/>
                      <a:pt x="943" y="347"/>
                    </a:cubicBezTo>
                    <a:cubicBezTo>
                      <a:pt x="931" y="343"/>
                      <a:pt x="923" y="332"/>
                      <a:pt x="907" y="323"/>
                    </a:cubicBezTo>
                    <a:cubicBezTo>
                      <a:pt x="891" y="314"/>
                      <a:pt x="888" y="290"/>
                      <a:pt x="886" y="269"/>
                    </a:cubicBezTo>
                    <a:cubicBezTo>
                      <a:pt x="884" y="260"/>
                      <a:pt x="881" y="255"/>
                      <a:pt x="878" y="251"/>
                    </a:cubicBezTo>
                    <a:cubicBezTo>
                      <a:pt x="874" y="259"/>
                      <a:pt x="865" y="259"/>
                      <a:pt x="853" y="25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5" name="Freeform 249">
                <a:extLst>
                  <a:ext uri="{FF2B5EF4-FFF2-40B4-BE49-F238E27FC236}">
                    <a16:creationId xmlns:a16="http://schemas.microsoft.com/office/drawing/2014/main" id="{5FF26F66-1AE6-F84F-81CA-E323D9394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2301"/>
                <a:ext cx="10" cy="11"/>
              </a:xfrm>
              <a:custGeom>
                <a:avLst/>
                <a:gdLst>
                  <a:gd name="T0" fmla="*/ 26 w 40"/>
                  <a:gd name="T1" fmla="*/ 22 h 44"/>
                  <a:gd name="T2" fmla="*/ 22 w 40"/>
                  <a:gd name="T3" fmla="*/ 13 h 44"/>
                  <a:gd name="T4" fmla="*/ 11 w 40"/>
                  <a:gd name="T5" fmla="*/ 0 h 44"/>
                  <a:gd name="T6" fmla="*/ 10 w 40"/>
                  <a:gd name="T7" fmla="*/ 14 h 44"/>
                  <a:gd name="T8" fmla="*/ 3 w 40"/>
                  <a:gd name="T9" fmla="*/ 18 h 44"/>
                  <a:gd name="T10" fmla="*/ 8 w 40"/>
                  <a:gd name="T11" fmla="*/ 27 h 44"/>
                  <a:gd name="T12" fmla="*/ 23 w 40"/>
                  <a:gd name="T13" fmla="*/ 36 h 44"/>
                  <a:gd name="T14" fmla="*/ 36 w 40"/>
                  <a:gd name="T15" fmla="*/ 40 h 44"/>
                  <a:gd name="T16" fmla="*/ 26 w 40"/>
                  <a:gd name="T17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4">
                    <a:moveTo>
                      <a:pt x="26" y="22"/>
                    </a:moveTo>
                    <a:cubicBezTo>
                      <a:pt x="26" y="22"/>
                      <a:pt x="22" y="18"/>
                      <a:pt x="22" y="13"/>
                    </a:cubicBezTo>
                    <a:cubicBezTo>
                      <a:pt x="22" y="9"/>
                      <a:pt x="14" y="0"/>
                      <a:pt x="11" y="0"/>
                    </a:cubicBezTo>
                    <a:cubicBezTo>
                      <a:pt x="7" y="1"/>
                      <a:pt x="11" y="11"/>
                      <a:pt x="10" y="14"/>
                    </a:cubicBezTo>
                    <a:cubicBezTo>
                      <a:pt x="10" y="16"/>
                      <a:pt x="5" y="16"/>
                      <a:pt x="3" y="18"/>
                    </a:cubicBezTo>
                    <a:cubicBezTo>
                      <a:pt x="0" y="20"/>
                      <a:pt x="2" y="26"/>
                      <a:pt x="8" y="27"/>
                    </a:cubicBezTo>
                    <a:cubicBezTo>
                      <a:pt x="13" y="29"/>
                      <a:pt x="19" y="32"/>
                      <a:pt x="23" y="36"/>
                    </a:cubicBezTo>
                    <a:cubicBezTo>
                      <a:pt x="27" y="40"/>
                      <a:pt x="36" y="44"/>
                      <a:pt x="36" y="40"/>
                    </a:cubicBezTo>
                    <a:cubicBezTo>
                      <a:pt x="37" y="35"/>
                      <a:pt x="40" y="32"/>
                      <a:pt x="26" y="2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6" name="Freeform 250">
                <a:extLst>
                  <a:ext uri="{FF2B5EF4-FFF2-40B4-BE49-F238E27FC236}">
                    <a16:creationId xmlns:a16="http://schemas.microsoft.com/office/drawing/2014/main" id="{21843343-B98E-0043-B2BC-C9A8616A2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" y="2016"/>
                <a:ext cx="14" cy="8"/>
              </a:xfrm>
              <a:custGeom>
                <a:avLst/>
                <a:gdLst>
                  <a:gd name="T0" fmla="*/ 28 w 57"/>
                  <a:gd name="T1" fmla="*/ 12 h 33"/>
                  <a:gd name="T2" fmla="*/ 6 w 57"/>
                  <a:gd name="T3" fmla="*/ 13 h 33"/>
                  <a:gd name="T4" fmla="*/ 18 w 57"/>
                  <a:gd name="T5" fmla="*/ 32 h 33"/>
                  <a:gd name="T6" fmla="*/ 43 w 57"/>
                  <a:gd name="T7" fmla="*/ 26 h 33"/>
                  <a:gd name="T8" fmla="*/ 50 w 57"/>
                  <a:gd name="T9" fmla="*/ 9 h 33"/>
                  <a:gd name="T10" fmla="*/ 28 w 57"/>
                  <a:gd name="T11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33">
                    <a:moveTo>
                      <a:pt x="28" y="12"/>
                    </a:moveTo>
                    <a:cubicBezTo>
                      <a:pt x="28" y="12"/>
                      <a:pt x="12" y="11"/>
                      <a:pt x="6" y="13"/>
                    </a:cubicBezTo>
                    <a:cubicBezTo>
                      <a:pt x="0" y="15"/>
                      <a:pt x="0" y="31"/>
                      <a:pt x="18" y="32"/>
                    </a:cubicBezTo>
                    <a:cubicBezTo>
                      <a:pt x="36" y="33"/>
                      <a:pt x="40" y="33"/>
                      <a:pt x="43" y="26"/>
                    </a:cubicBezTo>
                    <a:cubicBezTo>
                      <a:pt x="47" y="18"/>
                      <a:pt x="57" y="17"/>
                      <a:pt x="50" y="9"/>
                    </a:cubicBezTo>
                    <a:cubicBezTo>
                      <a:pt x="42" y="0"/>
                      <a:pt x="35" y="1"/>
                      <a:pt x="28" y="1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7" name="Freeform 251">
                <a:extLst>
                  <a:ext uri="{FF2B5EF4-FFF2-40B4-BE49-F238E27FC236}">
                    <a16:creationId xmlns:a16="http://schemas.microsoft.com/office/drawing/2014/main" id="{DCFEE612-9624-8341-82AA-26D32684E1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9" y="1992"/>
                <a:ext cx="7" cy="13"/>
              </a:xfrm>
              <a:custGeom>
                <a:avLst/>
                <a:gdLst>
                  <a:gd name="T0" fmla="*/ 19 w 26"/>
                  <a:gd name="T1" fmla="*/ 36 h 50"/>
                  <a:gd name="T2" fmla="*/ 10 w 26"/>
                  <a:gd name="T3" fmla="*/ 19 h 50"/>
                  <a:gd name="T4" fmla="*/ 5 w 26"/>
                  <a:gd name="T5" fmla="*/ 37 h 50"/>
                  <a:gd name="T6" fmla="*/ 19 w 26"/>
                  <a:gd name="T7" fmla="*/ 3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50">
                    <a:moveTo>
                      <a:pt x="19" y="36"/>
                    </a:moveTo>
                    <a:cubicBezTo>
                      <a:pt x="19" y="26"/>
                      <a:pt x="26" y="0"/>
                      <a:pt x="10" y="19"/>
                    </a:cubicBezTo>
                    <a:cubicBezTo>
                      <a:pt x="10" y="19"/>
                      <a:pt x="0" y="25"/>
                      <a:pt x="5" y="37"/>
                    </a:cubicBezTo>
                    <a:cubicBezTo>
                      <a:pt x="9" y="50"/>
                      <a:pt x="19" y="47"/>
                      <a:pt x="19" y="3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8" name="Freeform 252">
                <a:extLst>
                  <a:ext uri="{FF2B5EF4-FFF2-40B4-BE49-F238E27FC236}">
                    <a16:creationId xmlns:a16="http://schemas.microsoft.com/office/drawing/2014/main" id="{E7AA3623-2CB0-D545-BFD7-83C34B071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9" y="1924"/>
                <a:ext cx="59" cy="79"/>
              </a:xfrm>
              <a:custGeom>
                <a:avLst/>
                <a:gdLst>
                  <a:gd name="T0" fmla="*/ 134 w 233"/>
                  <a:gd name="T1" fmla="*/ 21 h 314"/>
                  <a:gd name="T2" fmla="*/ 88 w 233"/>
                  <a:gd name="T3" fmla="*/ 21 h 314"/>
                  <a:gd name="T4" fmla="*/ 45 w 233"/>
                  <a:gd name="T5" fmla="*/ 52 h 314"/>
                  <a:gd name="T6" fmla="*/ 35 w 233"/>
                  <a:gd name="T7" fmla="*/ 70 h 314"/>
                  <a:gd name="T8" fmla="*/ 43 w 233"/>
                  <a:gd name="T9" fmla="*/ 109 h 314"/>
                  <a:gd name="T10" fmla="*/ 23 w 233"/>
                  <a:gd name="T11" fmla="*/ 128 h 314"/>
                  <a:gd name="T12" fmla="*/ 23 w 233"/>
                  <a:gd name="T13" fmla="*/ 148 h 314"/>
                  <a:gd name="T14" fmla="*/ 35 w 233"/>
                  <a:gd name="T15" fmla="*/ 195 h 314"/>
                  <a:gd name="T16" fmla="*/ 19 w 233"/>
                  <a:gd name="T17" fmla="*/ 240 h 314"/>
                  <a:gd name="T18" fmla="*/ 22 w 233"/>
                  <a:gd name="T19" fmla="*/ 271 h 314"/>
                  <a:gd name="T20" fmla="*/ 10 w 233"/>
                  <a:gd name="T21" fmla="*/ 300 h 314"/>
                  <a:gd name="T22" fmla="*/ 38 w 233"/>
                  <a:gd name="T23" fmla="*/ 301 h 314"/>
                  <a:gd name="T24" fmla="*/ 84 w 233"/>
                  <a:gd name="T25" fmla="*/ 303 h 314"/>
                  <a:gd name="T26" fmla="*/ 119 w 233"/>
                  <a:gd name="T27" fmla="*/ 277 h 314"/>
                  <a:gd name="T28" fmla="*/ 165 w 233"/>
                  <a:gd name="T29" fmla="*/ 273 h 314"/>
                  <a:gd name="T30" fmla="*/ 204 w 233"/>
                  <a:gd name="T31" fmla="*/ 248 h 314"/>
                  <a:gd name="T32" fmla="*/ 221 w 233"/>
                  <a:gd name="T33" fmla="*/ 191 h 314"/>
                  <a:gd name="T34" fmla="*/ 217 w 233"/>
                  <a:gd name="T35" fmla="*/ 121 h 314"/>
                  <a:gd name="T36" fmla="*/ 182 w 233"/>
                  <a:gd name="T37" fmla="*/ 66 h 314"/>
                  <a:gd name="T38" fmla="*/ 154 w 233"/>
                  <a:gd name="T39" fmla="*/ 9 h 314"/>
                  <a:gd name="T40" fmla="*/ 150 w 233"/>
                  <a:gd name="T41" fmla="*/ 0 h 314"/>
                  <a:gd name="T42" fmla="*/ 134 w 233"/>
                  <a:gd name="T43" fmla="*/ 2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3" h="314">
                    <a:moveTo>
                      <a:pt x="134" y="21"/>
                    </a:moveTo>
                    <a:cubicBezTo>
                      <a:pt x="126" y="34"/>
                      <a:pt x="107" y="24"/>
                      <a:pt x="88" y="21"/>
                    </a:cubicBezTo>
                    <a:cubicBezTo>
                      <a:pt x="69" y="19"/>
                      <a:pt x="54" y="36"/>
                      <a:pt x="45" y="52"/>
                    </a:cubicBezTo>
                    <a:cubicBezTo>
                      <a:pt x="41" y="58"/>
                      <a:pt x="38" y="65"/>
                      <a:pt x="35" y="70"/>
                    </a:cubicBezTo>
                    <a:cubicBezTo>
                      <a:pt x="39" y="78"/>
                      <a:pt x="39" y="91"/>
                      <a:pt x="43" y="109"/>
                    </a:cubicBezTo>
                    <a:cubicBezTo>
                      <a:pt x="51" y="138"/>
                      <a:pt x="42" y="125"/>
                      <a:pt x="23" y="128"/>
                    </a:cubicBezTo>
                    <a:cubicBezTo>
                      <a:pt x="5" y="131"/>
                      <a:pt x="13" y="139"/>
                      <a:pt x="23" y="148"/>
                    </a:cubicBezTo>
                    <a:cubicBezTo>
                      <a:pt x="33" y="157"/>
                      <a:pt x="28" y="167"/>
                      <a:pt x="35" y="195"/>
                    </a:cubicBezTo>
                    <a:cubicBezTo>
                      <a:pt x="42" y="224"/>
                      <a:pt x="29" y="225"/>
                      <a:pt x="19" y="240"/>
                    </a:cubicBezTo>
                    <a:cubicBezTo>
                      <a:pt x="9" y="254"/>
                      <a:pt x="15" y="254"/>
                      <a:pt x="22" y="271"/>
                    </a:cubicBezTo>
                    <a:cubicBezTo>
                      <a:pt x="29" y="288"/>
                      <a:pt x="21" y="287"/>
                      <a:pt x="10" y="300"/>
                    </a:cubicBezTo>
                    <a:cubicBezTo>
                      <a:pt x="0" y="313"/>
                      <a:pt x="15" y="314"/>
                      <a:pt x="38" y="301"/>
                    </a:cubicBezTo>
                    <a:cubicBezTo>
                      <a:pt x="61" y="288"/>
                      <a:pt x="66" y="314"/>
                      <a:pt x="84" y="303"/>
                    </a:cubicBezTo>
                    <a:cubicBezTo>
                      <a:pt x="101" y="291"/>
                      <a:pt x="104" y="283"/>
                      <a:pt x="119" y="277"/>
                    </a:cubicBezTo>
                    <a:cubicBezTo>
                      <a:pt x="135" y="271"/>
                      <a:pt x="141" y="284"/>
                      <a:pt x="165" y="273"/>
                    </a:cubicBezTo>
                    <a:cubicBezTo>
                      <a:pt x="190" y="261"/>
                      <a:pt x="175" y="254"/>
                      <a:pt x="204" y="248"/>
                    </a:cubicBezTo>
                    <a:cubicBezTo>
                      <a:pt x="233" y="243"/>
                      <a:pt x="214" y="220"/>
                      <a:pt x="221" y="191"/>
                    </a:cubicBezTo>
                    <a:cubicBezTo>
                      <a:pt x="228" y="162"/>
                      <a:pt x="221" y="139"/>
                      <a:pt x="217" y="121"/>
                    </a:cubicBezTo>
                    <a:cubicBezTo>
                      <a:pt x="213" y="102"/>
                      <a:pt x="201" y="91"/>
                      <a:pt x="182" y="66"/>
                    </a:cubicBezTo>
                    <a:cubicBezTo>
                      <a:pt x="164" y="42"/>
                      <a:pt x="161" y="32"/>
                      <a:pt x="154" y="9"/>
                    </a:cubicBezTo>
                    <a:cubicBezTo>
                      <a:pt x="153" y="6"/>
                      <a:pt x="151" y="3"/>
                      <a:pt x="150" y="0"/>
                    </a:cubicBezTo>
                    <a:cubicBezTo>
                      <a:pt x="144" y="5"/>
                      <a:pt x="139" y="12"/>
                      <a:pt x="134" y="2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499" name="Freeform 253">
                <a:extLst>
                  <a:ext uri="{FF2B5EF4-FFF2-40B4-BE49-F238E27FC236}">
                    <a16:creationId xmlns:a16="http://schemas.microsoft.com/office/drawing/2014/main" id="{A5AA81FE-4195-034A-87D2-6593EFBA4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8" y="1839"/>
                <a:ext cx="105" cy="104"/>
              </a:xfrm>
              <a:custGeom>
                <a:avLst/>
                <a:gdLst>
                  <a:gd name="T0" fmla="*/ 402 w 412"/>
                  <a:gd name="T1" fmla="*/ 31 h 410"/>
                  <a:gd name="T2" fmla="*/ 402 w 412"/>
                  <a:gd name="T3" fmla="*/ 31 h 410"/>
                  <a:gd name="T4" fmla="*/ 397 w 412"/>
                  <a:gd name="T5" fmla="*/ 32 h 410"/>
                  <a:gd name="T6" fmla="*/ 397 w 412"/>
                  <a:gd name="T7" fmla="*/ 32 h 410"/>
                  <a:gd name="T8" fmla="*/ 395 w 412"/>
                  <a:gd name="T9" fmla="*/ 32 h 410"/>
                  <a:gd name="T10" fmla="*/ 393 w 412"/>
                  <a:gd name="T11" fmla="*/ 31 h 410"/>
                  <a:gd name="T12" fmla="*/ 387 w 412"/>
                  <a:gd name="T13" fmla="*/ 14 h 410"/>
                  <a:gd name="T14" fmla="*/ 365 w 412"/>
                  <a:gd name="T15" fmla="*/ 2 h 410"/>
                  <a:gd name="T16" fmla="*/ 359 w 412"/>
                  <a:gd name="T17" fmla="*/ 19 h 410"/>
                  <a:gd name="T18" fmla="*/ 351 w 412"/>
                  <a:gd name="T19" fmla="*/ 34 h 410"/>
                  <a:gd name="T20" fmla="*/ 332 w 412"/>
                  <a:gd name="T21" fmla="*/ 48 h 410"/>
                  <a:gd name="T22" fmla="*/ 315 w 412"/>
                  <a:gd name="T23" fmla="*/ 67 h 410"/>
                  <a:gd name="T24" fmla="*/ 267 w 412"/>
                  <a:gd name="T25" fmla="*/ 78 h 410"/>
                  <a:gd name="T26" fmla="*/ 248 w 412"/>
                  <a:gd name="T27" fmla="*/ 90 h 410"/>
                  <a:gd name="T28" fmla="*/ 254 w 412"/>
                  <a:gd name="T29" fmla="*/ 110 h 410"/>
                  <a:gd name="T30" fmla="*/ 255 w 412"/>
                  <a:gd name="T31" fmla="*/ 123 h 410"/>
                  <a:gd name="T32" fmla="*/ 236 w 412"/>
                  <a:gd name="T33" fmla="*/ 127 h 410"/>
                  <a:gd name="T34" fmla="*/ 209 w 412"/>
                  <a:gd name="T35" fmla="*/ 125 h 410"/>
                  <a:gd name="T36" fmla="*/ 185 w 412"/>
                  <a:gd name="T37" fmla="*/ 111 h 410"/>
                  <a:gd name="T38" fmla="*/ 172 w 412"/>
                  <a:gd name="T39" fmla="*/ 95 h 410"/>
                  <a:gd name="T40" fmla="*/ 154 w 412"/>
                  <a:gd name="T41" fmla="*/ 112 h 410"/>
                  <a:gd name="T42" fmla="*/ 133 w 412"/>
                  <a:gd name="T43" fmla="*/ 146 h 410"/>
                  <a:gd name="T44" fmla="*/ 105 w 412"/>
                  <a:gd name="T45" fmla="*/ 164 h 410"/>
                  <a:gd name="T46" fmla="*/ 88 w 412"/>
                  <a:gd name="T47" fmla="*/ 178 h 410"/>
                  <a:gd name="T48" fmla="*/ 61 w 412"/>
                  <a:gd name="T49" fmla="*/ 190 h 410"/>
                  <a:gd name="T50" fmla="*/ 16 w 412"/>
                  <a:gd name="T51" fmla="*/ 215 h 410"/>
                  <a:gd name="T52" fmla="*/ 0 w 412"/>
                  <a:gd name="T53" fmla="*/ 242 h 410"/>
                  <a:gd name="T54" fmla="*/ 49 w 412"/>
                  <a:gd name="T55" fmla="*/ 258 h 410"/>
                  <a:gd name="T56" fmla="*/ 76 w 412"/>
                  <a:gd name="T57" fmla="*/ 280 h 410"/>
                  <a:gd name="T58" fmla="*/ 70 w 412"/>
                  <a:gd name="T59" fmla="*/ 316 h 410"/>
                  <a:gd name="T60" fmla="*/ 47 w 412"/>
                  <a:gd name="T61" fmla="*/ 347 h 410"/>
                  <a:gd name="T62" fmla="*/ 57 w 412"/>
                  <a:gd name="T63" fmla="*/ 389 h 410"/>
                  <a:gd name="T64" fmla="*/ 87 w 412"/>
                  <a:gd name="T65" fmla="*/ 390 h 410"/>
                  <a:gd name="T66" fmla="*/ 143 w 412"/>
                  <a:gd name="T67" fmla="*/ 393 h 410"/>
                  <a:gd name="T68" fmla="*/ 155 w 412"/>
                  <a:gd name="T69" fmla="*/ 404 h 410"/>
                  <a:gd name="T70" fmla="*/ 165 w 412"/>
                  <a:gd name="T71" fmla="*/ 386 h 410"/>
                  <a:gd name="T72" fmla="*/ 208 w 412"/>
                  <a:gd name="T73" fmla="*/ 355 h 410"/>
                  <a:gd name="T74" fmla="*/ 254 w 412"/>
                  <a:gd name="T75" fmla="*/ 355 h 410"/>
                  <a:gd name="T76" fmla="*/ 270 w 412"/>
                  <a:gd name="T77" fmla="*/ 334 h 410"/>
                  <a:gd name="T78" fmla="*/ 219 w 412"/>
                  <a:gd name="T79" fmla="*/ 297 h 410"/>
                  <a:gd name="T80" fmla="*/ 235 w 412"/>
                  <a:gd name="T81" fmla="*/ 244 h 410"/>
                  <a:gd name="T82" fmla="*/ 271 w 412"/>
                  <a:gd name="T83" fmla="*/ 215 h 410"/>
                  <a:gd name="T84" fmla="*/ 327 w 412"/>
                  <a:gd name="T85" fmla="*/ 181 h 410"/>
                  <a:gd name="T86" fmla="*/ 354 w 412"/>
                  <a:gd name="T87" fmla="*/ 144 h 410"/>
                  <a:gd name="T88" fmla="*/ 360 w 412"/>
                  <a:gd name="T89" fmla="*/ 96 h 410"/>
                  <a:gd name="T90" fmla="*/ 411 w 412"/>
                  <a:gd name="T91" fmla="*/ 48 h 410"/>
                  <a:gd name="T92" fmla="*/ 412 w 412"/>
                  <a:gd name="T93" fmla="*/ 47 h 410"/>
                  <a:gd name="T94" fmla="*/ 405 w 412"/>
                  <a:gd name="T95" fmla="*/ 38 h 410"/>
                  <a:gd name="T96" fmla="*/ 402 w 412"/>
                  <a:gd name="T97" fmla="*/ 31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12" h="410">
                    <a:moveTo>
                      <a:pt x="402" y="31"/>
                    </a:moveTo>
                    <a:cubicBezTo>
                      <a:pt x="402" y="31"/>
                      <a:pt x="402" y="31"/>
                      <a:pt x="402" y="31"/>
                    </a:cubicBezTo>
                    <a:cubicBezTo>
                      <a:pt x="400" y="32"/>
                      <a:pt x="399" y="32"/>
                      <a:pt x="397" y="32"/>
                    </a:cubicBezTo>
                    <a:cubicBezTo>
                      <a:pt x="397" y="32"/>
                      <a:pt x="397" y="32"/>
                      <a:pt x="397" y="32"/>
                    </a:cubicBezTo>
                    <a:cubicBezTo>
                      <a:pt x="396" y="32"/>
                      <a:pt x="396" y="32"/>
                      <a:pt x="395" y="32"/>
                    </a:cubicBezTo>
                    <a:cubicBezTo>
                      <a:pt x="394" y="32"/>
                      <a:pt x="393" y="31"/>
                      <a:pt x="393" y="31"/>
                    </a:cubicBezTo>
                    <a:cubicBezTo>
                      <a:pt x="387" y="28"/>
                      <a:pt x="387" y="20"/>
                      <a:pt x="387" y="14"/>
                    </a:cubicBezTo>
                    <a:cubicBezTo>
                      <a:pt x="386" y="9"/>
                      <a:pt x="375" y="0"/>
                      <a:pt x="365" y="2"/>
                    </a:cubicBezTo>
                    <a:cubicBezTo>
                      <a:pt x="356" y="5"/>
                      <a:pt x="367" y="15"/>
                      <a:pt x="359" y="19"/>
                    </a:cubicBezTo>
                    <a:cubicBezTo>
                      <a:pt x="351" y="23"/>
                      <a:pt x="351" y="25"/>
                      <a:pt x="351" y="34"/>
                    </a:cubicBezTo>
                    <a:cubicBezTo>
                      <a:pt x="351" y="42"/>
                      <a:pt x="340" y="48"/>
                      <a:pt x="332" y="48"/>
                    </a:cubicBezTo>
                    <a:cubicBezTo>
                      <a:pt x="324" y="48"/>
                      <a:pt x="319" y="59"/>
                      <a:pt x="315" y="67"/>
                    </a:cubicBezTo>
                    <a:cubicBezTo>
                      <a:pt x="311" y="75"/>
                      <a:pt x="285" y="79"/>
                      <a:pt x="267" y="78"/>
                    </a:cubicBezTo>
                    <a:cubicBezTo>
                      <a:pt x="249" y="76"/>
                      <a:pt x="241" y="83"/>
                      <a:pt x="248" y="90"/>
                    </a:cubicBezTo>
                    <a:cubicBezTo>
                      <a:pt x="255" y="96"/>
                      <a:pt x="249" y="106"/>
                      <a:pt x="254" y="110"/>
                    </a:cubicBezTo>
                    <a:cubicBezTo>
                      <a:pt x="259" y="113"/>
                      <a:pt x="261" y="122"/>
                      <a:pt x="255" y="123"/>
                    </a:cubicBezTo>
                    <a:cubicBezTo>
                      <a:pt x="249" y="124"/>
                      <a:pt x="240" y="122"/>
                      <a:pt x="236" y="127"/>
                    </a:cubicBezTo>
                    <a:cubicBezTo>
                      <a:pt x="232" y="132"/>
                      <a:pt x="214" y="132"/>
                      <a:pt x="209" y="125"/>
                    </a:cubicBezTo>
                    <a:cubicBezTo>
                      <a:pt x="203" y="118"/>
                      <a:pt x="189" y="111"/>
                      <a:pt x="185" y="111"/>
                    </a:cubicBezTo>
                    <a:cubicBezTo>
                      <a:pt x="181" y="111"/>
                      <a:pt x="187" y="95"/>
                      <a:pt x="172" y="95"/>
                    </a:cubicBezTo>
                    <a:cubicBezTo>
                      <a:pt x="157" y="95"/>
                      <a:pt x="156" y="101"/>
                      <a:pt x="154" y="112"/>
                    </a:cubicBezTo>
                    <a:cubicBezTo>
                      <a:pt x="152" y="122"/>
                      <a:pt x="143" y="137"/>
                      <a:pt x="133" y="146"/>
                    </a:cubicBezTo>
                    <a:cubicBezTo>
                      <a:pt x="123" y="154"/>
                      <a:pt x="114" y="162"/>
                      <a:pt x="105" y="164"/>
                    </a:cubicBezTo>
                    <a:cubicBezTo>
                      <a:pt x="97" y="166"/>
                      <a:pt x="95" y="172"/>
                      <a:pt x="88" y="178"/>
                    </a:cubicBezTo>
                    <a:cubicBezTo>
                      <a:pt x="81" y="184"/>
                      <a:pt x="69" y="183"/>
                      <a:pt x="61" y="190"/>
                    </a:cubicBezTo>
                    <a:cubicBezTo>
                      <a:pt x="53" y="196"/>
                      <a:pt x="26" y="206"/>
                      <a:pt x="16" y="215"/>
                    </a:cubicBezTo>
                    <a:cubicBezTo>
                      <a:pt x="8" y="222"/>
                      <a:pt x="2" y="230"/>
                      <a:pt x="0" y="242"/>
                    </a:cubicBezTo>
                    <a:cubicBezTo>
                      <a:pt x="13" y="244"/>
                      <a:pt x="28" y="249"/>
                      <a:pt x="49" y="258"/>
                    </a:cubicBezTo>
                    <a:cubicBezTo>
                      <a:pt x="90" y="277"/>
                      <a:pt x="72" y="264"/>
                      <a:pt x="76" y="280"/>
                    </a:cubicBezTo>
                    <a:cubicBezTo>
                      <a:pt x="80" y="296"/>
                      <a:pt x="70" y="304"/>
                      <a:pt x="70" y="316"/>
                    </a:cubicBezTo>
                    <a:cubicBezTo>
                      <a:pt x="70" y="327"/>
                      <a:pt x="66" y="330"/>
                      <a:pt x="47" y="347"/>
                    </a:cubicBezTo>
                    <a:cubicBezTo>
                      <a:pt x="29" y="364"/>
                      <a:pt x="44" y="367"/>
                      <a:pt x="57" y="389"/>
                    </a:cubicBezTo>
                    <a:cubicBezTo>
                      <a:pt x="70" y="410"/>
                      <a:pt x="80" y="405"/>
                      <a:pt x="87" y="390"/>
                    </a:cubicBezTo>
                    <a:cubicBezTo>
                      <a:pt x="95" y="376"/>
                      <a:pt x="126" y="387"/>
                      <a:pt x="143" y="393"/>
                    </a:cubicBezTo>
                    <a:cubicBezTo>
                      <a:pt x="150" y="395"/>
                      <a:pt x="153" y="399"/>
                      <a:pt x="155" y="404"/>
                    </a:cubicBezTo>
                    <a:cubicBezTo>
                      <a:pt x="158" y="399"/>
                      <a:pt x="161" y="392"/>
                      <a:pt x="165" y="386"/>
                    </a:cubicBezTo>
                    <a:cubicBezTo>
                      <a:pt x="174" y="370"/>
                      <a:pt x="189" y="353"/>
                      <a:pt x="208" y="355"/>
                    </a:cubicBezTo>
                    <a:cubicBezTo>
                      <a:pt x="227" y="358"/>
                      <a:pt x="246" y="368"/>
                      <a:pt x="254" y="355"/>
                    </a:cubicBezTo>
                    <a:cubicBezTo>
                      <a:pt x="259" y="346"/>
                      <a:pt x="264" y="339"/>
                      <a:pt x="270" y="334"/>
                    </a:cubicBezTo>
                    <a:cubicBezTo>
                      <a:pt x="260" y="318"/>
                      <a:pt x="240" y="311"/>
                      <a:pt x="219" y="297"/>
                    </a:cubicBezTo>
                    <a:cubicBezTo>
                      <a:pt x="195" y="281"/>
                      <a:pt x="216" y="258"/>
                      <a:pt x="235" y="244"/>
                    </a:cubicBezTo>
                    <a:cubicBezTo>
                      <a:pt x="254" y="230"/>
                      <a:pt x="261" y="227"/>
                      <a:pt x="271" y="215"/>
                    </a:cubicBezTo>
                    <a:cubicBezTo>
                      <a:pt x="281" y="204"/>
                      <a:pt x="310" y="191"/>
                      <a:pt x="327" y="181"/>
                    </a:cubicBezTo>
                    <a:cubicBezTo>
                      <a:pt x="344" y="171"/>
                      <a:pt x="354" y="161"/>
                      <a:pt x="354" y="144"/>
                    </a:cubicBezTo>
                    <a:cubicBezTo>
                      <a:pt x="354" y="127"/>
                      <a:pt x="351" y="115"/>
                      <a:pt x="360" y="96"/>
                    </a:cubicBezTo>
                    <a:cubicBezTo>
                      <a:pt x="368" y="78"/>
                      <a:pt x="400" y="68"/>
                      <a:pt x="411" y="48"/>
                    </a:cubicBezTo>
                    <a:cubicBezTo>
                      <a:pt x="412" y="47"/>
                      <a:pt x="412" y="47"/>
                      <a:pt x="412" y="47"/>
                    </a:cubicBezTo>
                    <a:cubicBezTo>
                      <a:pt x="410" y="44"/>
                      <a:pt x="408" y="41"/>
                      <a:pt x="405" y="38"/>
                    </a:cubicBezTo>
                    <a:cubicBezTo>
                      <a:pt x="403" y="36"/>
                      <a:pt x="402" y="33"/>
                      <a:pt x="402" y="3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0" name="Freeform 254">
                <a:extLst>
                  <a:ext uri="{FF2B5EF4-FFF2-40B4-BE49-F238E27FC236}">
                    <a16:creationId xmlns:a16="http://schemas.microsoft.com/office/drawing/2014/main" id="{64197219-85CD-5F41-9A5F-6EF441A90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0" y="2146"/>
                <a:ext cx="7" cy="10"/>
              </a:xfrm>
              <a:custGeom>
                <a:avLst/>
                <a:gdLst>
                  <a:gd name="T0" fmla="*/ 6 w 26"/>
                  <a:gd name="T1" fmla="*/ 11 h 38"/>
                  <a:gd name="T2" fmla="*/ 1 w 26"/>
                  <a:gd name="T3" fmla="*/ 18 h 38"/>
                  <a:gd name="T4" fmla="*/ 4 w 26"/>
                  <a:gd name="T5" fmla="*/ 27 h 38"/>
                  <a:gd name="T6" fmla="*/ 9 w 26"/>
                  <a:gd name="T7" fmla="*/ 30 h 38"/>
                  <a:gd name="T8" fmla="*/ 14 w 26"/>
                  <a:gd name="T9" fmla="*/ 35 h 38"/>
                  <a:gd name="T10" fmla="*/ 21 w 26"/>
                  <a:gd name="T11" fmla="*/ 34 h 38"/>
                  <a:gd name="T12" fmla="*/ 23 w 26"/>
                  <a:gd name="T13" fmla="*/ 25 h 38"/>
                  <a:gd name="T14" fmla="*/ 26 w 26"/>
                  <a:gd name="T15" fmla="*/ 18 h 38"/>
                  <a:gd name="T16" fmla="*/ 20 w 26"/>
                  <a:gd name="T17" fmla="*/ 9 h 38"/>
                  <a:gd name="T18" fmla="*/ 19 w 26"/>
                  <a:gd name="T19" fmla="*/ 5 h 38"/>
                  <a:gd name="T20" fmla="*/ 13 w 26"/>
                  <a:gd name="T21" fmla="*/ 1 h 38"/>
                  <a:gd name="T22" fmla="*/ 9 w 26"/>
                  <a:gd name="T23" fmla="*/ 7 h 38"/>
                  <a:gd name="T24" fmla="*/ 6 w 26"/>
                  <a:gd name="T25" fmla="*/ 1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8">
                    <a:moveTo>
                      <a:pt x="6" y="11"/>
                    </a:moveTo>
                    <a:cubicBezTo>
                      <a:pt x="1" y="12"/>
                      <a:pt x="1" y="14"/>
                      <a:pt x="1" y="18"/>
                    </a:cubicBezTo>
                    <a:cubicBezTo>
                      <a:pt x="1" y="21"/>
                      <a:pt x="0" y="27"/>
                      <a:pt x="4" y="27"/>
                    </a:cubicBezTo>
                    <a:cubicBezTo>
                      <a:pt x="8" y="27"/>
                      <a:pt x="9" y="28"/>
                      <a:pt x="9" y="30"/>
                    </a:cubicBezTo>
                    <a:cubicBezTo>
                      <a:pt x="10" y="33"/>
                      <a:pt x="11" y="34"/>
                      <a:pt x="14" y="35"/>
                    </a:cubicBezTo>
                    <a:cubicBezTo>
                      <a:pt x="16" y="35"/>
                      <a:pt x="21" y="38"/>
                      <a:pt x="21" y="34"/>
                    </a:cubicBezTo>
                    <a:cubicBezTo>
                      <a:pt x="21" y="30"/>
                      <a:pt x="21" y="28"/>
                      <a:pt x="23" y="25"/>
                    </a:cubicBezTo>
                    <a:cubicBezTo>
                      <a:pt x="26" y="23"/>
                      <a:pt x="26" y="21"/>
                      <a:pt x="26" y="18"/>
                    </a:cubicBezTo>
                    <a:cubicBezTo>
                      <a:pt x="26" y="15"/>
                      <a:pt x="26" y="12"/>
                      <a:pt x="20" y="9"/>
                    </a:cubicBezTo>
                    <a:cubicBezTo>
                      <a:pt x="20" y="9"/>
                      <a:pt x="19" y="9"/>
                      <a:pt x="19" y="5"/>
                    </a:cubicBezTo>
                    <a:cubicBezTo>
                      <a:pt x="18" y="1"/>
                      <a:pt x="15" y="0"/>
                      <a:pt x="13" y="1"/>
                    </a:cubicBezTo>
                    <a:cubicBezTo>
                      <a:pt x="10" y="2"/>
                      <a:pt x="9" y="4"/>
                      <a:pt x="9" y="7"/>
                    </a:cubicBezTo>
                    <a:cubicBezTo>
                      <a:pt x="9" y="9"/>
                      <a:pt x="10" y="10"/>
                      <a:pt x="6" y="1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1" name="Freeform 255">
                <a:extLst>
                  <a:ext uri="{FF2B5EF4-FFF2-40B4-BE49-F238E27FC236}">
                    <a16:creationId xmlns:a16="http://schemas.microsoft.com/office/drawing/2014/main" id="{F699C942-0315-D840-8151-7AF029C29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3" y="2243"/>
                <a:ext cx="2" cy="4"/>
              </a:xfrm>
              <a:custGeom>
                <a:avLst/>
                <a:gdLst>
                  <a:gd name="T0" fmla="*/ 8 w 8"/>
                  <a:gd name="T1" fmla="*/ 13 h 17"/>
                  <a:gd name="T2" fmla="*/ 4 w 8"/>
                  <a:gd name="T3" fmla="*/ 1 h 17"/>
                  <a:gd name="T4" fmla="*/ 0 w 8"/>
                  <a:gd name="T5" fmla="*/ 13 h 17"/>
                  <a:gd name="T6" fmla="*/ 8 w 8"/>
                  <a:gd name="T7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7">
                    <a:moveTo>
                      <a:pt x="8" y="13"/>
                    </a:moveTo>
                    <a:cubicBezTo>
                      <a:pt x="8" y="8"/>
                      <a:pt x="8" y="0"/>
                      <a:pt x="4" y="1"/>
                    </a:cubicBezTo>
                    <a:cubicBezTo>
                      <a:pt x="4" y="1"/>
                      <a:pt x="0" y="9"/>
                      <a:pt x="0" y="13"/>
                    </a:cubicBezTo>
                    <a:cubicBezTo>
                      <a:pt x="1" y="17"/>
                      <a:pt x="8" y="17"/>
                      <a:pt x="8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2" name="Freeform 256">
                <a:extLst>
                  <a:ext uri="{FF2B5EF4-FFF2-40B4-BE49-F238E27FC236}">
                    <a16:creationId xmlns:a16="http://schemas.microsoft.com/office/drawing/2014/main" id="{117F510E-43EA-2143-8B94-4F8897D2B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3" y="2263"/>
                <a:ext cx="4" cy="3"/>
              </a:xfrm>
              <a:custGeom>
                <a:avLst/>
                <a:gdLst>
                  <a:gd name="T0" fmla="*/ 1 w 14"/>
                  <a:gd name="T1" fmla="*/ 2 h 11"/>
                  <a:gd name="T2" fmla="*/ 4 w 14"/>
                  <a:gd name="T3" fmla="*/ 10 h 11"/>
                  <a:gd name="T4" fmla="*/ 12 w 14"/>
                  <a:gd name="T5" fmla="*/ 8 h 11"/>
                  <a:gd name="T6" fmla="*/ 10 w 14"/>
                  <a:gd name="T7" fmla="*/ 2 h 11"/>
                  <a:gd name="T8" fmla="*/ 1 w 14"/>
                  <a:gd name="T9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1">
                    <a:moveTo>
                      <a:pt x="1" y="2"/>
                    </a:moveTo>
                    <a:cubicBezTo>
                      <a:pt x="0" y="5"/>
                      <a:pt x="0" y="10"/>
                      <a:pt x="4" y="10"/>
                    </a:cubicBezTo>
                    <a:cubicBezTo>
                      <a:pt x="7" y="10"/>
                      <a:pt x="12" y="11"/>
                      <a:pt x="12" y="8"/>
                    </a:cubicBezTo>
                    <a:cubicBezTo>
                      <a:pt x="12" y="6"/>
                      <a:pt x="14" y="3"/>
                      <a:pt x="10" y="2"/>
                    </a:cubicBezTo>
                    <a:cubicBezTo>
                      <a:pt x="10" y="2"/>
                      <a:pt x="3" y="0"/>
                      <a:pt x="1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3" name="Freeform 257">
                <a:extLst>
                  <a:ext uri="{FF2B5EF4-FFF2-40B4-BE49-F238E27FC236}">
                    <a16:creationId xmlns:a16="http://schemas.microsoft.com/office/drawing/2014/main" id="{472E115E-3C14-FD4E-9AE0-FBD26D779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1" y="2269"/>
                <a:ext cx="2" cy="5"/>
              </a:xfrm>
              <a:custGeom>
                <a:avLst/>
                <a:gdLst>
                  <a:gd name="T0" fmla="*/ 2 w 8"/>
                  <a:gd name="T1" fmla="*/ 18 h 20"/>
                  <a:gd name="T2" fmla="*/ 8 w 8"/>
                  <a:gd name="T3" fmla="*/ 15 h 20"/>
                  <a:gd name="T4" fmla="*/ 6 w 8"/>
                  <a:gd name="T5" fmla="*/ 4 h 20"/>
                  <a:gd name="T6" fmla="*/ 1 w 8"/>
                  <a:gd name="T7" fmla="*/ 2 h 20"/>
                  <a:gd name="T8" fmla="*/ 1 w 8"/>
                  <a:gd name="T9" fmla="*/ 8 h 20"/>
                  <a:gd name="T10" fmla="*/ 2 w 8"/>
                  <a:gd name="T1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0">
                    <a:moveTo>
                      <a:pt x="2" y="18"/>
                    </a:moveTo>
                    <a:cubicBezTo>
                      <a:pt x="4" y="20"/>
                      <a:pt x="8" y="20"/>
                      <a:pt x="8" y="15"/>
                    </a:cubicBezTo>
                    <a:cubicBezTo>
                      <a:pt x="8" y="10"/>
                      <a:pt x="8" y="7"/>
                      <a:pt x="6" y="4"/>
                    </a:cubicBezTo>
                    <a:cubicBezTo>
                      <a:pt x="4" y="2"/>
                      <a:pt x="3" y="0"/>
                      <a:pt x="1" y="2"/>
                    </a:cubicBezTo>
                    <a:cubicBezTo>
                      <a:pt x="1" y="2"/>
                      <a:pt x="0" y="5"/>
                      <a:pt x="1" y="8"/>
                    </a:cubicBezTo>
                    <a:cubicBezTo>
                      <a:pt x="2" y="11"/>
                      <a:pt x="0" y="16"/>
                      <a:pt x="2" y="1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4" name="Freeform 258">
                <a:extLst>
                  <a:ext uri="{FF2B5EF4-FFF2-40B4-BE49-F238E27FC236}">
                    <a16:creationId xmlns:a16="http://schemas.microsoft.com/office/drawing/2014/main" id="{30CC843D-5C51-674D-B8CC-D149E8067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" y="2278"/>
                <a:ext cx="71" cy="97"/>
              </a:xfrm>
              <a:custGeom>
                <a:avLst/>
                <a:gdLst>
                  <a:gd name="T0" fmla="*/ 3 w 281"/>
                  <a:gd name="T1" fmla="*/ 144 h 383"/>
                  <a:gd name="T2" fmla="*/ 23 w 281"/>
                  <a:gd name="T3" fmla="*/ 213 h 383"/>
                  <a:gd name="T4" fmla="*/ 45 w 281"/>
                  <a:gd name="T5" fmla="*/ 254 h 383"/>
                  <a:gd name="T6" fmla="*/ 52 w 281"/>
                  <a:gd name="T7" fmla="*/ 245 h 383"/>
                  <a:gd name="T8" fmla="*/ 71 w 281"/>
                  <a:gd name="T9" fmla="*/ 235 h 383"/>
                  <a:gd name="T10" fmla="*/ 83 w 281"/>
                  <a:gd name="T11" fmla="*/ 243 h 383"/>
                  <a:gd name="T12" fmla="*/ 71 w 281"/>
                  <a:gd name="T13" fmla="*/ 263 h 383"/>
                  <a:gd name="T14" fmla="*/ 66 w 281"/>
                  <a:gd name="T15" fmla="*/ 280 h 383"/>
                  <a:gd name="T16" fmla="*/ 86 w 281"/>
                  <a:gd name="T17" fmla="*/ 305 h 383"/>
                  <a:gd name="T18" fmla="*/ 112 w 281"/>
                  <a:gd name="T19" fmla="*/ 303 h 383"/>
                  <a:gd name="T20" fmla="*/ 132 w 281"/>
                  <a:gd name="T21" fmla="*/ 300 h 383"/>
                  <a:gd name="T22" fmla="*/ 178 w 281"/>
                  <a:gd name="T23" fmla="*/ 336 h 383"/>
                  <a:gd name="T24" fmla="*/ 186 w 281"/>
                  <a:gd name="T25" fmla="*/ 333 h 383"/>
                  <a:gd name="T26" fmla="*/ 175 w 281"/>
                  <a:gd name="T27" fmla="*/ 308 h 383"/>
                  <a:gd name="T28" fmla="*/ 182 w 281"/>
                  <a:gd name="T29" fmla="*/ 300 h 383"/>
                  <a:gd name="T30" fmla="*/ 194 w 281"/>
                  <a:gd name="T31" fmla="*/ 317 h 383"/>
                  <a:gd name="T32" fmla="*/ 231 w 281"/>
                  <a:gd name="T33" fmla="*/ 349 h 383"/>
                  <a:gd name="T34" fmla="*/ 253 w 281"/>
                  <a:gd name="T35" fmla="*/ 373 h 383"/>
                  <a:gd name="T36" fmla="*/ 270 w 281"/>
                  <a:gd name="T37" fmla="*/ 381 h 383"/>
                  <a:gd name="T38" fmla="*/ 281 w 281"/>
                  <a:gd name="T39" fmla="*/ 351 h 383"/>
                  <a:gd name="T40" fmla="*/ 254 w 281"/>
                  <a:gd name="T41" fmla="*/ 329 h 383"/>
                  <a:gd name="T42" fmla="*/ 242 w 281"/>
                  <a:gd name="T43" fmla="*/ 314 h 383"/>
                  <a:gd name="T44" fmla="*/ 257 w 281"/>
                  <a:gd name="T45" fmla="*/ 310 h 383"/>
                  <a:gd name="T46" fmla="*/ 251 w 281"/>
                  <a:gd name="T47" fmla="*/ 290 h 383"/>
                  <a:gd name="T48" fmla="*/ 217 w 281"/>
                  <a:gd name="T49" fmla="*/ 294 h 383"/>
                  <a:gd name="T50" fmla="*/ 203 w 281"/>
                  <a:gd name="T51" fmla="*/ 283 h 383"/>
                  <a:gd name="T52" fmla="*/ 178 w 281"/>
                  <a:gd name="T53" fmla="*/ 268 h 383"/>
                  <a:gd name="T54" fmla="*/ 162 w 281"/>
                  <a:gd name="T55" fmla="*/ 278 h 383"/>
                  <a:gd name="T56" fmla="*/ 135 w 281"/>
                  <a:gd name="T57" fmla="*/ 283 h 383"/>
                  <a:gd name="T58" fmla="*/ 129 w 281"/>
                  <a:gd name="T59" fmla="*/ 252 h 383"/>
                  <a:gd name="T60" fmla="*/ 143 w 281"/>
                  <a:gd name="T61" fmla="*/ 244 h 383"/>
                  <a:gd name="T62" fmla="*/ 149 w 281"/>
                  <a:gd name="T63" fmla="*/ 228 h 383"/>
                  <a:gd name="T64" fmla="*/ 136 w 281"/>
                  <a:gd name="T65" fmla="*/ 218 h 383"/>
                  <a:gd name="T66" fmla="*/ 126 w 281"/>
                  <a:gd name="T67" fmla="*/ 229 h 383"/>
                  <a:gd name="T68" fmla="*/ 113 w 281"/>
                  <a:gd name="T69" fmla="*/ 206 h 383"/>
                  <a:gd name="T70" fmla="*/ 134 w 281"/>
                  <a:gd name="T71" fmla="*/ 157 h 383"/>
                  <a:gd name="T72" fmla="*/ 161 w 281"/>
                  <a:gd name="T73" fmla="*/ 132 h 383"/>
                  <a:gd name="T74" fmla="*/ 169 w 281"/>
                  <a:gd name="T75" fmla="*/ 100 h 383"/>
                  <a:gd name="T76" fmla="*/ 159 w 281"/>
                  <a:gd name="T77" fmla="*/ 68 h 383"/>
                  <a:gd name="T78" fmla="*/ 156 w 281"/>
                  <a:gd name="T79" fmla="*/ 43 h 383"/>
                  <a:gd name="T80" fmla="*/ 158 w 281"/>
                  <a:gd name="T81" fmla="*/ 17 h 383"/>
                  <a:gd name="T82" fmla="*/ 133 w 281"/>
                  <a:gd name="T83" fmla="*/ 22 h 383"/>
                  <a:gd name="T84" fmla="*/ 112 w 281"/>
                  <a:gd name="T85" fmla="*/ 10 h 383"/>
                  <a:gd name="T86" fmla="*/ 84 w 281"/>
                  <a:gd name="T87" fmla="*/ 0 h 383"/>
                  <a:gd name="T88" fmla="*/ 57 w 281"/>
                  <a:gd name="T89" fmla="*/ 14 h 383"/>
                  <a:gd name="T90" fmla="*/ 48 w 281"/>
                  <a:gd name="T91" fmla="*/ 56 h 383"/>
                  <a:gd name="T92" fmla="*/ 44 w 281"/>
                  <a:gd name="T93" fmla="*/ 136 h 383"/>
                  <a:gd name="T94" fmla="*/ 30 w 281"/>
                  <a:gd name="T95" fmla="*/ 158 h 383"/>
                  <a:gd name="T96" fmla="*/ 7 w 281"/>
                  <a:gd name="T97" fmla="*/ 142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1" h="383">
                    <a:moveTo>
                      <a:pt x="7" y="142"/>
                    </a:moveTo>
                    <a:cubicBezTo>
                      <a:pt x="5" y="142"/>
                      <a:pt x="4" y="143"/>
                      <a:pt x="3" y="144"/>
                    </a:cubicBezTo>
                    <a:cubicBezTo>
                      <a:pt x="3" y="144"/>
                      <a:pt x="3" y="144"/>
                      <a:pt x="3" y="144"/>
                    </a:cubicBezTo>
                    <a:cubicBezTo>
                      <a:pt x="0" y="147"/>
                      <a:pt x="0" y="151"/>
                      <a:pt x="1" y="154"/>
                    </a:cubicBezTo>
                    <a:cubicBezTo>
                      <a:pt x="10" y="175"/>
                      <a:pt x="10" y="175"/>
                      <a:pt x="10" y="175"/>
                    </a:cubicBezTo>
                    <a:cubicBezTo>
                      <a:pt x="23" y="213"/>
                      <a:pt x="23" y="213"/>
                      <a:pt x="23" y="213"/>
                    </a:cubicBezTo>
                    <a:cubicBezTo>
                      <a:pt x="32" y="240"/>
                      <a:pt x="32" y="240"/>
                      <a:pt x="32" y="240"/>
                    </a:cubicBezTo>
                    <a:cubicBezTo>
                      <a:pt x="32" y="241"/>
                      <a:pt x="33" y="243"/>
                      <a:pt x="34" y="244"/>
                    </a:cubicBezTo>
                    <a:cubicBezTo>
                      <a:pt x="45" y="254"/>
                      <a:pt x="45" y="254"/>
                      <a:pt x="45" y="254"/>
                    </a:cubicBezTo>
                    <a:cubicBezTo>
                      <a:pt x="46" y="256"/>
                      <a:pt x="48" y="256"/>
                      <a:pt x="49" y="255"/>
                    </a:cubicBezTo>
                    <a:cubicBezTo>
                      <a:pt x="51" y="255"/>
                      <a:pt x="52" y="253"/>
                      <a:pt x="52" y="252"/>
                    </a:cubicBezTo>
                    <a:cubicBezTo>
                      <a:pt x="52" y="245"/>
                      <a:pt x="52" y="245"/>
                      <a:pt x="52" y="245"/>
                    </a:cubicBezTo>
                    <a:cubicBezTo>
                      <a:pt x="52" y="241"/>
                      <a:pt x="54" y="238"/>
                      <a:pt x="57" y="237"/>
                    </a:cubicBezTo>
                    <a:cubicBezTo>
                      <a:pt x="64" y="234"/>
                      <a:pt x="64" y="234"/>
                      <a:pt x="64" y="234"/>
                    </a:cubicBezTo>
                    <a:cubicBezTo>
                      <a:pt x="67" y="233"/>
                      <a:pt x="69" y="233"/>
                      <a:pt x="71" y="235"/>
                    </a:cubicBezTo>
                    <a:cubicBezTo>
                      <a:pt x="80" y="240"/>
                      <a:pt x="80" y="240"/>
                      <a:pt x="80" y="240"/>
                    </a:cubicBezTo>
                    <a:cubicBezTo>
                      <a:pt x="80" y="240"/>
                      <a:pt x="81" y="241"/>
                      <a:pt x="81" y="241"/>
                    </a:cubicBezTo>
                    <a:cubicBezTo>
                      <a:pt x="83" y="243"/>
                      <a:pt x="83" y="243"/>
                      <a:pt x="83" y="243"/>
                    </a:cubicBezTo>
                    <a:cubicBezTo>
                      <a:pt x="85" y="245"/>
                      <a:pt x="86" y="248"/>
                      <a:pt x="86" y="251"/>
                    </a:cubicBezTo>
                    <a:cubicBezTo>
                      <a:pt x="85" y="254"/>
                      <a:pt x="83" y="256"/>
                      <a:pt x="81" y="257"/>
                    </a:cubicBezTo>
                    <a:cubicBezTo>
                      <a:pt x="71" y="263"/>
                      <a:pt x="71" y="263"/>
                      <a:pt x="71" y="263"/>
                    </a:cubicBezTo>
                    <a:cubicBezTo>
                      <a:pt x="69" y="265"/>
                      <a:pt x="68" y="266"/>
                      <a:pt x="67" y="268"/>
                    </a:cubicBezTo>
                    <a:cubicBezTo>
                      <a:pt x="66" y="271"/>
                      <a:pt x="66" y="271"/>
                      <a:pt x="66" y="271"/>
                    </a:cubicBezTo>
                    <a:cubicBezTo>
                      <a:pt x="65" y="273"/>
                      <a:pt x="65" y="277"/>
                      <a:pt x="66" y="280"/>
                    </a:cubicBezTo>
                    <a:cubicBezTo>
                      <a:pt x="71" y="296"/>
                      <a:pt x="71" y="296"/>
                      <a:pt x="71" y="296"/>
                    </a:cubicBezTo>
                    <a:cubicBezTo>
                      <a:pt x="72" y="298"/>
                      <a:pt x="74" y="300"/>
                      <a:pt x="77" y="301"/>
                    </a:cubicBezTo>
                    <a:cubicBezTo>
                      <a:pt x="86" y="305"/>
                      <a:pt x="86" y="305"/>
                      <a:pt x="86" y="305"/>
                    </a:cubicBezTo>
                    <a:cubicBezTo>
                      <a:pt x="102" y="313"/>
                      <a:pt x="102" y="313"/>
                      <a:pt x="102" y="313"/>
                    </a:cubicBezTo>
                    <a:cubicBezTo>
                      <a:pt x="110" y="308"/>
                      <a:pt x="110" y="308"/>
                      <a:pt x="110" y="308"/>
                    </a:cubicBezTo>
                    <a:cubicBezTo>
                      <a:pt x="112" y="303"/>
                      <a:pt x="112" y="303"/>
                      <a:pt x="112" y="303"/>
                    </a:cubicBezTo>
                    <a:cubicBezTo>
                      <a:pt x="114" y="301"/>
                      <a:pt x="116" y="299"/>
                      <a:pt x="119" y="299"/>
                    </a:cubicBezTo>
                    <a:cubicBezTo>
                      <a:pt x="125" y="298"/>
                      <a:pt x="125" y="298"/>
                      <a:pt x="125" y="298"/>
                    </a:cubicBezTo>
                    <a:cubicBezTo>
                      <a:pt x="127" y="298"/>
                      <a:pt x="130" y="299"/>
                      <a:pt x="132" y="300"/>
                    </a:cubicBezTo>
                    <a:cubicBezTo>
                      <a:pt x="150" y="311"/>
                      <a:pt x="150" y="311"/>
                      <a:pt x="150" y="311"/>
                    </a:cubicBezTo>
                    <a:cubicBezTo>
                      <a:pt x="167" y="321"/>
                      <a:pt x="167" y="321"/>
                      <a:pt x="167" y="321"/>
                    </a:cubicBezTo>
                    <a:cubicBezTo>
                      <a:pt x="178" y="336"/>
                      <a:pt x="178" y="336"/>
                      <a:pt x="178" y="336"/>
                    </a:cubicBezTo>
                    <a:cubicBezTo>
                      <a:pt x="179" y="336"/>
                      <a:pt x="179" y="336"/>
                      <a:pt x="179" y="336"/>
                    </a:cubicBezTo>
                    <a:cubicBezTo>
                      <a:pt x="180" y="337"/>
                      <a:pt x="182" y="338"/>
                      <a:pt x="184" y="337"/>
                    </a:cubicBezTo>
                    <a:cubicBezTo>
                      <a:pt x="186" y="336"/>
                      <a:pt x="187" y="334"/>
                      <a:pt x="186" y="333"/>
                    </a:cubicBezTo>
                    <a:cubicBezTo>
                      <a:pt x="186" y="332"/>
                      <a:pt x="186" y="332"/>
                      <a:pt x="186" y="332"/>
                    </a:cubicBezTo>
                    <a:cubicBezTo>
                      <a:pt x="178" y="316"/>
                      <a:pt x="178" y="316"/>
                      <a:pt x="178" y="316"/>
                    </a:cubicBezTo>
                    <a:cubicBezTo>
                      <a:pt x="175" y="308"/>
                      <a:pt x="175" y="308"/>
                      <a:pt x="175" y="308"/>
                    </a:cubicBezTo>
                    <a:cubicBezTo>
                      <a:pt x="174" y="307"/>
                      <a:pt x="175" y="305"/>
                      <a:pt x="175" y="303"/>
                    </a:cubicBezTo>
                    <a:cubicBezTo>
                      <a:pt x="176" y="302"/>
                      <a:pt x="178" y="301"/>
                      <a:pt x="180" y="300"/>
                    </a:cubicBezTo>
                    <a:cubicBezTo>
                      <a:pt x="182" y="300"/>
                      <a:pt x="182" y="300"/>
                      <a:pt x="182" y="300"/>
                    </a:cubicBezTo>
                    <a:cubicBezTo>
                      <a:pt x="184" y="300"/>
                      <a:pt x="187" y="302"/>
                      <a:pt x="188" y="304"/>
                    </a:cubicBezTo>
                    <a:cubicBezTo>
                      <a:pt x="190" y="313"/>
                      <a:pt x="190" y="313"/>
                      <a:pt x="190" y="313"/>
                    </a:cubicBezTo>
                    <a:cubicBezTo>
                      <a:pt x="191" y="315"/>
                      <a:pt x="192" y="316"/>
                      <a:pt x="194" y="317"/>
                    </a:cubicBezTo>
                    <a:cubicBezTo>
                      <a:pt x="204" y="321"/>
                      <a:pt x="204" y="321"/>
                      <a:pt x="204" y="321"/>
                    </a:cubicBezTo>
                    <a:cubicBezTo>
                      <a:pt x="212" y="331"/>
                      <a:pt x="212" y="331"/>
                      <a:pt x="212" y="331"/>
                    </a:cubicBezTo>
                    <a:cubicBezTo>
                      <a:pt x="231" y="349"/>
                      <a:pt x="231" y="349"/>
                      <a:pt x="231" y="349"/>
                    </a:cubicBezTo>
                    <a:cubicBezTo>
                      <a:pt x="247" y="360"/>
                      <a:pt x="247" y="360"/>
                      <a:pt x="247" y="360"/>
                    </a:cubicBezTo>
                    <a:cubicBezTo>
                      <a:pt x="248" y="361"/>
                      <a:pt x="249" y="363"/>
                      <a:pt x="250" y="365"/>
                    </a:cubicBezTo>
                    <a:cubicBezTo>
                      <a:pt x="253" y="373"/>
                      <a:pt x="253" y="373"/>
                      <a:pt x="253" y="373"/>
                    </a:cubicBezTo>
                    <a:cubicBezTo>
                      <a:pt x="253" y="375"/>
                      <a:pt x="255" y="377"/>
                      <a:pt x="257" y="379"/>
                    </a:cubicBezTo>
                    <a:cubicBezTo>
                      <a:pt x="263" y="381"/>
                      <a:pt x="263" y="381"/>
                      <a:pt x="263" y="381"/>
                    </a:cubicBezTo>
                    <a:cubicBezTo>
                      <a:pt x="265" y="383"/>
                      <a:pt x="268" y="383"/>
                      <a:pt x="270" y="381"/>
                    </a:cubicBezTo>
                    <a:cubicBezTo>
                      <a:pt x="273" y="380"/>
                      <a:pt x="274" y="378"/>
                      <a:pt x="275" y="375"/>
                    </a:cubicBezTo>
                    <a:cubicBezTo>
                      <a:pt x="276" y="359"/>
                      <a:pt x="276" y="359"/>
                      <a:pt x="276" y="359"/>
                    </a:cubicBezTo>
                    <a:cubicBezTo>
                      <a:pt x="281" y="351"/>
                      <a:pt x="281" y="351"/>
                      <a:pt x="281" y="351"/>
                    </a:cubicBezTo>
                    <a:cubicBezTo>
                      <a:pt x="276" y="335"/>
                      <a:pt x="276" y="335"/>
                      <a:pt x="276" y="335"/>
                    </a:cubicBezTo>
                    <a:cubicBezTo>
                      <a:pt x="275" y="331"/>
                      <a:pt x="272" y="329"/>
                      <a:pt x="269" y="329"/>
                    </a:cubicBezTo>
                    <a:cubicBezTo>
                      <a:pt x="254" y="329"/>
                      <a:pt x="254" y="329"/>
                      <a:pt x="254" y="329"/>
                    </a:cubicBezTo>
                    <a:cubicBezTo>
                      <a:pt x="247" y="321"/>
                      <a:pt x="247" y="321"/>
                      <a:pt x="247" y="321"/>
                    </a:cubicBezTo>
                    <a:cubicBezTo>
                      <a:pt x="243" y="317"/>
                      <a:pt x="243" y="317"/>
                      <a:pt x="243" y="317"/>
                    </a:cubicBezTo>
                    <a:cubicBezTo>
                      <a:pt x="242" y="316"/>
                      <a:pt x="241" y="315"/>
                      <a:pt x="242" y="314"/>
                    </a:cubicBezTo>
                    <a:cubicBezTo>
                      <a:pt x="242" y="312"/>
                      <a:pt x="243" y="311"/>
                      <a:pt x="244" y="311"/>
                    </a:cubicBezTo>
                    <a:cubicBezTo>
                      <a:pt x="247" y="310"/>
                      <a:pt x="247" y="310"/>
                      <a:pt x="247" y="310"/>
                    </a:cubicBezTo>
                    <a:cubicBezTo>
                      <a:pt x="257" y="310"/>
                      <a:pt x="257" y="310"/>
                      <a:pt x="257" y="310"/>
                    </a:cubicBezTo>
                    <a:cubicBezTo>
                      <a:pt x="257" y="309"/>
                      <a:pt x="257" y="309"/>
                      <a:pt x="257" y="309"/>
                    </a:cubicBezTo>
                    <a:cubicBezTo>
                      <a:pt x="260" y="304"/>
                      <a:pt x="259" y="299"/>
                      <a:pt x="256" y="295"/>
                    </a:cubicBezTo>
                    <a:cubicBezTo>
                      <a:pt x="251" y="290"/>
                      <a:pt x="251" y="290"/>
                      <a:pt x="251" y="290"/>
                    </a:cubicBezTo>
                    <a:cubicBezTo>
                      <a:pt x="230" y="287"/>
                      <a:pt x="230" y="287"/>
                      <a:pt x="230" y="287"/>
                    </a:cubicBezTo>
                    <a:cubicBezTo>
                      <a:pt x="219" y="291"/>
                      <a:pt x="219" y="291"/>
                      <a:pt x="219" y="291"/>
                    </a:cubicBezTo>
                    <a:cubicBezTo>
                      <a:pt x="217" y="294"/>
                      <a:pt x="217" y="294"/>
                      <a:pt x="217" y="294"/>
                    </a:cubicBezTo>
                    <a:cubicBezTo>
                      <a:pt x="216" y="295"/>
                      <a:pt x="214" y="296"/>
                      <a:pt x="212" y="296"/>
                    </a:cubicBezTo>
                    <a:cubicBezTo>
                      <a:pt x="211" y="296"/>
                      <a:pt x="209" y="295"/>
                      <a:pt x="208" y="293"/>
                    </a:cubicBezTo>
                    <a:cubicBezTo>
                      <a:pt x="203" y="283"/>
                      <a:pt x="203" y="283"/>
                      <a:pt x="203" y="283"/>
                    </a:cubicBezTo>
                    <a:cubicBezTo>
                      <a:pt x="203" y="280"/>
                      <a:pt x="203" y="280"/>
                      <a:pt x="203" y="280"/>
                    </a:cubicBezTo>
                    <a:cubicBezTo>
                      <a:pt x="203" y="275"/>
                      <a:pt x="199" y="271"/>
                      <a:pt x="195" y="271"/>
                    </a:cubicBezTo>
                    <a:cubicBezTo>
                      <a:pt x="178" y="268"/>
                      <a:pt x="178" y="268"/>
                      <a:pt x="178" y="268"/>
                    </a:cubicBezTo>
                    <a:cubicBezTo>
                      <a:pt x="170" y="268"/>
                      <a:pt x="170" y="268"/>
                      <a:pt x="170" y="268"/>
                    </a:cubicBezTo>
                    <a:cubicBezTo>
                      <a:pt x="166" y="268"/>
                      <a:pt x="164" y="271"/>
                      <a:pt x="163" y="274"/>
                    </a:cubicBezTo>
                    <a:cubicBezTo>
                      <a:pt x="162" y="278"/>
                      <a:pt x="162" y="278"/>
                      <a:pt x="162" y="278"/>
                    </a:cubicBezTo>
                    <a:cubicBezTo>
                      <a:pt x="156" y="287"/>
                      <a:pt x="156" y="287"/>
                      <a:pt x="156" y="287"/>
                    </a:cubicBezTo>
                    <a:cubicBezTo>
                      <a:pt x="142" y="285"/>
                      <a:pt x="142" y="285"/>
                      <a:pt x="142" y="285"/>
                    </a:cubicBezTo>
                    <a:cubicBezTo>
                      <a:pt x="135" y="283"/>
                      <a:pt x="135" y="283"/>
                      <a:pt x="135" y="283"/>
                    </a:cubicBezTo>
                    <a:cubicBezTo>
                      <a:pt x="130" y="282"/>
                      <a:pt x="127" y="278"/>
                      <a:pt x="127" y="274"/>
                    </a:cubicBezTo>
                    <a:cubicBezTo>
                      <a:pt x="126" y="261"/>
                      <a:pt x="126" y="261"/>
                      <a:pt x="126" y="261"/>
                    </a:cubicBezTo>
                    <a:cubicBezTo>
                      <a:pt x="126" y="257"/>
                      <a:pt x="127" y="254"/>
                      <a:pt x="129" y="252"/>
                    </a:cubicBezTo>
                    <a:cubicBezTo>
                      <a:pt x="133" y="247"/>
                      <a:pt x="133" y="247"/>
                      <a:pt x="133" y="247"/>
                    </a:cubicBezTo>
                    <a:cubicBezTo>
                      <a:pt x="136" y="245"/>
                      <a:pt x="139" y="244"/>
                      <a:pt x="142" y="244"/>
                    </a:cubicBezTo>
                    <a:cubicBezTo>
                      <a:pt x="143" y="244"/>
                      <a:pt x="143" y="244"/>
                      <a:pt x="143" y="244"/>
                    </a:cubicBezTo>
                    <a:cubicBezTo>
                      <a:pt x="146" y="244"/>
                      <a:pt x="148" y="243"/>
                      <a:pt x="149" y="241"/>
                    </a:cubicBezTo>
                    <a:cubicBezTo>
                      <a:pt x="151" y="239"/>
                      <a:pt x="151" y="237"/>
                      <a:pt x="151" y="235"/>
                    </a:cubicBezTo>
                    <a:cubicBezTo>
                      <a:pt x="149" y="228"/>
                      <a:pt x="149" y="228"/>
                      <a:pt x="149" y="228"/>
                    </a:cubicBezTo>
                    <a:cubicBezTo>
                      <a:pt x="148" y="225"/>
                      <a:pt x="147" y="223"/>
                      <a:pt x="145" y="222"/>
                    </a:cubicBezTo>
                    <a:cubicBezTo>
                      <a:pt x="140" y="219"/>
                      <a:pt x="140" y="219"/>
                      <a:pt x="140" y="219"/>
                    </a:cubicBezTo>
                    <a:cubicBezTo>
                      <a:pt x="139" y="218"/>
                      <a:pt x="137" y="218"/>
                      <a:pt x="136" y="218"/>
                    </a:cubicBezTo>
                    <a:cubicBezTo>
                      <a:pt x="135" y="219"/>
                      <a:pt x="134" y="220"/>
                      <a:pt x="133" y="221"/>
                    </a:cubicBezTo>
                    <a:cubicBezTo>
                      <a:pt x="132" y="225"/>
                      <a:pt x="132" y="225"/>
                      <a:pt x="132" y="225"/>
                    </a:cubicBezTo>
                    <a:cubicBezTo>
                      <a:pt x="131" y="227"/>
                      <a:pt x="129" y="229"/>
                      <a:pt x="126" y="229"/>
                    </a:cubicBezTo>
                    <a:cubicBezTo>
                      <a:pt x="124" y="229"/>
                      <a:pt x="124" y="229"/>
                      <a:pt x="124" y="229"/>
                    </a:cubicBezTo>
                    <a:cubicBezTo>
                      <a:pt x="114" y="218"/>
                      <a:pt x="114" y="218"/>
                      <a:pt x="114" y="218"/>
                    </a:cubicBezTo>
                    <a:cubicBezTo>
                      <a:pt x="113" y="206"/>
                      <a:pt x="113" y="206"/>
                      <a:pt x="113" y="206"/>
                    </a:cubicBezTo>
                    <a:cubicBezTo>
                      <a:pt x="116" y="190"/>
                      <a:pt x="116" y="190"/>
                      <a:pt x="116" y="190"/>
                    </a:cubicBezTo>
                    <a:cubicBezTo>
                      <a:pt x="121" y="170"/>
                      <a:pt x="121" y="170"/>
                      <a:pt x="121" y="170"/>
                    </a:cubicBezTo>
                    <a:cubicBezTo>
                      <a:pt x="121" y="170"/>
                      <a:pt x="129" y="159"/>
                      <a:pt x="134" y="157"/>
                    </a:cubicBezTo>
                    <a:cubicBezTo>
                      <a:pt x="138" y="155"/>
                      <a:pt x="142" y="150"/>
                      <a:pt x="142" y="150"/>
                    </a:cubicBezTo>
                    <a:cubicBezTo>
                      <a:pt x="156" y="138"/>
                      <a:pt x="156" y="138"/>
                      <a:pt x="156" y="138"/>
                    </a:cubicBezTo>
                    <a:cubicBezTo>
                      <a:pt x="158" y="136"/>
                      <a:pt x="160" y="134"/>
                      <a:pt x="161" y="132"/>
                    </a:cubicBezTo>
                    <a:cubicBezTo>
                      <a:pt x="164" y="122"/>
                      <a:pt x="164" y="122"/>
                      <a:pt x="164" y="122"/>
                    </a:cubicBezTo>
                    <a:cubicBezTo>
                      <a:pt x="168" y="105"/>
                      <a:pt x="168" y="105"/>
                      <a:pt x="168" y="105"/>
                    </a:cubicBezTo>
                    <a:cubicBezTo>
                      <a:pt x="169" y="104"/>
                      <a:pt x="169" y="102"/>
                      <a:pt x="169" y="100"/>
                    </a:cubicBezTo>
                    <a:cubicBezTo>
                      <a:pt x="169" y="84"/>
                      <a:pt x="169" y="84"/>
                      <a:pt x="169" y="84"/>
                    </a:cubicBezTo>
                    <a:cubicBezTo>
                      <a:pt x="169" y="79"/>
                      <a:pt x="167" y="75"/>
                      <a:pt x="164" y="72"/>
                    </a:cubicBezTo>
                    <a:cubicBezTo>
                      <a:pt x="159" y="68"/>
                      <a:pt x="159" y="68"/>
                      <a:pt x="159" y="68"/>
                    </a:cubicBezTo>
                    <a:cubicBezTo>
                      <a:pt x="154" y="64"/>
                      <a:pt x="152" y="58"/>
                      <a:pt x="154" y="52"/>
                    </a:cubicBezTo>
                    <a:cubicBezTo>
                      <a:pt x="155" y="48"/>
                      <a:pt x="155" y="48"/>
                      <a:pt x="155" y="48"/>
                    </a:cubicBezTo>
                    <a:cubicBezTo>
                      <a:pt x="156" y="46"/>
                      <a:pt x="156" y="45"/>
                      <a:pt x="156" y="43"/>
                    </a:cubicBezTo>
                    <a:cubicBezTo>
                      <a:pt x="155" y="39"/>
                      <a:pt x="154" y="30"/>
                      <a:pt x="158" y="27"/>
                    </a:cubicBezTo>
                    <a:cubicBezTo>
                      <a:pt x="159" y="26"/>
                      <a:pt x="160" y="25"/>
                      <a:pt x="160" y="23"/>
                    </a:cubicBezTo>
                    <a:cubicBezTo>
                      <a:pt x="161" y="21"/>
                      <a:pt x="160" y="18"/>
                      <a:pt x="158" y="17"/>
                    </a:cubicBezTo>
                    <a:cubicBezTo>
                      <a:pt x="156" y="15"/>
                      <a:pt x="154" y="15"/>
                      <a:pt x="151" y="16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0" y="23"/>
                      <a:pt x="136" y="23"/>
                      <a:pt x="133" y="22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3" y="20"/>
                      <a:pt x="120" y="18"/>
                      <a:pt x="117" y="15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0" y="9"/>
                      <a:pt x="108" y="7"/>
                      <a:pt x="106" y="6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0" y="0"/>
                      <a:pt x="87" y="0"/>
                      <a:pt x="84" y="0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69" y="2"/>
                      <a:pt x="67" y="4"/>
                      <a:pt x="65" y="5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47" y="33"/>
                      <a:pt x="47" y="33"/>
                      <a:pt x="47" y="33"/>
                    </a:cubicBezTo>
                    <a:cubicBezTo>
                      <a:pt x="45" y="37"/>
                      <a:pt x="44" y="41"/>
                      <a:pt x="45" y="45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58"/>
                      <a:pt x="49" y="59"/>
                      <a:pt x="48" y="61"/>
                    </a:cubicBezTo>
                    <a:cubicBezTo>
                      <a:pt x="44" y="93"/>
                      <a:pt x="44" y="93"/>
                      <a:pt x="44" y="93"/>
                    </a:cubicBezTo>
                    <a:cubicBezTo>
                      <a:pt x="44" y="136"/>
                      <a:pt x="44" y="136"/>
                      <a:pt x="44" y="136"/>
                    </a:cubicBezTo>
                    <a:cubicBezTo>
                      <a:pt x="43" y="149"/>
                      <a:pt x="43" y="149"/>
                      <a:pt x="43" y="149"/>
                    </a:cubicBezTo>
                    <a:cubicBezTo>
                      <a:pt x="43" y="152"/>
                      <a:pt x="41" y="155"/>
                      <a:pt x="39" y="157"/>
                    </a:cubicBezTo>
                    <a:cubicBezTo>
                      <a:pt x="36" y="159"/>
                      <a:pt x="33" y="159"/>
                      <a:pt x="30" y="158"/>
                    </a:cubicBezTo>
                    <a:cubicBezTo>
                      <a:pt x="28" y="157"/>
                      <a:pt x="25" y="156"/>
                      <a:pt x="23" y="154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11" y="142"/>
                      <a:pt x="9" y="142"/>
                      <a:pt x="7" y="14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5" name="Freeform 259">
                <a:extLst>
                  <a:ext uri="{FF2B5EF4-FFF2-40B4-BE49-F238E27FC236}">
                    <a16:creationId xmlns:a16="http://schemas.microsoft.com/office/drawing/2014/main" id="{2458E74F-5054-0347-8DFF-0C5784E7F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2" y="2355"/>
                <a:ext cx="6" cy="6"/>
              </a:xfrm>
              <a:custGeom>
                <a:avLst/>
                <a:gdLst>
                  <a:gd name="T0" fmla="*/ 8 w 25"/>
                  <a:gd name="T1" fmla="*/ 1 h 25"/>
                  <a:gd name="T2" fmla="*/ 3 w 25"/>
                  <a:gd name="T3" fmla="*/ 7 h 25"/>
                  <a:gd name="T4" fmla="*/ 1 w 25"/>
                  <a:gd name="T5" fmla="*/ 12 h 25"/>
                  <a:gd name="T6" fmla="*/ 1 w 25"/>
                  <a:gd name="T7" fmla="*/ 15 h 25"/>
                  <a:gd name="T8" fmla="*/ 8 w 25"/>
                  <a:gd name="T9" fmla="*/ 24 h 25"/>
                  <a:gd name="T10" fmla="*/ 11 w 25"/>
                  <a:gd name="T11" fmla="*/ 25 h 25"/>
                  <a:gd name="T12" fmla="*/ 17 w 25"/>
                  <a:gd name="T13" fmla="*/ 24 h 25"/>
                  <a:gd name="T14" fmla="*/ 23 w 25"/>
                  <a:gd name="T15" fmla="*/ 18 h 25"/>
                  <a:gd name="T16" fmla="*/ 24 w 25"/>
                  <a:gd name="T17" fmla="*/ 14 h 25"/>
                  <a:gd name="T18" fmla="*/ 22 w 25"/>
                  <a:gd name="T19" fmla="*/ 7 h 25"/>
                  <a:gd name="T20" fmla="*/ 15 w 25"/>
                  <a:gd name="T21" fmla="*/ 2 h 25"/>
                  <a:gd name="T22" fmla="*/ 8 w 25"/>
                  <a:gd name="T23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5">
                    <a:moveTo>
                      <a:pt x="8" y="1"/>
                    </a:moveTo>
                    <a:cubicBezTo>
                      <a:pt x="5" y="2"/>
                      <a:pt x="3" y="4"/>
                      <a:pt x="3" y="7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9"/>
                      <a:pt x="3" y="24"/>
                      <a:pt x="8" y="24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20" y="23"/>
                      <a:pt x="22" y="21"/>
                      <a:pt x="23" y="1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1"/>
                      <a:pt x="24" y="9"/>
                      <a:pt x="22" y="7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3" y="1"/>
                      <a:pt x="11" y="0"/>
                      <a:pt x="8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6" name="Freeform 260">
                <a:extLst>
                  <a:ext uri="{FF2B5EF4-FFF2-40B4-BE49-F238E27FC236}">
                    <a16:creationId xmlns:a16="http://schemas.microsoft.com/office/drawing/2014/main" id="{410BAE6C-C880-2040-83B8-8334E8E030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" y="2360"/>
                <a:ext cx="19" cy="21"/>
              </a:xfrm>
              <a:custGeom>
                <a:avLst/>
                <a:gdLst>
                  <a:gd name="T0" fmla="*/ 66 w 75"/>
                  <a:gd name="T1" fmla="*/ 74 h 82"/>
                  <a:gd name="T2" fmla="*/ 74 w 75"/>
                  <a:gd name="T3" fmla="*/ 61 h 82"/>
                  <a:gd name="T4" fmla="*/ 75 w 75"/>
                  <a:gd name="T5" fmla="*/ 33 h 82"/>
                  <a:gd name="T6" fmla="*/ 67 w 75"/>
                  <a:gd name="T7" fmla="*/ 22 h 82"/>
                  <a:gd name="T8" fmla="*/ 55 w 75"/>
                  <a:gd name="T9" fmla="*/ 17 h 82"/>
                  <a:gd name="T10" fmla="*/ 51 w 75"/>
                  <a:gd name="T11" fmla="*/ 15 h 82"/>
                  <a:gd name="T12" fmla="*/ 39 w 75"/>
                  <a:gd name="T13" fmla="*/ 4 h 82"/>
                  <a:gd name="T14" fmla="*/ 24 w 75"/>
                  <a:gd name="T15" fmla="*/ 3 h 82"/>
                  <a:gd name="T16" fmla="*/ 18 w 75"/>
                  <a:gd name="T17" fmla="*/ 7 h 82"/>
                  <a:gd name="T18" fmla="*/ 5 w 75"/>
                  <a:gd name="T19" fmla="*/ 2 h 82"/>
                  <a:gd name="T20" fmla="*/ 2 w 75"/>
                  <a:gd name="T21" fmla="*/ 3 h 82"/>
                  <a:gd name="T22" fmla="*/ 0 w 75"/>
                  <a:gd name="T23" fmla="*/ 6 h 82"/>
                  <a:gd name="T24" fmla="*/ 0 w 75"/>
                  <a:gd name="T25" fmla="*/ 9 h 82"/>
                  <a:gd name="T26" fmla="*/ 4 w 75"/>
                  <a:gd name="T27" fmla="*/ 16 h 82"/>
                  <a:gd name="T28" fmla="*/ 17 w 75"/>
                  <a:gd name="T29" fmla="*/ 24 h 82"/>
                  <a:gd name="T30" fmla="*/ 22 w 75"/>
                  <a:gd name="T31" fmla="*/ 30 h 82"/>
                  <a:gd name="T32" fmla="*/ 27 w 75"/>
                  <a:gd name="T33" fmla="*/ 41 h 82"/>
                  <a:gd name="T34" fmla="*/ 27 w 75"/>
                  <a:gd name="T35" fmla="*/ 49 h 82"/>
                  <a:gd name="T36" fmla="*/ 38 w 75"/>
                  <a:gd name="T37" fmla="*/ 62 h 82"/>
                  <a:gd name="T38" fmla="*/ 38 w 75"/>
                  <a:gd name="T39" fmla="*/ 69 h 82"/>
                  <a:gd name="T40" fmla="*/ 48 w 75"/>
                  <a:gd name="T41" fmla="*/ 80 h 82"/>
                  <a:gd name="T42" fmla="*/ 56 w 75"/>
                  <a:gd name="T43" fmla="*/ 81 h 82"/>
                  <a:gd name="T44" fmla="*/ 65 w 75"/>
                  <a:gd name="T45" fmla="*/ 76 h 82"/>
                  <a:gd name="T46" fmla="*/ 66 w 75"/>
                  <a:gd name="T47" fmla="*/ 7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5" h="82">
                    <a:moveTo>
                      <a:pt x="66" y="74"/>
                    </a:moveTo>
                    <a:cubicBezTo>
                      <a:pt x="74" y="61"/>
                      <a:pt x="74" y="61"/>
                      <a:pt x="74" y="61"/>
                    </a:cubicBezTo>
                    <a:cubicBezTo>
                      <a:pt x="75" y="33"/>
                      <a:pt x="75" y="33"/>
                      <a:pt x="75" y="33"/>
                    </a:cubicBezTo>
                    <a:cubicBezTo>
                      <a:pt x="75" y="28"/>
                      <a:pt x="72" y="23"/>
                      <a:pt x="67" y="22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4" y="17"/>
                      <a:pt x="52" y="16"/>
                      <a:pt x="51" y="15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5" y="1"/>
                      <a:pt x="29" y="0"/>
                      <a:pt x="24" y="3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2"/>
                      <a:pt x="3" y="2"/>
                      <a:pt x="2" y="3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1" y="14"/>
                      <a:pt x="4" y="16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9" y="25"/>
                      <a:pt x="21" y="28"/>
                      <a:pt x="22" y="30"/>
                    </a:cubicBezTo>
                    <a:cubicBezTo>
                      <a:pt x="27" y="41"/>
                      <a:pt x="27" y="41"/>
                      <a:pt x="27" y="41"/>
                    </a:cubicBezTo>
                    <a:cubicBezTo>
                      <a:pt x="27" y="49"/>
                      <a:pt x="27" y="49"/>
                      <a:pt x="27" y="49"/>
                    </a:cubicBezTo>
                    <a:cubicBezTo>
                      <a:pt x="27" y="56"/>
                      <a:pt x="32" y="61"/>
                      <a:pt x="38" y="62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75"/>
                      <a:pt x="42" y="79"/>
                      <a:pt x="48" y="80"/>
                    </a:cubicBezTo>
                    <a:cubicBezTo>
                      <a:pt x="56" y="81"/>
                      <a:pt x="56" y="81"/>
                      <a:pt x="56" y="81"/>
                    </a:cubicBezTo>
                    <a:cubicBezTo>
                      <a:pt x="60" y="82"/>
                      <a:pt x="63" y="79"/>
                      <a:pt x="65" y="76"/>
                    </a:cubicBezTo>
                    <a:lnTo>
                      <a:pt x="66" y="74"/>
                    </a:ln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7" name="Freeform 261">
                <a:extLst>
                  <a:ext uri="{FF2B5EF4-FFF2-40B4-BE49-F238E27FC236}">
                    <a16:creationId xmlns:a16="http://schemas.microsoft.com/office/drawing/2014/main" id="{6229A5BE-C262-364A-9112-7F812235D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1" y="2360"/>
                <a:ext cx="4" cy="8"/>
              </a:xfrm>
              <a:custGeom>
                <a:avLst/>
                <a:gdLst>
                  <a:gd name="T0" fmla="*/ 18 w 19"/>
                  <a:gd name="T1" fmla="*/ 3 h 29"/>
                  <a:gd name="T2" fmla="*/ 3 w 19"/>
                  <a:gd name="T3" fmla="*/ 15 h 29"/>
                  <a:gd name="T4" fmla="*/ 18 w 19"/>
                  <a:gd name="T5" fmla="*/ 15 h 29"/>
                  <a:gd name="T6" fmla="*/ 19 w 19"/>
                  <a:gd name="T7" fmla="*/ 12 h 29"/>
                  <a:gd name="T8" fmla="*/ 18 w 19"/>
                  <a:gd name="T9" fmla="*/ 6 h 29"/>
                  <a:gd name="T10" fmla="*/ 18 w 19"/>
                  <a:gd name="T11" fmla="*/ 4 h 29"/>
                  <a:gd name="T12" fmla="*/ 18 w 19"/>
                  <a:gd name="T13" fmla="*/ 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9">
                    <a:moveTo>
                      <a:pt x="18" y="3"/>
                    </a:moveTo>
                    <a:cubicBezTo>
                      <a:pt x="14" y="3"/>
                      <a:pt x="0" y="0"/>
                      <a:pt x="3" y="15"/>
                    </a:cubicBezTo>
                    <a:cubicBezTo>
                      <a:pt x="6" y="29"/>
                      <a:pt x="15" y="18"/>
                      <a:pt x="18" y="15"/>
                    </a:cubicBezTo>
                    <a:cubicBezTo>
                      <a:pt x="19" y="14"/>
                      <a:pt x="19" y="13"/>
                      <a:pt x="19" y="12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6"/>
                      <a:pt x="18" y="5"/>
                      <a:pt x="18" y="4"/>
                    </a:cubicBezTo>
                    <a:cubicBezTo>
                      <a:pt x="19" y="4"/>
                      <a:pt x="19" y="3"/>
                      <a:pt x="18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8" name="Freeform 262">
                <a:extLst>
                  <a:ext uri="{FF2B5EF4-FFF2-40B4-BE49-F238E27FC236}">
                    <a16:creationId xmlns:a16="http://schemas.microsoft.com/office/drawing/2014/main" id="{9BC97D32-2F49-A445-91DA-D8547B2BA7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8" y="2376"/>
                <a:ext cx="6" cy="7"/>
              </a:xfrm>
              <a:custGeom>
                <a:avLst/>
                <a:gdLst>
                  <a:gd name="T0" fmla="*/ 1 w 24"/>
                  <a:gd name="T1" fmla="*/ 7 h 29"/>
                  <a:gd name="T2" fmla="*/ 0 w 24"/>
                  <a:gd name="T3" fmla="*/ 25 h 29"/>
                  <a:gd name="T4" fmla="*/ 12 w 24"/>
                  <a:gd name="T5" fmla="*/ 29 h 29"/>
                  <a:gd name="T6" fmla="*/ 23 w 24"/>
                  <a:gd name="T7" fmla="*/ 8 h 29"/>
                  <a:gd name="T8" fmla="*/ 21 w 24"/>
                  <a:gd name="T9" fmla="*/ 2 h 29"/>
                  <a:gd name="T10" fmla="*/ 15 w 24"/>
                  <a:gd name="T11" fmla="*/ 0 h 29"/>
                  <a:gd name="T12" fmla="*/ 5 w 24"/>
                  <a:gd name="T13" fmla="*/ 2 h 29"/>
                  <a:gd name="T14" fmla="*/ 1 w 24"/>
                  <a:gd name="T15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29">
                    <a:moveTo>
                      <a:pt x="1" y="7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9"/>
                      <a:pt x="12" y="29"/>
                    </a:cubicBezTo>
                    <a:cubicBezTo>
                      <a:pt x="21" y="29"/>
                      <a:pt x="23" y="16"/>
                      <a:pt x="23" y="8"/>
                    </a:cubicBezTo>
                    <a:cubicBezTo>
                      <a:pt x="24" y="6"/>
                      <a:pt x="23" y="3"/>
                      <a:pt x="21" y="2"/>
                    </a:cubicBezTo>
                    <a:cubicBezTo>
                      <a:pt x="20" y="1"/>
                      <a:pt x="18" y="0"/>
                      <a:pt x="15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3" y="2"/>
                      <a:pt x="1" y="4"/>
                      <a:pt x="1" y="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09" name="Freeform 263">
                <a:extLst>
                  <a:ext uri="{FF2B5EF4-FFF2-40B4-BE49-F238E27FC236}">
                    <a16:creationId xmlns:a16="http://schemas.microsoft.com/office/drawing/2014/main" id="{1A795E08-FCB0-974C-AEB7-9A73AAE30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8" y="2378"/>
                <a:ext cx="3" cy="4"/>
              </a:xfrm>
              <a:custGeom>
                <a:avLst/>
                <a:gdLst>
                  <a:gd name="T0" fmla="*/ 4 w 13"/>
                  <a:gd name="T1" fmla="*/ 14 h 15"/>
                  <a:gd name="T2" fmla="*/ 6 w 13"/>
                  <a:gd name="T3" fmla="*/ 15 h 15"/>
                  <a:gd name="T4" fmla="*/ 8 w 13"/>
                  <a:gd name="T5" fmla="*/ 14 h 15"/>
                  <a:gd name="T6" fmla="*/ 12 w 13"/>
                  <a:gd name="T7" fmla="*/ 9 h 15"/>
                  <a:gd name="T8" fmla="*/ 13 w 13"/>
                  <a:gd name="T9" fmla="*/ 4 h 15"/>
                  <a:gd name="T10" fmla="*/ 10 w 13"/>
                  <a:gd name="T11" fmla="*/ 1 h 15"/>
                  <a:gd name="T12" fmla="*/ 8 w 13"/>
                  <a:gd name="T13" fmla="*/ 0 h 15"/>
                  <a:gd name="T14" fmla="*/ 4 w 13"/>
                  <a:gd name="T15" fmla="*/ 2 h 15"/>
                  <a:gd name="T16" fmla="*/ 0 w 13"/>
                  <a:gd name="T17" fmla="*/ 6 h 15"/>
                  <a:gd name="T18" fmla="*/ 1 w 13"/>
                  <a:gd name="T19" fmla="*/ 11 h 15"/>
                  <a:gd name="T20" fmla="*/ 4 w 13"/>
                  <a:gd name="T2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5">
                    <a:moveTo>
                      <a:pt x="4" y="14"/>
                    </a:moveTo>
                    <a:cubicBezTo>
                      <a:pt x="4" y="14"/>
                      <a:pt x="5" y="15"/>
                      <a:pt x="6" y="15"/>
                    </a:cubicBezTo>
                    <a:cubicBezTo>
                      <a:pt x="7" y="15"/>
                      <a:pt x="8" y="14"/>
                      <a:pt x="8" y="14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3" y="8"/>
                      <a:pt x="13" y="6"/>
                      <a:pt x="13" y="4"/>
                    </a:cubicBezTo>
                    <a:cubicBezTo>
                      <a:pt x="12" y="3"/>
                      <a:pt x="11" y="2"/>
                      <a:pt x="10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3"/>
                      <a:pt x="1" y="4"/>
                      <a:pt x="0" y="6"/>
                    </a:cubicBezTo>
                    <a:cubicBezTo>
                      <a:pt x="0" y="8"/>
                      <a:pt x="0" y="10"/>
                      <a:pt x="1" y="11"/>
                    </a:cubicBezTo>
                    <a:lnTo>
                      <a:pt x="4" y="14"/>
                    </a:ln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0" name="Freeform 264">
                <a:extLst>
                  <a:ext uri="{FF2B5EF4-FFF2-40B4-BE49-F238E27FC236}">
                    <a16:creationId xmlns:a16="http://schemas.microsoft.com/office/drawing/2014/main" id="{D6994161-8B75-B74A-B049-85D4892F0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" y="2382"/>
                <a:ext cx="13" cy="12"/>
              </a:xfrm>
              <a:custGeom>
                <a:avLst/>
                <a:gdLst>
                  <a:gd name="T0" fmla="*/ 36 w 50"/>
                  <a:gd name="T1" fmla="*/ 22 h 47"/>
                  <a:gd name="T2" fmla="*/ 32 w 50"/>
                  <a:gd name="T3" fmla="*/ 12 h 47"/>
                  <a:gd name="T4" fmla="*/ 29 w 50"/>
                  <a:gd name="T5" fmla="*/ 9 h 47"/>
                  <a:gd name="T6" fmla="*/ 16 w 50"/>
                  <a:gd name="T7" fmla="*/ 2 h 47"/>
                  <a:gd name="T8" fmla="*/ 9 w 50"/>
                  <a:gd name="T9" fmla="*/ 2 h 47"/>
                  <a:gd name="T10" fmla="*/ 3 w 50"/>
                  <a:gd name="T11" fmla="*/ 8 h 47"/>
                  <a:gd name="T12" fmla="*/ 2 w 50"/>
                  <a:gd name="T13" fmla="*/ 16 h 47"/>
                  <a:gd name="T14" fmla="*/ 4 w 50"/>
                  <a:gd name="T15" fmla="*/ 19 h 47"/>
                  <a:gd name="T16" fmla="*/ 20 w 50"/>
                  <a:gd name="T17" fmla="*/ 21 h 47"/>
                  <a:gd name="T18" fmla="*/ 24 w 50"/>
                  <a:gd name="T19" fmla="*/ 25 h 47"/>
                  <a:gd name="T20" fmla="*/ 25 w 50"/>
                  <a:gd name="T21" fmla="*/ 30 h 47"/>
                  <a:gd name="T22" fmla="*/ 27 w 50"/>
                  <a:gd name="T23" fmla="*/ 39 h 47"/>
                  <a:gd name="T24" fmla="*/ 32 w 50"/>
                  <a:gd name="T25" fmla="*/ 44 h 47"/>
                  <a:gd name="T26" fmla="*/ 44 w 50"/>
                  <a:gd name="T27" fmla="*/ 47 h 47"/>
                  <a:gd name="T28" fmla="*/ 48 w 50"/>
                  <a:gd name="T29" fmla="*/ 42 h 47"/>
                  <a:gd name="T30" fmla="*/ 47 w 50"/>
                  <a:gd name="T31" fmla="*/ 32 h 47"/>
                  <a:gd name="T32" fmla="*/ 36 w 50"/>
                  <a:gd name="T33" fmla="*/ 2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7">
                    <a:moveTo>
                      <a:pt x="36" y="2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1" y="11"/>
                      <a:pt x="31" y="10"/>
                      <a:pt x="29" y="9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4" y="0"/>
                      <a:pt x="11" y="0"/>
                      <a:pt x="9" y="2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11"/>
                      <a:pt x="0" y="14"/>
                      <a:pt x="2" y="16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2" y="22"/>
                      <a:pt x="23" y="23"/>
                      <a:pt x="24" y="25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8" y="42"/>
                      <a:pt x="30" y="44"/>
                      <a:pt x="32" y="44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50" y="39"/>
                      <a:pt x="50" y="35"/>
                      <a:pt x="47" y="32"/>
                    </a:cubicBezTo>
                    <a:lnTo>
                      <a:pt x="36" y="22"/>
                    </a:ln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1" name="Freeform 265">
                <a:extLst>
                  <a:ext uri="{FF2B5EF4-FFF2-40B4-BE49-F238E27FC236}">
                    <a16:creationId xmlns:a16="http://schemas.microsoft.com/office/drawing/2014/main" id="{892E3FAB-4FC6-C844-A6D6-5DAACCECD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2" y="2388"/>
                <a:ext cx="17" cy="23"/>
              </a:xfrm>
              <a:custGeom>
                <a:avLst/>
                <a:gdLst>
                  <a:gd name="T0" fmla="*/ 10 w 70"/>
                  <a:gd name="T1" fmla="*/ 0 h 88"/>
                  <a:gd name="T2" fmla="*/ 4 w 70"/>
                  <a:gd name="T3" fmla="*/ 5 h 88"/>
                  <a:gd name="T4" fmla="*/ 4 w 70"/>
                  <a:gd name="T5" fmla="*/ 13 h 88"/>
                  <a:gd name="T6" fmla="*/ 7 w 70"/>
                  <a:gd name="T7" fmla="*/ 19 h 88"/>
                  <a:gd name="T8" fmla="*/ 9 w 70"/>
                  <a:gd name="T9" fmla="*/ 28 h 88"/>
                  <a:gd name="T10" fmla="*/ 9 w 70"/>
                  <a:gd name="T11" fmla="*/ 46 h 88"/>
                  <a:gd name="T12" fmla="*/ 6 w 70"/>
                  <a:gd name="T13" fmla="*/ 55 h 88"/>
                  <a:gd name="T14" fmla="*/ 3 w 70"/>
                  <a:gd name="T15" fmla="*/ 58 h 88"/>
                  <a:gd name="T16" fmla="*/ 0 w 70"/>
                  <a:gd name="T17" fmla="*/ 65 h 88"/>
                  <a:gd name="T18" fmla="*/ 2 w 70"/>
                  <a:gd name="T19" fmla="*/ 78 h 88"/>
                  <a:gd name="T20" fmla="*/ 7 w 70"/>
                  <a:gd name="T21" fmla="*/ 84 h 88"/>
                  <a:gd name="T22" fmla="*/ 15 w 70"/>
                  <a:gd name="T23" fmla="*/ 84 h 88"/>
                  <a:gd name="T24" fmla="*/ 17 w 70"/>
                  <a:gd name="T25" fmla="*/ 82 h 88"/>
                  <a:gd name="T26" fmla="*/ 27 w 70"/>
                  <a:gd name="T27" fmla="*/ 80 h 88"/>
                  <a:gd name="T28" fmla="*/ 39 w 70"/>
                  <a:gd name="T29" fmla="*/ 85 h 88"/>
                  <a:gd name="T30" fmla="*/ 39 w 70"/>
                  <a:gd name="T31" fmla="*/ 85 h 88"/>
                  <a:gd name="T32" fmla="*/ 43 w 70"/>
                  <a:gd name="T33" fmla="*/ 88 h 88"/>
                  <a:gd name="T34" fmla="*/ 47 w 70"/>
                  <a:gd name="T35" fmla="*/ 85 h 88"/>
                  <a:gd name="T36" fmla="*/ 50 w 70"/>
                  <a:gd name="T37" fmla="*/ 81 h 88"/>
                  <a:gd name="T38" fmla="*/ 49 w 70"/>
                  <a:gd name="T39" fmla="*/ 74 h 88"/>
                  <a:gd name="T40" fmla="*/ 48 w 70"/>
                  <a:gd name="T41" fmla="*/ 69 h 88"/>
                  <a:gd name="T42" fmla="*/ 56 w 70"/>
                  <a:gd name="T43" fmla="*/ 61 h 88"/>
                  <a:gd name="T44" fmla="*/ 65 w 70"/>
                  <a:gd name="T45" fmla="*/ 49 h 88"/>
                  <a:gd name="T46" fmla="*/ 69 w 70"/>
                  <a:gd name="T47" fmla="*/ 39 h 88"/>
                  <a:gd name="T48" fmla="*/ 69 w 70"/>
                  <a:gd name="T49" fmla="*/ 30 h 88"/>
                  <a:gd name="T50" fmla="*/ 62 w 70"/>
                  <a:gd name="T51" fmla="*/ 25 h 88"/>
                  <a:gd name="T52" fmla="*/ 54 w 70"/>
                  <a:gd name="T53" fmla="*/ 23 h 88"/>
                  <a:gd name="T54" fmla="*/ 46 w 70"/>
                  <a:gd name="T55" fmla="*/ 22 h 88"/>
                  <a:gd name="T56" fmla="*/ 35 w 70"/>
                  <a:gd name="T57" fmla="*/ 19 h 88"/>
                  <a:gd name="T58" fmla="*/ 28 w 70"/>
                  <a:gd name="T59" fmla="*/ 14 h 88"/>
                  <a:gd name="T60" fmla="*/ 25 w 70"/>
                  <a:gd name="T61" fmla="*/ 8 h 88"/>
                  <a:gd name="T62" fmla="*/ 12 w 70"/>
                  <a:gd name="T63" fmla="*/ 0 h 88"/>
                  <a:gd name="T64" fmla="*/ 10 w 70"/>
                  <a:gd name="T65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0" h="88">
                    <a:moveTo>
                      <a:pt x="10" y="0"/>
                    </a:moveTo>
                    <a:cubicBezTo>
                      <a:pt x="8" y="1"/>
                      <a:pt x="5" y="2"/>
                      <a:pt x="4" y="5"/>
                    </a:cubicBezTo>
                    <a:cubicBezTo>
                      <a:pt x="3" y="7"/>
                      <a:pt x="2" y="10"/>
                      <a:pt x="4" y="13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8" y="22"/>
                      <a:pt x="9" y="25"/>
                      <a:pt x="9" y="28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9" y="49"/>
                      <a:pt x="8" y="52"/>
                      <a:pt x="6" y="55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1" y="60"/>
                      <a:pt x="0" y="63"/>
                      <a:pt x="0" y="65"/>
                    </a:cubicBezTo>
                    <a:cubicBezTo>
                      <a:pt x="2" y="78"/>
                      <a:pt x="2" y="78"/>
                      <a:pt x="2" y="78"/>
                    </a:cubicBezTo>
                    <a:cubicBezTo>
                      <a:pt x="3" y="81"/>
                      <a:pt x="5" y="83"/>
                      <a:pt x="7" y="84"/>
                    </a:cubicBezTo>
                    <a:cubicBezTo>
                      <a:pt x="10" y="85"/>
                      <a:pt x="13" y="85"/>
                      <a:pt x="15" y="84"/>
                    </a:cubicBezTo>
                    <a:cubicBezTo>
                      <a:pt x="17" y="82"/>
                      <a:pt x="17" y="82"/>
                      <a:pt x="17" y="82"/>
                    </a:cubicBezTo>
                    <a:cubicBezTo>
                      <a:pt x="27" y="80"/>
                      <a:pt x="27" y="80"/>
                      <a:pt x="27" y="80"/>
                    </a:cubicBezTo>
                    <a:cubicBezTo>
                      <a:pt x="31" y="78"/>
                      <a:pt x="37" y="81"/>
                      <a:pt x="39" y="85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40" y="87"/>
                      <a:pt x="41" y="88"/>
                      <a:pt x="43" y="88"/>
                    </a:cubicBezTo>
                    <a:cubicBezTo>
                      <a:pt x="45" y="88"/>
                      <a:pt x="46" y="87"/>
                      <a:pt x="47" y="85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1" y="79"/>
                      <a:pt x="51" y="76"/>
                      <a:pt x="49" y="74"/>
                    </a:cubicBezTo>
                    <a:cubicBezTo>
                      <a:pt x="47" y="72"/>
                      <a:pt x="45" y="69"/>
                      <a:pt x="48" y="69"/>
                    </a:cubicBezTo>
                    <a:cubicBezTo>
                      <a:pt x="52" y="69"/>
                      <a:pt x="56" y="61"/>
                      <a:pt x="56" y="61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70" y="36"/>
                      <a:pt x="70" y="33"/>
                      <a:pt x="69" y="30"/>
                    </a:cubicBezTo>
                    <a:cubicBezTo>
                      <a:pt x="68" y="28"/>
                      <a:pt x="65" y="26"/>
                      <a:pt x="62" y="25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2" y="19"/>
                      <a:pt x="29" y="17"/>
                      <a:pt x="28" y="14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12" y="0"/>
                      <a:pt x="12" y="0"/>
                      <a:pt x="12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2" name="Freeform 266">
                <a:extLst>
                  <a:ext uri="{FF2B5EF4-FFF2-40B4-BE49-F238E27FC236}">
                    <a16:creationId xmlns:a16="http://schemas.microsoft.com/office/drawing/2014/main" id="{9E26884E-604D-9349-93D6-CB1A02D6A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9" y="2403"/>
                <a:ext cx="18" cy="30"/>
              </a:xfrm>
              <a:custGeom>
                <a:avLst/>
                <a:gdLst>
                  <a:gd name="T0" fmla="*/ 48 w 71"/>
                  <a:gd name="T1" fmla="*/ 2 h 121"/>
                  <a:gd name="T2" fmla="*/ 41 w 71"/>
                  <a:gd name="T3" fmla="*/ 10 h 121"/>
                  <a:gd name="T4" fmla="*/ 36 w 71"/>
                  <a:gd name="T5" fmla="*/ 23 h 121"/>
                  <a:gd name="T6" fmla="*/ 30 w 71"/>
                  <a:gd name="T7" fmla="*/ 31 h 121"/>
                  <a:gd name="T8" fmla="*/ 28 w 71"/>
                  <a:gd name="T9" fmla="*/ 38 h 121"/>
                  <a:gd name="T10" fmla="*/ 28 w 71"/>
                  <a:gd name="T11" fmla="*/ 54 h 121"/>
                  <a:gd name="T12" fmla="*/ 24 w 71"/>
                  <a:gd name="T13" fmla="*/ 60 h 121"/>
                  <a:gd name="T14" fmla="*/ 9 w 71"/>
                  <a:gd name="T15" fmla="*/ 65 h 121"/>
                  <a:gd name="T16" fmla="*/ 4 w 71"/>
                  <a:gd name="T17" fmla="*/ 69 h 121"/>
                  <a:gd name="T18" fmla="*/ 1 w 71"/>
                  <a:gd name="T19" fmla="*/ 77 h 121"/>
                  <a:gd name="T20" fmla="*/ 2 w 71"/>
                  <a:gd name="T21" fmla="*/ 83 h 121"/>
                  <a:gd name="T22" fmla="*/ 6 w 71"/>
                  <a:gd name="T23" fmla="*/ 88 h 121"/>
                  <a:gd name="T24" fmla="*/ 7 w 71"/>
                  <a:gd name="T25" fmla="*/ 88 h 121"/>
                  <a:gd name="T26" fmla="*/ 19 w 71"/>
                  <a:gd name="T27" fmla="*/ 97 h 121"/>
                  <a:gd name="T28" fmla="*/ 30 w 71"/>
                  <a:gd name="T29" fmla="*/ 110 h 121"/>
                  <a:gd name="T30" fmla="*/ 33 w 71"/>
                  <a:gd name="T31" fmla="*/ 117 h 121"/>
                  <a:gd name="T32" fmla="*/ 39 w 71"/>
                  <a:gd name="T33" fmla="*/ 120 h 121"/>
                  <a:gd name="T34" fmla="*/ 54 w 71"/>
                  <a:gd name="T35" fmla="*/ 116 h 121"/>
                  <a:gd name="T36" fmla="*/ 57 w 71"/>
                  <a:gd name="T37" fmla="*/ 112 h 121"/>
                  <a:gd name="T38" fmla="*/ 58 w 71"/>
                  <a:gd name="T39" fmla="*/ 104 h 121"/>
                  <a:gd name="T40" fmla="*/ 51 w 71"/>
                  <a:gd name="T41" fmla="*/ 93 h 121"/>
                  <a:gd name="T42" fmla="*/ 48 w 71"/>
                  <a:gd name="T43" fmla="*/ 75 h 121"/>
                  <a:gd name="T44" fmla="*/ 49 w 71"/>
                  <a:gd name="T45" fmla="*/ 69 h 121"/>
                  <a:gd name="T46" fmla="*/ 54 w 71"/>
                  <a:gd name="T47" fmla="*/ 56 h 121"/>
                  <a:gd name="T48" fmla="*/ 60 w 71"/>
                  <a:gd name="T49" fmla="*/ 41 h 121"/>
                  <a:gd name="T50" fmla="*/ 67 w 71"/>
                  <a:gd name="T51" fmla="*/ 31 h 121"/>
                  <a:gd name="T52" fmla="*/ 69 w 71"/>
                  <a:gd name="T53" fmla="*/ 27 h 121"/>
                  <a:gd name="T54" fmla="*/ 71 w 71"/>
                  <a:gd name="T55" fmla="*/ 12 h 121"/>
                  <a:gd name="T56" fmla="*/ 65 w 71"/>
                  <a:gd name="T57" fmla="*/ 3 h 121"/>
                  <a:gd name="T58" fmla="*/ 54 w 71"/>
                  <a:gd name="T59" fmla="*/ 1 h 121"/>
                  <a:gd name="T60" fmla="*/ 48 w 71"/>
                  <a:gd name="T61" fmla="*/ 2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1" h="121">
                    <a:moveTo>
                      <a:pt x="48" y="2"/>
                    </a:moveTo>
                    <a:cubicBezTo>
                      <a:pt x="41" y="10"/>
                      <a:pt x="41" y="10"/>
                      <a:pt x="41" y="10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0" y="31"/>
                      <a:pt x="30" y="31"/>
                      <a:pt x="30" y="31"/>
                    </a:cubicBezTo>
                    <a:cubicBezTo>
                      <a:pt x="29" y="33"/>
                      <a:pt x="28" y="35"/>
                      <a:pt x="28" y="38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28" y="57"/>
                      <a:pt x="27" y="59"/>
                      <a:pt x="24" y="60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4" y="69"/>
                      <a:pt x="4" y="69"/>
                      <a:pt x="4" y="69"/>
                    </a:cubicBezTo>
                    <a:cubicBezTo>
                      <a:pt x="1" y="71"/>
                      <a:pt x="0" y="74"/>
                      <a:pt x="1" y="77"/>
                    </a:cubicBezTo>
                    <a:cubicBezTo>
                      <a:pt x="2" y="83"/>
                      <a:pt x="2" y="83"/>
                      <a:pt x="2" y="83"/>
                    </a:cubicBezTo>
                    <a:cubicBezTo>
                      <a:pt x="2" y="85"/>
                      <a:pt x="4" y="87"/>
                      <a:pt x="6" y="88"/>
                    </a:cubicBezTo>
                    <a:cubicBezTo>
                      <a:pt x="7" y="88"/>
                      <a:pt x="7" y="88"/>
                      <a:pt x="7" y="88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30" y="110"/>
                      <a:pt x="30" y="110"/>
                      <a:pt x="30" y="110"/>
                    </a:cubicBezTo>
                    <a:cubicBezTo>
                      <a:pt x="33" y="117"/>
                      <a:pt x="33" y="117"/>
                      <a:pt x="33" y="117"/>
                    </a:cubicBezTo>
                    <a:cubicBezTo>
                      <a:pt x="34" y="120"/>
                      <a:pt x="36" y="121"/>
                      <a:pt x="39" y="120"/>
                    </a:cubicBezTo>
                    <a:cubicBezTo>
                      <a:pt x="54" y="116"/>
                      <a:pt x="54" y="116"/>
                      <a:pt x="54" y="116"/>
                    </a:cubicBezTo>
                    <a:cubicBezTo>
                      <a:pt x="57" y="112"/>
                      <a:pt x="57" y="112"/>
                      <a:pt x="57" y="112"/>
                    </a:cubicBezTo>
                    <a:cubicBezTo>
                      <a:pt x="59" y="110"/>
                      <a:pt x="59" y="106"/>
                      <a:pt x="58" y="104"/>
                    </a:cubicBezTo>
                    <a:cubicBezTo>
                      <a:pt x="51" y="93"/>
                      <a:pt x="51" y="93"/>
                      <a:pt x="51" y="93"/>
                    </a:cubicBezTo>
                    <a:cubicBezTo>
                      <a:pt x="48" y="75"/>
                      <a:pt x="48" y="75"/>
                      <a:pt x="48" y="75"/>
                    </a:cubicBezTo>
                    <a:cubicBezTo>
                      <a:pt x="48" y="73"/>
                      <a:pt x="48" y="71"/>
                      <a:pt x="49" y="69"/>
                    </a:cubicBezTo>
                    <a:cubicBezTo>
                      <a:pt x="54" y="56"/>
                      <a:pt x="54" y="56"/>
                      <a:pt x="54" y="56"/>
                    </a:cubicBezTo>
                    <a:cubicBezTo>
                      <a:pt x="60" y="41"/>
                      <a:pt x="60" y="41"/>
                      <a:pt x="60" y="41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8" y="30"/>
                      <a:pt x="68" y="29"/>
                      <a:pt x="69" y="27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71" y="8"/>
                      <a:pt x="69" y="4"/>
                      <a:pt x="65" y="3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2" y="0"/>
                      <a:pt x="50" y="1"/>
                      <a:pt x="48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3" name="Freeform 267">
                <a:extLst>
                  <a:ext uri="{FF2B5EF4-FFF2-40B4-BE49-F238E27FC236}">
                    <a16:creationId xmlns:a16="http://schemas.microsoft.com/office/drawing/2014/main" id="{831B3F33-D0CF-AB40-A8CA-71F3FECA9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1" y="2374"/>
                <a:ext cx="22" cy="45"/>
              </a:xfrm>
              <a:custGeom>
                <a:avLst/>
                <a:gdLst>
                  <a:gd name="T0" fmla="*/ 86 w 87"/>
                  <a:gd name="T1" fmla="*/ 35 h 176"/>
                  <a:gd name="T2" fmla="*/ 81 w 87"/>
                  <a:gd name="T3" fmla="*/ 24 h 176"/>
                  <a:gd name="T4" fmla="*/ 77 w 87"/>
                  <a:gd name="T5" fmla="*/ 22 h 176"/>
                  <a:gd name="T6" fmla="*/ 71 w 87"/>
                  <a:gd name="T7" fmla="*/ 18 h 176"/>
                  <a:gd name="T8" fmla="*/ 69 w 87"/>
                  <a:gd name="T9" fmla="*/ 14 h 176"/>
                  <a:gd name="T10" fmla="*/ 66 w 87"/>
                  <a:gd name="T11" fmla="*/ 10 h 176"/>
                  <a:gd name="T12" fmla="*/ 49 w 87"/>
                  <a:gd name="T13" fmla="*/ 4 h 176"/>
                  <a:gd name="T14" fmla="*/ 36 w 87"/>
                  <a:gd name="T15" fmla="*/ 4 h 176"/>
                  <a:gd name="T16" fmla="*/ 25 w 87"/>
                  <a:gd name="T17" fmla="*/ 8 h 176"/>
                  <a:gd name="T18" fmla="*/ 7 w 87"/>
                  <a:gd name="T19" fmla="*/ 7 h 176"/>
                  <a:gd name="T20" fmla="*/ 4 w 87"/>
                  <a:gd name="T21" fmla="*/ 16 h 176"/>
                  <a:gd name="T22" fmla="*/ 10 w 87"/>
                  <a:gd name="T23" fmla="*/ 32 h 176"/>
                  <a:gd name="T24" fmla="*/ 15 w 87"/>
                  <a:gd name="T25" fmla="*/ 37 h 176"/>
                  <a:gd name="T26" fmla="*/ 21 w 87"/>
                  <a:gd name="T27" fmla="*/ 38 h 176"/>
                  <a:gd name="T28" fmla="*/ 28 w 87"/>
                  <a:gd name="T29" fmla="*/ 35 h 176"/>
                  <a:gd name="T30" fmla="*/ 30 w 87"/>
                  <a:gd name="T31" fmla="*/ 33 h 176"/>
                  <a:gd name="T32" fmla="*/ 33 w 87"/>
                  <a:gd name="T33" fmla="*/ 32 h 176"/>
                  <a:gd name="T34" fmla="*/ 35 w 87"/>
                  <a:gd name="T35" fmla="*/ 34 h 176"/>
                  <a:gd name="T36" fmla="*/ 37 w 87"/>
                  <a:gd name="T37" fmla="*/ 42 h 176"/>
                  <a:gd name="T38" fmla="*/ 39 w 87"/>
                  <a:gd name="T39" fmla="*/ 48 h 176"/>
                  <a:gd name="T40" fmla="*/ 37 w 87"/>
                  <a:gd name="T41" fmla="*/ 65 h 176"/>
                  <a:gd name="T42" fmla="*/ 41 w 87"/>
                  <a:gd name="T43" fmla="*/ 67 h 176"/>
                  <a:gd name="T44" fmla="*/ 42 w 87"/>
                  <a:gd name="T45" fmla="*/ 70 h 176"/>
                  <a:gd name="T46" fmla="*/ 42 w 87"/>
                  <a:gd name="T47" fmla="*/ 72 h 176"/>
                  <a:gd name="T48" fmla="*/ 37 w 87"/>
                  <a:gd name="T49" fmla="*/ 78 h 176"/>
                  <a:gd name="T50" fmla="*/ 31 w 87"/>
                  <a:gd name="T51" fmla="*/ 90 h 176"/>
                  <a:gd name="T52" fmla="*/ 24 w 87"/>
                  <a:gd name="T53" fmla="*/ 91 h 176"/>
                  <a:gd name="T54" fmla="*/ 22 w 87"/>
                  <a:gd name="T55" fmla="*/ 75 h 176"/>
                  <a:gd name="T56" fmla="*/ 16 w 87"/>
                  <a:gd name="T57" fmla="*/ 70 h 176"/>
                  <a:gd name="T58" fmla="*/ 8 w 87"/>
                  <a:gd name="T59" fmla="*/ 70 h 176"/>
                  <a:gd name="T60" fmla="*/ 5 w 87"/>
                  <a:gd name="T61" fmla="*/ 86 h 176"/>
                  <a:gd name="T62" fmla="*/ 9 w 87"/>
                  <a:gd name="T63" fmla="*/ 105 h 176"/>
                  <a:gd name="T64" fmla="*/ 13 w 87"/>
                  <a:gd name="T65" fmla="*/ 110 h 176"/>
                  <a:gd name="T66" fmla="*/ 18 w 87"/>
                  <a:gd name="T67" fmla="*/ 113 h 176"/>
                  <a:gd name="T68" fmla="*/ 22 w 87"/>
                  <a:gd name="T69" fmla="*/ 114 h 176"/>
                  <a:gd name="T70" fmla="*/ 27 w 87"/>
                  <a:gd name="T71" fmla="*/ 115 h 176"/>
                  <a:gd name="T72" fmla="*/ 31 w 87"/>
                  <a:gd name="T73" fmla="*/ 132 h 176"/>
                  <a:gd name="T74" fmla="*/ 32 w 87"/>
                  <a:gd name="T75" fmla="*/ 150 h 176"/>
                  <a:gd name="T76" fmla="*/ 33 w 87"/>
                  <a:gd name="T77" fmla="*/ 169 h 176"/>
                  <a:gd name="T78" fmla="*/ 53 w 87"/>
                  <a:gd name="T79" fmla="*/ 169 h 176"/>
                  <a:gd name="T80" fmla="*/ 60 w 87"/>
                  <a:gd name="T81" fmla="*/ 159 h 176"/>
                  <a:gd name="T82" fmla="*/ 60 w 87"/>
                  <a:gd name="T83" fmla="*/ 145 h 176"/>
                  <a:gd name="T84" fmla="*/ 51 w 87"/>
                  <a:gd name="T85" fmla="*/ 129 h 176"/>
                  <a:gd name="T86" fmla="*/ 53 w 87"/>
                  <a:gd name="T87" fmla="*/ 121 h 176"/>
                  <a:gd name="T88" fmla="*/ 51 w 87"/>
                  <a:gd name="T89" fmla="*/ 101 h 176"/>
                  <a:gd name="T90" fmla="*/ 54 w 87"/>
                  <a:gd name="T91" fmla="*/ 90 h 176"/>
                  <a:gd name="T92" fmla="*/ 62 w 87"/>
                  <a:gd name="T93" fmla="*/ 96 h 176"/>
                  <a:gd name="T94" fmla="*/ 72 w 87"/>
                  <a:gd name="T95" fmla="*/ 106 h 176"/>
                  <a:gd name="T96" fmla="*/ 85 w 87"/>
                  <a:gd name="T97" fmla="*/ 99 h 176"/>
                  <a:gd name="T98" fmla="*/ 87 w 87"/>
                  <a:gd name="T99" fmla="*/ 84 h 176"/>
                  <a:gd name="T100" fmla="*/ 79 w 87"/>
                  <a:gd name="T101" fmla="*/ 70 h 176"/>
                  <a:gd name="T102" fmla="*/ 77 w 87"/>
                  <a:gd name="T103" fmla="*/ 57 h 176"/>
                  <a:gd name="T104" fmla="*/ 84 w 87"/>
                  <a:gd name="T105" fmla="*/ 42 h 176"/>
                  <a:gd name="T106" fmla="*/ 86 w 87"/>
                  <a:gd name="T107" fmla="*/ 3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7" h="176">
                    <a:moveTo>
                      <a:pt x="86" y="35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77" y="22"/>
                      <a:pt x="77" y="22"/>
                      <a:pt x="77" y="22"/>
                    </a:cubicBezTo>
                    <a:cubicBezTo>
                      <a:pt x="74" y="22"/>
                      <a:pt x="72" y="20"/>
                      <a:pt x="71" y="18"/>
                    </a:cubicBezTo>
                    <a:cubicBezTo>
                      <a:pt x="69" y="14"/>
                      <a:pt x="69" y="14"/>
                      <a:pt x="69" y="14"/>
                    </a:cubicBezTo>
                    <a:cubicBezTo>
                      <a:pt x="69" y="12"/>
                      <a:pt x="67" y="11"/>
                      <a:pt x="66" y="10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5" y="8"/>
                      <a:pt x="16" y="0"/>
                      <a:pt x="7" y="7"/>
                    </a:cubicBezTo>
                    <a:cubicBezTo>
                      <a:pt x="4" y="9"/>
                      <a:pt x="3" y="13"/>
                      <a:pt x="4" y="16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1" y="35"/>
                      <a:pt x="13" y="36"/>
                      <a:pt x="15" y="37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4" y="38"/>
                      <a:pt x="26" y="37"/>
                      <a:pt x="28" y="35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1" y="32"/>
                      <a:pt x="32" y="32"/>
                      <a:pt x="33" y="32"/>
                    </a:cubicBezTo>
                    <a:cubicBezTo>
                      <a:pt x="34" y="32"/>
                      <a:pt x="34" y="33"/>
                      <a:pt x="35" y="34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39" y="48"/>
                      <a:pt x="39" y="48"/>
                      <a:pt x="39" y="48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41" y="68"/>
                      <a:pt x="42" y="69"/>
                      <a:pt x="42" y="70"/>
                    </a:cubicBezTo>
                    <a:cubicBezTo>
                      <a:pt x="43" y="71"/>
                      <a:pt x="42" y="72"/>
                      <a:pt x="42" y="72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31" y="90"/>
                      <a:pt x="31" y="90"/>
                      <a:pt x="31" y="90"/>
                    </a:cubicBezTo>
                    <a:cubicBezTo>
                      <a:pt x="24" y="91"/>
                      <a:pt x="24" y="91"/>
                      <a:pt x="24" y="91"/>
                    </a:cubicBezTo>
                    <a:cubicBezTo>
                      <a:pt x="22" y="75"/>
                      <a:pt x="22" y="75"/>
                      <a:pt x="22" y="75"/>
                    </a:cubicBezTo>
                    <a:cubicBezTo>
                      <a:pt x="22" y="73"/>
                      <a:pt x="19" y="70"/>
                      <a:pt x="16" y="70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8" y="70"/>
                      <a:pt x="0" y="74"/>
                      <a:pt x="5" y="86"/>
                    </a:cubicBezTo>
                    <a:cubicBezTo>
                      <a:pt x="8" y="94"/>
                      <a:pt x="9" y="101"/>
                      <a:pt x="9" y="105"/>
                    </a:cubicBezTo>
                    <a:cubicBezTo>
                      <a:pt x="9" y="107"/>
                      <a:pt x="11" y="109"/>
                      <a:pt x="13" y="110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9" y="114"/>
                      <a:pt x="21" y="114"/>
                      <a:pt x="22" y="114"/>
                    </a:cubicBezTo>
                    <a:cubicBezTo>
                      <a:pt x="24" y="113"/>
                      <a:pt x="26" y="113"/>
                      <a:pt x="27" y="115"/>
                    </a:cubicBezTo>
                    <a:cubicBezTo>
                      <a:pt x="30" y="118"/>
                      <a:pt x="31" y="132"/>
                      <a:pt x="31" y="132"/>
                    </a:cubicBezTo>
                    <a:cubicBezTo>
                      <a:pt x="32" y="150"/>
                      <a:pt x="32" y="150"/>
                      <a:pt x="32" y="150"/>
                    </a:cubicBezTo>
                    <a:cubicBezTo>
                      <a:pt x="32" y="150"/>
                      <a:pt x="24" y="161"/>
                      <a:pt x="33" y="169"/>
                    </a:cubicBezTo>
                    <a:cubicBezTo>
                      <a:pt x="43" y="176"/>
                      <a:pt x="53" y="169"/>
                      <a:pt x="53" y="169"/>
                    </a:cubicBezTo>
                    <a:cubicBezTo>
                      <a:pt x="60" y="159"/>
                      <a:pt x="60" y="159"/>
                      <a:pt x="60" y="159"/>
                    </a:cubicBezTo>
                    <a:cubicBezTo>
                      <a:pt x="60" y="145"/>
                      <a:pt x="60" y="145"/>
                      <a:pt x="60" y="145"/>
                    </a:cubicBezTo>
                    <a:cubicBezTo>
                      <a:pt x="51" y="129"/>
                      <a:pt x="51" y="129"/>
                      <a:pt x="51" y="129"/>
                    </a:cubicBezTo>
                    <a:cubicBezTo>
                      <a:pt x="53" y="121"/>
                      <a:pt x="53" y="121"/>
                      <a:pt x="53" y="121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54" y="90"/>
                      <a:pt x="54" y="90"/>
                      <a:pt x="54" y="90"/>
                    </a:cubicBezTo>
                    <a:cubicBezTo>
                      <a:pt x="54" y="90"/>
                      <a:pt x="62" y="88"/>
                      <a:pt x="62" y="96"/>
                    </a:cubicBezTo>
                    <a:cubicBezTo>
                      <a:pt x="62" y="105"/>
                      <a:pt x="72" y="106"/>
                      <a:pt x="72" y="106"/>
                    </a:cubicBezTo>
                    <a:cubicBezTo>
                      <a:pt x="85" y="99"/>
                      <a:pt x="85" y="99"/>
                      <a:pt x="85" y="99"/>
                    </a:cubicBezTo>
                    <a:cubicBezTo>
                      <a:pt x="85" y="99"/>
                      <a:pt x="87" y="89"/>
                      <a:pt x="87" y="84"/>
                    </a:cubicBezTo>
                    <a:cubicBezTo>
                      <a:pt x="87" y="79"/>
                      <a:pt x="79" y="70"/>
                      <a:pt x="79" y="70"/>
                    </a:cubicBezTo>
                    <a:cubicBezTo>
                      <a:pt x="77" y="57"/>
                      <a:pt x="77" y="57"/>
                      <a:pt x="77" y="57"/>
                    </a:cubicBezTo>
                    <a:cubicBezTo>
                      <a:pt x="84" y="42"/>
                      <a:pt x="84" y="42"/>
                      <a:pt x="84" y="42"/>
                    </a:cubicBezTo>
                    <a:lnTo>
                      <a:pt x="86" y="35"/>
                    </a:ln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4" name="Freeform 268">
                <a:extLst>
                  <a:ext uri="{FF2B5EF4-FFF2-40B4-BE49-F238E27FC236}">
                    <a16:creationId xmlns:a16="http://schemas.microsoft.com/office/drawing/2014/main" id="{25E3C2A3-CABC-BA48-B67A-D930D31E8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7" y="2399"/>
                <a:ext cx="11" cy="23"/>
              </a:xfrm>
              <a:custGeom>
                <a:avLst/>
                <a:gdLst>
                  <a:gd name="T0" fmla="*/ 39 w 42"/>
                  <a:gd name="T1" fmla="*/ 0 h 90"/>
                  <a:gd name="T2" fmla="*/ 33 w 42"/>
                  <a:gd name="T3" fmla="*/ 1 h 90"/>
                  <a:gd name="T4" fmla="*/ 31 w 42"/>
                  <a:gd name="T5" fmla="*/ 2 h 90"/>
                  <a:gd name="T6" fmla="*/ 27 w 42"/>
                  <a:gd name="T7" fmla="*/ 21 h 90"/>
                  <a:gd name="T8" fmla="*/ 25 w 42"/>
                  <a:gd name="T9" fmla="*/ 27 h 90"/>
                  <a:gd name="T10" fmla="*/ 17 w 42"/>
                  <a:gd name="T11" fmla="*/ 39 h 90"/>
                  <a:gd name="T12" fmla="*/ 5 w 42"/>
                  <a:gd name="T13" fmla="*/ 58 h 90"/>
                  <a:gd name="T14" fmla="*/ 1 w 42"/>
                  <a:gd name="T15" fmla="*/ 70 h 90"/>
                  <a:gd name="T16" fmla="*/ 0 w 42"/>
                  <a:gd name="T17" fmla="*/ 87 h 90"/>
                  <a:gd name="T18" fmla="*/ 3 w 42"/>
                  <a:gd name="T19" fmla="*/ 89 h 90"/>
                  <a:gd name="T20" fmla="*/ 6 w 42"/>
                  <a:gd name="T21" fmla="*/ 88 h 90"/>
                  <a:gd name="T22" fmla="*/ 10 w 42"/>
                  <a:gd name="T23" fmla="*/ 80 h 90"/>
                  <a:gd name="T24" fmla="*/ 18 w 42"/>
                  <a:gd name="T25" fmla="*/ 72 h 90"/>
                  <a:gd name="T26" fmla="*/ 19 w 42"/>
                  <a:gd name="T27" fmla="*/ 64 h 90"/>
                  <a:gd name="T28" fmla="*/ 23 w 42"/>
                  <a:gd name="T29" fmla="*/ 55 h 90"/>
                  <a:gd name="T30" fmla="*/ 26 w 42"/>
                  <a:gd name="T31" fmla="*/ 52 h 90"/>
                  <a:gd name="T32" fmla="*/ 31 w 42"/>
                  <a:gd name="T33" fmla="*/ 51 h 90"/>
                  <a:gd name="T34" fmla="*/ 37 w 42"/>
                  <a:gd name="T35" fmla="*/ 41 h 90"/>
                  <a:gd name="T36" fmla="*/ 40 w 42"/>
                  <a:gd name="T37" fmla="*/ 27 h 90"/>
                  <a:gd name="T38" fmla="*/ 41 w 42"/>
                  <a:gd name="T39" fmla="*/ 14 h 90"/>
                  <a:gd name="T40" fmla="*/ 42 w 42"/>
                  <a:gd name="T41" fmla="*/ 3 h 90"/>
                  <a:gd name="T42" fmla="*/ 41 w 42"/>
                  <a:gd name="T43" fmla="*/ 1 h 90"/>
                  <a:gd name="T44" fmla="*/ 39 w 42"/>
                  <a:gd name="T45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2" h="90">
                    <a:moveTo>
                      <a:pt x="39" y="0"/>
                    </a:moveTo>
                    <a:cubicBezTo>
                      <a:pt x="33" y="1"/>
                      <a:pt x="33" y="1"/>
                      <a:pt x="33" y="1"/>
                    </a:cubicBezTo>
                    <a:cubicBezTo>
                      <a:pt x="32" y="1"/>
                      <a:pt x="31" y="1"/>
                      <a:pt x="31" y="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7" y="23"/>
                      <a:pt x="26" y="25"/>
                      <a:pt x="25" y="27"/>
                    </a:cubicBezTo>
                    <a:cubicBezTo>
                      <a:pt x="17" y="39"/>
                      <a:pt x="17" y="39"/>
                      <a:pt x="17" y="39"/>
                    </a:cubicBezTo>
                    <a:cubicBezTo>
                      <a:pt x="5" y="58"/>
                      <a:pt x="5" y="58"/>
                      <a:pt x="5" y="58"/>
                    </a:cubicBezTo>
                    <a:cubicBezTo>
                      <a:pt x="2" y="62"/>
                      <a:pt x="1" y="66"/>
                      <a:pt x="1" y="70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0" y="88"/>
                      <a:pt x="1" y="89"/>
                      <a:pt x="3" y="89"/>
                    </a:cubicBezTo>
                    <a:cubicBezTo>
                      <a:pt x="4" y="90"/>
                      <a:pt x="5" y="89"/>
                      <a:pt x="6" y="88"/>
                    </a:cubicBezTo>
                    <a:cubicBezTo>
                      <a:pt x="10" y="80"/>
                      <a:pt x="10" y="80"/>
                      <a:pt x="10" y="80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3" y="55"/>
                      <a:pt x="23" y="55"/>
                      <a:pt x="23" y="55"/>
                    </a:cubicBezTo>
                    <a:cubicBezTo>
                      <a:pt x="24" y="53"/>
                      <a:pt x="25" y="52"/>
                      <a:pt x="26" y="52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2" y="2"/>
                      <a:pt x="42" y="1"/>
                      <a:pt x="41" y="1"/>
                    </a:cubicBezTo>
                    <a:cubicBezTo>
                      <a:pt x="40" y="0"/>
                      <a:pt x="40" y="0"/>
                      <a:pt x="39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5" name="Freeform 269">
                <a:extLst>
                  <a:ext uri="{FF2B5EF4-FFF2-40B4-BE49-F238E27FC236}">
                    <a16:creationId xmlns:a16="http://schemas.microsoft.com/office/drawing/2014/main" id="{13EC3C0A-786C-7544-9492-E43BD1DA3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2" y="2417"/>
                <a:ext cx="13" cy="9"/>
              </a:xfrm>
              <a:custGeom>
                <a:avLst/>
                <a:gdLst>
                  <a:gd name="T0" fmla="*/ 18 w 52"/>
                  <a:gd name="T1" fmla="*/ 15 h 36"/>
                  <a:gd name="T2" fmla="*/ 16 w 52"/>
                  <a:gd name="T3" fmla="*/ 22 h 36"/>
                  <a:gd name="T4" fmla="*/ 9 w 52"/>
                  <a:gd name="T5" fmla="*/ 23 h 36"/>
                  <a:gd name="T6" fmla="*/ 1 w 52"/>
                  <a:gd name="T7" fmla="*/ 29 h 36"/>
                  <a:gd name="T8" fmla="*/ 3 w 52"/>
                  <a:gd name="T9" fmla="*/ 33 h 36"/>
                  <a:gd name="T10" fmla="*/ 10 w 52"/>
                  <a:gd name="T11" fmla="*/ 35 h 36"/>
                  <a:gd name="T12" fmla="*/ 24 w 52"/>
                  <a:gd name="T13" fmla="*/ 36 h 36"/>
                  <a:gd name="T14" fmla="*/ 35 w 52"/>
                  <a:gd name="T15" fmla="*/ 34 h 36"/>
                  <a:gd name="T16" fmla="*/ 52 w 52"/>
                  <a:gd name="T17" fmla="*/ 18 h 36"/>
                  <a:gd name="T18" fmla="*/ 51 w 52"/>
                  <a:gd name="T19" fmla="*/ 6 h 36"/>
                  <a:gd name="T20" fmla="*/ 48 w 52"/>
                  <a:gd name="T21" fmla="*/ 2 h 36"/>
                  <a:gd name="T22" fmla="*/ 41 w 52"/>
                  <a:gd name="T23" fmla="*/ 1 h 36"/>
                  <a:gd name="T24" fmla="*/ 28 w 52"/>
                  <a:gd name="T25" fmla="*/ 8 h 36"/>
                  <a:gd name="T26" fmla="*/ 22 w 52"/>
                  <a:gd name="T27" fmla="*/ 11 h 36"/>
                  <a:gd name="T28" fmla="*/ 18 w 52"/>
                  <a:gd name="T29" fmla="*/ 1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2" h="36">
                    <a:moveTo>
                      <a:pt x="18" y="15"/>
                    </a:moveTo>
                    <a:cubicBezTo>
                      <a:pt x="16" y="22"/>
                      <a:pt x="16" y="22"/>
                      <a:pt x="16" y="22"/>
                    </a:cubicBezTo>
                    <a:cubicBezTo>
                      <a:pt x="9" y="23"/>
                      <a:pt x="9" y="23"/>
                      <a:pt x="9" y="23"/>
                    </a:cubicBezTo>
                    <a:cubicBezTo>
                      <a:pt x="9" y="23"/>
                      <a:pt x="0" y="25"/>
                      <a:pt x="1" y="29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10" y="35"/>
                      <a:pt x="10" y="35"/>
                      <a:pt x="10" y="35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48" y="2"/>
                      <a:pt x="48" y="2"/>
                      <a:pt x="48" y="2"/>
                    </a:cubicBezTo>
                    <a:cubicBezTo>
                      <a:pt x="46" y="1"/>
                      <a:pt x="43" y="0"/>
                      <a:pt x="41" y="1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1" y="11"/>
                      <a:pt x="19" y="13"/>
                      <a:pt x="18" y="1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6" name="Freeform 270">
                <a:extLst>
                  <a:ext uri="{FF2B5EF4-FFF2-40B4-BE49-F238E27FC236}">
                    <a16:creationId xmlns:a16="http://schemas.microsoft.com/office/drawing/2014/main" id="{53DDA725-D527-344B-AFD7-D23143185A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7" y="2399"/>
                <a:ext cx="6" cy="5"/>
              </a:xfrm>
              <a:custGeom>
                <a:avLst/>
                <a:gdLst>
                  <a:gd name="T0" fmla="*/ 4 w 22"/>
                  <a:gd name="T1" fmla="*/ 22 h 22"/>
                  <a:gd name="T2" fmla="*/ 11 w 22"/>
                  <a:gd name="T3" fmla="*/ 21 h 22"/>
                  <a:gd name="T4" fmla="*/ 13 w 22"/>
                  <a:gd name="T5" fmla="*/ 20 h 22"/>
                  <a:gd name="T6" fmla="*/ 21 w 22"/>
                  <a:gd name="T7" fmla="*/ 13 h 22"/>
                  <a:gd name="T8" fmla="*/ 21 w 22"/>
                  <a:gd name="T9" fmla="*/ 8 h 22"/>
                  <a:gd name="T10" fmla="*/ 18 w 22"/>
                  <a:gd name="T11" fmla="*/ 2 h 22"/>
                  <a:gd name="T12" fmla="*/ 14 w 22"/>
                  <a:gd name="T13" fmla="*/ 0 h 22"/>
                  <a:gd name="T14" fmla="*/ 9 w 22"/>
                  <a:gd name="T15" fmla="*/ 2 h 22"/>
                  <a:gd name="T16" fmla="*/ 6 w 22"/>
                  <a:gd name="T17" fmla="*/ 7 h 22"/>
                  <a:gd name="T18" fmla="*/ 0 w 22"/>
                  <a:gd name="T19" fmla="*/ 16 h 22"/>
                  <a:gd name="T20" fmla="*/ 0 w 22"/>
                  <a:gd name="T21" fmla="*/ 20 h 22"/>
                  <a:gd name="T22" fmla="*/ 4 w 22"/>
                  <a:gd name="T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22">
                    <a:moveTo>
                      <a:pt x="4" y="22"/>
                    </a:moveTo>
                    <a:cubicBezTo>
                      <a:pt x="11" y="21"/>
                      <a:pt x="11" y="21"/>
                      <a:pt x="11" y="21"/>
                    </a:cubicBezTo>
                    <a:cubicBezTo>
                      <a:pt x="12" y="21"/>
                      <a:pt x="13" y="21"/>
                      <a:pt x="13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2"/>
                      <a:pt x="22" y="10"/>
                      <a:pt x="21" y="8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1"/>
                      <a:pt x="15" y="0"/>
                      <a:pt x="14" y="0"/>
                    </a:cubicBezTo>
                    <a:cubicBezTo>
                      <a:pt x="12" y="0"/>
                      <a:pt x="10" y="1"/>
                      <a:pt x="9" y="2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9"/>
                      <a:pt x="0" y="20"/>
                    </a:cubicBezTo>
                    <a:cubicBezTo>
                      <a:pt x="1" y="22"/>
                      <a:pt x="3" y="22"/>
                      <a:pt x="4" y="2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7" name="Freeform 271">
                <a:extLst>
                  <a:ext uri="{FF2B5EF4-FFF2-40B4-BE49-F238E27FC236}">
                    <a16:creationId xmlns:a16="http://schemas.microsoft.com/office/drawing/2014/main" id="{D425ED54-C0FF-2548-BE51-059B149DAA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9" y="2406"/>
                <a:ext cx="19" cy="14"/>
              </a:xfrm>
              <a:custGeom>
                <a:avLst/>
                <a:gdLst>
                  <a:gd name="T0" fmla="*/ 20 w 75"/>
                  <a:gd name="T1" fmla="*/ 27 h 53"/>
                  <a:gd name="T2" fmla="*/ 14 w 75"/>
                  <a:gd name="T3" fmla="*/ 30 h 53"/>
                  <a:gd name="T4" fmla="*/ 6 w 75"/>
                  <a:gd name="T5" fmla="*/ 38 h 53"/>
                  <a:gd name="T6" fmla="*/ 2 w 75"/>
                  <a:gd name="T7" fmla="*/ 42 h 53"/>
                  <a:gd name="T8" fmla="*/ 1 w 75"/>
                  <a:gd name="T9" fmla="*/ 47 h 53"/>
                  <a:gd name="T10" fmla="*/ 6 w 75"/>
                  <a:gd name="T11" fmla="*/ 50 h 53"/>
                  <a:gd name="T12" fmla="*/ 21 w 75"/>
                  <a:gd name="T13" fmla="*/ 49 h 53"/>
                  <a:gd name="T14" fmla="*/ 26 w 75"/>
                  <a:gd name="T15" fmla="*/ 50 h 53"/>
                  <a:gd name="T16" fmla="*/ 36 w 75"/>
                  <a:gd name="T17" fmla="*/ 48 h 53"/>
                  <a:gd name="T18" fmla="*/ 36 w 75"/>
                  <a:gd name="T19" fmla="*/ 30 h 53"/>
                  <a:gd name="T20" fmla="*/ 49 w 75"/>
                  <a:gd name="T21" fmla="*/ 22 h 53"/>
                  <a:gd name="T22" fmla="*/ 69 w 75"/>
                  <a:gd name="T23" fmla="*/ 19 h 53"/>
                  <a:gd name="T24" fmla="*/ 75 w 75"/>
                  <a:gd name="T25" fmla="*/ 9 h 53"/>
                  <a:gd name="T26" fmla="*/ 59 w 75"/>
                  <a:gd name="T27" fmla="*/ 9 h 53"/>
                  <a:gd name="T28" fmla="*/ 55 w 75"/>
                  <a:gd name="T29" fmla="*/ 2 h 53"/>
                  <a:gd name="T30" fmla="*/ 47 w 75"/>
                  <a:gd name="T31" fmla="*/ 0 h 53"/>
                  <a:gd name="T32" fmla="*/ 41 w 75"/>
                  <a:gd name="T33" fmla="*/ 5 h 53"/>
                  <a:gd name="T34" fmla="*/ 35 w 75"/>
                  <a:gd name="T35" fmla="*/ 18 h 53"/>
                  <a:gd name="T36" fmla="*/ 25 w 75"/>
                  <a:gd name="T37" fmla="*/ 27 h 53"/>
                  <a:gd name="T38" fmla="*/ 20 w 75"/>
                  <a:gd name="T39" fmla="*/ 2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5" h="53">
                    <a:moveTo>
                      <a:pt x="20" y="27"/>
                    </a:moveTo>
                    <a:cubicBezTo>
                      <a:pt x="18" y="28"/>
                      <a:pt x="16" y="29"/>
                      <a:pt x="14" y="30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1" y="43"/>
                      <a:pt x="0" y="45"/>
                      <a:pt x="1" y="47"/>
                    </a:cubicBezTo>
                    <a:cubicBezTo>
                      <a:pt x="2" y="49"/>
                      <a:pt x="4" y="50"/>
                      <a:pt x="6" y="50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2" y="49"/>
                      <a:pt x="24" y="49"/>
                      <a:pt x="26" y="50"/>
                    </a:cubicBezTo>
                    <a:cubicBezTo>
                      <a:pt x="30" y="51"/>
                      <a:pt x="36" y="53"/>
                      <a:pt x="36" y="48"/>
                    </a:cubicBezTo>
                    <a:cubicBezTo>
                      <a:pt x="36" y="40"/>
                      <a:pt x="36" y="30"/>
                      <a:pt x="36" y="30"/>
                    </a:cubicBezTo>
                    <a:cubicBezTo>
                      <a:pt x="36" y="30"/>
                      <a:pt x="44" y="22"/>
                      <a:pt x="49" y="22"/>
                    </a:cubicBezTo>
                    <a:cubicBezTo>
                      <a:pt x="54" y="22"/>
                      <a:pt x="66" y="21"/>
                      <a:pt x="69" y="19"/>
                    </a:cubicBezTo>
                    <a:cubicBezTo>
                      <a:pt x="73" y="18"/>
                      <a:pt x="75" y="9"/>
                      <a:pt x="75" y="9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55" y="2"/>
                      <a:pt x="55" y="2"/>
                      <a:pt x="55" y="2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25" y="27"/>
                      <a:pt x="25" y="27"/>
                      <a:pt x="25" y="27"/>
                    </a:cubicBezTo>
                    <a:lnTo>
                      <a:pt x="20" y="27"/>
                    </a:ln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8" name="Freeform 272">
                <a:extLst>
                  <a:ext uri="{FF2B5EF4-FFF2-40B4-BE49-F238E27FC236}">
                    <a16:creationId xmlns:a16="http://schemas.microsoft.com/office/drawing/2014/main" id="{48732105-7853-B14B-97B1-642C2C1E7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9" y="2421"/>
                <a:ext cx="8" cy="11"/>
              </a:xfrm>
              <a:custGeom>
                <a:avLst/>
                <a:gdLst>
                  <a:gd name="T0" fmla="*/ 8 w 34"/>
                  <a:gd name="T1" fmla="*/ 40 h 41"/>
                  <a:gd name="T2" fmla="*/ 17 w 34"/>
                  <a:gd name="T3" fmla="*/ 34 h 41"/>
                  <a:gd name="T4" fmla="*/ 28 w 34"/>
                  <a:gd name="T5" fmla="*/ 23 h 41"/>
                  <a:gd name="T6" fmla="*/ 29 w 34"/>
                  <a:gd name="T7" fmla="*/ 21 h 41"/>
                  <a:gd name="T8" fmla="*/ 34 w 34"/>
                  <a:gd name="T9" fmla="*/ 11 h 41"/>
                  <a:gd name="T10" fmla="*/ 33 w 34"/>
                  <a:gd name="T11" fmla="*/ 6 h 41"/>
                  <a:gd name="T12" fmla="*/ 31 w 34"/>
                  <a:gd name="T13" fmla="*/ 2 h 41"/>
                  <a:gd name="T14" fmla="*/ 28 w 34"/>
                  <a:gd name="T15" fmla="*/ 0 h 41"/>
                  <a:gd name="T16" fmla="*/ 26 w 34"/>
                  <a:gd name="T17" fmla="*/ 1 h 41"/>
                  <a:gd name="T18" fmla="*/ 9 w 34"/>
                  <a:gd name="T19" fmla="*/ 16 h 41"/>
                  <a:gd name="T20" fmla="*/ 1 w 34"/>
                  <a:gd name="T21" fmla="*/ 30 h 41"/>
                  <a:gd name="T22" fmla="*/ 1 w 34"/>
                  <a:gd name="T23" fmla="*/ 36 h 41"/>
                  <a:gd name="T24" fmla="*/ 3 w 34"/>
                  <a:gd name="T25" fmla="*/ 40 h 41"/>
                  <a:gd name="T26" fmla="*/ 8 w 34"/>
                  <a:gd name="T27" fmla="*/ 4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" h="41">
                    <a:moveTo>
                      <a:pt x="8" y="40"/>
                    </a:moveTo>
                    <a:cubicBezTo>
                      <a:pt x="17" y="34"/>
                      <a:pt x="17" y="34"/>
                      <a:pt x="17" y="34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22"/>
                      <a:pt x="29" y="21"/>
                      <a:pt x="29" y="2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9"/>
                      <a:pt x="34" y="8"/>
                      <a:pt x="33" y="6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1"/>
                      <a:pt x="29" y="0"/>
                      <a:pt x="28" y="0"/>
                    </a:cubicBezTo>
                    <a:cubicBezTo>
                      <a:pt x="27" y="0"/>
                      <a:pt x="26" y="1"/>
                      <a:pt x="26" y="1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8"/>
                      <a:pt x="1" y="39"/>
                      <a:pt x="3" y="40"/>
                    </a:cubicBezTo>
                    <a:cubicBezTo>
                      <a:pt x="4" y="41"/>
                      <a:pt x="6" y="41"/>
                      <a:pt x="8" y="4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19" name="Freeform 273">
                <a:extLst>
                  <a:ext uri="{FF2B5EF4-FFF2-40B4-BE49-F238E27FC236}">
                    <a16:creationId xmlns:a16="http://schemas.microsoft.com/office/drawing/2014/main" id="{7B49CE9E-161C-6540-AFF7-3478984E4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8" y="2431"/>
                <a:ext cx="8" cy="10"/>
              </a:xfrm>
              <a:custGeom>
                <a:avLst/>
                <a:gdLst>
                  <a:gd name="T0" fmla="*/ 7 w 33"/>
                  <a:gd name="T1" fmla="*/ 37 h 37"/>
                  <a:gd name="T2" fmla="*/ 24 w 33"/>
                  <a:gd name="T3" fmla="*/ 26 h 37"/>
                  <a:gd name="T4" fmla="*/ 32 w 33"/>
                  <a:gd name="T5" fmla="*/ 12 h 37"/>
                  <a:gd name="T6" fmla="*/ 33 w 33"/>
                  <a:gd name="T7" fmla="*/ 4 h 37"/>
                  <a:gd name="T8" fmla="*/ 31 w 33"/>
                  <a:gd name="T9" fmla="*/ 1 h 37"/>
                  <a:gd name="T10" fmla="*/ 27 w 33"/>
                  <a:gd name="T11" fmla="*/ 2 h 37"/>
                  <a:gd name="T12" fmla="*/ 21 w 33"/>
                  <a:gd name="T13" fmla="*/ 9 h 37"/>
                  <a:gd name="T14" fmla="*/ 7 w 33"/>
                  <a:gd name="T15" fmla="*/ 17 h 37"/>
                  <a:gd name="T16" fmla="*/ 1 w 33"/>
                  <a:gd name="T17" fmla="*/ 29 h 37"/>
                  <a:gd name="T18" fmla="*/ 3 w 33"/>
                  <a:gd name="T19" fmla="*/ 35 h 37"/>
                  <a:gd name="T20" fmla="*/ 7 w 33"/>
                  <a:gd name="T21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7">
                    <a:moveTo>
                      <a:pt x="7" y="37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3" y="4"/>
                      <a:pt x="33" y="4"/>
                      <a:pt x="33" y="4"/>
                    </a:cubicBezTo>
                    <a:cubicBezTo>
                      <a:pt x="33" y="3"/>
                      <a:pt x="32" y="1"/>
                      <a:pt x="31" y="1"/>
                    </a:cubicBezTo>
                    <a:cubicBezTo>
                      <a:pt x="30" y="0"/>
                      <a:pt x="28" y="1"/>
                      <a:pt x="27" y="2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9"/>
                      <a:pt x="8" y="14"/>
                      <a:pt x="7" y="17"/>
                    </a:cubicBezTo>
                    <a:cubicBezTo>
                      <a:pt x="6" y="20"/>
                      <a:pt x="3" y="25"/>
                      <a:pt x="1" y="29"/>
                    </a:cubicBezTo>
                    <a:cubicBezTo>
                      <a:pt x="0" y="32"/>
                      <a:pt x="1" y="34"/>
                      <a:pt x="3" y="35"/>
                    </a:cubicBezTo>
                    <a:lnTo>
                      <a:pt x="7" y="37"/>
                    </a:ln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0" name="Freeform 274">
                <a:extLst>
                  <a:ext uri="{FF2B5EF4-FFF2-40B4-BE49-F238E27FC236}">
                    <a16:creationId xmlns:a16="http://schemas.microsoft.com/office/drawing/2014/main" id="{113D4131-3611-8F45-BDE8-4337F90EF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0" y="2412"/>
                <a:ext cx="4" cy="6"/>
              </a:xfrm>
              <a:custGeom>
                <a:avLst/>
                <a:gdLst>
                  <a:gd name="T0" fmla="*/ 9 w 15"/>
                  <a:gd name="T1" fmla="*/ 1 h 25"/>
                  <a:gd name="T2" fmla="*/ 3 w 15"/>
                  <a:gd name="T3" fmla="*/ 3 h 25"/>
                  <a:gd name="T4" fmla="*/ 0 w 15"/>
                  <a:gd name="T5" fmla="*/ 9 h 25"/>
                  <a:gd name="T6" fmla="*/ 1 w 15"/>
                  <a:gd name="T7" fmla="*/ 14 h 25"/>
                  <a:gd name="T8" fmla="*/ 4 w 15"/>
                  <a:gd name="T9" fmla="*/ 21 h 25"/>
                  <a:gd name="T10" fmla="*/ 8 w 15"/>
                  <a:gd name="T11" fmla="*/ 25 h 25"/>
                  <a:gd name="T12" fmla="*/ 10 w 15"/>
                  <a:gd name="T13" fmla="*/ 25 h 25"/>
                  <a:gd name="T14" fmla="*/ 13 w 15"/>
                  <a:gd name="T15" fmla="*/ 24 h 25"/>
                  <a:gd name="T16" fmla="*/ 15 w 15"/>
                  <a:gd name="T17" fmla="*/ 21 h 25"/>
                  <a:gd name="T18" fmla="*/ 13 w 15"/>
                  <a:gd name="T19" fmla="*/ 6 h 25"/>
                  <a:gd name="T20" fmla="*/ 9 w 15"/>
                  <a:gd name="T21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25">
                    <a:moveTo>
                      <a:pt x="9" y="1"/>
                    </a:moveTo>
                    <a:cubicBezTo>
                      <a:pt x="7" y="0"/>
                      <a:pt x="4" y="1"/>
                      <a:pt x="3" y="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23"/>
                      <a:pt x="7" y="24"/>
                      <a:pt x="8" y="25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1" y="25"/>
                      <a:pt x="12" y="25"/>
                      <a:pt x="13" y="24"/>
                    </a:cubicBezTo>
                    <a:cubicBezTo>
                      <a:pt x="14" y="23"/>
                      <a:pt x="15" y="22"/>
                      <a:pt x="15" y="21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3"/>
                      <a:pt x="11" y="1"/>
                      <a:pt x="9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1" name="Freeform 275">
                <a:extLst>
                  <a:ext uri="{FF2B5EF4-FFF2-40B4-BE49-F238E27FC236}">
                    <a16:creationId xmlns:a16="http://schemas.microsoft.com/office/drawing/2014/main" id="{A5D36A36-30F1-EE40-97C7-C37B379410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8" y="2491"/>
                <a:ext cx="9" cy="10"/>
              </a:xfrm>
              <a:custGeom>
                <a:avLst/>
                <a:gdLst>
                  <a:gd name="T0" fmla="*/ 13 w 39"/>
                  <a:gd name="T1" fmla="*/ 20 h 40"/>
                  <a:gd name="T2" fmla="*/ 7 w 39"/>
                  <a:gd name="T3" fmla="*/ 37 h 40"/>
                  <a:gd name="T4" fmla="*/ 24 w 39"/>
                  <a:gd name="T5" fmla="*/ 24 h 40"/>
                  <a:gd name="T6" fmla="*/ 33 w 39"/>
                  <a:gd name="T7" fmla="*/ 11 h 40"/>
                  <a:gd name="T8" fmla="*/ 19 w 39"/>
                  <a:gd name="T9" fmla="*/ 10 h 40"/>
                  <a:gd name="T10" fmla="*/ 13 w 39"/>
                  <a:gd name="T11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40">
                    <a:moveTo>
                      <a:pt x="13" y="20"/>
                    </a:moveTo>
                    <a:cubicBezTo>
                      <a:pt x="3" y="25"/>
                      <a:pt x="0" y="34"/>
                      <a:pt x="7" y="37"/>
                    </a:cubicBezTo>
                    <a:cubicBezTo>
                      <a:pt x="14" y="40"/>
                      <a:pt x="13" y="26"/>
                      <a:pt x="24" y="24"/>
                    </a:cubicBezTo>
                    <a:cubicBezTo>
                      <a:pt x="35" y="22"/>
                      <a:pt x="39" y="16"/>
                      <a:pt x="33" y="11"/>
                    </a:cubicBezTo>
                    <a:cubicBezTo>
                      <a:pt x="27" y="6"/>
                      <a:pt x="16" y="0"/>
                      <a:pt x="19" y="10"/>
                    </a:cubicBezTo>
                    <a:cubicBezTo>
                      <a:pt x="19" y="10"/>
                      <a:pt x="23" y="15"/>
                      <a:pt x="13" y="2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2" name="Freeform 276">
                <a:extLst>
                  <a:ext uri="{FF2B5EF4-FFF2-40B4-BE49-F238E27FC236}">
                    <a16:creationId xmlns:a16="http://schemas.microsoft.com/office/drawing/2014/main" id="{8267FC6E-2B27-F34E-AF21-4F59C65EB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5" y="2479"/>
                <a:ext cx="9" cy="9"/>
              </a:xfrm>
              <a:custGeom>
                <a:avLst/>
                <a:gdLst>
                  <a:gd name="T0" fmla="*/ 11 w 34"/>
                  <a:gd name="T1" fmla="*/ 9 h 35"/>
                  <a:gd name="T2" fmla="*/ 9 w 34"/>
                  <a:gd name="T3" fmla="*/ 26 h 35"/>
                  <a:gd name="T4" fmla="*/ 22 w 34"/>
                  <a:gd name="T5" fmla="*/ 30 h 35"/>
                  <a:gd name="T6" fmla="*/ 33 w 34"/>
                  <a:gd name="T7" fmla="*/ 25 h 35"/>
                  <a:gd name="T8" fmla="*/ 11 w 34"/>
                  <a:gd name="T9" fmla="*/ 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5">
                    <a:moveTo>
                      <a:pt x="11" y="9"/>
                    </a:moveTo>
                    <a:cubicBezTo>
                      <a:pt x="11" y="9"/>
                      <a:pt x="0" y="21"/>
                      <a:pt x="9" y="26"/>
                    </a:cubicBezTo>
                    <a:cubicBezTo>
                      <a:pt x="18" y="31"/>
                      <a:pt x="14" y="25"/>
                      <a:pt x="22" y="30"/>
                    </a:cubicBezTo>
                    <a:cubicBezTo>
                      <a:pt x="30" y="35"/>
                      <a:pt x="32" y="31"/>
                      <a:pt x="33" y="25"/>
                    </a:cubicBezTo>
                    <a:cubicBezTo>
                      <a:pt x="34" y="19"/>
                      <a:pt x="22" y="0"/>
                      <a:pt x="11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3" name="Freeform 277">
                <a:extLst>
                  <a:ext uri="{FF2B5EF4-FFF2-40B4-BE49-F238E27FC236}">
                    <a16:creationId xmlns:a16="http://schemas.microsoft.com/office/drawing/2014/main" id="{18FE4741-D82E-B743-B70F-F633AE310A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1" y="2417"/>
                <a:ext cx="78" cy="78"/>
              </a:xfrm>
              <a:custGeom>
                <a:avLst/>
                <a:gdLst>
                  <a:gd name="T0" fmla="*/ 263 w 308"/>
                  <a:gd name="T1" fmla="*/ 21 h 312"/>
                  <a:gd name="T2" fmla="*/ 244 w 308"/>
                  <a:gd name="T3" fmla="*/ 27 h 312"/>
                  <a:gd name="T4" fmla="*/ 224 w 308"/>
                  <a:gd name="T5" fmla="*/ 31 h 312"/>
                  <a:gd name="T6" fmla="*/ 234 w 308"/>
                  <a:gd name="T7" fmla="*/ 55 h 312"/>
                  <a:gd name="T8" fmla="*/ 221 w 308"/>
                  <a:gd name="T9" fmla="*/ 66 h 312"/>
                  <a:gd name="T10" fmla="*/ 205 w 308"/>
                  <a:gd name="T11" fmla="*/ 69 h 312"/>
                  <a:gd name="T12" fmla="*/ 183 w 308"/>
                  <a:gd name="T13" fmla="*/ 83 h 312"/>
                  <a:gd name="T14" fmla="*/ 175 w 308"/>
                  <a:gd name="T15" fmla="*/ 98 h 312"/>
                  <a:gd name="T16" fmla="*/ 158 w 308"/>
                  <a:gd name="T17" fmla="*/ 109 h 312"/>
                  <a:gd name="T18" fmla="*/ 149 w 308"/>
                  <a:gd name="T19" fmla="*/ 123 h 312"/>
                  <a:gd name="T20" fmla="*/ 128 w 308"/>
                  <a:gd name="T21" fmla="*/ 110 h 312"/>
                  <a:gd name="T22" fmla="*/ 112 w 308"/>
                  <a:gd name="T23" fmla="*/ 92 h 312"/>
                  <a:gd name="T24" fmla="*/ 88 w 308"/>
                  <a:gd name="T25" fmla="*/ 99 h 312"/>
                  <a:gd name="T26" fmla="*/ 76 w 308"/>
                  <a:gd name="T27" fmla="*/ 121 h 312"/>
                  <a:gd name="T28" fmla="*/ 37 w 308"/>
                  <a:gd name="T29" fmla="*/ 135 h 312"/>
                  <a:gd name="T30" fmla="*/ 20 w 308"/>
                  <a:gd name="T31" fmla="*/ 151 h 312"/>
                  <a:gd name="T32" fmla="*/ 15 w 308"/>
                  <a:gd name="T33" fmla="*/ 175 h 312"/>
                  <a:gd name="T34" fmla="*/ 10 w 308"/>
                  <a:gd name="T35" fmla="*/ 197 h 312"/>
                  <a:gd name="T36" fmla="*/ 30 w 308"/>
                  <a:gd name="T37" fmla="*/ 194 h 312"/>
                  <a:gd name="T38" fmla="*/ 42 w 308"/>
                  <a:gd name="T39" fmla="*/ 170 h 312"/>
                  <a:gd name="T40" fmla="*/ 57 w 308"/>
                  <a:gd name="T41" fmla="*/ 154 h 312"/>
                  <a:gd name="T42" fmla="*/ 65 w 308"/>
                  <a:gd name="T43" fmla="*/ 169 h 312"/>
                  <a:gd name="T44" fmla="*/ 87 w 308"/>
                  <a:gd name="T45" fmla="*/ 165 h 312"/>
                  <a:gd name="T46" fmla="*/ 110 w 308"/>
                  <a:gd name="T47" fmla="*/ 163 h 312"/>
                  <a:gd name="T48" fmla="*/ 116 w 308"/>
                  <a:gd name="T49" fmla="*/ 151 h 312"/>
                  <a:gd name="T50" fmla="*/ 137 w 308"/>
                  <a:gd name="T51" fmla="*/ 167 h 312"/>
                  <a:gd name="T52" fmla="*/ 150 w 308"/>
                  <a:gd name="T53" fmla="*/ 180 h 312"/>
                  <a:gd name="T54" fmla="*/ 144 w 308"/>
                  <a:gd name="T55" fmla="*/ 194 h 312"/>
                  <a:gd name="T56" fmla="*/ 137 w 308"/>
                  <a:gd name="T57" fmla="*/ 217 h 312"/>
                  <a:gd name="T58" fmla="*/ 142 w 308"/>
                  <a:gd name="T59" fmla="*/ 234 h 312"/>
                  <a:gd name="T60" fmla="*/ 152 w 308"/>
                  <a:gd name="T61" fmla="*/ 249 h 312"/>
                  <a:gd name="T62" fmla="*/ 179 w 308"/>
                  <a:gd name="T63" fmla="*/ 270 h 312"/>
                  <a:gd name="T64" fmla="*/ 200 w 308"/>
                  <a:gd name="T65" fmla="*/ 279 h 312"/>
                  <a:gd name="T66" fmla="*/ 218 w 308"/>
                  <a:gd name="T67" fmla="*/ 288 h 312"/>
                  <a:gd name="T68" fmla="*/ 236 w 308"/>
                  <a:gd name="T69" fmla="*/ 310 h 312"/>
                  <a:gd name="T70" fmla="*/ 239 w 308"/>
                  <a:gd name="T71" fmla="*/ 297 h 312"/>
                  <a:gd name="T72" fmla="*/ 242 w 308"/>
                  <a:gd name="T73" fmla="*/ 274 h 312"/>
                  <a:gd name="T74" fmla="*/ 249 w 308"/>
                  <a:gd name="T75" fmla="*/ 257 h 312"/>
                  <a:gd name="T76" fmla="*/ 248 w 308"/>
                  <a:gd name="T77" fmla="*/ 235 h 312"/>
                  <a:gd name="T78" fmla="*/ 228 w 308"/>
                  <a:gd name="T79" fmla="*/ 213 h 312"/>
                  <a:gd name="T80" fmla="*/ 242 w 308"/>
                  <a:gd name="T81" fmla="*/ 202 h 312"/>
                  <a:gd name="T82" fmla="*/ 247 w 308"/>
                  <a:gd name="T83" fmla="*/ 204 h 312"/>
                  <a:gd name="T84" fmla="*/ 257 w 308"/>
                  <a:gd name="T85" fmla="*/ 203 h 312"/>
                  <a:gd name="T86" fmla="*/ 267 w 308"/>
                  <a:gd name="T87" fmla="*/ 205 h 312"/>
                  <a:gd name="T88" fmla="*/ 272 w 308"/>
                  <a:gd name="T89" fmla="*/ 231 h 312"/>
                  <a:gd name="T90" fmla="*/ 275 w 308"/>
                  <a:gd name="T91" fmla="*/ 249 h 312"/>
                  <a:gd name="T92" fmla="*/ 288 w 308"/>
                  <a:gd name="T93" fmla="*/ 234 h 312"/>
                  <a:gd name="T94" fmla="*/ 291 w 308"/>
                  <a:gd name="T95" fmla="*/ 202 h 312"/>
                  <a:gd name="T96" fmla="*/ 302 w 308"/>
                  <a:gd name="T97" fmla="*/ 178 h 312"/>
                  <a:gd name="T98" fmla="*/ 299 w 308"/>
                  <a:gd name="T99" fmla="*/ 153 h 312"/>
                  <a:gd name="T100" fmla="*/ 291 w 308"/>
                  <a:gd name="T101" fmla="*/ 121 h 312"/>
                  <a:gd name="T102" fmla="*/ 278 w 308"/>
                  <a:gd name="T103" fmla="*/ 92 h 312"/>
                  <a:gd name="T104" fmla="*/ 279 w 308"/>
                  <a:gd name="T105" fmla="*/ 64 h 312"/>
                  <a:gd name="T106" fmla="*/ 271 w 308"/>
                  <a:gd name="T107" fmla="*/ 27 h 312"/>
                  <a:gd name="T108" fmla="*/ 275 w 308"/>
                  <a:gd name="T109" fmla="*/ 2 h 312"/>
                  <a:gd name="T110" fmla="*/ 263 w 308"/>
                  <a:gd name="T111" fmla="*/ 21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08" h="312">
                    <a:moveTo>
                      <a:pt x="263" y="21"/>
                    </a:moveTo>
                    <a:cubicBezTo>
                      <a:pt x="261" y="31"/>
                      <a:pt x="251" y="36"/>
                      <a:pt x="244" y="27"/>
                    </a:cubicBezTo>
                    <a:cubicBezTo>
                      <a:pt x="237" y="18"/>
                      <a:pt x="223" y="19"/>
                      <a:pt x="224" y="31"/>
                    </a:cubicBezTo>
                    <a:cubicBezTo>
                      <a:pt x="225" y="43"/>
                      <a:pt x="233" y="46"/>
                      <a:pt x="234" y="55"/>
                    </a:cubicBezTo>
                    <a:cubicBezTo>
                      <a:pt x="235" y="64"/>
                      <a:pt x="231" y="67"/>
                      <a:pt x="221" y="66"/>
                    </a:cubicBezTo>
                    <a:cubicBezTo>
                      <a:pt x="211" y="65"/>
                      <a:pt x="213" y="66"/>
                      <a:pt x="205" y="69"/>
                    </a:cubicBezTo>
                    <a:cubicBezTo>
                      <a:pt x="197" y="72"/>
                      <a:pt x="183" y="70"/>
                      <a:pt x="183" y="83"/>
                    </a:cubicBezTo>
                    <a:cubicBezTo>
                      <a:pt x="183" y="96"/>
                      <a:pt x="198" y="100"/>
                      <a:pt x="175" y="98"/>
                    </a:cubicBezTo>
                    <a:cubicBezTo>
                      <a:pt x="152" y="96"/>
                      <a:pt x="160" y="100"/>
                      <a:pt x="158" y="109"/>
                    </a:cubicBezTo>
                    <a:cubicBezTo>
                      <a:pt x="156" y="118"/>
                      <a:pt x="164" y="121"/>
                      <a:pt x="149" y="123"/>
                    </a:cubicBezTo>
                    <a:cubicBezTo>
                      <a:pt x="134" y="125"/>
                      <a:pt x="127" y="124"/>
                      <a:pt x="128" y="110"/>
                    </a:cubicBezTo>
                    <a:cubicBezTo>
                      <a:pt x="129" y="96"/>
                      <a:pt x="119" y="94"/>
                      <a:pt x="112" y="92"/>
                    </a:cubicBezTo>
                    <a:cubicBezTo>
                      <a:pt x="105" y="90"/>
                      <a:pt x="92" y="89"/>
                      <a:pt x="88" y="99"/>
                    </a:cubicBezTo>
                    <a:cubicBezTo>
                      <a:pt x="84" y="109"/>
                      <a:pt x="87" y="121"/>
                      <a:pt x="76" y="121"/>
                    </a:cubicBezTo>
                    <a:cubicBezTo>
                      <a:pt x="65" y="121"/>
                      <a:pt x="51" y="121"/>
                      <a:pt x="37" y="135"/>
                    </a:cubicBezTo>
                    <a:cubicBezTo>
                      <a:pt x="37" y="135"/>
                      <a:pt x="20" y="140"/>
                      <a:pt x="20" y="151"/>
                    </a:cubicBezTo>
                    <a:cubicBezTo>
                      <a:pt x="20" y="162"/>
                      <a:pt x="21" y="168"/>
                      <a:pt x="15" y="175"/>
                    </a:cubicBezTo>
                    <a:cubicBezTo>
                      <a:pt x="9" y="182"/>
                      <a:pt x="0" y="187"/>
                      <a:pt x="10" y="197"/>
                    </a:cubicBezTo>
                    <a:cubicBezTo>
                      <a:pt x="20" y="207"/>
                      <a:pt x="26" y="208"/>
                      <a:pt x="30" y="194"/>
                    </a:cubicBezTo>
                    <a:cubicBezTo>
                      <a:pt x="34" y="180"/>
                      <a:pt x="40" y="183"/>
                      <a:pt x="42" y="170"/>
                    </a:cubicBezTo>
                    <a:cubicBezTo>
                      <a:pt x="44" y="157"/>
                      <a:pt x="49" y="154"/>
                      <a:pt x="57" y="154"/>
                    </a:cubicBezTo>
                    <a:cubicBezTo>
                      <a:pt x="65" y="154"/>
                      <a:pt x="51" y="167"/>
                      <a:pt x="65" y="169"/>
                    </a:cubicBezTo>
                    <a:cubicBezTo>
                      <a:pt x="79" y="171"/>
                      <a:pt x="69" y="155"/>
                      <a:pt x="87" y="165"/>
                    </a:cubicBezTo>
                    <a:cubicBezTo>
                      <a:pt x="105" y="175"/>
                      <a:pt x="110" y="174"/>
                      <a:pt x="110" y="163"/>
                    </a:cubicBezTo>
                    <a:cubicBezTo>
                      <a:pt x="110" y="152"/>
                      <a:pt x="105" y="148"/>
                      <a:pt x="116" y="151"/>
                    </a:cubicBezTo>
                    <a:cubicBezTo>
                      <a:pt x="127" y="154"/>
                      <a:pt x="128" y="167"/>
                      <a:pt x="137" y="167"/>
                    </a:cubicBezTo>
                    <a:cubicBezTo>
                      <a:pt x="146" y="167"/>
                      <a:pt x="150" y="173"/>
                      <a:pt x="150" y="180"/>
                    </a:cubicBezTo>
                    <a:cubicBezTo>
                      <a:pt x="150" y="187"/>
                      <a:pt x="150" y="185"/>
                      <a:pt x="144" y="194"/>
                    </a:cubicBezTo>
                    <a:cubicBezTo>
                      <a:pt x="138" y="203"/>
                      <a:pt x="132" y="212"/>
                      <a:pt x="137" y="217"/>
                    </a:cubicBezTo>
                    <a:cubicBezTo>
                      <a:pt x="142" y="222"/>
                      <a:pt x="142" y="228"/>
                      <a:pt x="142" y="234"/>
                    </a:cubicBezTo>
                    <a:cubicBezTo>
                      <a:pt x="142" y="240"/>
                      <a:pt x="142" y="244"/>
                      <a:pt x="152" y="249"/>
                    </a:cubicBezTo>
                    <a:cubicBezTo>
                      <a:pt x="162" y="254"/>
                      <a:pt x="170" y="270"/>
                      <a:pt x="179" y="270"/>
                    </a:cubicBezTo>
                    <a:cubicBezTo>
                      <a:pt x="188" y="270"/>
                      <a:pt x="190" y="279"/>
                      <a:pt x="200" y="279"/>
                    </a:cubicBezTo>
                    <a:cubicBezTo>
                      <a:pt x="210" y="279"/>
                      <a:pt x="213" y="276"/>
                      <a:pt x="218" y="288"/>
                    </a:cubicBezTo>
                    <a:cubicBezTo>
                      <a:pt x="223" y="300"/>
                      <a:pt x="225" y="312"/>
                      <a:pt x="236" y="310"/>
                    </a:cubicBezTo>
                    <a:cubicBezTo>
                      <a:pt x="247" y="308"/>
                      <a:pt x="239" y="309"/>
                      <a:pt x="239" y="297"/>
                    </a:cubicBezTo>
                    <a:cubicBezTo>
                      <a:pt x="239" y="285"/>
                      <a:pt x="232" y="277"/>
                      <a:pt x="242" y="274"/>
                    </a:cubicBezTo>
                    <a:cubicBezTo>
                      <a:pt x="252" y="271"/>
                      <a:pt x="248" y="269"/>
                      <a:pt x="249" y="257"/>
                    </a:cubicBezTo>
                    <a:cubicBezTo>
                      <a:pt x="250" y="245"/>
                      <a:pt x="261" y="243"/>
                      <a:pt x="248" y="235"/>
                    </a:cubicBezTo>
                    <a:cubicBezTo>
                      <a:pt x="235" y="227"/>
                      <a:pt x="220" y="220"/>
                      <a:pt x="228" y="213"/>
                    </a:cubicBezTo>
                    <a:cubicBezTo>
                      <a:pt x="236" y="206"/>
                      <a:pt x="242" y="212"/>
                      <a:pt x="242" y="202"/>
                    </a:cubicBezTo>
                    <a:cubicBezTo>
                      <a:pt x="242" y="192"/>
                      <a:pt x="243" y="193"/>
                      <a:pt x="247" y="204"/>
                    </a:cubicBezTo>
                    <a:cubicBezTo>
                      <a:pt x="251" y="215"/>
                      <a:pt x="257" y="216"/>
                      <a:pt x="257" y="203"/>
                    </a:cubicBezTo>
                    <a:cubicBezTo>
                      <a:pt x="257" y="190"/>
                      <a:pt x="262" y="189"/>
                      <a:pt x="267" y="205"/>
                    </a:cubicBezTo>
                    <a:cubicBezTo>
                      <a:pt x="272" y="221"/>
                      <a:pt x="263" y="220"/>
                      <a:pt x="272" y="231"/>
                    </a:cubicBezTo>
                    <a:cubicBezTo>
                      <a:pt x="281" y="242"/>
                      <a:pt x="270" y="248"/>
                      <a:pt x="275" y="249"/>
                    </a:cubicBezTo>
                    <a:cubicBezTo>
                      <a:pt x="280" y="250"/>
                      <a:pt x="287" y="253"/>
                      <a:pt x="288" y="234"/>
                    </a:cubicBezTo>
                    <a:cubicBezTo>
                      <a:pt x="289" y="215"/>
                      <a:pt x="279" y="207"/>
                      <a:pt x="291" y="202"/>
                    </a:cubicBezTo>
                    <a:cubicBezTo>
                      <a:pt x="303" y="197"/>
                      <a:pt x="302" y="191"/>
                      <a:pt x="302" y="178"/>
                    </a:cubicBezTo>
                    <a:cubicBezTo>
                      <a:pt x="302" y="165"/>
                      <a:pt x="308" y="163"/>
                      <a:pt x="299" y="153"/>
                    </a:cubicBezTo>
                    <a:cubicBezTo>
                      <a:pt x="290" y="143"/>
                      <a:pt x="303" y="134"/>
                      <a:pt x="291" y="121"/>
                    </a:cubicBezTo>
                    <a:cubicBezTo>
                      <a:pt x="279" y="108"/>
                      <a:pt x="271" y="103"/>
                      <a:pt x="278" y="92"/>
                    </a:cubicBezTo>
                    <a:cubicBezTo>
                      <a:pt x="285" y="81"/>
                      <a:pt x="292" y="80"/>
                      <a:pt x="279" y="64"/>
                    </a:cubicBezTo>
                    <a:cubicBezTo>
                      <a:pt x="266" y="48"/>
                      <a:pt x="261" y="33"/>
                      <a:pt x="271" y="27"/>
                    </a:cubicBezTo>
                    <a:cubicBezTo>
                      <a:pt x="281" y="21"/>
                      <a:pt x="283" y="4"/>
                      <a:pt x="275" y="2"/>
                    </a:cubicBezTo>
                    <a:cubicBezTo>
                      <a:pt x="267" y="0"/>
                      <a:pt x="265" y="11"/>
                      <a:pt x="263" y="2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4" name="Freeform 278">
                <a:extLst>
                  <a:ext uri="{FF2B5EF4-FFF2-40B4-BE49-F238E27FC236}">
                    <a16:creationId xmlns:a16="http://schemas.microsoft.com/office/drawing/2014/main" id="{784DE06B-97D1-2044-BBA3-3DB65B937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" y="2470"/>
                <a:ext cx="9" cy="8"/>
              </a:xfrm>
              <a:custGeom>
                <a:avLst/>
                <a:gdLst>
                  <a:gd name="T0" fmla="*/ 8 w 36"/>
                  <a:gd name="T1" fmla="*/ 23 h 33"/>
                  <a:gd name="T2" fmla="*/ 27 w 36"/>
                  <a:gd name="T3" fmla="*/ 23 h 33"/>
                  <a:gd name="T4" fmla="*/ 30 w 36"/>
                  <a:gd name="T5" fmla="*/ 7 h 33"/>
                  <a:gd name="T6" fmla="*/ 8 w 36"/>
                  <a:gd name="T7" fmla="*/ 12 h 33"/>
                  <a:gd name="T8" fmla="*/ 8 w 36"/>
                  <a:gd name="T9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3">
                    <a:moveTo>
                      <a:pt x="8" y="23"/>
                    </a:moveTo>
                    <a:cubicBezTo>
                      <a:pt x="16" y="30"/>
                      <a:pt x="23" y="33"/>
                      <a:pt x="27" y="23"/>
                    </a:cubicBezTo>
                    <a:cubicBezTo>
                      <a:pt x="31" y="13"/>
                      <a:pt x="36" y="11"/>
                      <a:pt x="30" y="7"/>
                    </a:cubicBezTo>
                    <a:cubicBezTo>
                      <a:pt x="24" y="3"/>
                      <a:pt x="11" y="0"/>
                      <a:pt x="8" y="12"/>
                    </a:cubicBezTo>
                    <a:cubicBezTo>
                      <a:pt x="8" y="12"/>
                      <a:pt x="0" y="16"/>
                      <a:pt x="8" y="2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5" name="Freeform 279">
                <a:extLst>
                  <a:ext uri="{FF2B5EF4-FFF2-40B4-BE49-F238E27FC236}">
                    <a16:creationId xmlns:a16="http://schemas.microsoft.com/office/drawing/2014/main" id="{B5E4A9E0-AA43-1843-9A68-B833D4E948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2" y="2485"/>
                <a:ext cx="177" cy="193"/>
              </a:xfrm>
              <a:custGeom>
                <a:avLst/>
                <a:gdLst>
                  <a:gd name="T0" fmla="*/ 690 w 698"/>
                  <a:gd name="T1" fmla="*/ 711 h 763"/>
                  <a:gd name="T2" fmla="*/ 687 w 698"/>
                  <a:gd name="T3" fmla="*/ 607 h 763"/>
                  <a:gd name="T4" fmla="*/ 685 w 698"/>
                  <a:gd name="T5" fmla="*/ 561 h 763"/>
                  <a:gd name="T6" fmla="*/ 622 w 698"/>
                  <a:gd name="T7" fmla="*/ 536 h 763"/>
                  <a:gd name="T8" fmla="*/ 618 w 698"/>
                  <a:gd name="T9" fmla="*/ 522 h 763"/>
                  <a:gd name="T10" fmla="*/ 595 w 698"/>
                  <a:gd name="T11" fmla="*/ 486 h 763"/>
                  <a:gd name="T12" fmla="*/ 560 w 698"/>
                  <a:gd name="T13" fmla="*/ 445 h 763"/>
                  <a:gd name="T14" fmla="*/ 534 w 698"/>
                  <a:gd name="T15" fmla="*/ 399 h 763"/>
                  <a:gd name="T16" fmla="*/ 530 w 698"/>
                  <a:gd name="T17" fmla="*/ 351 h 763"/>
                  <a:gd name="T18" fmla="*/ 468 w 698"/>
                  <a:gd name="T19" fmla="*/ 371 h 763"/>
                  <a:gd name="T20" fmla="*/ 502 w 698"/>
                  <a:gd name="T21" fmla="*/ 326 h 763"/>
                  <a:gd name="T22" fmla="*/ 481 w 698"/>
                  <a:gd name="T23" fmla="*/ 322 h 763"/>
                  <a:gd name="T24" fmla="*/ 441 w 698"/>
                  <a:gd name="T25" fmla="*/ 292 h 763"/>
                  <a:gd name="T26" fmla="*/ 418 w 698"/>
                  <a:gd name="T27" fmla="*/ 250 h 763"/>
                  <a:gd name="T28" fmla="*/ 385 w 698"/>
                  <a:gd name="T29" fmla="*/ 244 h 763"/>
                  <a:gd name="T30" fmla="*/ 371 w 698"/>
                  <a:gd name="T31" fmla="*/ 261 h 763"/>
                  <a:gd name="T32" fmla="*/ 327 w 698"/>
                  <a:gd name="T33" fmla="*/ 219 h 763"/>
                  <a:gd name="T34" fmla="*/ 287 w 698"/>
                  <a:gd name="T35" fmla="*/ 177 h 763"/>
                  <a:gd name="T36" fmla="*/ 209 w 698"/>
                  <a:gd name="T37" fmla="*/ 118 h 763"/>
                  <a:gd name="T38" fmla="*/ 148 w 698"/>
                  <a:gd name="T39" fmla="*/ 46 h 763"/>
                  <a:gd name="T40" fmla="*/ 79 w 698"/>
                  <a:gd name="T41" fmla="*/ 48 h 763"/>
                  <a:gd name="T42" fmla="*/ 8 w 698"/>
                  <a:gd name="T43" fmla="*/ 42 h 763"/>
                  <a:gd name="T44" fmla="*/ 67 w 698"/>
                  <a:gd name="T45" fmla="*/ 121 h 763"/>
                  <a:gd name="T46" fmla="*/ 121 w 698"/>
                  <a:gd name="T47" fmla="*/ 155 h 763"/>
                  <a:gd name="T48" fmla="*/ 165 w 698"/>
                  <a:gd name="T49" fmla="*/ 214 h 763"/>
                  <a:gd name="T50" fmla="*/ 222 w 698"/>
                  <a:gd name="T51" fmla="*/ 264 h 763"/>
                  <a:gd name="T52" fmla="*/ 248 w 698"/>
                  <a:gd name="T53" fmla="*/ 319 h 763"/>
                  <a:gd name="T54" fmla="*/ 290 w 698"/>
                  <a:gd name="T55" fmla="*/ 379 h 763"/>
                  <a:gd name="T56" fmla="*/ 341 w 698"/>
                  <a:gd name="T57" fmla="*/ 460 h 763"/>
                  <a:gd name="T58" fmla="*/ 367 w 698"/>
                  <a:gd name="T59" fmla="*/ 514 h 763"/>
                  <a:gd name="T60" fmla="*/ 405 w 698"/>
                  <a:gd name="T61" fmla="*/ 571 h 763"/>
                  <a:gd name="T62" fmla="*/ 455 w 698"/>
                  <a:gd name="T63" fmla="*/ 628 h 763"/>
                  <a:gd name="T64" fmla="*/ 524 w 698"/>
                  <a:gd name="T65" fmla="*/ 684 h 763"/>
                  <a:gd name="T66" fmla="*/ 604 w 698"/>
                  <a:gd name="T67" fmla="*/ 755 h 763"/>
                  <a:gd name="T68" fmla="*/ 644 w 698"/>
                  <a:gd name="T69" fmla="*/ 744 h 763"/>
                  <a:gd name="T70" fmla="*/ 681 w 698"/>
                  <a:gd name="T71" fmla="*/ 745 h 7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98" h="763">
                    <a:moveTo>
                      <a:pt x="681" y="745"/>
                    </a:moveTo>
                    <a:cubicBezTo>
                      <a:pt x="684" y="734"/>
                      <a:pt x="694" y="733"/>
                      <a:pt x="690" y="711"/>
                    </a:cubicBezTo>
                    <a:cubicBezTo>
                      <a:pt x="686" y="689"/>
                      <a:pt x="685" y="665"/>
                      <a:pt x="685" y="653"/>
                    </a:cubicBezTo>
                    <a:cubicBezTo>
                      <a:pt x="685" y="641"/>
                      <a:pt x="681" y="618"/>
                      <a:pt x="687" y="607"/>
                    </a:cubicBezTo>
                    <a:cubicBezTo>
                      <a:pt x="693" y="596"/>
                      <a:pt x="696" y="589"/>
                      <a:pt x="697" y="581"/>
                    </a:cubicBezTo>
                    <a:cubicBezTo>
                      <a:pt x="698" y="573"/>
                      <a:pt x="697" y="574"/>
                      <a:pt x="685" y="561"/>
                    </a:cubicBezTo>
                    <a:cubicBezTo>
                      <a:pt x="673" y="548"/>
                      <a:pt x="664" y="530"/>
                      <a:pt x="654" y="529"/>
                    </a:cubicBezTo>
                    <a:cubicBezTo>
                      <a:pt x="644" y="528"/>
                      <a:pt x="625" y="524"/>
                      <a:pt x="622" y="536"/>
                    </a:cubicBezTo>
                    <a:cubicBezTo>
                      <a:pt x="619" y="548"/>
                      <a:pt x="596" y="558"/>
                      <a:pt x="602" y="546"/>
                    </a:cubicBezTo>
                    <a:cubicBezTo>
                      <a:pt x="608" y="534"/>
                      <a:pt x="612" y="529"/>
                      <a:pt x="618" y="522"/>
                    </a:cubicBezTo>
                    <a:cubicBezTo>
                      <a:pt x="624" y="515"/>
                      <a:pt x="620" y="505"/>
                      <a:pt x="604" y="505"/>
                    </a:cubicBezTo>
                    <a:cubicBezTo>
                      <a:pt x="588" y="505"/>
                      <a:pt x="597" y="500"/>
                      <a:pt x="595" y="486"/>
                    </a:cubicBezTo>
                    <a:cubicBezTo>
                      <a:pt x="593" y="472"/>
                      <a:pt x="602" y="465"/>
                      <a:pt x="588" y="456"/>
                    </a:cubicBezTo>
                    <a:cubicBezTo>
                      <a:pt x="574" y="447"/>
                      <a:pt x="573" y="445"/>
                      <a:pt x="560" y="445"/>
                    </a:cubicBezTo>
                    <a:cubicBezTo>
                      <a:pt x="547" y="445"/>
                      <a:pt x="538" y="440"/>
                      <a:pt x="536" y="433"/>
                    </a:cubicBezTo>
                    <a:cubicBezTo>
                      <a:pt x="534" y="426"/>
                      <a:pt x="527" y="414"/>
                      <a:pt x="534" y="399"/>
                    </a:cubicBezTo>
                    <a:cubicBezTo>
                      <a:pt x="541" y="384"/>
                      <a:pt x="547" y="379"/>
                      <a:pt x="547" y="371"/>
                    </a:cubicBezTo>
                    <a:cubicBezTo>
                      <a:pt x="547" y="363"/>
                      <a:pt x="545" y="356"/>
                      <a:pt x="530" y="351"/>
                    </a:cubicBezTo>
                    <a:cubicBezTo>
                      <a:pt x="515" y="346"/>
                      <a:pt x="513" y="346"/>
                      <a:pt x="501" y="355"/>
                    </a:cubicBezTo>
                    <a:cubicBezTo>
                      <a:pt x="489" y="364"/>
                      <a:pt x="464" y="385"/>
                      <a:pt x="468" y="371"/>
                    </a:cubicBezTo>
                    <a:cubicBezTo>
                      <a:pt x="472" y="357"/>
                      <a:pt x="496" y="354"/>
                      <a:pt x="498" y="347"/>
                    </a:cubicBezTo>
                    <a:cubicBezTo>
                      <a:pt x="500" y="340"/>
                      <a:pt x="492" y="328"/>
                      <a:pt x="502" y="326"/>
                    </a:cubicBezTo>
                    <a:cubicBezTo>
                      <a:pt x="512" y="324"/>
                      <a:pt x="503" y="312"/>
                      <a:pt x="500" y="311"/>
                    </a:cubicBezTo>
                    <a:cubicBezTo>
                      <a:pt x="497" y="310"/>
                      <a:pt x="488" y="315"/>
                      <a:pt x="481" y="322"/>
                    </a:cubicBezTo>
                    <a:cubicBezTo>
                      <a:pt x="474" y="329"/>
                      <a:pt x="459" y="328"/>
                      <a:pt x="457" y="319"/>
                    </a:cubicBezTo>
                    <a:cubicBezTo>
                      <a:pt x="455" y="310"/>
                      <a:pt x="450" y="299"/>
                      <a:pt x="441" y="292"/>
                    </a:cubicBezTo>
                    <a:cubicBezTo>
                      <a:pt x="432" y="285"/>
                      <a:pt x="430" y="280"/>
                      <a:pt x="423" y="274"/>
                    </a:cubicBezTo>
                    <a:cubicBezTo>
                      <a:pt x="416" y="268"/>
                      <a:pt x="426" y="256"/>
                      <a:pt x="418" y="250"/>
                    </a:cubicBezTo>
                    <a:cubicBezTo>
                      <a:pt x="410" y="244"/>
                      <a:pt x="401" y="250"/>
                      <a:pt x="399" y="257"/>
                    </a:cubicBezTo>
                    <a:cubicBezTo>
                      <a:pt x="397" y="264"/>
                      <a:pt x="393" y="254"/>
                      <a:pt x="385" y="244"/>
                    </a:cubicBezTo>
                    <a:cubicBezTo>
                      <a:pt x="377" y="234"/>
                      <a:pt x="366" y="231"/>
                      <a:pt x="365" y="237"/>
                    </a:cubicBezTo>
                    <a:cubicBezTo>
                      <a:pt x="364" y="243"/>
                      <a:pt x="381" y="260"/>
                      <a:pt x="371" y="261"/>
                    </a:cubicBezTo>
                    <a:cubicBezTo>
                      <a:pt x="361" y="262"/>
                      <a:pt x="371" y="265"/>
                      <a:pt x="357" y="251"/>
                    </a:cubicBezTo>
                    <a:cubicBezTo>
                      <a:pt x="343" y="237"/>
                      <a:pt x="334" y="218"/>
                      <a:pt x="327" y="219"/>
                    </a:cubicBezTo>
                    <a:cubicBezTo>
                      <a:pt x="320" y="220"/>
                      <a:pt x="315" y="219"/>
                      <a:pt x="312" y="205"/>
                    </a:cubicBezTo>
                    <a:cubicBezTo>
                      <a:pt x="309" y="191"/>
                      <a:pt x="298" y="186"/>
                      <a:pt x="287" y="177"/>
                    </a:cubicBezTo>
                    <a:cubicBezTo>
                      <a:pt x="276" y="168"/>
                      <a:pt x="252" y="151"/>
                      <a:pt x="238" y="147"/>
                    </a:cubicBezTo>
                    <a:cubicBezTo>
                      <a:pt x="224" y="143"/>
                      <a:pt x="217" y="136"/>
                      <a:pt x="209" y="118"/>
                    </a:cubicBezTo>
                    <a:cubicBezTo>
                      <a:pt x="201" y="100"/>
                      <a:pt x="190" y="86"/>
                      <a:pt x="183" y="75"/>
                    </a:cubicBezTo>
                    <a:cubicBezTo>
                      <a:pt x="176" y="64"/>
                      <a:pt x="158" y="46"/>
                      <a:pt x="148" y="46"/>
                    </a:cubicBezTo>
                    <a:cubicBezTo>
                      <a:pt x="138" y="46"/>
                      <a:pt x="139" y="60"/>
                      <a:pt x="126" y="51"/>
                    </a:cubicBezTo>
                    <a:cubicBezTo>
                      <a:pt x="113" y="42"/>
                      <a:pt x="87" y="50"/>
                      <a:pt x="79" y="48"/>
                    </a:cubicBezTo>
                    <a:cubicBezTo>
                      <a:pt x="71" y="46"/>
                      <a:pt x="65" y="44"/>
                      <a:pt x="59" y="37"/>
                    </a:cubicBezTo>
                    <a:cubicBezTo>
                      <a:pt x="53" y="30"/>
                      <a:pt x="0" y="0"/>
                      <a:pt x="8" y="42"/>
                    </a:cubicBezTo>
                    <a:cubicBezTo>
                      <a:pt x="8" y="42"/>
                      <a:pt x="14" y="72"/>
                      <a:pt x="28" y="85"/>
                    </a:cubicBezTo>
                    <a:cubicBezTo>
                      <a:pt x="42" y="98"/>
                      <a:pt x="61" y="112"/>
                      <a:pt x="67" y="121"/>
                    </a:cubicBezTo>
                    <a:cubicBezTo>
                      <a:pt x="73" y="130"/>
                      <a:pt x="88" y="140"/>
                      <a:pt x="96" y="141"/>
                    </a:cubicBezTo>
                    <a:cubicBezTo>
                      <a:pt x="104" y="142"/>
                      <a:pt x="116" y="146"/>
                      <a:pt x="121" y="155"/>
                    </a:cubicBezTo>
                    <a:cubicBezTo>
                      <a:pt x="126" y="164"/>
                      <a:pt x="134" y="190"/>
                      <a:pt x="145" y="193"/>
                    </a:cubicBezTo>
                    <a:cubicBezTo>
                      <a:pt x="156" y="196"/>
                      <a:pt x="165" y="206"/>
                      <a:pt x="165" y="214"/>
                    </a:cubicBezTo>
                    <a:cubicBezTo>
                      <a:pt x="165" y="222"/>
                      <a:pt x="169" y="235"/>
                      <a:pt x="185" y="237"/>
                    </a:cubicBezTo>
                    <a:cubicBezTo>
                      <a:pt x="201" y="239"/>
                      <a:pt x="213" y="255"/>
                      <a:pt x="222" y="264"/>
                    </a:cubicBezTo>
                    <a:cubicBezTo>
                      <a:pt x="231" y="273"/>
                      <a:pt x="236" y="284"/>
                      <a:pt x="236" y="294"/>
                    </a:cubicBezTo>
                    <a:cubicBezTo>
                      <a:pt x="236" y="304"/>
                      <a:pt x="250" y="298"/>
                      <a:pt x="248" y="319"/>
                    </a:cubicBezTo>
                    <a:cubicBezTo>
                      <a:pt x="246" y="340"/>
                      <a:pt x="248" y="356"/>
                      <a:pt x="257" y="360"/>
                    </a:cubicBezTo>
                    <a:cubicBezTo>
                      <a:pt x="266" y="364"/>
                      <a:pt x="278" y="362"/>
                      <a:pt x="290" y="379"/>
                    </a:cubicBezTo>
                    <a:cubicBezTo>
                      <a:pt x="302" y="396"/>
                      <a:pt x="313" y="415"/>
                      <a:pt x="323" y="427"/>
                    </a:cubicBezTo>
                    <a:cubicBezTo>
                      <a:pt x="333" y="439"/>
                      <a:pt x="337" y="446"/>
                      <a:pt x="341" y="460"/>
                    </a:cubicBezTo>
                    <a:cubicBezTo>
                      <a:pt x="345" y="474"/>
                      <a:pt x="345" y="484"/>
                      <a:pt x="354" y="491"/>
                    </a:cubicBezTo>
                    <a:cubicBezTo>
                      <a:pt x="363" y="498"/>
                      <a:pt x="365" y="504"/>
                      <a:pt x="367" y="514"/>
                    </a:cubicBezTo>
                    <a:cubicBezTo>
                      <a:pt x="369" y="524"/>
                      <a:pt x="369" y="538"/>
                      <a:pt x="378" y="543"/>
                    </a:cubicBezTo>
                    <a:cubicBezTo>
                      <a:pt x="387" y="548"/>
                      <a:pt x="403" y="558"/>
                      <a:pt x="405" y="571"/>
                    </a:cubicBezTo>
                    <a:cubicBezTo>
                      <a:pt x="407" y="584"/>
                      <a:pt x="418" y="591"/>
                      <a:pt x="428" y="595"/>
                    </a:cubicBezTo>
                    <a:cubicBezTo>
                      <a:pt x="438" y="599"/>
                      <a:pt x="451" y="614"/>
                      <a:pt x="455" y="628"/>
                    </a:cubicBezTo>
                    <a:cubicBezTo>
                      <a:pt x="459" y="642"/>
                      <a:pt x="455" y="641"/>
                      <a:pt x="476" y="651"/>
                    </a:cubicBezTo>
                    <a:cubicBezTo>
                      <a:pt x="497" y="661"/>
                      <a:pt x="508" y="677"/>
                      <a:pt x="524" y="684"/>
                    </a:cubicBezTo>
                    <a:cubicBezTo>
                      <a:pt x="540" y="691"/>
                      <a:pt x="563" y="713"/>
                      <a:pt x="572" y="723"/>
                    </a:cubicBezTo>
                    <a:cubicBezTo>
                      <a:pt x="581" y="733"/>
                      <a:pt x="602" y="763"/>
                      <a:pt x="604" y="755"/>
                    </a:cubicBezTo>
                    <a:cubicBezTo>
                      <a:pt x="606" y="747"/>
                      <a:pt x="605" y="736"/>
                      <a:pt x="619" y="743"/>
                    </a:cubicBezTo>
                    <a:cubicBezTo>
                      <a:pt x="633" y="750"/>
                      <a:pt x="633" y="747"/>
                      <a:pt x="644" y="744"/>
                    </a:cubicBezTo>
                    <a:cubicBezTo>
                      <a:pt x="655" y="741"/>
                      <a:pt x="657" y="736"/>
                      <a:pt x="667" y="745"/>
                    </a:cubicBezTo>
                    <a:cubicBezTo>
                      <a:pt x="677" y="754"/>
                      <a:pt x="678" y="756"/>
                      <a:pt x="681" y="74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6" name="Freeform 280">
                <a:extLst>
                  <a:ext uri="{FF2B5EF4-FFF2-40B4-BE49-F238E27FC236}">
                    <a16:creationId xmlns:a16="http://schemas.microsoft.com/office/drawing/2014/main" id="{7AA6C7B1-D153-5E4B-9413-28B4DB0FC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3" y="2556"/>
                <a:ext cx="16" cy="16"/>
              </a:xfrm>
              <a:custGeom>
                <a:avLst/>
                <a:gdLst>
                  <a:gd name="T0" fmla="*/ 38 w 62"/>
                  <a:gd name="T1" fmla="*/ 18 h 63"/>
                  <a:gd name="T2" fmla="*/ 11 w 62"/>
                  <a:gd name="T3" fmla="*/ 6 h 63"/>
                  <a:gd name="T4" fmla="*/ 14 w 62"/>
                  <a:gd name="T5" fmla="*/ 30 h 63"/>
                  <a:gd name="T6" fmla="*/ 38 w 62"/>
                  <a:gd name="T7" fmla="*/ 55 h 63"/>
                  <a:gd name="T8" fmla="*/ 57 w 62"/>
                  <a:gd name="T9" fmla="*/ 51 h 63"/>
                  <a:gd name="T10" fmla="*/ 38 w 62"/>
                  <a:gd name="T11" fmla="*/ 18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63">
                    <a:moveTo>
                      <a:pt x="38" y="18"/>
                    </a:moveTo>
                    <a:cubicBezTo>
                      <a:pt x="38" y="18"/>
                      <a:pt x="22" y="0"/>
                      <a:pt x="11" y="6"/>
                    </a:cubicBezTo>
                    <a:cubicBezTo>
                      <a:pt x="0" y="12"/>
                      <a:pt x="6" y="19"/>
                      <a:pt x="14" y="30"/>
                    </a:cubicBezTo>
                    <a:cubicBezTo>
                      <a:pt x="22" y="41"/>
                      <a:pt x="29" y="47"/>
                      <a:pt x="38" y="55"/>
                    </a:cubicBezTo>
                    <a:cubicBezTo>
                      <a:pt x="47" y="63"/>
                      <a:pt x="54" y="61"/>
                      <a:pt x="57" y="51"/>
                    </a:cubicBezTo>
                    <a:cubicBezTo>
                      <a:pt x="60" y="41"/>
                      <a:pt x="62" y="37"/>
                      <a:pt x="38" y="1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7" name="Freeform 281">
                <a:extLst>
                  <a:ext uri="{FF2B5EF4-FFF2-40B4-BE49-F238E27FC236}">
                    <a16:creationId xmlns:a16="http://schemas.microsoft.com/office/drawing/2014/main" id="{6939C325-4C93-0041-9D17-5FFE8D9B1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" y="2534"/>
                <a:ext cx="15" cy="10"/>
              </a:xfrm>
              <a:custGeom>
                <a:avLst/>
                <a:gdLst>
                  <a:gd name="T0" fmla="*/ 34 w 59"/>
                  <a:gd name="T1" fmla="*/ 10 h 41"/>
                  <a:gd name="T2" fmla="*/ 14 w 59"/>
                  <a:gd name="T3" fmla="*/ 2 h 41"/>
                  <a:gd name="T4" fmla="*/ 12 w 59"/>
                  <a:gd name="T5" fmla="*/ 19 h 41"/>
                  <a:gd name="T6" fmla="*/ 37 w 59"/>
                  <a:gd name="T7" fmla="*/ 28 h 41"/>
                  <a:gd name="T8" fmla="*/ 56 w 59"/>
                  <a:gd name="T9" fmla="*/ 31 h 41"/>
                  <a:gd name="T10" fmla="*/ 34 w 59"/>
                  <a:gd name="T11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9" h="41">
                    <a:moveTo>
                      <a:pt x="34" y="10"/>
                    </a:moveTo>
                    <a:cubicBezTo>
                      <a:pt x="34" y="10"/>
                      <a:pt x="21" y="0"/>
                      <a:pt x="14" y="2"/>
                    </a:cubicBezTo>
                    <a:cubicBezTo>
                      <a:pt x="7" y="4"/>
                      <a:pt x="0" y="18"/>
                      <a:pt x="12" y="19"/>
                    </a:cubicBezTo>
                    <a:cubicBezTo>
                      <a:pt x="24" y="20"/>
                      <a:pt x="27" y="15"/>
                      <a:pt x="37" y="28"/>
                    </a:cubicBezTo>
                    <a:cubicBezTo>
                      <a:pt x="47" y="41"/>
                      <a:pt x="59" y="40"/>
                      <a:pt x="56" y="31"/>
                    </a:cubicBezTo>
                    <a:cubicBezTo>
                      <a:pt x="53" y="22"/>
                      <a:pt x="48" y="18"/>
                      <a:pt x="34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8" name="Freeform 282">
                <a:extLst>
                  <a:ext uri="{FF2B5EF4-FFF2-40B4-BE49-F238E27FC236}">
                    <a16:creationId xmlns:a16="http://schemas.microsoft.com/office/drawing/2014/main" id="{E3C65D44-A332-A342-9061-702D1E496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2" y="2543"/>
                <a:ext cx="9" cy="5"/>
              </a:xfrm>
              <a:custGeom>
                <a:avLst/>
                <a:gdLst>
                  <a:gd name="T0" fmla="*/ 20 w 38"/>
                  <a:gd name="T1" fmla="*/ 6 h 17"/>
                  <a:gd name="T2" fmla="*/ 8 w 38"/>
                  <a:gd name="T3" fmla="*/ 1 h 17"/>
                  <a:gd name="T4" fmla="*/ 11 w 38"/>
                  <a:gd name="T5" fmla="*/ 13 h 17"/>
                  <a:gd name="T6" fmla="*/ 20 w 38"/>
                  <a:gd name="T7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17">
                    <a:moveTo>
                      <a:pt x="20" y="6"/>
                    </a:moveTo>
                    <a:cubicBezTo>
                      <a:pt x="20" y="6"/>
                      <a:pt x="13" y="2"/>
                      <a:pt x="8" y="1"/>
                    </a:cubicBezTo>
                    <a:cubicBezTo>
                      <a:pt x="3" y="0"/>
                      <a:pt x="0" y="9"/>
                      <a:pt x="11" y="13"/>
                    </a:cubicBezTo>
                    <a:cubicBezTo>
                      <a:pt x="22" y="17"/>
                      <a:pt x="38" y="17"/>
                      <a:pt x="20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29" name="Freeform 283">
                <a:extLst>
                  <a:ext uri="{FF2B5EF4-FFF2-40B4-BE49-F238E27FC236}">
                    <a16:creationId xmlns:a16="http://schemas.microsoft.com/office/drawing/2014/main" id="{AFEA7705-0EC9-B043-B49F-18B85F4E1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2" y="2580"/>
                <a:ext cx="6" cy="11"/>
              </a:xfrm>
              <a:custGeom>
                <a:avLst/>
                <a:gdLst>
                  <a:gd name="T0" fmla="*/ 9 w 22"/>
                  <a:gd name="T1" fmla="*/ 2 h 43"/>
                  <a:gd name="T2" fmla="*/ 7 w 22"/>
                  <a:gd name="T3" fmla="*/ 13 h 43"/>
                  <a:gd name="T4" fmla="*/ 9 w 22"/>
                  <a:gd name="T5" fmla="*/ 23 h 43"/>
                  <a:gd name="T6" fmla="*/ 1 w 22"/>
                  <a:gd name="T7" fmla="*/ 38 h 43"/>
                  <a:gd name="T8" fmla="*/ 15 w 22"/>
                  <a:gd name="T9" fmla="*/ 36 h 43"/>
                  <a:gd name="T10" fmla="*/ 22 w 22"/>
                  <a:gd name="T11" fmla="*/ 17 h 43"/>
                  <a:gd name="T12" fmla="*/ 9 w 22"/>
                  <a:gd name="T13" fmla="*/ 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43">
                    <a:moveTo>
                      <a:pt x="9" y="2"/>
                    </a:moveTo>
                    <a:cubicBezTo>
                      <a:pt x="9" y="2"/>
                      <a:pt x="2" y="10"/>
                      <a:pt x="7" y="13"/>
                    </a:cubicBezTo>
                    <a:cubicBezTo>
                      <a:pt x="12" y="16"/>
                      <a:pt x="12" y="20"/>
                      <a:pt x="9" y="23"/>
                    </a:cubicBezTo>
                    <a:cubicBezTo>
                      <a:pt x="6" y="26"/>
                      <a:pt x="0" y="35"/>
                      <a:pt x="1" y="38"/>
                    </a:cubicBezTo>
                    <a:cubicBezTo>
                      <a:pt x="2" y="41"/>
                      <a:pt x="12" y="43"/>
                      <a:pt x="15" y="36"/>
                    </a:cubicBezTo>
                    <a:cubicBezTo>
                      <a:pt x="18" y="29"/>
                      <a:pt x="22" y="25"/>
                      <a:pt x="22" y="17"/>
                    </a:cubicBezTo>
                    <a:cubicBezTo>
                      <a:pt x="22" y="9"/>
                      <a:pt x="16" y="0"/>
                      <a:pt x="9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0" name="Freeform 284">
                <a:extLst>
                  <a:ext uri="{FF2B5EF4-FFF2-40B4-BE49-F238E27FC236}">
                    <a16:creationId xmlns:a16="http://schemas.microsoft.com/office/drawing/2014/main" id="{74D4267E-728D-2541-9C00-9AFC5024E6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7" y="2596"/>
                <a:ext cx="12" cy="13"/>
              </a:xfrm>
              <a:custGeom>
                <a:avLst/>
                <a:gdLst>
                  <a:gd name="T0" fmla="*/ 29 w 48"/>
                  <a:gd name="T1" fmla="*/ 10 h 55"/>
                  <a:gd name="T2" fmla="*/ 14 w 48"/>
                  <a:gd name="T3" fmla="*/ 5 h 55"/>
                  <a:gd name="T4" fmla="*/ 8 w 48"/>
                  <a:gd name="T5" fmla="*/ 27 h 55"/>
                  <a:gd name="T6" fmla="*/ 28 w 48"/>
                  <a:gd name="T7" fmla="*/ 53 h 55"/>
                  <a:gd name="T8" fmla="*/ 48 w 48"/>
                  <a:gd name="T9" fmla="*/ 47 h 55"/>
                  <a:gd name="T10" fmla="*/ 35 w 48"/>
                  <a:gd name="T11" fmla="*/ 25 h 55"/>
                  <a:gd name="T12" fmla="*/ 29 w 48"/>
                  <a:gd name="T13" fmla="*/ 1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55">
                    <a:moveTo>
                      <a:pt x="29" y="10"/>
                    </a:moveTo>
                    <a:cubicBezTo>
                      <a:pt x="29" y="10"/>
                      <a:pt x="21" y="0"/>
                      <a:pt x="14" y="5"/>
                    </a:cubicBezTo>
                    <a:cubicBezTo>
                      <a:pt x="7" y="10"/>
                      <a:pt x="0" y="17"/>
                      <a:pt x="8" y="27"/>
                    </a:cubicBezTo>
                    <a:cubicBezTo>
                      <a:pt x="16" y="37"/>
                      <a:pt x="21" y="51"/>
                      <a:pt x="28" y="53"/>
                    </a:cubicBezTo>
                    <a:cubicBezTo>
                      <a:pt x="35" y="55"/>
                      <a:pt x="48" y="54"/>
                      <a:pt x="48" y="47"/>
                    </a:cubicBezTo>
                    <a:cubicBezTo>
                      <a:pt x="48" y="40"/>
                      <a:pt x="39" y="33"/>
                      <a:pt x="35" y="25"/>
                    </a:cubicBezTo>
                    <a:cubicBezTo>
                      <a:pt x="31" y="17"/>
                      <a:pt x="35" y="18"/>
                      <a:pt x="29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1" name="Freeform 285">
                <a:extLst>
                  <a:ext uri="{FF2B5EF4-FFF2-40B4-BE49-F238E27FC236}">
                    <a16:creationId xmlns:a16="http://schemas.microsoft.com/office/drawing/2014/main" id="{9FD960BA-8C3A-654E-B4F9-0E2AE787A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2" y="2613"/>
                <a:ext cx="13" cy="14"/>
              </a:xfrm>
              <a:custGeom>
                <a:avLst/>
                <a:gdLst>
                  <a:gd name="T0" fmla="*/ 45 w 52"/>
                  <a:gd name="T1" fmla="*/ 33 h 56"/>
                  <a:gd name="T2" fmla="*/ 12 w 52"/>
                  <a:gd name="T3" fmla="*/ 2 h 56"/>
                  <a:gd name="T4" fmla="*/ 4 w 52"/>
                  <a:gd name="T5" fmla="*/ 7 h 56"/>
                  <a:gd name="T6" fmla="*/ 24 w 52"/>
                  <a:gd name="T7" fmla="*/ 24 h 56"/>
                  <a:gd name="T8" fmla="*/ 35 w 52"/>
                  <a:gd name="T9" fmla="*/ 45 h 56"/>
                  <a:gd name="T10" fmla="*/ 44 w 52"/>
                  <a:gd name="T11" fmla="*/ 49 h 56"/>
                  <a:gd name="T12" fmla="*/ 45 w 52"/>
                  <a:gd name="T13" fmla="*/ 3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56">
                    <a:moveTo>
                      <a:pt x="45" y="33"/>
                    </a:moveTo>
                    <a:cubicBezTo>
                      <a:pt x="38" y="27"/>
                      <a:pt x="25" y="13"/>
                      <a:pt x="12" y="2"/>
                    </a:cubicBezTo>
                    <a:cubicBezTo>
                      <a:pt x="12" y="2"/>
                      <a:pt x="0" y="0"/>
                      <a:pt x="4" y="7"/>
                    </a:cubicBezTo>
                    <a:cubicBezTo>
                      <a:pt x="8" y="14"/>
                      <a:pt x="18" y="17"/>
                      <a:pt x="24" y="24"/>
                    </a:cubicBezTo>
                    <a:cubicBezTo>
                      <a:pt x="30" y="31"/>
                      <a:pt x="34" y="36"/>
                      <a:pt x="35" y="45"/>
                    </a:cubicBezTo>
                    <a:cubicBezTo>
                      <a:pt x="36" y="54"/>
                      <a:pt x="44" y="56"/>
                      <a:pt x="44" y="49"/>
                    </a:cubicBezTo>
                    <a:cubicBezTo>
                      <a:pt x="44" y="42"/>
                      <a:pt x="52" y="39"/>
                      <a:pt x="45" y="3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2" name="Freeform 286">
                <a:extLst>
                  <a:ext uri="{FF2B5EF4-FFF2-40B4-BE49-F238E27FC236}">
                    <a16:creationId xmlns:a16="http://schemas.microsoft.com/office/drawing/2014/main" id="{D8FA61EA-F56B-AD4A-9D50-D64C19119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5" y="2627"/>
                <a:ext cx="4" cy="9"/>
              </a:xfrm>
              <a:custGeom>
                <a:avLst/>
                <a:gdLst>
                  <a:gd name="T0" fmla="*/ 7 w 15"/>
                  <a:gd name="T1" fmla="*/ 0 h 36"/>
                  <a:gd name="T2" fmla="*/ 1 w 15"/>
                  <a:gd name="T3" fmla="*/ 10 h 36"/>
                  <a:gd name="T4" fmla="*/ 7 w 15"/>
                  <a:gd name="T5" fmla="*/ 25 h 36"/>
                  <a:gd name="T6" fmla="*/ 15 w 15"/>
                  <a:gd name="T7" fmla="*/ 24 h 36"/>
                  <a:gd name="T8" fmla="*/ 7 w 15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6">
                    <a:moveTo>
                      <a:pt x="7" y="0"/>
                    </a:moveTo>
                    <a:cubicBezTo>
                      <a:pt x="7" y="0"/>
                      <a:pt x="0" y="7"/>
                      <a:pt x="1" y="10"/>
                    </a:cubicBezTo>
                    <a:cubicBezTo>
                      <a:pt x="2" y="13"/>
                      <a:pt x="7" y="20"/>
                      <a:pt x="7" y="25"/>
                    </a:cubicBezTo>
                    <a:cubicBezTo>
                      <a:pt x="7" y="30"/>
                      <a:pt x="15" y="36"/>
                      <a:pt x="15" y="24"/>
                    </a:cubicBezTo>
                    <a:cubicBezTo>
                      <a:pt x="15" y="12"/>
                      <a:pt x="15" y="0"/>
                      <a:pt x="7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3" name="Freeform 287">
                <a:extLst>
                  <a:ext uri="{FF2B5EF4-FFF2-40B4-BE49-F238E27FC236}">
                    <a16:creationId xmlns:a16="http://schemas.microsoft.com/office/drawing/2014/main" id="{81170689-C694-634B-B339-3CDE4D8E50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7" y="2666"/>
                <a:ext cx="5" cy="4"/>
              </a:xfrm>
              <a:custGeom>
                <a:avLst/>
                <a:gdLst>
                  <a:gd name="T0" fmla="*/ 0 w 20"/>
                  <a:gd name="T1" fmla="*/ 8 h 17"/>
                  <a:gd name="T2" fmla="*/ 6 w 20"/>
                  <a:gd name="T3" fmla="*/ 3 h 17"/>
                  <a:gd name="T4" fmla="*/ 0 w 20"/>
                  <a:gd name="T5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7">
                    <a:moveTo>
                      <a:pt x="0" y="8"/>
                    </a:moveTo>
                    <a:cubicBezTo>
                      <a:pt x="0" y="16"/>
                      <a:pt x="20" y="17"/>
                      <a:pt x="6" y="3"/>
                    </a:cubicBezTo>
                    <a:cubicBezTo>
                      <a:pt x="6" y="3"/>
                      <a:pt x="0" y="0"/>
                      <a:pt x="0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4" name="Freeform 288">
                <a:extLst>
                  <a:ext uri="{FF2B5EF4-FFF2-40B4-BE49-F238E27FC236}">
                    <a16:creationId xmlns:a16="http://schemas.microsoft.com/office/drawing/2014/main" id="{50348F95-59A7-D345-9276-6C09F6960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3" y="2605"/>
                <a:ext cx="29" cy="29"/>
              </a:xfrm>
              <a:custGeom>
                <a:avLst/>
                <a:gdLst>
                  <a:gd name="T0" fmla="*/ 17 w 115"/>
                  <a:gd name="T1" fmla="*/ 21 h 114"/>
                  <a:gd name="T2" fmla="*/ 15 w 115"/>
                  <a:gd name="T3" fmla="*/ 36 h 114"/>
                  <a:gd name="T4" fmla="*/ 45 w 115"/>
                  <a:gd name="T5" fmla="*/ 48 h 114"/>
                  <a:gd name="T6" fmla="*/ 62 w 115"/>
                  <a:gd name="T7" fmla="*/ 82 h 114"/>
                  <a:gd name="T8" fmla="*/ 99 w 115"/>
                  <a:gd name="T9" fmla="*/ 97 h 114"/>
                  <a:gd name="T10" fmla="*/ 95 w 115"/>
                  <a:gd name="T11" fmla="*/ 68 h 114"/>
                  <a:gd name="T12" fmla="*/ 69 w 115"/>
                  <a:gd name="T13" fmla="*/ 40 h 114"/>
                  <a:gd name="T14" fmla="*/ 57 w 115"/>
                  <a:gd name="T15" fmla="*/ 9 h 114"/>
                  <a:gd name="T16" fmla="*/ 50 w 115"/>
                  <a:gd name="T17" fmla="*/ 8 h 114"/>
                  <a:gd name="T18" fmla="*/ 40 w 115"/>
                  <a:gd name="T19" fmla="*/ 9 h 114"/>
                  <a:gd name="T20" fmla="*/ 23 w 115"/>
                  <a:gd name="T21" fmla="*/ 7 h 114"/>
                  <a:gd name="T22" fmla="*/ 17 w 115"/>
                  <a:gd name="T23" fmla="*/ 21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5" h="114">
                    <a:moveTo>
                      <a:pt x="17" y="21"/>
                    </a:moveTo>
                    <a:cubicBezTo>
                      <a:pt x="10" y="23"/>
                      <a:pt x="0" y="33"/>
                      <a:pt x="15" y="36"/>
                    </a:cubicBezTo>
                    <a:cubicBezTo>
                      <a:pt x="30" y="39"/>
                      <a:pt x="42" y="43"/>
                      <a:pt x="45" y="48"/>
                    </a:cubicBezTo>
                    <a:cubicBezTo>
                      <a:pt x="48" y="53"/>
                      <a:pt x="43" y="72"/>
                      <a:pt x="62" y="82"/>
                    </a:cubicBezTo>
                    <a:cubicBezTo>
                      <a:pt x="81" y="92"/>
                      <a:pt x="97" y="114"/>
                      <a:pt x="99" y="97"/>
                    </a:cubicBezTo>
                    <a:cubicBezTo>
                      <a:pt x="101" y="80"/>
                      <a:pt x="115" y="80"/>
                      <a:pt x="95" y="68"/>
                    </a:cubicBezTo>
                    <a:cubicBezTo>
                      <a:pt x="75" y="56"/>
                      <a:pt x="69" y="50"/>
                      <a:pt x="69" y="40"/>
                    </a:cubicBezTo>
                    <a:cubicBezTo>
                      <a:pt x="69" y="30"/>
                      <a:pt x="73" y="21"/>
                      <a:pt x="57" y="9"/>
                    </a:cubicBezTo>
                    <a:cubicBezTo>
                      <a:pt x="57" y="9"/>
                      <a:pt x="54" y="0"/>
                      <a:pt x="50" y="8"/>
                    </a:cubicBezTo>
                    <a:cubicBezTo>
                      <a:pt x="46" y="16"/>
                      <a:pt x="44" y="13"/>
                      <a:pt x="40" y="9"/>
                    </a:cubicBezTo>
                    <a:cubicBezTo>
                      <a:pt x="36" y="5"/>
                      <a:pt x="29" y="7"/>
                      <a:pt x="23" y="7"/>
                    </a:cubicBezTo>
                    <a:cubicBezTo>
                      <a:pt x="17" y="7"/>
                      <a:pt x="24" y="19"/>
                      <a:pt x="17" y="2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5" name="Freeform 289">
                <a:extLst>
                  <a:ext uri="{FF2B5EF4-FFF2-40B4-BE49-F238E27FC236}">
                    <a16:creationId xmlns:a16="http://schemas.microsoft.com/office/drawing/2014/main" id="{2FC778F5-715F-4044-8DD6-A5A315855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8" y="2580"/>
                <a:ext cx="12" cy="11"/>
              </a:xfrm>
              <a:custGeom>
                <a:avLst/>
                <a:gdLst>
                  <a:gd name="T0" fmla="*/ 5 w 45"/>
                  <a:gd name="T1" fmla="*/ 36 h 43"/>
                  <a:gd name="T2" fmla="*/ 16 w 45"/>
                  <a:gd name="T3" fmla="*/ 32 h 43"/>
                  <a:gd name="T4" fmla="*/ 26 w 45"/>
                  <a:gd name="T5" fmla="*/ 17 h 43"/>
                  <a:gd name="T6" fmla="*/ 32 w 45"/>
                  <a:gd name="T7" fmla="*/ 3 h 43"/>
                  <a:gd name="T8" fmla="*/ 11 w 45"/>
                  <a:gd name="T9" fmla="*/ 8 h 43"/>
                  <a:gd name="T10" fmla="*/ 11 w 45"/>
                  <a:gd name="T11" fmla="*/ 21 h 43"/>
                  <a:gd name="T12" fmla="*/ 5 w 45"/>
                  <a:gd name="T13" fmla="*/ 3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43">
                    <a:moveTo>
                      <a:pt x="5" y="36"/>
                    </a:moveTo>
                    <a:cubicBezTo>
                      <a:pt x="10" y="39"/>
                      <a:pt x="16" y="43"/>
                      <a:pt x="16" y="32"/>
                    </a:cubicBezTo>
                    <a:cubicBezTo>
                      <a:pt x="16" y="21"/>
                      <a:pt x="22" y="14"/>
                      <a:pt x="26" y="17"/>
                    </a:cubicBezTo>
                    <a:cubicBezTo>
                      <a:pt x="30" y="20"/>
                      <a:pt x="45" y="15"/>
                      <a:pt x="32" y="3"/>
                    </a:cubicBezTo>
                    <a:cubicBezTo>
                      <a:pt x="32" y="3"/>
                      <a:pt x="11" y="0"/>
                      <a:pt x="11" y="8"/>
                    </a:cubicBezTo>
                    <a:cubicBezTo>
                      <a:pt x="11" y="16"/>
                      <a:pt x="15" y="17"/>
                      <a:pt x="11" y="21"/>
                    </a:cubicBezTo>
                    <a:cubicBezTo>
                      <a:pt x="7" y="25"/>
                      <a:pt x="0" y="33"/>
                      <a:pt x="5" y="3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6" name="Freeform 290">
                <a:extLst>
                  <a:ext uri="{FF2B5EF4-FFF2-40B4-BE49-F238E27FC236}">
                    <a16:creationId xmlns:a16="http://schemas.microsoft.com/office/drawing/2014/main" id="{905182DD-D12A-5448-BFA9-F40187C2D3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6" y="2675"/>
                <a:ext cx="151" cy="48"/>
              </a:xfrm>
              <a:custGeom>
                <a:avLst/>
                <a:gdLst>
                  <a:gd name="T0" fmla="*/ 584 w 597"/>
                  <a:gd name="T1" fmla="*/ 123 h 192"/>
                  <a:gd name="T2" fmla="*/ 564 w 597"/>
                  <a:gd name="T3" fmla="*/ 114 h 192"/>
                  <a:gd name="T4" fmla="*/ 492 w 597"/>
                  <a:gd name="T5" fmla="*/ 123 h 192"/>
                  <a:gd name="T6" fmla="*/ 473 w 597"/>
                  <a:gd name="T7" fmla="*/ 98 h 192"/>
                  <a:gd name="T8" fmla="*/ 454 w 597"/>
                  <a:gd name="T9" fmla="*/ 72 h 192"/>
                  <a:gd name="T10" fmla="*/ 411 w 597"/>
                  <a:gd name="T11" fmla="*/ 60 h 192"/>
                  <a:gd name="T12" fmla="*/ 366 w 597"/>
                  <a:gd name="T13" fmla="*/ 50 h 192"/>
                  <a:gd name="T14" fmla="*/ 343 w 597"/>
                  <a:gd name="T15" fmla="*/ 46 h 192"/>
                  <a:gd name="T16" fmla="*/ 318 w 597"/>
                  <a:gd name="T17" fmla="*/ 71 h 192"/>
                  <a:gd name="T18" fmla="*/ 252 w 597"/>
                  <a:gd name="T19" fmla="*/ 69 h 192"/>
                  <a:gd name="T20" fmla="*/ 234 w 597"/>
                  <a:gd name="T21" fmla="*/ 61 h 192"/>
                  <a:gd name="T22" fmla="*/ 208 w 597"/>
                  <a:gd name="T23" fmla="*/ 52 h 192"/>
                  <a:gd name="T24" fmla="*/ 190 w 597"/>
                  <a:gd name="T25" fmla="*/ 30 h 192"/>
                  <a:gd name="T26" fmla="*/ 165 w 597"/>
                  <a:gd name="T27" fmla="*/ 28 h 192"/>
                  <a:gd name="T28" fmla="*/ 141 w 597"/>
                  <a:gd name="T29" fmla="*/ 24 h 192"/>
                  <a:gd name="T30" fmla="*/ 125 w 597"/>
                  <a:gd name="T31" fmla="*/ 8 h 192"/>
                  <a:gd name="T32" fmla="*/ 107 w 597"/>
                  <a:gd name="T33" fmla="*/ 11 h 192"/>
                  <a:gd name="T34" fmla="*/ 94 w 597"/>
                  <a:gd name="T35" fmla="*/ 23 h 192"/>
                  <a:gd name="T36" fmla="*/ 74 w 597"/>
                  <a:gd name="T37" fmla="*/ 12 h 192"/>
                  <a:gd name="T38" fmla="*/ 36 w 597"/>
                  <a:gd name="T39" fmla="*/ 23 h 192"/>
                  <a:gd name="T40" fmla="*/ 27 w 597"/>
                  <a:gd name="T41" fmla="*/ 41 h 192"/>
                  <a:gd name="T42" fmla="*/ 11 w 597"/>
                  <a:gd name="T43" fmla="*/ 64 h 192"/>
                  <a:gd name="T44" fmla="*/ 31 w 597"/>
                  <a:gd name="T45" fmla="*/ 71 h 192"/>
                  <a:gd name="T46" fmla="*/ 48 w 597"/>
                  <a:gd name="T47" fmla="*/ 69 h 192"/>
                  <a:gd name="T48" fmla="*/ 73 w 597"/>
                  <a:gd name="T49" fmla="*/ 81 h 192"/>
                  <a:gd name="T50" fmla="*/ 78 w 597"/>
                  <a:gd name="T51" fmla="*/ 105 h 192"/>
                  <a:gd name="T52" fmla="*/ 141 w 597"/>
                  <a:gd name="T53" fmla="*/ 111 h 192"/>
                  <a:gd name="T54" fmla="*/ 195 w 597"/>
                  <a:gd name="T55" fmla="*/ 129 h 192"/>
                  <a:gd name="T56" fmla="*/ 232 w 597"/>
                  <a:gd name="T57" fmla="*/ 119 h 192"/>
                  <a:gd name="T58" fmla="*/ 290 w 597"/>
                  <a:gd name="T59" fmla="*/ 130 h 192"/>
                  <a:gd name="T60" fmla="*/ 337 w 597"/>
                  <a:gd name="T61" fmla="*/ 151 h 192"/>
                  <a:gd name="T62" fmla="*/ 385 w 597"/>
                  <a:gd name="T63" fmla="*/ 155 h 192"/>
                  <a:gd name="T64" fmla="*/ 443 w 597"/>
                  <a:gd name="T65" fmla="*/ 166 h 192"/>
                  <a:gd name="T66" fmla="*/ 464 w 597"/>
                  <a:gd name="T67" fmla="*/ 174 h 192"/>
                  <a:gd name="T68" fmla="*/ 482 w 597"/>
                  <a:gd name="T69" fmla="*/ 173 h 192"/>
                  <a:gd name="T70" fmla="*/ 495 w 597"/>
                  <a:gd name="T71" fmla="*/ 163 h 192"/>
                  <a:gd name="T72" fmla="*/ 527 w 597"/>
                  <a:gd name="T73" fmla="*/ 173 h 192"/>
                  <a:gd name="T74" fmla="*/ 552 w 597"/>
                  <a:gd name="T75" fmla="*/ 181 h 192"/>
                  <a:gd name="T76" fmla="*/ 576 w 597"/>
                  <a:gd name="T77" fmla="*/ 187 h 192"/>
                  <a:gd name="T78" fmla="*/ 582 w 597"/>
                  <a:gd name="T79" fmla="*/ 181 h 192"/>
                  <a:gd name="T80" fmla="*/ 590 w 597"/>
                  <a:gd name="T81" fmla="*/ 165 h 192"/>
                  <a:gd name="T82" fmla="*/ 583 w 597"/>
                  <a:gd name="T83" fmla="*/ 146 h 192"/>
                  <a:gd name="T84" fmla="*/ 595 w 597"/>
                  <a:gd name="T85" fmla="*/ 131 h 192"/>
                  <a:gd name="T86" fmla="*/ 584 w 597"/>
                  <a:gd name="T87" fmla="*/ 123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97" h="192">
                    <a:moveTo>
                      <a:pt x="584" y="123"/>
                    </a:moveTo>
                    <a:cubicBezTo>
                      <a:pt x="571" y="125"/>
                      <a:pt x="582" y="113"/>
                      <a:pt x="564" y="114"/>
                    </a:cubicBezTo>
                    <a:cubicBezTo>
                      <a:pt x="546" y="115"/>
                      <a:pt x="513" y="127"/>
                      <a:pt x="492" y="123"/>
                    </a:cubicBezTo>
                    <a:cubicBezTo>
                      <a:pt x="471" y="119"/>
                      <a:pt x="474" y="104"/>
                      <a:pt x="473" y="98"/>
                    </a:cubicBezTo>
                    <a:cubicBezTo>
                      <a:pt x="472" y="92"/>
                      <a:pt x="471" y="78"/>
                      <a:pt x="454" y="72"/>
                    </a:cubicBezTo>
                    <a:cubicBezTo>
                      <a:pt x="437" y="66"/>
                      <a:pt x="430" y="69"/>
                      <a:pt x="411" y="60"/>
                    </a:cubicBezTo>
                    <a:cubicBezTo>
                      <a:pt x="392" y="51"/>
                      <a:pt x="367" y="59"/>
                      <a:pt x="366" y="50"/>
                    </a:cubicBezTo>
                    <a:cubicBezTo>
                      <a:pt x="365" y="41"/>
                      <a:pt x="349" y="33"/>
                      <a:pt x="343" y="46"/>
                    </a:cubicBezTo>
                    <a:cubicBezTo>
                      <a:pt x="337" y="59"/>
                      <a:pt x="345" y="70"/>
                      <a:pt x="318" y="71"/>
                    </a:cubicBezTo>
                    <a:cubicBezTo>
                      <a:pt x="291" y="72"/>
                      <a:pt x="260" y="74"/>
                      <a:pt x="252" y="69"/>
                    </a:cubicBezTo>
                    <a:cubicBezTo>
                      <a:pt x="244" y="64"/>
                      <a:pt x="247" y="61"/>
                      <a:pt x="234" y="61"/>
                    </a:cubicBezTo>
                    <a:cubicBezTo>
                      <a:pt x="221" y="61"/>
                      <a:pt x="212" y="58"/>
                      <a:pt x="208" y="52"/>
                    </a:cubicBezTo>
                    <a:cubicBezTo>
                      <a:pt x="204" y="46"/>
                      <a:pt x="201" y="37"/>
                      <a:pt x="190" y="30"/>
                    </a:cubicBezTo>
                    <a:cubicBezTo>
                      <a:pt x="179" y="23"/>
                      <a:pt x="179" y="38"/>
                      <a:pt x="165" y="28"/>
                    </a:cubicBezTo>
                    <a:cubicBezTo>
                      <a:pt x="151" y="18"/>
                      <a:pt x="143" y="30"/>
                      <a:pt x="141" y="24"/>
                    </a:cubicBezTo>
                    <a:cubicBezTo>
                      <a:pt x="139" y="18"/>
                      <a:pt x="134" y="12"/>
                      <a:pt x="125" y="8"/>
                    </a:cubicBezTo>
                    <a:cubicBezTo>
                      <a:pt x="116" y="4"/>
                      <a:pt x="109" y="2"/>
                      <a:pt x="107" y="11"/>
                    </a:cubicBezTo>
                    <a:cubicBezTo>
                      <a:pt x="105" y="20"/>
                      <a:pt x="104" y="32"/>
                      <a:pt x="94" y="23"/>
                    </a:cubicBezTo>
                    <a:cubicBezTo>
                      <a:pt x="84" y="14"/>
                      <a:pt x="86" y="12"/>
                      <a:pt x="74" y="12"/>
                    </a:cubicBezTo>
                    <a:cubicBezTo>
                      <a:pt x="62" y="12"/>
                      <a:pt x="36" y="0"/>
                      <a:pt x="36" y="23"/>
                    </a:cubicBezTo>
                    <a:cubicBezTo>
                      <a:pt x="36" y="23"/>
                      <a:pt x="39" y="31"/>
                      <a:pt x="27" y="41"/>
                    </a:cubicBezTo>
                    <a:cubicBezTo>
                      <a:pt x="15" y="51"/>
                      <a:pt x="0" y="55"/>
                      <a:pt x="11" y="64"/>
                    </a:cubicBezTo>
                    <a:cubicBezTo>
                      <a:pt x="22" y="73"/>
                      <a:pt x="27" y="76"/>
                      <a:pt x="31" y="71"/>
                    </a:cubicBezTo>
                    <a:cubicBezTo>
                      <a:pt x="35" y="66"/>
                      <a:pt x="40" y="61"/>
                      <a:pt x="48" y="69"/>
                    </a:cubicBezTo>
                    <a:cubicBezTo>
                      <a:pt x="56" y="77"/>
                      <a:pt x="73" y="65"/>
                      <a:pt x="73" y="81"/>
                    </a:cubicBezTo>
                    <a:cubicBezTo>
                      <a:pt x="73" y="97"/>
                      <a:pt x="64" y="105"/>
                      <a:pt x="78" y="105"/>
                    </a:cubicBezTo>
                    <a:cubicBezTo>
                      <a:pt x="92" y="105"/>
                      <a:pt x="127" y="101"/>
                      <a:pt x="141" y="111"/>
                    </a:cubicBezTo>
                    <a:cubicBezTo>
                      <a:pt x="155" y="121"/>
                      <a:pt x="183" y="138"/>
                      <a:pt x="195" y="129"/>
                    </a:cubicBezTo>
                    <a:cubicBezTo>
                      <a:pt x="207" y="120"/>
                      <a:pt x="220" y="117"/>
                      <a:pt x="232" y="119"/>
                    </a:cubicBezTo>
                    <a:cubicBezTo>
                      <a:pt x="244" y="121"/>
                      <a:pt x="279" y="119"/>
                      <a:pt x="290" y="130"/>
                    </a:cubicBezTo>
                    <a:cubicBezTo>
                      <a:pt x="301" y="141"/>
                      <a:pt x="323" y="146"/>
                      <a:pt x="337" y="151"/>
                    </a:cubicBezTo>
                    <a:cubicBezTo>
                      <a:pt x="351" y="156"/>
                      <a:pt x="368" y="153"/>
                      <a:pt x="385" y="155"/>
                    </a:cubicBezTo>
                    <a:cubicBezTo>
                      <a:pt x="402" y="157"/>
                      <a:pt x="432" y="167"/>
                      <a:pt x="443" y="166"/>
                    </a:cubicBezTo>
                    <a:cubicBezTo>
                      <a:pt x="454" y="165"/>
                      <a:pt x="454" y="174"/>
                      <a:pt x="464" y="174"/>
                    </a:cubicBezTo>
                    <a:cubicBezTo>
                      <a:pt x="474" y="174"/>
                      <a:pt x="479" y="179"/>
                      <a:pt x="482" y="173"/>
                    </a:cubicBezTo>
                    <a:cubicBezTo>
                      <a:pt x="485" y="167"/>
                      <a:pt x="481" y="163"/>
                      <a:pt x="495" y="163"/>
                    </a:cubicBezTo>
                    <a:cubicBezTo>
                      <a:pt x="509" y="163"/>
                      <a:pt x="517" y="167"/>
                      <a:pt x="527" y="173"/>
                    </a:cubicBezTo>
                    <a:cubicBezTo>
                      <a:pt x="537" y="179"/>
                      <a:pt x="542" y="176"/>
                      <a:pt x="552" y="181"/>
                    </a:cubicBezTo>
                    <a:cubicBezTo>
                      <a:pt x="562" y="186"/>
                      <a:pt x="565" y="182"/>
                      <a:pt x="576" y="187"/>
                    </a:cubicBezTo>
                    <a:cubicBezTo>
                      <a:pt x="587" y="192"/>
                      <a:pt x="583" y="189"/>
                      <a:pt x="582" y="181"/>
                    </a:cubicBezTo>
                    <a:cubicBezTo>
                      <a:pt x="581" y="173"/>
                      <a:pt x="591" y="177"/>
                      <a:pt x="590" y="165"/>
                    </a:cubicBezTo>
                    <a:cubicBezTo>
                      <a:pt x="589" y="153"/>
                      <a:pt x="578" y="153"/>
                      <a:pt x="583" y="146"/>
                    </a:cubicBezTo>
                    <a:cubicBezTo>
                      <a:pt x="588" y="139"/>
                      <a:pt x="595" y="136"/>
                      <a:pt x="595" y="131"/>
                    </a:cubicBezTo>
                    <a:cubicBezTo>
                      <a:pt x="595" y="126"/>
                      <a:pt x="597" y="121"/>
                      <a:pt x="584" y="12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7" name="Freeform 291">
                <a:extLst>
                  <a:ext uri="{FF2B5EF4-FFF2-40B4-BE49-F238E27FC236}">
                    <a16:creationId xmlns:a16="http://schemas.microsoft.com/office/drawing/2014/main" id="{7564E082-84DD-0243-B9A6-8B3B0C16B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1" y="2619"/>
                <a:ext cx="15" cy="15"/>
              </a:xfrm>
              <a:custGeom>
                <a:avLst/>
                <a:gdLst>
                  <a:gd name="T0" fmla="*/ 9 w 57"/>
                  <a:gd name="T1" fmla="*/ 49 h 62"/>
                  <a:gd name="T2" fmla="*/ 45 w 57"/>
                  <a:gd name="T3" fmla="*/ 53 h 62"/>
                  <a:gd name="T4" fmla="*/ 57 w 57"/>
                  <a:gd name="T5" fmla="*/ 35 h 62"/>
                  <a:gd name="T6" fmla="*/ 43 w 57"/>
                  <a:gd name="T7" fmla="*/ 13 h 62"/>
                  <a:gd name="T8" fmla="*/ 16 w 57"/>
                  <a:gd name="T9" fmla="*/ 12 h 62"/>
                  <a:gd name="T10" fmla="*/ 9 w 57"/>
                  <a:gd name="T11" fmla="*/ 27 h 62"/>
                  <a:gd name="T12" fmla="*/ 9 w 57"/>
                  <a:gd name="T13" fmla="*/ 4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62">
                    <a:moveTo>
                      <a:pt x="9" y="49"/>
                    </a:moveTo>
                    <a:cubicBezTo>
                      <a:pt x="18" y="56"/>
                      <a:pt x="43" y="62"/>
                      <a:pt x="45" y="53"/>
                    </a:cubicBezTo>
                    <a:cubicBezTo>
                      <a:pt x="47" y="44"/>
                      <a:pt x="57" y="50"/>
                      <a:pt x="57" y="35"/>
                    </a:cubicBezTo>
                    <a:cubicBezTo>
                      <a:pt x="57" y="20"/>
                      <a:pt x="56" y="17"/>
                      <a:pt x="43" y="13"/>
                    </a:cubicBezTo>
                    <a:cubicBezTo>
                      <a:pt x="30" y="9"/>
                      <a:pt x="25" y="0"/>
                      <a:pt x="16" y="12"/>
                    </a:cubicBezTo>
                    <a:cubicBezTo>
                      <a:pt x="16" y="12"/>
                      <a:pt x="8" y="21"/>
                      <a:pt x="9" y="27"/>
                    </a:cubicBezTo>
                    <a:cubicBezTo>
                      <a:pt x="10" y="33"/>
                      <a:pt x="0" y="42"/>
                      <a:pt x="9" y="4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8" name="Freeform 292">
                <a:extLst>
                  <a:ext uri="{FF2B5EF4-FFF2-40B4-BE49-F238E27FC236}">
                    <a16:creationId xmlns:a16="http://schemas.microsoft.com/office/drawing/2014/main" id="{0582E4BB-629C-AE49-AA97-03847B2FB8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" y="2510"/>
                <a:ext cx="165" cy="138"/>
              </a:xfrm>
              <a:custGeom>
                <a:avLst/>
                <a:gdLst>
                  <a:gd name="T0" fmla="*/ 556 w 654"/>
                  <a:gd name="T1" fmla="*/ 320 h 547"/>
                  <a:gd name="T2" fmla="*/ 578 w 654"/>
                  <a:gd name="T3" fmla="*/ 234 h 547"/>
                  <a:gd name="T4" fmla="*/ 623 w 654"/>
                  <a:gd name="T5" fmla="*/ 230 h 547"/>
                  <a:gd name="T6" fmla="*/ 635 w 654"/>
                  <a:gd name="T7" fmla="*/ 204 h 547"/>
                  <a:gd name="T8" fmla="*/ 579 w 654"/>
                  <a:gd name="T9" fmla="*/ 154 h 547"/>
                  <a:gd name="T10" fmla="*/ 562 w 654"/>
                  <a:gd name="T11" fmla="*/ 94 h 547"/>
                  <a:gd name="T12" fmla="*/ 549 w 654"/>
                  <a:gd name="T13" fmla="*/ 53 h 547"/>
                  <a:gd name="T14" fmla="*/ 579 w 654"/>
                  <a:gd name="T15" fmla="*/ 51 h 547"/>
                  <a:gd name="T16" fmla="*/ 562 w 654"/>
                  <a:gd name="T17" fmla="*/ 21 h 547"/>
                  <a:gd name="T18" fmla="*/ 488 w 654"/>
                  <a:gd name="T19" fmla="*/ 4 h 547"/>
                  <a:gd name="T20" fmla="*/ 438 w 654"/>
                  <a:gd name="T21" fmla="*/ 25 h 547"/>
                  <a:gd name="T22" fmla="*/ 412 w 654"/>
                  <a:gd name="T23" fmla="*/ 91 h 547"/>
                  <a:gd name="T24" fmla="*/ 394 w 654"/>
                  <a:gd name="T25" fmla="*/ 131 h 547"/>
                  <a:gd name="T26" fmla="*/ 371 w 654"/>
                  <a:gd name="T27" fmla="*/ 179 h 547"/>
                  <a:gd name="T28" fmla="*/ 306 w 654"/>
                  <a:gd name="T29" fmla="*/ 202 h 547"/>
                  <a:gd name="T30" fmla="*/ 244 w 654"/>
                  <a:gd name="T31" fmla="*/ 183 h 547"/>
                  <a:gd name="T32" fmla="*/ 202 w 654"/>
                  <a:gd name="T33" fmla="*/ 210 h 547"/>
                  <a:gd name="T34" fmla="*/ 146 w 654"/>
                  <a:gd name="T35" fmla="*/ 216 h 547"/>
                  <a:gd name="T36" fmla="*/ 114 w 654"/>
                  <a:gd name="T37" fmla="*/ 227 h 547"/>
                  <a:gd name="T38" fmla="*/ 70 w 654"/>
                  <a:gd name="T39" fmla="*/ 195 h 547"/>
                  <a:gd name="T40" fmla="*/ 46 w 654"/>
                  <a:gd name="T41" fmla="*/ 145 h 547"/>
                  <a:gd name="T42" fmla="*/ 24 w 654"/>
                  <a:gd name="T43" fmla="*/ 177 h 547"/>
                  <a:gd name="T44" fmla="*/ 3 w 654"/>
                  <a:gd name="T45" fmla="*/ 234 h 547"/>
                  <a:gd name="T46" fmla="*/ 20 w 654"/>
                  <a:gd name="T47" fmla="*/ 278 h 547"/>
                  <a:gd name="T48" fmla="*/ 42 w 654"/>
                  <a:gd name="T49" fmla="*/ 342 h 547"/>
                  <a:gd name="T50" fmla="*/ 77 w 654"/>
                  <a:gd name="T51" fmla="*/ 358 h 547"/>
                  <a:gd name="T52" fmla="*/ 79 w 654"/>
                  <a:gd name="T53" fmla="*/ 417 h 547"/>
                  <a:gd name="T54" fmla="*/ 97 w 654"/>
                  <a:gd name="T55" fmla="*/ 469 h 547"/>
                  <a:gd name="T56" fmla="*/ 150 w 654"/>
                  <a:gd name="T57" fmla="*/ 473 h 547"/>
                  <a:gd name="T58" fmla="*/ 191 w 654"/>
                  <a:gd name="T59" fmla="*/ 469 h 547"/>
                  <a:gd name="T60" fmla="*/ 203 w 654"/>
                  <a:gd name="T61" fmla="*/ 509 h 547"/>
                  <a:gd name="T62" fmla="*/ 230 w 654"/>
                  <a:gd name="T63" fmla="*/ 492 h 547"/>
                  <a:gd name="T64" fmla="*/ 263 w 654"/>
                  <a:gd name="T65" fmla="*/ 488 h 547"/>
                  <a:gd name="T66" fmla="*/ 303 w 654"/>
                  <a:gd name="T67" fmla="*/ 490 h 547"/>
                  <a:gd name="T68" fmla="*/ 333 w 654"/>
                  <a:gd name="T69" fmla="*/ 495 h 547"/>
                  <a:gd name="T70" fmla="*/ 359 w 654"/>
                  <a:gd name="T71" fmla="*/ 505 h 547"/>
                  <a:gd name="T72" fmla="*/ 377 w 654"/>
                  <a:gd name="T73" fmla="*/ 541 h 547"/>
                  <a:gd name="T74" fmla="*/ 417 w 654"/>
                  <a:gd name="T75" fmla="*/ 531 h 547"/>
                  <a:gd name="T76" fmla="*/ 457 w 654"/>
                  <a:gd name="T77" fmla="*/ 519 h 547"/>
                  <a:gd name="T78" fmla="*/ 475 w 654"/>
                  <a:gd name="T79" fmla="*/ 533 h 547"/>
                  <a:gd name="T80" fmla="*/ 486 w 654"/>
                  <a:gd name="T81" fmla="*/ 495 h 547"/>
                  <a:gd name="T82" fmla="*/ 478 w 654"/>
                  <a:gd name="T83" fmla="*/ 467 h 547"/>
                  <a:gd name="T84" fmla="*/ 496 w 654"/>
                  <a:gd name="T85" fmla="*/ 433 h 547"/>
                  <a:gd name="T86" fmla="*/ 480 w 654"/>
                  <a:gd name="T87" fmla="*/ 386 h 547"/>
                  <a:gd name="T88" fmla="*/ 532 w 654"/>
                  <a:gd name="T89" fmla="*/ 347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4" h="547">
                    <a:moveTo>
                      <a:pt x="532" y="347"/>
                    </a:moveTo>
                    <a:cubicBezTo>
                      <a:pt x="537" y="336"/>
                      <a:pt x="556" y="331"/>
                      <a:pt x="556" y="320"/>
                    </a:cubicBezTo>
                    <a:cubicBezTo>
                      <a:pt x="556" y="309"/>
                      <a:pt x="546" y="271"/>
                      <a:pt x="555" y="259"/>
                    </a:cubicBezTo>
                    <a:cubicBezTo>
                      <a:pt x="564" y="247"/>
                      <a:pt x="571" y="243"/>
                      <a:pt x="578" y="234"/>
                    </a:cubicBezTo>
                    <a:cubicBezTo>
                      <a:pt x="585" y="225"/>
                      <a:pt x="577" y="215"/>
                      <a:pt x="591" y="224"/>
                    </a:cubicBezTo>
                    <a:cubicBezTo>
                      <a:pt x="605" y="233"/>
                      <a:pt x="608" y="230"/>
                      <a:pt x="623" y="230"/>
                    </a:cubicBezTo>
                    <a:cubicBezTo>
                      <a:pt x="638" y="230"/>
                      <a:pt x="642" y="228"/>
                      <a:pt x="648" y="221"/>
                    </a:cubicBezTo>
                    <a:cubicBezTo>
                      <a:pt x="654" y="214"/>
                      <a:pt x="649" y="210"/>
                      <a:pt x="635" y="204"/>
                    </a:cubicBezTo>
                    <a:cubicBezTo>
                      <a:pt x="621" y="198"/>
                      <a:pt x="603" y="193"/>
                      <a:pt x="595" y="178"/>
                    </a:cubicBezTo>
                    <a:cubicBezTo>
                      <a:pt x="587" y="163"/>
                      <a:pt x="576" y="167"/>
                      <a:pt x="579" y="154"/>
                    </a:cubicBezTo>
                    <a:cubicBezTo>
                      <a:pt x="582" y="141"/>
                      <a:pt x="594" y="137"/>
                      <a:pt x="586" y="125"/>
                    </a:cubicBezTo>
                    <a:cubicBezTo>
                      <a:pt x="578" y="113"/>
                      <a:pt x="568" y="103"/>
                      <a:pt x="562" y="94"/>
                    </a:cubicBezTo>
                    <a:cubicBezTo>
                      <a:pt x="556" y="85"/>
                      <a:pt x="544" y="78"/>
                      <a:pt x="542" y="68"/>
                    </a:cubicBezTo>
                    <a:cubicBezTo>
                      <a:pt x="540" y="58"/>
                      <a:pt x="539" y="53"/>
                      <a:pt x="549" y="53"/>
                    </a:cubicBezTo>
                    <a:cubicBezTo>
                      <a:pt x="559" y="53"/>
                      <a:pt x="563" y="48"/>
                      <a:pt x="568" y="54"/>
                    </a:cubicBezTo>
                    <a:cubicBezTo>
                      <a:pt x="573" y="60"/>
                      <a:pt x="583" y="57"/>
                      <a:pt x="579" y="51"/>
                    </a:cubicBezTo>
                    <a:cubicBezTo>
                      <a:pt x="575" y="45"/>
                      <a:pt x="567" y="38"/>
                      <a:pt x="562" y="32"/>
                    </a:cubicBezTo>
                    <a:cubicBezTo>
                      <a:pt x="559" y="28"/>
                      <a:pt x="559" y="24"/>
                      <a:pt x="562" y="21"/>
                    </a:cubicBezTo>
                    <a:cubicBezTo>
                      <a:pt x="555" y="16"/>
                      <a:pt x="546" y="7"/>
                      <a:pt x="536" y="4"/>
                    </a:cubicBezTo>
                    <a:cubicBezTo>
                      <a:pt x="522" y="0"/>
                      <a:pt x="503" y="6"/>
                      <a:pt x="488" y="4"/>
                    </a:cubicBezTo>
                    <a:cubicBezTo>
                      <a:pt x="473" y="2"/>
                      <a:pt x="458" y="2"/>
                      <a:pt x="450" y="2"/>
                    </a:cubicBezTo>
                    <a:cubicBezTo>
                      <a:pt x="442" y="2"/>
                      <a:pt x="446" y="14"/>
                      <a:pt x="438" y="25"/>
                    </a:cubicBezTo>
                    <a:cubicBezTo>
                      <a:pt x="430" y="36"/>
                      <a:pt x="430" y="45"/>
                      <a:pt x="429" y="64"/>
                    </a:cubicBezTo>
                    <a:cubicBezTo>
                      <a:pt x="429" y="82"/>
                      <a:pt x="421" y="87"/>
                      <a:pt x="412" y="91"/>
                    </a:cubicBezTo>
                    <a:cubicBezTo>
                      <a:pt x="402" y="94"/>
                      <a:pt x="405" y="102"/>
                      <a:pt x="404" y="111"/>
                    </a:cubicBezTo>
                    <a:cubicBezTo>
                      <a:pt x="403" y="120"/>
                      <a:pt x="406" y="126"/>
                      <a:pt x="394" y="131"/>
                    </a:cubicBezTo>
                    <a:cubicBezTo>
                      <a:pt x="383" y="136"/>
                      <a:pt x="386" y="154"/>
                      <a:pt x="381" y="160"/>
                    </a:cubicBezTo>
                    <a:cubicBezTo>
                      <a:pt x="377" y="167"/>
                      <a:pt x="372" y="170"/>
                      <a:pt x="371" y="179"/>
                    </a:cubicBezTo>
                    <a:cubicBezTo>
                      <a:pt x="371" y="187"/>
                      <a:pt x="346" y="187"/>
                      <a:pt x="333" y="186"/>
                    </a:cubicBezTo>
                    <a:cubicBezTo>
                      <a:pt x="320" y="185"/>
                      <a:pt x="316" y="204"/>
                      <a:pt x="306" y="202"/>
                    </a:cubicBezTo>
                    <a:cubicBezTo>
                      <a:pt x="295" y="200"/>
                      <a:pt x="281" y="195"/>
                      <a:pt x="277" y="188"/>
                    </a:cubicBezTo>
                    <a:cubicBezTo>
                      <a:pt x="274" y="182"/>
                      <a:pt x="257" y="182"/>
                      <a:pt x="244" y="183"/>
                    </a:cubicBezTo>
                    <a:cubicBezTo>
                      <a:pt x="231" y="184"/>
                      <a:pt x="225" y="184"/>
                      <a:pt x="221" y="191"/>
                    </a:cubicBezTo>
                    <a:cubicBezTo>
                      <a:pt x="216" y="197"/>
                      <a:pt x="210" y="199"/>
                      <a:pt x="202" y="210"/>
                    </a:cubicBezTo>
                    <a:cubicBezTo>
                      <a:pt x="195" y="222"/>
                      <a:pt x="176" y="221"/>
                      <a:pt x="167" y="217"/>
                    </a:cubicBezTo>
                    <a:cubicBezTo>
                      <a:pt x="158" y="212"/>
                      <a:pt x="153" y="216"/>
                      <a:pt x="146" y="216"/>
                    </a:cubicBezTo>
                    <a:cubicBezTo>
                      <a:pt x="139" y="216"/>
                      <a:pt x="127" y="218"/>
                      <a:pt x="126" y="223"/>
                    </a:cubicBezTo>
                    <a:cubicBezTo>
                      <a:pt x="126" y="228"/>
                      <a:pt x="124" y="229"/>
                      <a:pt x="114" y="227"/>
                    </a:cubicBezTo>
                    <a:cubicBezTo>
                      <a:pt x="104" y="226"/>
                      <a:pt x="100" y="221"/>
                      <a:pt x="96" y="213"/>
                    </a:cubicBezTo>
                    <a:cubicBezTo>
                      <a:pt x="92" y="206"/>
                      <a:pt x="75" y="202"/>
                      <a:pt x="70" y="195"/>
                    </a:cubicBezTo>
                    <a:cubicBezTo>
                      <a:pt x="65" y="188"/>
                      <a:pt x="59" y="178"/>
                      <a:pt x="51" y="170"/>
                    </a:cubicBezTo>
                    <a:cubicBezTo>
                      <a:pt x="46" y="165"/>
                      <a:pt x="46" y="153"/>
                      <a:pt x="46" y="145"/>
                    </a:cubicBezTo>
                    <a:cubicBezTo>
                      <a:pt x="43" y="148"/>
                      <a:pt x="41" y="154"/>
                      <a:pt x="36" y="161"/>
                    </a:cubicBezTo>
                    <a:cubicBezTo>
                      <a:pt x="29" y="171"/>
                      <a:pt x="22" y="167"/>
                      <a:pt x="24" y="177"/>
                    </a:cubicBezTo>
                    <a:cubicBezTo>
                      <a:pt x="24" y="177"/>
                      <a:pt x="26" y="200"/>
                      <a:pt x="15" y="206"/>
                    </a:cubicBezTo>
                    <a:cubicBezTo>
                      <a:pt x="4" y="212"/>
                      <a:pt x="0" y="222"/>
                      <a:pt x="3" y="234"/>
                    </a:cubicBezTo>
                    <a:cubicBezTo>
                      <a:pt x="6" y="246"/>
                      <a:pt x="2" y="260"/>
                      <a:pt x="9" y="264"/>
                    </a:cubicBezTo>
                    <a:cubicBezTo>
                      <a:pt x="16" y="268"/>
                      <a:pt x="20" y="264"/>
                      <a:pt x="20" y="278"/>
                    </a:cubicBezTo>
                    <a:cubicBezTo>
                      <a:pt x="20" y="292"/>
                      <a:pt x="21" y="313"/>
                      <a:pt x="27" y="318"/>
                    </a:cubicBezTo>
                    <a:cubicBezTo>
                      <a:pt x="33" y="323"/>
                      <a:pt x="41" y="332"/>
                      <a:pt x="42" y="342"/>
                    </a:cubicBezTo>
                    <a:cubicBezTo>
                      <a:pt x="43" y="352"/>
                      <a:pt x="54" y="364"/>
                      <a:pt x="56" y="358"/>
                    </a:cubicBezTo>
                    <a:cubicBezTo>
                      <a:pt x="58" y="352"/>
                      <a:pt x="77" y="342"/>
                      <a:pt x="77" y="358"/>
                    </a:cubicBezTo>
                    <a:cubicBezTo>
                      <a:pt x="77" y="374"/>
                      <a:pt x="80" y="378"/>
                      <a:pt x="80" y="393"/>
                    </a:cubicBezTo>
                    <a:cubicBezTo>
                      <a:pt x="80" y="408"/>
                      <a:pt x="76" y="410"/>
                      <a:pt x="79" y="417"/>
                    </a:cubicBezTo>
                    <a:cubicBezTo>
                      <a:pt x="82" y="424"/>
                      <a:pt x="93" y="425"/>
                      <a:pt x="90" y="440"/>
                    </a:cubicBezTo>
                    <a:cubicBezTo>
                      <a:pt x="87" y="455"/>
                      <a:pt x="87" y="469"/>
                      <a:pt x="97" y="469"/>
                    </a:cubicBezTo>
                    <a:cubicBezTo>
                      <a:pt x="107" y="469"/>
                      <a:pt x="125" y="463"/>
                      <a:pt x="131" y="469"/>
                    </a:cubicBezTo>
                    <a:cubicBezTo>
                      <a:pt x="137" y="475"/>
                      <a:pt x="146" y="483"/>
                      <a:pt x="150" y="473"/>
                    </a:cubicBezTo>
                    <a:cubicBezTo>
                      <a:pt x="154" y="463"/>
                      <a:pt x="160" y="464"/>
                      <a:pt x="168" y="464"/>
                    </a:cubicBezTo>
                    <a:cubicBezTo>
                      <a:pt x="176" y="464"/>
                      <a:pt x="189" y="459"/>
                      <a:pt x="191" y="469"/>
                    </a:cubicBezTo>
                    <a:cubicBezTo>
                      <a:pt x="193" y="479"/>
                      <a:pt x="197" y="480"/>
                      <a:pt x="196" y="491"/>
                    </a:cubicBezTo>
                    <a:cubicBezTo>
                      <a:pt x="195" y="502"/>
                      <a:pt x="198" y="518"/>
                      <a:pt x="203" y="509"/>
                    </a:cubicBezTo>
                    <a:cubicBezTo>
                      <a:pt x="208" y="500"/>
                      <a:pt x="215" y="503"/>
                      <a:pt x="216" y="497"/>
                    </a:cubicBezTo>
                    <a:cubicBezTo>
                      <a:pt x="217" y="491"/>
                      <a:pt x="224" y="482"/>
                      <a:pt x="230" y="492"/>
                    </a:cubicBezTo>
                    <a:cubicBezTo>
                      <a:pt x="236" y="502"/>
                      <a:pt x="246" y="501"/>
                      <a:pt x="248" y="495"/>
                    </a:cubicBezTo>
                    <a:cubicBezTo>
                      <a:pt x="250" y="489"/>
                      <a:pt x="262" y="496"/>
                      <a:pt x="263" y="488"/>
                    </a:cubicBezTo>
                    <a:cubicBezTo>
                      <a:pt x="264" y="480"/>
                      <a:pt x="265" y="476"/>
                      <a:pt x="280" y="478"/>
                    </a:cubicBezTo>
                    <a:cubicBezTo>
                      <a:pt x="295" y="480"/>
                      <a:pt x="302" y="482"/>
                      <a:pt x="303" y="490"/>
                    </a:cubicBezTo>
                    <a:cubicBezTo>
                      <a:pt x="304" y="498"/>
                      <a:pt x="302" y="501"/>
                      <a:pt x="316" y="501"/>
                    </a:cubicBezTo>
                    <a:cubicBezTo>
                      <a:pt x="330" y="501"/>
                      <a:pt x="333" y="503"/>
                      <a:pt x="333" y="495"/>
                    </a:cubicBezTo>
                    <a:cubicBezTo>
                      <a:pt x="333" y="487"/>
                      <a:pt x="332" y="491"/>
                      <a:pt x="346" y="491"/>
                    </a:cubicBezTo>
                    <a:cubicBezTo>
                      <a:pt x="360" y="491"/>
                      <a:pt x="356" y="495"/>
                      <a:pt x="359" y="505"/>
                    </a:cubicBezTo>
                    <a:cubicBezTo>
                      <a:pt x="362" y="515"/>
                      <a:pt x="367" y="509"/>
                      <a:pt x="366" y="523"/>
                    </a:cubicBezTo>
                    <a:cubicBezTo>
                      <a:pt x="365" y="537"/>
                      <a:pt x="368" y="541"/>
                      <a:pt x="377" y="541"/>
                    </a:cubicBezTo>
                    <a:cubicBezTo>
                      <a:pt x="386" y="541"/>
                      <a:pt x="395" y="547"/>
                      <a:pt x="395" y="537"/>
                    </a:cubicBezTo>
                    <a:cubicBezTo>
                      <a:pt x="395" y="527"/>
                      <a:pt x="417" y="536"/>
                      <a:pt x="417" y="531"/>
                    </a:cubicBezTo>
                    <a:cubicBezTo>
                      <a:pt x="417" y="526"/>
                      <a:pt x="430" y="530"/>
                      <a:pt x="434" y="521"/>
                    </a:cubicBezTo>
                    <a:cubicBezTo>
                      <a:pt x="438" y="512"/>
                      <a:pt x="454" y="517"/>
                      <a:pt x="457" y="519"/>
                    </a:cubicBezTo>
                    <a:cubicBezTo>
                      <a:pt x="460" y="521"/>
                      <a:pt x="460" y="528"/>
                      <a:pt x="462" y="534"/>
                    </a:cubicBezTo>
                    <a:cubicBezTo>
                      <a:pt x="464" y="540"/>
                      <a:pt x="474" y="542"/>
                      <a:pt x="475" y="533"/>
                    </a:cubicBezTo>
                    <a:cubicBezTo>
                      <a:pt x="476" y="524"/>
                      <a:pt x="481" y="519"/>
                      <a:pt x="484" y="514"/>
                    </a:cubicBezTo>
                    <a:cubicBezTo>
                      <a:pt x="487" y="509"/>
                      <a:pt x="493" y="499"/>
                      <a:pt x="486" y="495"/>
                    </a:cubicBezTo>
                    <a:cubicBezTo>
                      <a:pt x="479" y="491"/>
                      <a:pt x="465" y="487"/>
                      <a:pt x="465" y="481"/>
                    </a:cubicBezTo>
                    <a:cubicBezTo>
                      <a:pt x="465" y="475"/>
                      <a:pt x="463" y="467"/>
                      <a:pt x="478" y="467"/>
                    </a:cubicBezTo>
                    <a:cubicBezTo>
                      <a:pt x="493" y="467"/>
                      <a:pt x="486" y="458"/>
                      <a:pt x="486" y="451"/>
                    </a:cubicBezTo>
                    <a:cubicBezTo>
                      <a:pt x="486" y="444"/>
                      <a:pt x="496" y="445"/>
                      <a:pt x="496" y="433"/>
                    </a:cubicBezTo>
                    <a:cubicBezTo>
                      <a:pt x="496" y="421"/>
                      <a:pt x="484" y="415"/>
                      <a:pt x="485" y="407"/>
                    </a:cubicBezTo>
                    <a:cubicBezTo>
                      <a:pt x="486" y="399"/>
                      <a:pt x="469" y="395"/>
                      <a:pt x="480" y="386"/>
                    </a:cubicBezTo>
                    <a:cubicBezTo>
                      <a:pt x="491" y="377"/>
                      <a:pt x="504" y="375"/>
                      <a:pt x="510" y="364"/>
                    </a:cubicBezTo>
                    <a:cubicBezTo>
                      <a:pt x="516" y="353"/>
                      <a:pt x="527" y="358"/>
                      <a:pt x="532" y="34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39" name="Freeform 293">
                <a:extLst>
                  <a:ext uri="{FF2B5EF4-FFF2-40B4-BE49-F238E27FC236}">
                    <a16:creationId xmlns:a16="http://schemas.microsoft.com/office/drawing/2014/main" id="{449F8EE2-8640-8449-AEC2-E58F0D58F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1" y="2552"/>
                <a:ext cx="106" cy="122"/>
              </a:xfrm>
              <a:custGeom>
                <a:avLst/>
                <a:gdLst>
                  <a:gd name="T0" fmla="*/ 278 w 421"/>
                  <a:gd name="T1" fmla="*/ 456 h 483"/>
                  <a:gd name="T2" fmla="*/ 282 w 421"/>
                  <a:gd name="T3" fmla="*/ 432 h 483"/>
                  <a:gd name="T4" fmla="*/ 288 w 421"/>
                  <a:gd name="T5" fmla="*/ 403 h 483"/>
                  <a:gd name="T6" fmla="*/ 262 w 421"/>
                  <a:gd name="T7" fmla="*/ 398 h 483"/>
                  <a:gd name="T8" fmla="*/ 278 w 421"/>
                  <a:gd name="T9" fmla="*/ 378 h 483"/>
                  <a:gd name="T10" fmla="*/ 294 w 421"/>
                  <a:gd name="T11" fmla="*/ 368 h 483"/>
                  <a:gd name="T12" fmla="*/ 260 w 421"/>
                  <a:gd name="T13" fmla="*/ 366 h 483"/>
                  <a:gd name="T14" fmla="*/ 233 w 421"/>
                  <a:gd name="T15" fmla="*/ 337 h 483"/>
                  <a:gd name="T16" fmla="*/ 224 w 421"/>
                  <a:gd name="T17" fmla="*/ 293 h 483"/>
                  <a:gd name="T18" fmla="*/ 192 w 421"/>
                  <a:gd name="T19" fmla="*/ 230 h 483"/>
                  <a:gd name="T20" fmla="*/ 262 w 421"/>
                  <a:gd name="T21" fmla="*/ 179 h 483"/>
                  <a:gd name="T22" fmla="*/ 266 w 421"/>
                  <a:gd name="T23" fmla="*/ 197 h 483"/>
                  <a:gd name="T24" fmla="*/ 282 w 421"/>
                  <a:gd name="T25" fmla="*/ 212 h 483"/>
                  <a:gd name="T26" fmla="*/ 303 w 421"/>
                  <a:gd name="T27" fmla="*/ 213 h 483"/>
                  <a:gd name="T28" fmla="*/ 307 w 421"/>
                  <a:gd name="T29" fmla="*/ 188 h 483"/>
                  <a:gd name="T30" fmla="*/ 306 w 421"/>
                  <a:gd name="T31" fmla="*/ 168 h 483"/>
                  <a:gd name="T32" fmla="*/ 268 w 421"/>
                  <a:gd name="T33" fmla="*/ 152 h 483"/>
                  <a:gd name="T34" fmla="*/ 216 w 421"/>
                  <a:gd name="T35" fmla="*/ 167 h 483"/>
                  <a:gd name="T36" fmla="*/ 184 w 421"/>
                  <a:gd name="T37" fmla="*/ 162 h 483"/>
                  <a:gd name="T38" fmla="*/ 159 w 421"/>
                  <a:gd name="T39" fmla="*/ 191 h 483"/>
                  <a:gd name="T40" fmla="*/ 123 w 421"/>
                  <a:gd name="T41" fmla="*/ 187 h 483"/>
                  <a:gd name="T42" fmla="*/ 91 w 421"/>
                  <a:gd name="T43" fmla="*/ 148 h 483"/>
                  <a:gd name="T44" fmla="*/ 119 w 421"/>
                  <a:gd name="T45" fmla="*/ 78 h 483"/>
                  <a:gd name="T46" fmla="*/ 158 w 421"/>
                  <a:gd name="T47" fmla="*/ 85 h 483"/>
                  <a:gd name="T48" fmla="*/ 196 w 421"/>
                  <a:gd name="T49" fmla="*/ 81 h 483"/>
                  <a:gd name="T50" fmla="*/ 252 w 421"/>
                  <a:gd name="T51" fmla="*/ 84 h 483"/>
                  <a:gd name="T52" fmla="*/ 316 w 421"/>
                  <a:gd name="T53" fmla="*/ 96 h 483"/>
                  <a:gd name="T54" fmla="*/ 372 w 421"/>
                  <a:gd name="T55" fmla="*/ 83 h 483"/>
                  <a:gd name="T56" fmla="*/ 417 w 421"/>
                  <a:gd name="T57" fmla="*/ 26 h 483"/>
                  <a:gd name="T58" fmla="*/ 378 w 421"/>
                  <a:gd name="T59" fmla="*/ 19 h 483"/>
                  <a:gd name="T60" fmla="*/ 310 w 421"/>
                  <a:gd name="T61" fmla="*/ 51 h 483"/>
                  <a:gd name="T62" fmla="*/ 265 w 421"/>
                  <a:gd name="T63" fmla="*/ 55 h 483"/>
                  <a:gd name="T64" fmla="*/ 220 w 421"/>
                  <a:gd name="T65" fmla="*/ 39 h 483"/>
                  <a:gd name="T66" fmla="*/ 166 w 421"/>
                  <a:gd name="T67" fmla="*/ 32 h 483"/>
                  <a:gd name="T68" fmla="*/ 128 w 421"/>
                  <a:gd name="T69" fmla="*/ 48 h 483"/>
                  <a:gd name="T70" fmla="*/ 79 w 421"/>
                  <a:gd name="T71" fmla="*/ 86 h 483"/>
                  <a:gd name="T72" fmla="*/ 67 w 421"/>
                  <a:gd name="T73" fmla="*/ 133 h 483"/>
                  <a:gd name="T74" fmla="*/ 41 w 421"/>
                  <a:gd name="T75" fmla="*/ 200 h 483"/>
                  <a:gd name="T76" fmla="*/ 30 w 421"/>
                  <a:gd name="T77" fmla="*/ 255 h 483"/>
                  <a:gd name="T78" fmla="*/ 8 w 421"/>
                  <a:gd name="T79" fmla="*/ 295 h 483"/>
                  <a:gd name="T80" fmla="*/ 16 w 421"/>
                  <a:gd name="T81" fmla="*/ 338 h 483"/>
                  <a:gd name="T82" fmla="*/ 54 w 421"/>
                  <a:gd name="T83" fmla="*/ 346 h 483"/>
                  <a:gd name="T84" fmla="*/ 63 w 421"/>
                  <a:gd name="T85" fmla="*/ 398 h 483"/>
                  <a:gd name="T86" fmla="*/ 44 w 421"/>
                  <a:gd name="T87" fmla="*/ 454 h 483"/>
                  <a:gd name="T88" fmla="*/ 92 w 421"/>
                  <a:gd name="T89" fmla="*/ 474 h 483"/>
                  <a:gd name="T90" fmla="*/ 112 w 421"/>
                  <a:gd name="T91" fmla="*/ 450 h 483"/>
                  <a:gd name="T92" fmla="*/ 117 w 421"/>
                  <a:gd name="T93" fmla="*/ 410 h 483"/>
                  <a:gd name="T94" fmla="*/ 105 w 421"/>
                  <a:gd name="T95" fmla="*/ 374 h 483"/>
                  <a:gd name="T96" fmla="*/ 117 w 421"/>
                  <a:gd name="T97" fmla="*/ 340 h 483"/>
                  <a:gd name="T98" fmla="*/ 105 w 421"/>
                  <a:gd name="T99" fmla="*/ 305 h 483"/>
                  <a:gd name="T100" fmla="*/ 132 w 421"/>
                  <a:gd name="T101" fmla="*/ 281 h 483"/>
                  <a:gd name="T102" fmla="*/ 147 w 421"/>
                  <a:gd name="T103" fmla="*/ 320 h 483"/>
                  <a:gd name="T104" fmla="*/ 177 w 421"/>
                  <a:gd name="T105" fmla="*/ 371 h 483"/>
                  <a:gd name="T106" fmla="*/ 197 w 421"/>
                  <a:gd name="T107" fmla="*/ 421 h 483"/>
                  <a:gd name="T108" fmla="*/ 233 w 421"/>
                  <a:gd name="T109" fmla="*/ 396 h 483"/>
                  <a:gd name="T110" fmla="*/ 249 w 421"/>
                  <a:gd name="T111" fmla="*/ 473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21" h="483">
                    <a:moveTo>
                      <a:pt x="268" y="467"/>
                    </a:moveTo>
                    <a:cubicBezTo>
                      <a:pt x="276" y="464"/>
                      <a:pt x="277" y="464"/>
                      <a:pt x="278" y="456"/>
                    </a:cubicBezTo>
                    <a:cubicBezTo>
                      <a:pt x="279" y="448"/>
                      <a:pt x="294" y="450"/>
                      <a:pt x="288" y="447"/>
                    </a:cubicBezTo>
                    <a:cubicBezTo>
                      <a:pt x="282" y="444"/>
                      <a:pt x="282" y="442"/>
                      <a:pt x="282" y="432"/>
                    </a:cubicBezTo>
                    <a:cubicBezTo>
                      <a:pt x="282" y="422"/>
                      <a:pt x="277" y="418"/>
                      <a:pt x="285" y="415"/>
                    </a:cubicBezTo>
                    <a:cubicBezTo>
                      <a:pt x="293" y="412"/>
                      <a:pt x="288" y="407"/>
                      <a:pt x="288" y="403"/>
                    </a:cubicBezTo>
                    <a:cubicBezTo>
                      <a:pt x="288" y="399"/>
                      <a:pt x="280" y="392"/>
                      <a:pt x="276" y="399"/>
                    </a:cubicBezTo>
                    <a:cubicBezTo>
                      <a:pt x="272" y="406"/>
                      <a:pt x="262" y="401"/>
                      <a:pt x="262" y="398"/>
                    </a:cubicBezTo>
                    <a:cubicBezTo>
                      <a:pt x="262" y="395"/>
                      <a:pt x="259" y="385"/>
                      <a:pt x="264" y="383"/>
                    </a:cubicBezTo>
                    <a:cubicBezTo>
                      <a:pt x="269" y="381"/>
                      <a:pt x="275" y="371"/>
                      <a:pt x="278" y="378"/>
                    </a:cubicBezTo>
                    <a:cubicBezTo>
                      <a:pt x="281" y="385"/>
                      <a:pt x="291" y="391"/>
                      <a:pt x="290" y="383"/>
                    </a:cubicBezTo>
                    <a:cubicBezTo>
                      <a:pt x="289" y="375"/>
                      <a:pt x="305" y="374"/>
                      <a:pt x="294" y="368"/>
                    </a:cubicBezTo>
                    <a:cubicBezTo>
                      <a:pt x="283" y="362"/>
                      <a:pt x="277" y="362"/>
                      <a:pt x="277" y="366"/>
                    </a:cubicBezTo>
                    <a:cubicBezTo>
                      <a:pt x="277" y="370"/>
                      <a:pt x="273" y="374"/>
                      <a:pt x="260" y="366"/>
                    </a:cubicBezTo>
                    <a:cubicBezTo>
                      <a:pt x="247" y="358"/>
                      <a:pt x="237" y="363"/>
                      <a:pt x="234" y="353"/>
                    </a:cubicBezTo>
                    <a:cubicBezTo>
                      <a:pt x="231" y="343"/>
                      <a:pt x="224" y="346"/>
                      <a:pt x="233" y="337"/>
                    </a:cubicBezTo>
                    <a:cubicBezTo>
                      <a:pt x="242" y="328"/>
                      <a:pt x="243" y="326"/>
                      <a:pt x="238" y="317"/>
                    </a:cubicBezTo>
                    <a:cubicBezTo>
                      <a:pt x="233" y="308"/>
                      <a:pt x="235" y="303"/>
                      <a:pt x="224" y="293"/>
                    </a:cubicBezTo>
                    <a:cubicBezTo>
                      <a:pt x="213" y="283"/>
                      <a:pt x="198" y="267"/>
                      <a:pt x="193" y="256"/>
                    </a:cubicBezTo>
                    <a:cubicBezTo>
                      <a:pt x="188" y="245"/>
                      <a:pt x="179" y="234"/>
                      <a:pt x="192" y="230"/>
                    </a:cubicBezTo>
                    <a:cubicBezTo>
                      <a:pt x="205" y="226"/>
                      <a:pt x="233" y="218"/>
                      <a:pt x="239" y="205"/>
                    </a:cubicBezTo>
                    <a:cubicBezTo>
                      <a:pt x="245" y="192"/>
                      <a:pt x="254" y="182"/>
                      <a:pt x="262" y="179"/>
                    </a:cubicBezTo>
                    <a:cubicBezTo>
                      <a:pt x="270" y="176"/>
                      <a:pt x="276" y="177"/>
                      <a:pt x="276" y="184"/>
                    </a:cubicBezTo>
                    <a:cubicBezTo>
                      <a:pt x="276" y="191"/>
                      <a:pt x="266" y="185"/>
                      <a:pt x="266" y="197"/>
                    </a:cubicBezTo>
                    <a:cubicBezTo>
                      <a:pt x="266" y="209"/>
                      <a:pt x="262" y="219"/>
                      <a:pt x="270" y="217"/>
                    </a:cubicBezTo>
                    <a:cubicBezTo>
                      <a:pt x="278" y="215"/>
                      <a:pt x="278" y="205"/>
                      <a:pt x="282" y="212"/>
                    </a:cubicBezTo>
                    <a:cubicBezTo>
                      <a:pt x="286" y="219"/>
                      <a:pt x="288" y="221"/>
                      <a:pt x="292" y="216"/>
                    </a:cubicBezTo>
                    <a:cubicBezTo>
                      <a:pt x="296" y="211"/>
                      <a:pt x="300" y="206"/>
                      <a:pt x="303" y="213"/>
                    </a:cubicBezTo>
                    <a:cubicBezTo>
                      <a:pt x="306" y="220"/>
                      <a:pt x="315" y="224"/>
                      <a:pt x="315" y="213"/>
                    </a:cubicBezTo>
                    <a:cubicBezTo>
                      <a:pt x="315" y="202"/>
                      <a:pt x="314" y="188"/>
                      <a:pt x="307" y="188"/>
                    </a:cubicBezTo>
                    <a:cubicBezTo>
                      <a:pt x="300" y="188"/>
                      <a:pt x="295" y="187"/>
                      <a:pt x="297" y="180"/>
                    </a:cubicBezTo>
                    <a:cubicBezTo>
                      <a:pt x="299" y="173"/>
                      <a:pt x="306" y="181"/>
                      <a:pt x="306" y="168"/>
                    </a:cubicBezTo>
                    <a:cubicBezTo>
                      <a:pt x="306" y="155"/>
                      <a:pt x="307" y="148"/>
                      <a:pt x="293" y="147"/>
                    </a:cubicBezTo>
                    <a:cubicBezTo>
                      <a:pt x="279" y="146"/>
                      <a:pt x="271" y="145"/>
                      <a:pt x="268" y="152"/>
                    </a:cubicBezTo>
                    <a:cubicBezTo>
                      <a:pt x="265" y="159"/>
                      <a:pt x="256" y="158"/>
                      <a:pt x="242" y="158"/>
                    </a:cubicBezTo>
                    <a:cubicBezTo>
                      <a:pt x="228" y="158"/>
                      <a:pt x="220" y="160"/>
                      <a:pt x="216" y="167"/>
                    </a:cubicBezTo>
                    <a:cubicBezTo>
                      <a:pt x="212" y="174"/>
                      <a:pt x="201" y="179"/>
                      <a:pt x="196" y="171"/>
                    </a:cubicBezTo>
                    <a:cubicBezTo>
                      <a:pt x="191" y="163"/>
                      <a:pt x="189" y="159"/>
                      <a:pt x="184" y="162"/>
                    </a:cubicBezTo>
                    <a:cubicBezTo>
                      <a:pt x="179" y="165"/>
                      <a:pt x="176" y="159"/>
                      <a:pt x="172" y="173"/>
                    </a:cubicBezTo>
                    <a:cubicBezTo>
                      <a:pt x="168" y="187"/>
                      <a:pt x="162" y="184"/>
                      <a:pt x="159" y="191"/>
                    </a:cubicBezTo>
                    <a:cubicBezTo>
                      <a:pt x="156" y="198"/>
                      <a:pt x="155" y="198"/>
                      <a:pt x="143" y="198"/>
                    </a:cubicBezTo>
                    <a:cubicBezTo>
                      <a:pt x="131" y="198"/>
                      <a:pt x="124" y="198"/>
                      <a:pt x="123" y="187"/>
                    </a:cubicBezTo>
                    <a:cubicBezTo>
                      <a:pt x="122" y="176"/>
                      <a:pt x="122" y="166"/>
                      <a:pt x="108" y="162"/>
                    </a:cubicBezTo>
                    <a:cubicBezTo>
                      <a:pt x="94" y="158"/>
                      <a:pt x="91" y="160"/>
                      <a:pt x="91" y="148"/>
                    </a:cubicBezTo>
                    <a:cubicBezTo>
                      <a:pt x="91" y="136"/>
                      <a:pt x="84" y="98"/>
                      <a:pt x="100" y="95"/>
                    </a:cubicBezTo>
                    <a:cubicBezTo>
                      <a:pt x="116" y="92"/>
                      <a:pt x="113" y="78"/>
                      <a:pt x="119" y="78"/>
                    </a:cubicBezTo>
                    <a:cubicBezTo>
                      <a:pt x="125" y="78"/>
                      <a:pt x="130" y="79"/>
                      <a:pt x="134" y="86"/>
                    </a:cubicBezTo>
                    <a:cubicBezTo>
                      <a:pt x="138" y="93"/>
                      <a:pt x="146" y="85"/>
                      <a:pt x="158" y="85"/>
                    </a:cubicBezTo>
                    <a:cubicBezTo>
                      <a:pt x="170" y="85"/>
                      <a:pt x="173" y="89"/>
                      <a:pt x="176" y="84"/>
                    </a:cubicBezTo>
                    <a:cubicBezTo>
                      <a:pt x="179" y="79"/>
                      <a:pt x="190" y="75"/>
                      <a:pt x="196" y="81"/>
                    </a:cubicBezTo>
                    <a:cubicBezTo>
                      <a:pt x="202" y="87"/>
                      <a:pt x="208" y="87"/>
                      <a:pt x="219" y="86"/>
                    </a:cubicBezTo>
                    <a:cubicBezTo>
                      <a:pt x="230" y="85"/>
                      <a:pt x="238" y="83"/>
                      <a:pt x="252" y="84"/>
                    </a:cubicBezTo>
                    <a:cubicBezTo>
                      <a:pt x="266" y="85"/>
                      <a:pt x="276" y="82"/>
                      <a:pt x="286" y="89"/>
                    </a:cubicBezTo>
                    <a:cubicBezTo>
                      <a:pt x="296" y="96"/>
                      <a:pt x="300" y="96"/>
                      <a:pt x="316" y="96"/>
                    </a:cubicBezTo>
                    <a:cubicBezTo>
                      <a:pt x="332" y="96"/>
                      <a:pt x="345" y="104"/>
                      <a:pt x="352" y="96"/>
                    </a:cubicBezTo>
                    <a:cubicBezTo>
                      <a:pt x="359" y="88"/>
                      <a:pt x="365" y="99"/>
                      <a:pt x="372" y="83"/>
                    </a:cubicBezTo>
                    <a:cubicBezTo>
                      <a:pt x="379" y="67"/>
                      <a:pt x="384" y="64"/>
                      <a:pt x="397" y="55"/>
                    </a:cubicBezTo>
                    <a:cubicBezTo>
                      <a:pt x="410" y="46"/>
                      <a:pt x="413" y="37"/>
                      <a:pt x="417" y="26"/>
                    </a:cubicBezTo>
                    <a:cubicBezTo>
                      <a:pt x="421" y="15"/>
                      <a:pt x="417" y="15"/>
                      <a:pt x="411" y="8"/>
                    </a:cubicBezTo>
                    <a:cubicBezTo>
                      <a:pt x="405" y="1"/>
                      <a:pt x="394" y="0"/>
                      <a:pt x="378" y="19"/>
                    </a:cubicBezTo>
                    <a:cubicBezTo>
                      <a:pt x="362" y="38"/>
                      <a:pt x="358" y="53"/>
                      <a:pt x="341" y="54"/>
                    </a:cubicBezTo>
                    <a:cubicBezTo>
                      <a:pt x="324" y="55"/>
                      <a:pt x="314" y="57"/>
                      <a:pt x="310" y="51"/>
                    </a:cubicBezTo>
                    <a:cubicBezTo>
                      <a:pt x="306" y="45"/>
                      <a:pt x="288" y="49"/>
                      <a:pt x="280" y="49"/>
                    </a:cubicBezTo>
                    <a:cubicBezTo>
                      <a:pt x="272" y="49"/>
                      <a:pt x="274" y="58"/>
                      <a:pt x="265" y="55"/>
                    </a:cubicBezTo>
                    <a:cubicBezTo>
                      <a:pt x="256" y="52"/>
                      <a:pt x="249" y="47"/>
                      <a:pt x="243" y="47"/>
                    </a:cubicBezTo>
                    <a:cubicBezTo>
                      <a:pt x="237" y="47"/>
                      <a:pt x="238" y="37"/>
                      <a:pt x="220" y="39"/>
                    </a:cubicBezTo>
                    <a:cubicBezTo>
                      <a:pt x="202" y="41"/>
                      <a:pt x="183" y="44"/>
                      <a:pt x="182" y="36"/>
                    </a:cubicBezTo>
                    <a:cubicBezTo>
                      <a:pt x="181" y="28"/>
                      <a:pt x="174" y="33"/>
                      <a:pt x="166" y="32"/>
                    </a:cubicBezTo>
                    <a:cubicBezTo>
                      <a:pt x="158" y="31"/>
                      <a:pt x="156" y="16"/>
                      <a:pt x="146" y="21"/>
                    </a:cubicBezTo>
                    <a:cubicBezTo>
                      <a:pt x="136" y="26"/>
                      <a:pt x="134" y="40"/>
                      <a:pt x="128" y="48"/>
                    </a:cubicBezTo>
                    <a:cubicBezTo>
                      <a:pt x="122" y="56"/>
                      <a:pt x="111" y="57"/>
                      <a:pt x="100" y="58"/>
                    </a:cubicBezTo>
                    <a:cubicBezTo>
                      <a:pt x="89" y="59"/>
                      <a:pt x="85" y="72"/>
                      <a:pt x="79" y="86"/>
                    </a:cubicBezTo>
                    <a:cubicBezTo>
                      <a:pt x="73" y="100"/>
                      <a:pt x="59" y="113"/>
                      <a:pt x="62" y="120"/>
                    </a:cubicBezTo>
                    <a:cubicBezTo>
                      <a:pt x="65" y="127"/>
                      <a:pt x="67" y="121"/>
                      <a:pt x="67" y="133"/>
                    </a:cubicBezTo>
                    <a:cubicBezTo>
                      <a:pt x="67" y="145"/>
                      <a:pt x="69" y="160"/>
                      <a:pt x="57" y="169"/>
                    </a:cubicBezTo>
                    <a:cubicBezTo>
                      <a:pt x="57" y="169"/>
                      <a:pt x="37" y="189"/>
                      <a:pt x="41" y="200"/>
                    </a:cubicBezTo>
                    <a:cubicBezTo>
                      <a:pt x="45" y="211"/>
                      <a:pt x="45" y="220"/>
                      <a:pt x="39" y="229"/>
                    </a:cubicBezTo>
                    <a:cubicBezTo>
                      <a:pt x="33" y="238"/>
                      <a:pt x="30" y="246"/>
                      <a:pt x="30" y="255"/>
                    </a:cubicBezTo>
                    <a:cubicBezTo>
                      <a:pt x="30" y="264"/>
                      <a:pt x="29" y="273"/>
                      <a:pt x="17" y="277"/>
                    </a:cubicBezTo>
                    <a:cubicBezTo>
                      <a:pt x="5" y="281"/>
                      <a:pt x="0" y="290"/>
                      <a:pt x="8" y="295"/>
                    </a:cubicBezTo>
                    <a:cubicBezTo>
                      <a:pt x="16" y="300"/>
                      <a:pt x="17" y="309"/>
                      <a:pt x="11" y="317"/>
                    </a:cubicBezTo>
                    <a:cubicBezTo>
                      <a:pt x="5" y="325"/>
                      <a:pt x="7" y="335"/>
                      <a:pt x="16" y="338"/>
                    </a:cubicBezTo>
                    <a:cubicBezTo>
                      <a:pt x="25" y="341"/>
                      <a:pt x="25" y="330"/>
                      <a:pt x="39" y="332"/>
                    </a:cubicBezTo>
                    <a:cubicBezTo>
                      <a:pt x="53" y="334"/>
                      <a:pt x="56" y="336"/>
                      <a:pt x="54" y="346"/>
                    </a:cubicBezTo>
                    <a:cubicBezTo>
                      <a:pt x="52" y="356"/>
                      <a:pt x="42" y="365"/>
                      <a:pt x="56" y="372"/>
                    </a:cubicBezTo>
                    <a:cubicBezTo>
                      <a:pt x="70" y="379"/>
                      <a:pt x="64" y="385"/>
                      <a:pt x="63" y="398"/>
                    </a:cubicBezTo>
                    <a:cubicBezTo>
                      <a:pt x="62" y="411"/>
                      <a:pt x="60" y="414"/>
                      <a:pt x="51" y="420"/>
                    </a:cubicBezTo>
                    <a:cubicBezTo>
                      <a:pt x="42" y="426"/>
                      <a:pt x="44" y="444"/>
                      <a:pt x="44" y="454"/>
                    </a:cubicBezTo>
                    <a:cubicBezTo>
                      <a:pt x="44" y="464"/>
                      <a:pt x="54" y="468"/>
                      <a:pt x="65" y="473"/>
                    </a:cubicBezTo>
                    <a:cubicBezTo>
                      <a:pt x="76" y="478"/>
                      <a:pt x="88" y="483"/>
                      <a:pt x="92" y="474"/>
                    </a:cubicBezTo>
                    <a:cubicBezTo>
                      <a:pt x="96" y="465"/>
                      <a:pt x="103" y="462"/>
                      <a:pt x="108" y="462"/>
                    </a:cubicBezTo>
                    <a:cubicBezTo>
                      <a:pt x="113" y="462"/>
                      <a:pt x="118" y="454"/>
                      <a:pt x="112" y="450"/>
                    </a:cubicBezTo>
                    <a:cubicBezTo>
                      <a:pt x="106" y="446"/>
                      <a:pt x="104" y="444"/>
                      <a:pt x="105" y="434"/>
                    </a:cubicBezTo>
                    <a:cubicBezTo>
                      <a:pt x="106" y="424"/>
                      <a:pt x="117" y="424"/>
                      <a:pt x="117" y="410"/>
                    </a:cubicBezTo>
                    <a:cubicBezTo>
                      <a:pt x="117" y="396"/>
                      <a:pt x="119" y="392"/>
                      <a:pt x="111" y="388"/>
                    </a:cubicBezTo>
                    <a:cubicBezTo>
                      <a:pt x="103" y="384"/>
                      <a:pt x="104" y="383"/>
                      <a:pt x="105" y="374"/>
                    </a:cubicBezTo>
                    <a:cubicBezTo>
                      <a:pt x="106" y="365"/>
                      <a:pt x="103" y="360"/>
                      <a:pt x="110" y="360"/>
                    </a:cubicBezTo>
                    <a:cubicBezTo>
                      <a:pt x="117" y="360"/>
                      <a:pt x="117" y="353"/>
                      <a:pt x="117" y="340"/>
                    </a:cubicBezTo>
                    <a:cubicBezTo>
                      <a:pt x="117" y="327"/>
                      <a:pt x="117" y="324"/>
                      <a:pt x="112" y="321"/>
                    </a:cubicBezTo>
                    <a:cubicBezTo>
                      <a:pt x="107" y="318"/>
                      <a:pt x="105" y="311"/>
                      <a:pt x="105" y="305"/>
                    </a:cubicBezTo>
                    <a:cubicBezTo>
                      <a:pt x="105" y="299"/>
                      <a:pt x="102" y="292"/>
                      <a:pt x="113" y="291"/>
                    </a:cubicBezTo>
                    <a:cubicBezTo>
                      <a:pt x="124" y="290"/>
                      <a:pt x="120" y="278"/>
                      <a:pt x="132" y="281"/>
                    </a:cubicBezTo>
                    <a:cubicBezTo>
                      <a:pt x="144" y="284"/>
                      <a:pt x="152" y="281"/>
                      <a:pt x="152" y="296"/>
                    </a:cubicBezTo>
                    <a:cubicBezTo>
                      <a:pt x="152" y="311"/>
                      <a:pt x="156" y="313"/>
                      <a:pt x="147" y="320"/>
                    </a:cubicBezTo>
                    <a:cubicBezTo>
                      <a:pt x="138" y="327"/>
                      <a:pt x="135" y="336"/>
                      <a:pt x="149" y="348"/>
                    </a:cubicBezTo>
                    <a:cubicBezTo>
                      <a:pt x="163" y="360"/>
                      <a:pt x="166" y="370"/>
                      <a:pt x="177" y="371"/>
                    </a:cubicBezTo>
                    <a:cubicBezTo>
                      <a:pt x="188" y="372"/>
                      <a:pt x="187" y="379"/>
                      <a:pt x="187" y="390"/>
                    </a:cubicBezTo>
                    <a:cubicBezTo>
                      <a:pt x="187" y="401"/>
                      <a:pt x="181" y="421"/>
                      <a:pt x="197" y="421"/>
                    </a:cubicBezTo>
                    <a:cubicBezTo>
                      <a:pt x="213" y="421"/>
                      <a:pt x="218" y="421"/>
                      <a:pt x="218" y="410"/>
                    </a:cubicBezTo>
                    <a:cubicBezTo>
                      <a:pt x="218" y="399"/>
                      <a:pt x="226" y="396"/>
                      <a:pt x="233" y="396"/>
                    </a:cubicBezTo>
                    <a:cubicBezTo>
                      <a:pt x="240" y="396"/>
                      <a:pt x="242" y="412"/>
                      <a:pt x="241" y="426"/>
                    </a:cubicBezTo>
                    <a:cubicBezTo>
                      <a:pt x="240" y="440"/>
                      <a:pt x="220" y="464"/>
                      <a:pt x="249" y="473"/>
                    </a:cubicBezTo>
                    <a:cubicBezTo>
                      <a:pt x="278" y="482"/>
                      <a:pt x="260" y="470"/>
                      <a:pt x="268" y="46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0" name="Freeform 294">
                <a:extLst>
                  <a:ext uri="{FF2B5EF4-FFF2-40B4-BE49-F238E27FC236}">
                    <a16:creationId xmlns:a16="http://schemas.microsoft.com/office/drawing/2014/main" id="{45049120-1B49-9A44-B3B7-5AAC5C46D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7" y="2711"/>
                <a:ext cx="13" cy="14"/>
              </a:xfrm>
              <a:custGeom>
                <a:avLst/>
                <a:gdLst>
                  <a:gd name="T0" fmla="*/ 15 w 50"/>
                  <a:gd name="T1" fmla="*/ 18 h 56"/>
                  <a:gd name="T2" fmla="*/ 6 w 50"/>
                  <a:gd name="T3" fmla="*/ 31 h 56"/>
                  <a:gd name="T4" fmla="*/ 10 w 50"/>
                  <a:gd name="T5" fmla="*/ 50 h 56"/>
                  <a:gd name="T6" fmla="*/ 36 w 50"/>
                  <a:gd name="T7" fmla="*/ 47 h 56"/>
                  <a:gd name="T8" fmla="*/ 44 w 50"/>
                  <a:gd name="T9" fmla="*/ 32 h 56"/>
                  <a:gd name="T10" fmla="*/ 47 w 50"/>
                  <a:gd name="T11" fmla="*/ 19 h 56"/>
                  <a:gd name="T12" fmla="*/ 15 w 50"/>
                  <a:gd name="T13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56">
                    <a:moveTo>
                      <a:pt x="15" y="18"/>
                    </a:moveTo>
                    <a:cubicBezTo>
                      <a:pt x="15" y="18"/>
                      <a:pt x="9" y="23"/>
                      <a:pt x="6" y="31"/>
                    </a:cubicBezTo>
                    <a:cubicBezTo>
                      <a:pt x="3" y="39"/>
                      <a:pt x="0" y="45"/>
                      <a:pt x="10" y="50"/>
                    </a:cubicBezTo>
                    <a:cubicBezTo>
                      <a:pt x="20" y="55"/>
                      <a:pt x="33" y="56"/>
                      <a:pt x="36" y="47"/>
                    </a:cubicBezTo>
                    <a:cubicBezTo>
                      <a:pt x="39" y="38"/>
                      <a:pt x="40" y="34"/>
                      <a:pt x="44" y="32"/>
                    </a:cubicBezTo>
                    <a:cubicBezTo>
                      <a:pt x="48" y="30"/>
                      <a:pt x="50" y="25"/>
                      <a:pt x="47" y="19"/>
                    </a:cubicBezTo>
                    <a:cubicBezTo>
                      <a:pt x="44" y="13"/>
                      <a:pt x="25" y="0"/>
                      <a:pt x="15" y="1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1" name="Freeform 295">
                <a:extLst>
                  <a:ext uri="{FF2B5EF4-FFF2-40B4-BE49-F238E27FC236}">
                    <a16:creationId xmlns:a16="http://schemas.microsoft.com/office/drawing/2014/main" id="{5D683CF0-5BB2-6849-867A-CF1F530549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0" y="2717"/>
                <a:ext cx="18" cy="12"/>
              </a:xfrm>
              <a:custGeom>
                <a:avLst/>
                <a:gdLst>
                  <a:gd name="T0" fmla="*/ 57 w 72"/>
                  <a:gd name="T1" fmla="*/ 10 h 45"/>
                  <a:gd name="T2" fmla="*/ 34 w 72"/>
                  <a:gd name="T3" fmla="*/ 1 h 45"/>
                  <a:gd name="T4" fmla="*/ 10 w 72"/>
                  <a:gd name="T5" fmla="*/ 11 h 45"/>
                  <a:gd name="T6" fmla="*/ 2 w 72"/>
                  <a:gd name="T7" fmla="*/ 28 h 45"/>
                  <a:gd name="T8" fmla="*/ 16 w 72"/>
                  <a:gd name="T9" fmla="*/ 38 h 45"/>
                  <a:gd name="T10" fmla="*/ 38 w 72"/>
                  <a:gd name="T11" fmla="*/ 41 h 45"/>
                  <a:gd name="T12" fmla="*/ 61 w 72"/>
                  <a:gd name="T13" fmla="*/ 35 h 45"/>
                  <a:gd name="T14" fmla="*/ 69 w 72"/>
                  <a:gd name="T15" fmla="*/ 25 h 45"/>
                  <a:gd name="T16" fmla="*/ 57 w 72"/>
                  <a:gd name="T17" fmla="*/ 1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45">
                    <a:moveTo>
                      <a:pt x="57" y="10"/>
                    </a:moveTo>
                    <a:cubicBezTo>
                      <a:pt x="51" y="7"/>
                      <a:pt x="52" y="0"/>
                      <a:pt x="34" y="1"/>
                    </a:cubicBezTo>
                    <a:cubicBezTo>
                      <a:pt x="34" y="1"/>
                      <a:pt x="14" y="2"/>
                      <a:pt x="10" y="11"/>
                    </a:cubicBezTo>
                    <a:cubicBezTo>
                      <a:pt x="6" y="20"/>
                      <a:pt x="0" y="21"/>
                      <a:pt x="2" y="28"/>
                    </a:cubicBezTo>
                    <a:cubicBezTo>
                      <a:pt x="4" y="35"/>
                      <a:pt x="9" y="35"/>
                      <a:pt x="16" y="38"/>
                    </a:cubicBezTo>
                    <a:cubicBezTo>
                      <a:pt x="23" y="41"/>
                      <a:pt x="28" y="45"/>
                      <a:pt x="38" y="41"/>
                    </a:cubicBezTo>
                    <a:cubicBezTo>
                      <a:pt x="48" y="37"/>
                      <a:pt x="51" y="33"/>
                      <a:pt x="61" y="35"/>
                    </a:cubicBezTo>
                    <a:cubicBezTo>
                      <a:pt x="71" y="37"/>
                      <a:pt x="72" y="36"/>
                      <a:pt x="69" y="25"/>
                    </a:cubicBezTo>
                    <a:cubicBezTo>
                      <a:pt x="66" y="14"/>
                      <a:pt x="63" y="13"/>
                      <a:pt x="57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2" name="Freeform 296">
                <a:extLst>
                  <a:ext uri="{FF2B5EF4-FFF2-40B4-BE49-F238E27FC236}">
                    <a16:creationId xmlns:a16="http://schemas.microsoft.com/office/drawing/2014/main" id="{1470F270-939C-7947-9E92-831C6225B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4" y="2708"/>
                <a:ext cx="24" cy="17"/>
              </a:xfrm>
              <a:custGeom>
                <a:avLst/>
                <a:gdLst>
                  <a:gd name="T0" fmla="*/ 88 w 92"/>
                  <a:gd name="T1" fmla="*/ 57 h 66"/>
                  <a:gd name="T2" fmla="*/ 91 w 92"/>
                  <a:gd name="T3" fmla="*/ 42 h 66"/>
                  <a:gd name="T4" fmla="*/ 72 w 92"/>
                  <a:gd name="T5" fmla="*/ 25 h 66"/>
                  <a:gd name="T6" fmla="*/ 40 w 92"/>
                  <a:gd name="T7" fmla="*/ 20 h 66"/>
                  <a:gd name="T8" fmla="*/ 7 w 92"/>
                  <a:gd name="T9" fmla="*/ 15 h 66"/>
                  <a:gd name="T10" fmla="*/ 7 w 92"/>
                  <a:gd name="T11" fmla="*/ 24 h 66"/>
                  <a:gd name="T12" fmla="*/ 22 w 92"/>
                  <a:gd name="T13" fmla="*/ 42 h 66"/>
                  <a:gd name="T14" fmla="*/ 33 w 92"/>
                  <a:gd name="T15" fmla="*/ 58 h 66"/>
                  <a:gd name="T16" fmla="*/ 55 w 92"/>
                  <a:gd name="T17" fmla="*/ 62 h 66"/>
                  <a:gd name="T18" fmla="*/ 76 w 92"/>
                  <a:gd name="T19" fmla="*/ 62 h 66"/>
                  <a:gd name="T20" fmla="*/ 88 w 92"/>
                  <a:gd name="T21" fmla="*/ 5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66">
                    <a:moveTo>
                      <a:pt x="88" y="57"/>
                    </a:moveTo>
                    <a:cubicBezTo>
                      <a:pt x="89" y="50"/>
                      <a:pt x="92" y="51"/>
                      <a:pt x="91" y="42"/>
                    </a:cubicBezTo>
                    <a:cubicBezTo>
                      <a:pt x="90" y="33"/>
                      <a:pt x="86" y="25"/>
                      <a:pt x="72" y="25"/>
                    </a:cubicBezTo>
                    <a:cubicBezTo>
                      <a:pt x="58" y="25"/>
                      <a:pt x="52" y="28"/>
                      <a:pt x="40" y="20"/>
                    </a:cubicBezTo>
                    <a:cubicBezTo>
                      <a:pt x="28" y="12"/>
                      <a:pt x="18" y="0"/>
                      <a:pt x="7" y="15"/>
                    </a:cubicBezTo>
                    <a:cubicBezTo>
                      <a:pt x="7" y="15"/>
                      <a:pt x="0" y="16"/>
                      <a:pt x="7" y="24"/>
                    </a:cubicBezTo>
                    <a:cubicBezTo>
                      <a:pt x="14" y="32"/>
                      <a:pt x="18" y="33"/>
                      <a:pt x="22" y="42"/>
                    </a:cubicBezTo>
                    <a:cubicBezTo>
                      <a:pt x="26" y="51"/>
                      <a:pt x="26" y="61"/>
                      <a:pt x="33" y="58"/>
                    </a:cubicBezTo>
                    <a:cubicBezTo>
                      <a:pt x="40" y="55"/>
                      <a:pt x="51" y="58"/>
                      <a:pt x="55" y="62"/>
                    </a:cubicBezTo>
                    <a:cubicBezTo>
                      <a:pt x="59" y="66"/>
                      <a:pt x="68" y="62"/>
                      <a:pt x="76" y="62"/>
                    </a:cubicBezTo>
                    <a:cubicBezTo>
                      <a:pt x="84" y="62"/>
                      <a:pt x="87" y="64"/>
                      <a:pt x="88" y="5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3" name="Freeform 297">
                <a:extLst>
                  <a:ext uri="{FF2B5EF4-FFF2-40B4-BE49-F238E27FC236}">
                    <a16:creationId xmlns:a16="http://schemas.microsoft.com/office/drawing/2014/main" id="{9A498E8C-067B-A14F-B33D-E0FC49AA9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5" y="2730"/>
                <a:ext cx="33" cy="18"/>
              </a:xfrm>
              <a:custGeom>
                <a:avLst/>
                <a:gdLst>
                  <a:gd name="T0" fmla="*/ 119 w 130"/>
                  <a:gd name="T1" fmla="*/ 46 h 71"/>
                  <a:gd name="T2" fmla="*/ 95 w 130"/>
                  <a:gd name="T3" fmla="*/ 25 h 71"/>
                  <a:gd name="T4" fmla="*/ 70 w 130"/>
                  <a:gd name="T5" fmla="*/ 10 h 71"/>
                  <a:gd name="T6" fmla="*/ 42 w 130"/>
                  <a:gd name="T7" fmla="*/ 7 h 71"/>
                  <a:gd name="T8" fmla="*/ 14 w 130"/>
                  <a:gd name="T9" fmla="*/ 7 h 71"/>
                  <a:gd name="T10" fmla="*/ 0 w 130"/>
                  <a:gd name="T11" fmla="*/ 19 h 71"/>
                  <a:gd name="T12" fmla="*/ 8 w 130"/>
                  <a:gd name="T13" fmla="*/ 29 h 71"/>
                  <a:gd name="T14" fmla="*/ 26 w 130"/>
                  <a:gd name="T15" fmla="*/ 37 h 71"/>
                  <a:gd name="T16" fmla="*/ 46 w 130"/>
                  <a:gd name="T17" fmla="*/ 44 h 71"/>
                  <a:gd name="T18" fmla="*/ 69 w 130"/>
                  <a:gd name="T19" fmla="*/ 52 h 71"/>
                  <a:gd name="T20" fmla="*/ 92 w 130"/>
                  <a:gd name="T21" fmla="*/ 71 h 71"/>
                  <a:gd name="T22" fmla="*/ 109 w 130"/>
                  <a:gd name="T23" fmla="*/ 62 h 71"/>
                  <a:gd name="T24" fmla="*/ 119 w 130"/>
                  <a:gd name="T25" fmla="*/ 4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" h="71">
                    <a:moveTo>
                      <a:pt x="119" y="46"/>
                    </a:moveTo>
                    <a:cubicBezTo>
                      <a:pt x="108" y="41"/>
                      <a:pt x="109" y="34"/>
                      <a:pt x="95" y="25"/>
                    </a:cubicBezTo>
                    <a:cubicBezTo>
                      <a:pt x="81" y="16"/>
                      <a:pt x="77" y="20"/>
                      <a:pt x="70" y="10"/>
                    </a:cubicBezTo>
                    <a:cubicBezTo>
                      <a:pt x="63" y="0"/>
                      <a:pt x="56" y="3"/>
                      <a:pt x="42" y="7"/>
                    </a:cubicBezTo>
                    <a:cubicBezTo>
                      <a:pt x="42" y="7"/>
                      <a:pt x="21" y="0"/>
                      <a:pt x="14" y="7"/>
                    </a:cubicBezTo>
                    <a:cubicBezTo>
                      <a:pt x="7" y="14"/>
                      <a:pt x="0" y="12"/>
                      <a:pt x="0" y="19"/>
                    </a:cubicBezTo>
                    <a:cubicBezTo>
                      <a:pt x="0" y="26"/>
                      <a:pt x="1" y="24"/>
                      <a:pt x="8" y="29"/>
                    </a:cubicBezTo>
                    <a:cubicBezTo>
                      <a:pt x="15" y="34"/>
                      <a:pt x="12" y="37"/>
                      <a:pt x="26" y="37"/>
                    </a:cubicBezTo>
                    <a:cubicBezTo>
                      <a:pt x="40" y="37"/>
                      <a:pt x="41" y="38"/>
                      <a:pt x="46" y="44"/>
                    </a:cubicBezTo>
                    <a:cubicBezTo>
                      <a:pt x="51" y="50"/>
                      <a:pt x="61" y="44"/>
                      <a:pt x="69" y="52"/>
                    </a:cubicBezTo>
                    <a:cubicBezTo>
                      <a:pt x="77" y="60"/>
                      <a:pt x="85" y="71"/>
                      <a:pt x="92" y="71"/>
                    </a:cubicBezTo>
                    <a:cubicBezTo>
                      <a:pt x="99" y="71"/>
                      <a:pt x="103" y="65"/>
                      <a:pt x="109" y="62"/>
                    </a:cubicBezTo>
                    <a:cubicBezTo>
                      <a:pt x="115" y="59"/>
                      <a:pt x="130" y="51"/>
                      <a:pt x="119" y="4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4" name="Freeform 298">
                <a:extLst>
                  <a:ext uri="{FF2B5EF4-FFF2-40B4-BE49-F238E27FC236}">
                    <a16:creationId xmlns:a16="http://schemas.microsoft.com/office/drawing/2014/main" id="{2D0FCFDD-5829-ED41-AB81-46F2E9719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0" y="2713"/>
                <a:ext cx="50" cy="14"/>
              </a:xfrm>
              <a:custGeom>
                <a:avLst/>
                <a:gdLst>
                  <a:gd name="T0" fmla="*/ 188 w 198"/>
                  <a:gd name="T1" fmla="*/ 20 h 53"/>
                  <a:gd name="T2" fmla="*/ 172 w 198"/>
                  <a:gd name="T3" fmla="*/ 10 h 53"/>
                  <a:gd name="T4" fmla="*/ 152 w 198"/>
                  <a:gd name="T5" fmla="*/ 23 h 53"/>
                  <a:gd name="T6" fmla="*/ 121 w 198"/>
                  <a:gd name="T7" fmla="*/ 12 h 53"/>
                  <a:gd name="T8" fmla="*/ 98 w 198"/>
                  <a:gd name="T9" fmla="*/ 3 h 53"/>
                  <a:gd name="T10" fmla="*/ 46 w 198"/>
                  <a:gd name="T11" fmla="*/ 16 h 53"/>
                  <a:gd name="T12" fmla="*/ 31 w 198"/>
                  <a:gd name="T13" fmla="*/ 21 h 53"/>
                  <a:gd name="T14" fmla="*/ 13 w 198"/>
                  <a:gd name="T15" fmla="*/ 26 h 53"/>
                  <a:gd name="T16" fmla="*/ 44 w 198"/>
                  <a:gd name="T17" fmla="*/ 39 h 53"/>
                  <a:gd name="T18" fmla="*/ 76 w 198"/>
                  <a:gd name="T19" fmla="*/ 49 h 53"/>
                  <a:gd name="T20" fmla="*/ 112 w 198"/>
                  <a:gd name="T21" fmla="*/ 49 h 53"/>
                  <a:gd name="T22" fmla="*/ 164 w 198"/>
                  <a:gd name="T23" fmla="*/ 47 h 53"/>
                  <a:gd name="T24" fmla="*/ 178 w 198"/>
                  <a:gd name="T25" fmla="*/ 41 h 53"/>
                  <a:gd name="T26" fmla="*/ 197 w 198"/>
                  <a:gd name="T27" fmla="*/ 34 h 53"/>
                  <a:gd name="T28" fmla="*/ 188 w 198"/>
                  <a:gd name="T29" fmla="*/ 2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8" h="53">
                    <a:moveTo>
                      <a:pt x="188" y="20"/>
                    </a:moveTo>
                    <a:cubicBezTo>
                      <a:pt x="181" y="21"/>
                      <a:pt x="183" y="9"/>
                      <a:pt x="172" y="10"/>
                    </a:cubicBezTo>
                    <a:cubicBezTo>
                      <a:pt x="161" y="11"/>
                      <a:pt x="164" y="24"/>
                      <a:pt x="152" y="23"/>
                    </a:cubicBezTo>
                    <a:cubicBezTo>
                      <a:pt x="140" y="22"/>
                      <a:pt x="126" y="19"/>
                      <a:pt x="121" y="12"/>
                    </a:cubicBezTo>
                    <a:cubicBezTo>
                      <a:pt x="116" y="5"/>
                      <a:pt x="112" y="3"/>
                      <a:pt x="98" y="3"/>
                    </a:cubicBezTo>
                    <a:cubicBezTo>
                      <a:pt x="84" y="3"/>
                      <a:pt x="50" y="0"/>
                      <a:pt x="46" y="16"/>
                    </a:cubicBezTo>
                    <a:cubicBezTo>
                      <a:pt x="46" y="16"/>
                      <a:pt x="42" y="23"/>
                      <a:pt x="31" y="21"/>
                    </a:cubicBezTo>
                    <a:cubicBezTo>
                      <a:pt x="20" y="19"/>
                      <a:pt x="0" y="14"/>
                      <a:pt x="13" y="26"/>
                    </a:cubicBezTo>
                    <a:cubicBezTo>
                      <a:pt x="26" y="38"/>
                      <a:pt x="26" y="35"/>
                      <a:pt x="44" y="39"/>
                    </a:cubicBezTo>
                    <a:cubicBezTo>
                      <a:pt x="62" y="43"/>
                      <a:pt x="61" y="47"/>
                      <a:pt x="76" y="49"/>
                    </a:cubicBezTo>
                    <a:cubicBezTo>
                      <a:pt x="91" y="51"/>
                      <a:pt x="90" y="45"/>
                      <a:pt x="112" y="49"/>
                    </a:cubicBezTo>
                    <a:cubicBezTo>
                      <a:pt x="134" y="53"/>
                      <a:pt x="147" y="50"/>
                      <a:pt x="164" y="47"/>
                    </a:cubicBezTo>
                    <a:cubicBezTo>
                      <a:pt x="181" y="44"/>
                      <a:pt x="166" y="46"/>
                      <a:pt x="178" y="41"/>
                    </a:cubicBezTo>
                    <a:cubicBezTo>
                      <a:pt x="190" y="36"/>
                      <a:pt x="198" y="40"/>
                      <a:pt x="197" y="34"/>
                    </a:cubicBezTo>
                    <a:cubicBezTo>
                      <a:pt x="196" y="28"/>
                      <a:pt x="195" y="19"/>
                      <a:pt x="188" y="2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5" name="Freeform 299">
                <a:extLst>
                  <a:ext uri="{FF2B5EF4-FFF2-40B4-BE49-F238E27FC236}">
                    <a16:creationId xmlns:a16="http://schemas.microsoft.com/office/drawing/2014/main" id="{F506F70F-872F-EA40-8A5A-6F96817F4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1" y="2707"/>
                <a:ext cx="30" cy="14"/>
              </a:xfrm>
              <a:custGeom>
                <a:avLst/>
                <a:gdLst>
                  <a:gd name="T0" fmla="*/ 95 w 119"/>
                  <a:gd name="T1" fmla="*/ 36 h 55"/>
                  <a:gd name="T2" fmla="*/ 112 w 119"/>
                  <a:gd name="T3" fmla="*/ 47 h 55"/>
                  <a:gd name="T4" fmla="*/ 118 w 119"/>
                  <a:gd name="T5" fmla="*/ 39 h 55"/>
                  <a:gd name="T6" fmla="*/ 101 w 119"/>
                  <a:gd name="T7" fmla="*/ 27 h 55"/>
                  <a:gd name="T8" fmla="*/ 75 w 119"/>
                  <a:gd name="T9" fmla="*/ 21 h 55"/>
                  <a:gd name="T10" fmla="*/ 50 w 119"/>
                  <a:gd name="T11" fmla="*/ 26 h 55"/>
                  <a:gd name="T12" fmla="*/ 23 w 119"/>
                  <a:gd name="T13" fmla="*/ 16 h 55"/>
                  <a:gd name="T14" fmla="*/ 15 w 119"/>
                  <a:gd name="T15" fmla="*/ 35 h 55"/>
                  <a:gd name="T16" fmla="*/ 13 w 119"/>
                  <a:gd name="T17" fmla="*/ 53 h 55"/>
                  <a:gd name="T18" fmla="*/ 40 w 119"/>
                  <a:gd name="T19" fmla="*/ 46 h 55"/>
                  <a:gd name="T20" fmla="*/ 61 w 119"/>
                  <a:gd name="T21" fmla="*/ 38 h 55"/>
                  <a:gd name="T22" fmla="*/ 76 w 119"/>
                  <a:gd name="T23" fmla="*/ 45 h 55"/>
                  <a:gd name="T24" fmla="*/ 95 w 119"/>
                  <a:gd name="T25" fmla="*/ 3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" h="55">
                    <a:moveTo>
                      <a:pt x="95" y="36"/>
                    </a:moveTo>
                    <a:cubicBezTo>
                      <a:pt x="101" y="36"/>
                      <a:pt x="107" y="46"/>
                      <a:pt x="112" y="47"/>
                    </a:cubicBezTo>
                    <a:cubicBezTo>
                      <a:pt x="117" y="48"/>
                      <a:pt x="117" y="49"/>
                      <a:pt x="118" y="39"/>
                    </a:cubicBezTo>
                    <a:cubicBezTo>
                      <a:pt x="119" y="29"/>
                      <a:pt x="113" y="27"/>
                      <a:pt x="101" y="27"/>
                    </a:cubicBezTo>
                    <a:cubicBezTo>
                      <a:pt x="89" y="27"/>
                      <a:pt x="85" y="21"/>
                      <a:pt x="75" y="21"/>
                    </a:cubicBezTo>
                    <a:cubicBezTo>
                      <a:pt x="65" y="21"/>
                      <a:pt x="57" y="26"/>
                      <a:pt x="50" y="26"/>
                    </a:cubicBezTo>
                    <a:cubicBezTo>
                      <a:pt x="43" y="26"/>
                      <a:pt x="41" y="0"/>
                      <a:pt x="23" y="16"/>
                    </a:cubicBezTo>
                    <a:cubicBezTo>
                      <a:pt x="23" y="16"/>
                      <a:pt x="24" y="27"/>
                      <a:pt x="15" y="35"/>
                    </a:cubicBezTo>
                    <a:cubicBezTo>
                      <a:pt x="6" y="43"/>
                      <a:pt x="0" y="51"/>
                      <a:pt x="13" y="53"/>
                    </a:cubicBezTo>
                    <a:cubicBezTo>
                      <a:pt x="26" y="55"/>
                      <a:pt x="38" y="53"/>
                      <a:pt x="40" y="46"/>
                    </a:cubicBezTo>
                    <a:cubicBezTo>
                      <a:pt x="42" y="39"/>
                      <a:pt x="55" y="31"/>
                      <a:pt x="61" y="38"/>
                    </a:cubicBezTo>
                    <a:cubicBezTo>
                      <a:pt x="67" y="45"/>
                      <a:pt x="69" y="50"/>
                      <a:pt x="76" y="45"/>
                    </a:cubicBezTo>
                    <a:cubicBezTo>
                      <a:pt x="83" y="40"/>
                      <a:pt x="89" y="36"/>
                      <a:pt x="95" y="3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6" name="Freeform 300">
                <a:extLst>
                  <a:ext uri="{FF2B5EF4-FFF2-40B4-BE49-F238E27FC236}">
                    <a16:creationId xmlns:a16="http://schemas.microsoft.com/office/drawing/2014/main" id="{5651D928-F314-7B4D-9C0F-86F7F1E42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6" y="2701"/>
                <a:ext cx="15" cy="11"/>
              </a:xfrm>
              <a:custGeom>
                <a:avLst/>
                <a:gdLst>
                  <a:gd name="T0" fmla="*/ 14 w 62"/>
                  <a:gd name="T1" fmla="*/ 33 h 41"/>
                  <a:gd name="T2" fmla="*/ 44 w 62"/>
                  <a:gd name="T3" fmla="*/ 32 h 41"/>
                  <a:gd name="T4" fmla="*/ 61 w 62"/>
                  <a:gd name="T5" fmla="*/ 21 h 41"/>
                  <a:gd name="T6" fmla="*/ 43 w 62"/>
                  <a:gd name="T7" fmla="*/ 9 h 41"/>
                  <a:gd name="T8" fmla="*/ 10 w 62"/>
                  <a:gd name="T9" fmla="*/ 13 h 41"/>
                  <a:gd name="T10" fmla="*/ 0 w 62"/>
                  <a:gd name="T11" fmla="*/ 30 h 41"/>
                  <a:gd name="T12" fmla="*/ 14 w 62"/>
                  <a:gd name="T13" fmla="*/ 3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41">
                    <a:moveTo>
                      <a:pt x="14" y="33"/>
                    </a:moveTo>
                    <a:cubicBezTo>
                      <a:pt x="20" y="30"/>
                      <a:pt x="43" y="41"/>
                      <a:pt x="44" y="32"/>
                    </a:cubicBezTo>
                    <a:cubicBezTo>
                      <a:pt x="45" y="23"/>
                      <a:pt x="60" y="31"/>
                      <a:pt x="61" y="21"/>
                    </a:cubicBezTo>
                    <a:cubicBezTo>
                      <a:pt x="62" y="11"/>
                      <a:pt x="54" y="7"/>
                      <a:pt x="43" y="9"/>
                    </a:cubicBezTo>
                    <a:cubicBezTo>
                      <a:pt x="32" y="11"/>
                      <a:pt x="32" y="0"/>
                      <a:pt x="10" y="13"/>
                    </a:cubicBezTo>
                    <a:cubicBezTo>
                      <a:pt x="10" y="13"/>
                      <a:pt x="0" y="21"/>
                      <a:pt x="0" y="30"/>
                    </a:cubicBezTo>
                    <a:cubicBezTo>
                      <a:pt x="0" y="39"/>
                      <a:pt x="8" y="36"/>
                      <a:pt x="14" y="3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7" name="Freeform 301">
                <a:extLst>
                  <a:ext uri="{FF2B5EF4-FFF2-40B4-BE49-F238E27FC236}">
                    <a16:creationId xmlns:a16="http://schemas.microsoft.com/office/drawing/2014/main" id="{3E9EE0D0-4A44-8545-BDCF-846A7BBF4D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748"/>
                <a:ext cx="12" cy="10"/>
              </a:xfrm>
              <a:custGeom>
                <a:avLst/>
                <a:gdLst>
                  <a:gd name="T0" fmla="*/ 31 w 50"/>
                  <a:gd name="T1" fmla="*/ 10 h 41"/>
                  <a:gd name="T2" fmla="*/ 13 w 50"/>
                  <a:gd name="T3" fmla="*/ 23 h 41"/>
                  <a:gd name="T4" fmla="*/ 20 w 50"/>
                  <a:gd name="T5" fmla="*/ 40 h 41"/>
                  <a:gd name="T6" fmla="*/ 39 w 50"/>
                  <a:gd name="T7" fmla="*/ 31 h 41"/>
                  <a:gd name="T8" fmla="*/ 46 w 50"/>
                  <a:gd name="T9" fmla="*/ 17 h 41"/>
                  <a:gd name="T10" fmla="*/ 31 w 50"/>
                  <a:gd name="T11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41">
                    <a:moveTo>
                      <a:pt x="31" y="10"/>
                    </a:moveTo>
                    <a:cubicBezTo>
                      <a:pt x="31" y="10"/>
                      <a:pt x="26" y="19"/>
                      <a:pt x="13" y="23"/>
                    </a:cubicBezTo>
                    <a:cubicBezTo>
                      <a:pt x="0" y="27"/>
                      <a:pt x="11" y="41"/>
                      <a:pt x="20" y="40"/>
                    </a:cubicBezTo>
                    <a:cubicBezTo>
                      <a:pt x="29" y="39"/>
                      <a:pt x="28" y="30"/>
                      <a:pt x="39" y="31"/>
                    </a:cubicBezTo>
                    <a:cubicBezTo>
                      <a:pt x="50" y="32"/>
                      <a:pt x="49" y="26"/>
                      <a:pt x="46" y="17"/>
                    </a:cubicBezTo>
                    <a:cubicBezTo>
                      <a:pt x="43" y="8"/>
                      <a:pt x="37" y="0"/>
                      <a:pt x="31" y="1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8" name="Freeform 302">
                <a:extLst>
                  <a:ext uri="{FF2B5EF4-FFF2-40B4-BE49-F238E27FC236}">
                    <a16:creationId xmlns:a16="http://schemas.microsoft.com/office/drawing/2014/main" id="{C9612C0A-FBF7-7B4F-9DE5-EBB574406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9" y="2744"/>
                <a:ext cx="9" cy="12"/>
              </a:xfrm>
              <a:custGeom>
                <a:avLst/>
                <a:gdLst>
                  <a:gd name="T0" fmla="*/ 21 w 37"/>
                  <a:gd name="T1" fmla="*/ 14 h 48"/>
                  <a:gd name="T2" fmla="*/ 5 w 37"/>
                  <a:gd name="T3" fmla="*/ 28 h 48"/>
                  <a:gd name="T4" fmla="*/ 17 w 37"/>
                  <a:gd name="T5" fmla="*/ 37 h 48"/>
                  <a:gd name="T6" fmla="*/ 21 w 37"/>
                  <a:gd name="T7" fmla="*/ 1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8">
                    <a:moveTo>
                      <a:pt x="21" y="14"/>
                    </a:moveTo>
                    <a:cubicBezTo>
                      <a:pt x="21" y="14"/>
                      <a:pt x="10" y="18"/>
                      <a:pt x="5" y="28"/>
                    </a:cubicBezTo>
                    <a:cubicBezTo>
                      <a:pt x="0" y="38"/>
                      <a:pt x="9" y="48"/>
                      <a:pt x="17" y="37"/>
                    </a:cubicBezTo>
                    <a:cubicBezTo>
                      <a:pt x="25" y="26"/>
                      <a:pt x="37" y="0"/>
                      <a:pt x="21" y="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49" name="Freeform 303">
                <a:extLst>
                  <a:ext uri="{FF2B5EF4-FFF2-40B4-BE49-F238E27FC236}">
                    <a16:creationId xmlns:a16="http://schemas.microsoft.com/office/drawing/2014/main" id="{7EC6FCEE-D42B-CC45-BA32-25E34275AA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9" y="2711"/>
                <a:ext cx="63" cy="40"/>
              </a:xfrm>
              <a:custGeom>
                <a:avLst/>
                <a:gdLst>
                  <a:gd name="T0" fmla="*/ 233 w 247"/>
                  <a:gd name="T1" fmla="*/ 8 h 158"/>
                  <a:gd name="T2" fmla="*/ 192 w 247"/>
                  <a:gd name="T3" fmla="*/ 11 h 158"/>
                  <a:gd name="T4" fmla="*/ 158 w 247"/>
                  <a:gd name="T5" fmla="*/ 17 h 158"/>
                  <a:gd name="T6" fmla="*/ 112 w 247"/>
                  <a:gd name="T7" fmla="*/ 28 h 158"/>
                  <a:gd name="T8" fmla="*/ 77 w 247"/>
                  <a:gd name="T9" fmla="*/ 63 h 158"/>
                  <a:gd name="T10" fmla="*/ 44 w 247"/>
                  <a:gd name="T11" fmla="*/ 76 h 158"/>
                  <a:gd name="T12" fmla="*/ 7 w 247"/>
                  <a:gd name="T13" fmla="*/ 95 h 158"/>
                  <a:gd name="T14" fmla="*/ 3 w 247"/>
                  <a:gd name="T15" fmla="*/ 128 h 158"/>
                  <a:gd name="T16" fmla="*/ 18 w 247"/>
                  <a:gd name="T17" fmla="*/ 152 h 158"/>
                  <a:gd name="T18" fmla="*/ 44 w 247"/>
                  <a:gd name="T19" fmla="*/ 134 h 158"/>
                  <a:gd name="T20" fmla="*/ 85 w 247"/>
                  <a:gd name="T21" fmla="*/ 113 h 158"/>
                  <a:gd name="T22" fmla="*/ 126 w 247"/>
                  <a:gd name="T23" fmla="*/ 78 h 158"/>
                  <a:gd name="T24" fmla="*/ 165 w 247"/>
                  <a:gd name="T25" fmla="*/ 64 h 158"/>
                  <a:gd name="T26" fmla="*/ 201 w 247"/>
                  <a:gd name="T27" fmla="*/ 47 h 158"/>
                  <a:gd name="T28" fmla="*/ 238 w 247"/>
                  <a:gd name="T29" fmla="*/ 29 h 158"/>
                  <a:gd name="T30" fmla="*/ 233 w 247"/>
                  <a:gd name="T31" fmla="*/ 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7" h="158">
                    <a:moveTo>
                      <a:pt x="233" y="8"/>
                    </a:moveTo>
                    <a:cubicBezTo>
                      <a:pt x="219" y="7"/>
                      <a:pt x="202" y="0"/>
                      <a:pt x="192" y="11"/>
                    </a:cubicBezTo>
                    <a:cubicBezTo>
                      <a:pt x="182" y="22"/>
                      <a:pt x="179" y="18"/>
                      <a:pt x="158" y="17"/>
                    </a:cubicBezTo>
                    <a:cubicBezTo>
                      <a:pt x="137" y="16"/>
                      <a:pt x="128" y="12"/>
                      <a:pt x="112" y="28"/>
                    </a:cubicBezTo>
                    <a:cubicBezTo>
                      <a:pt x="96" y="44"/>
                      <a:pt x="91" y="54"/>
                      <a:pt x="77" y="63"/>
                    </a:cubicBezTo>
                    <a:cubicBezTo>
                      <a:pt x="63" y="72"/>
                      <a:pt x="60" y="73"/>
                      <a:pt x="44" y="76"/>
                    </a:cubicBezTo>
                    <a:cubicBezTo>
                      <a:pt x="44" y="76"/>
                      <a:pt x="14" y="80"/>
                      <a:pt x="7" y="95"/>
                    </a:cubicBezTo>
                    <a:cubicBezTo>
                      <a:pt x="0" y="110"/>
                      <a:pt x="3" y="115"/>
                      <a:pt x="3" y="128"/>
                    </a:cubicBezTo>
                    <a:cubicBezTo>
                      <a:pt x="3" y="141"/>
                      <a:pt x="2" y="158"/>
                      <a:pt x="18" y="152"/>
                    </a:cubicBezTo>
                    <a:cubicBezTo>
                      <a:pt x="34" y="146"/>
                      <a:pt x="27" y="136"/>
                      <a:pt x="44" y="134"/>
                    </a:cubicBezTo>
                    <a:cubicBezTo>
                      <a:pt x="61" y="132"/>
                      <a:pt x="76" y="126"/>
                      <a:pt x="85" y="113"/>
                    </a:cubicBezTo>
                    <a:cubicBezTo>
                      <a:pt x="94" y="100"/>
                      <a:pt x="110" y="82"/>
                      <a:pt x="126" y="78"/>
                    </a:cubicBezTo>
                    <a:cubicBezTo>
                      <a:pt x="142" y="74"/>
                      <a:pt x="143" y="66"/>
                      <a:pt x="165" y="64"/>
                    </a:cubicBezTo>
                    <a:cubicBezTo>
                      <a:pt x="187" y="62"/>
                      <a:pt x="181" y="52"/>
                      <a:pt x="201" y="47"/>
                    </a:cubicBezTo>
                    <a:cubicBezTo>
                      <a:pt x="221" y="42"/>
                      <a:pt x="231" y="39"/>
                      <a:pt x="238" y="29"/>
                    </a:cubicBezTo>
                    <a:cubicBezTo>
                      <a:pt x="245" y="19"/>
                      <a:pt x="247" y="9"/>
                      <a:pt x="233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0" name="Freeform 304">
                <a:extLst>
                  <a:ext uri="{FF2B5EF4-FFF2-40B4-BE49-F238E27FC236}">
                    <a16:creationId xmlns:a16="http://schemas.microsoft.com/office/drawing/2014/main" id="{1FC8A6B3-52A3-1C47-959F-13757AC62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7" y="2508"/>
                <a:ext cx="9" cy="14"/>
              </a:xfrm>
              <a:custGeom>
                <a:avLst/>
                <a:gdLst>
                  <a:gd name="T0" fmla="*/ 24 w 34"/>
                  <a:gd name="T1" fmla="*/ 8 h 57"/>
                  <a:gd name="T2" fmla="*/ 14 w 34"/>
                  <a:gd name="T3" fmla="*/ 8 h 57"/>
                  <a:gd name="T4" fmla="*/ 14 w 34"/>
                  <a:gd name="T5" fmla="*/ 20 h 57"/>
                  <a:gd name="T6" fmla="*/ 4 w 34"/>
                  <a:gd name="T7" fmla="*/ 42 h 57"/>
                  <a:gd name="T8" fmla="*/ 15 w 34"/>
                  <a:gd name="T9" fmla="*/ 45 h 57"/>
                  <a:gd name="T10" fmla="*/ 24 w 34"/>
                  <a:gd name="T11" fmla="*/ 24 h 57"/>
                  <a:gd name="T12" fmla="*/ 24 w 34"/>
                  <a:gd name="T13" fmla="*/ 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57">
                    <a:moveTo>
                      <a:pt x="24" y="8"/>
                    </a:moveTo>
                    <a:cubicBezTo>
                      <a:pt x="14" y="8"/>
                      <a:pt x="15" y="0"/>
                      <a:pt x="14" y="8"/>
                    </a:cubicBezTo>
                    <a:cubicBezTo>
                      <a:pt x="14" y="8"/>
                      <a:pt x="14" y="13"/>
                      <a:pt x="14" y="20"/>
                    </a:cubicBezTo>
                    <a:cubicBezTo>
                      <a:pt x="14" y="27"/>
                      <a:pt x="0" y="31"/>
                      <a:pt x="4" y="42"/>
                    </a:cubicBezTo>
                    <a:cubicBezTo>
                      <a:pt x="8" y="53"/>
                      <a:pt x="14" y="57"/>
                      <a:pt x="15" y="45"/>
                    </a:cubicBezTo>
                    <a:cubicBezTo>
                      <a:pt x="16" y="33"/>
                      <a:pt x="20" y="36"/>
                      <a:pt x="24" y="24"/>
                    </a:cubicBezTo>
                    <a:cubicBezTo>
                      <a:pt x="28" y="12"/>
                      <a:pt x="34" y="8"/>
                      <a:pt x="24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1" name="Freeform 305">
                <a:extLst>
                  <a:ext uri="{FF2B5EF4-FFF2-40B4-BE49-F238E27FC236}">
                    <a16:creationId xmlns:a16="http://schemas.microsoft.com/office/drawing/2014/main" id="{DDA86F5A-CAFB-414B-A465-85071F595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" y="2539"/>
                <a:ext cx="26" cy="55"/>
              </a:xfrm>
              <a:custGeom>
                <a:avLst/>
                <a:gdLst>
                  <a:gd name="T0" fmla="*/ 5 w 102"/>
                  <a:gd name="T1" fmla="*/ 80 h 217"/>
                  <a:gd name="T2" fmla="*/ 5 w 102"/>
                  <a:gd name="T3" fmla="*/ 98 h 217"/>
                  <a:gd name="T4" fmla="*/ 11 w 102"/>
                  <a:gd name="T5" fmla="*/ 117 h 217"/>
                  <a:gd name="T6" fmla="*/ 13 w 102"/>
                  <a:gd name="T7" fmla="*/ 138 h 217"/>
                  <a:gd name="T8" fmla="*/ 20 w 102"/>
                  <a:gd name="T9" fmla="*/ 158 h 217"/>
                  <a:gd name="T10" fmla="*/ 28 w 102"/>
                  <a:gd name="T11" fmla="*/ 185 h 217"/>
                  <a:gd name="T12" fmla="*/ 49 w 102"/>
                  <a:gd name="T13" fmla="*/ 213 h 217"/>
                  <a:gd name="T14" fmla="*/ 56 w 102"/>
                  <a:gd name="T15" fmla="*/ 203 h 217"/>
                  <a:gd name="T16" fmla="*/ 38 w 102"/>
                  <a:gd name="T17" fmla="*/ 162 h 217"/>
                  <a:gd name="T18" fmla="*/ 57 w 102"/>
                  <a:gd name="T19" fmla="*/ 138 h 217"/>
                  <a:gd name="T20" fmla="*/ 79 w 102"/>
                  <a:gd name="T21" fmla="*/ 146 h 217"/>
                  <a:gd name="T22" fmla="*/ 96 w 102"/>
                  <a:gd name="T23" fmla="*/ 137 h 217"/>
                  <a:gd name="T24" fmla="*/ 77 w 102"/>
                  <a:gd name="T25" fmla="*/ 124 h 217"/>
                  <a:gd name="T26" fmla="*/ 65 w 102"/>
                  <a:gd name="T27" fmla="*/ 116 h 217"/>
                  <a:gd name="T28" fmla="*/ 76 w 102"/>
                  <a:gd name="T29" fmla="*/ 105 h 217"/>
                  <a:gd name="T30" fmla="*/ 89 w 102"/>
                  <a:gd name="T31" fmla="*/ 89 h 217"/>
                  <a:gd name="T32" fmla="*/ 79 w 102"/>
                  <a:gd name="T33" fmla="*/ 63 h 217"/>
                  <a:gd name="T34" fmla="*/ 61 w 102"/>
                  <a:gd name="T35" fmla="*/ 71 h 217"/>
                  <a:gd name="T36" fmla="*/ 45 w 102"/>
                  <a:gd name="T37" fmla="*/ 89 h 217"/>
                  <a:gd name="T38" fmla="*/ 40 w 102"/>
                  <a:gd name="T39" fmla="*/ 63 h 217"/>
                  <a:gd name="T40" fmla="*/ 24 w 102"/>
                  <a:gd name="T41" fmla="*/ 37 h 217"/>
                  <a:gd name="T42" fmla="*/ 12 w 102"/>
                  <a:gd name="T43" fmla="*/ 60 h 217"/>
                  <a:gd name="T44" fmla="*/ 5 w 102"/>
                  <a:gd name="T45" fmla="*/ 8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2" h="217">
                    <a:moveTo>
                      <a:pt x="5" y="80"/>
                    </a:moveTo>
                    <a:cubicBezTo>
                      <a:pt x="0" y="84"/>
                      <a:pt x="1" y="92"/>
                      <a:pt x="5" y="98"/>
                    </a:cubicBezTo>
                    <a:cubicBezTo>
                      <a:pt x="9" y="104"/>
                      <a:pt x="11" y="107"/>
                      <a:pt x="11" y="117"/>
                    </a:cubicBezTo>
                    <a:cubicBezTo>
                      <a:pt x="11" y="127"/>
                      <a:pt x="7" y="132"/>
                      <a:pt x="13" y="138"/>
                    </a:cubicBezTo>
                    <a:cubicBezTo>
                      <a:pt x="19" y="144"/>
                      <a:pt x="22" y="144"/>
                      <a:pt x="20" y="158"/>
                    </a:cubicBezTo>
                    <a:cubicBezTo>
                      <a:pt x="18" y="172"/>
                      <a:pt x="15" y="176"/>
                      <a:pt x="28" y="185"/>
                    </a:cubicBezTo>
                    <a:cubicBezTo>
                      <a:pt x="41" y="194"/>
                      <a:pt x="41" y="209"/>
                      <a:pt x="49" y="213"/>
                    </a:cubicBezTo>
                    <a:cubicBezTo>
                      <a:pt x="57" y="217"/>
                      <a:pt x="61" y="214"/>
                      <a:pt x="56" y="203"/>
                    </a:cubicBezTo>
                    <a:cubicBezTo>
                      <a:pt x="51" y="192"/>
                      <a:pt x="35" y="180"/>
                      <a:pt x="38" y="162"/>
                    </a:cubicBezTo>
                    <a:cubicBezTo>
                      <a:pt x="41" y="144"/>
                      <a:pt x="42" y="136"/>
                      <a:pt x="57" y="138"/>
                    </a:cubicBezTo>
                    <a:cubicBezTo>
                      <a:pt x="72" y="140"/>
                      <a:pt x="70" y="140"/>
                      <a:pt x="79" y="146"/>
                    </a:cubicBezTo>
                    <a:cubicBezTo>
                      <a:pt x="88" y="152"/>
                      <a:pt x="102" y="147"/>
                      <a:pt x="96" y="137"/>
                    </a:cubicBezTo>
                    <a:cubicBezTo>
                      <a:pt x="90" y="127"/>
                      <a:pt x="86" y="123"/>
                      <a:pt x="77" y="124"/>
                    </a:cubicBezTo>
                    <a:cubicBezTo>
                      <a:pt x="68" y="125"/>
                      <a:pt x="63" y="124"/>
                      <a:pt x="65" y="116"/>
                    </a:cubicBezTo>
                    <a:cubicBezTo>
                      <a:pt x="67" y="108"/>
                      <a:pt x="68" y="108"/>
                      <a:pt x="76" y="105"/>
                    </a:cubicBezTo>
                    <a:cubicBezTo>
                      <a:pt x="84" y="102"/>
                      <a:pt x="87" y="102"/>
                      <a:pt x="89" y="89"/>
                    </a:cubicBezTo>
                    <a:cubicBezTo>
                      <a:pt x="91" y="76"/>
                      <a:pt x="90" y="70"/>
                      <a:pt x="79" y="63"/>
                    </a:cubicBezTo>
                    <a:cubicBezTo>
                      <a:pt x="68" y="56"/>
                      <a:pt x="65" y="61"/>
                      <a:pt x="61" y="71"/>
                    </a:cubicBezTo>
                    <a:cubicBezTo>
                      <a:pt x="57" y="81"/>
                      <a:pt x="53" y="90"/>
                      <a:pt x="45" y="89"/>
                    </a:cubicBezTo>
                    <a:cubicBezTo>
                      <a:pt x="37" y="88"/>
                      <a:pt x="40" y="85"/>
                      <a:pt x="40" y="63"/>
                    </a:cubicBezTo>
                    <a:cubicBezTo>
                      <a:pt x="40" y="41"/>
                      <a:pt x="40" y="0"/>
                      <a:pt x="24" y="37"/>
                    </a:cubicBezTo>
                    <a:cubicBezTo>
                      <a:pt x="24" y="37"/>
                      <a:pt x="12" y="49"/>
                      <a:pt x="12" y="60"/>
                    </a:cubicBezTo>
                    <a:cubicBezTo>
                      <a:pt x="12" y="71"/>
                      <a:pt x="10" y="76"/>
                      <a:pt x="5" y="8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2" name="Freeform 306">
                <a:extLst>
                  <a:ext uri="{FF2B5EF4-FFF2-40B4-BE49-F238E27FC236}">
                    <a16:creationId xmlns:a16="http://schemas.microsoft.com/office/drawing/2014/main" id="{2AAE32A4-A524-7847-B33C-E868DE2995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5" y="2533"/>
                <a:ext cx="8" cy="17"/>
              </a:xfrm>
              <a:custGeom>
                <a:avLst/>
                <a:gdLst>
                  <a:gd name="T0" fmla="*/ 15 w 30"/>
                  <a:gd name="T1" fmla="*/ 20 h 66"/>
                  <a:gd name="T2" fmla="*/ 0 w 30"/>
                  <a:gd name="T3" fmla="*/ 46 h 66"/>
                  <a:gd name="T4" fmla="*/ 15 w 30"/>
                  <a:gd name="T5" fmla="*/ 58 h 66"/>
                  <a:gd name="T6" fmla="*/ 29 w 30"/>
                  <a:gd name="T7" fmla="*/ 34 h 66"/>
                  <a:gd name="T8" fmla="*/ 15 w 30"/>
                  <a:gd name="T9" fmla="*/ 2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66">
                    <a:moveTo>
                      <a:pt x="15" y="20"/>
                    </a:moveTo>
                    <a:cubicBezTo>
                      <a:pt x="15" y="20"/>
                      <a:pt x="0" y="33"/>
                      <a:pt x="0" y="46"/>
                    </a:cubicBezTo>
                    <a:cubicBezTo>
                      <a:pt x="0" y="59"/>
                      <a:pt x="8" y="66"/>
                      <a:pt x="15" y="58"/>
                    </a:cubicBezTo>
                    <a:cubicBezTo>
                      <a:pt x="22" y="50"/>
                      <a:pt x="28" y="45"/>
                      <a:pt x="29" y="34"/>
                    </a:cubicBezTo>
                    <a:cubicBezTo>
                      <a:pt x="30" y="23"/>
                      <a:pt x="25" y="0"/>
                      <a:pt x="15" y="2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3" name="Freeform 307">
                <a:extLst>
                  <a:ext uri="{FF2B5EF4-FFF2-40B4-BE49-F238E27FC236}">
                    <a16:creationId xmlns:a16="http://schemas.microsoft.com/office/drawing/2014/main" id="{6027A03B-CA9F-3748-BC4C-755FEC221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0" y="2605"/>
                <a:ext cx="34" cy="17"/>
              </a:xfrm>
              <a:custGeom>
                <a:avLst/>
                <a:gdLst>
                  <a:gd name="T0" fmla="*/ 121 w 132"/>
                  <a:gd name="T1" fmla="*/ 28 h 68"/>
                  <a:gd name="T2" fmla="*/ 114 w 132"/>
                  <a:gd name="T3" fmla="*/ 10 h 68"/>
                  <a:gd name="T4" fmla="*/ 76 w 132"/>
                  <a:gd name="T5" fmla="*/ 16 h 68"/>
                  <a:gd name="T6" fmla="*/ 32 w 132"/>
                  <a:gd name="T7" fmla="*/ 5 h 68"/>
                  <a:gd name="T8" fmla="*/ 1 w 132"/>
                  <a:gd name="T9" fmla="*/ 11 h 68"/>
                  <a:gd name="T10" fmla="*/ 19 w 132"/>
                  <a:gd name="T11" fmla="*/ 32 h 68"/>
                  <a:gd name="T12" fmla="*/ 44 w 132"/>
                  <a:gd name="T13" fmla="*/ 25 h 68"/>
                  <a:gd name="T14" fmla="*/ 96 w 132"/>
                  <a:gd name="T15" fmla="*/ 30 h 68"/>
                  <a:gd name="T16" fmla="*/ 106 w 132"/>
                  <a:gd name="T17" fmla="*/ 51 h 68"/>
                  <a:gd name="T18" fmla="*/ 111 w 132"/>
                  <a:gd name="T19" fmla="*/ 67 h 68"/>
                  <a:gd name="T20" fmla="*/ 120 w 132"/>
                  <a:gd name="T21" fmla="*/ 55 h 68"/>
                  <a:gd name="T22" fmla="*/ 121 w 132"/>
                  <a:gd name="T23" fmla="*/ 2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2" h="68">
                    <a:moveTo>
                      <a:pt x="121" y="28"/>
                    </a:moveTo>
                    <a:cubicBezTo>
                      <a:pt x="132" y="23"/>
                      <a:pt x="125" y="10"/>
                      <a:pt x="114" y="10"/>
                    </a:cubicBezTo>
                    <a:cubicBezTo>
                      <a:pt x="103" y="10"/>
                      <a:pt x="88" y="18"/>
                      <a:pt x="76" y="16"/>
                    </a:cubicBezTo>
                    <a:cubicBezTo>
                      <a:pt x="64" y="14"/>
                      <a:pt x="68" y="0"/>
                      <a:pt x="32" y="5"/>
                    </a:cubicBezTo>
                    <a:cubicBezTo>
                      <a:pt x="32" y="5"/>
                      <a:pt x="2" y="3"/>
                      <a:pt x="1" y="11"/>
                    </a:cubicBezTo>
                    <a:cubicBezTo>
                      <a:pt x="0" y="19"/>
                      <a:pt x="0" y="31"/>
                      <a:pt x="19" y="32"/>
                    </a:cubicBezTo>
                    <a:cubicBezTo>
                      <a:pt x="38" y="33"/>
                      <a:pt x="27" y="25"/>
                      <a:pt x="44" y="25"/>
                    </a:cubicBezTo>
                    <a:cubicBezTo>
                      <a:pt x="61" y="25"/>
                      <a:pt x="93" y="19"/>
                      <a:pt x="96" y="30"/>
                    </a:cubicBezTo>
                    <a:cubicBezTo>
                      <a:pt x="99" y="41"/>
                      <a:pt x="101" y="50"/>
                      <a:pt x="106" y="51"/>
                    </a:cubicBezTo>
                    <a:cubicBezTo>
                      <a:pt x="111" y="52"/>
                      <a:pt x="106" y="66"/>
                      <a:pt x="111" y="67"/>
                    </a:cubicBezTo>
                    <a:cubicBezTo>
                      <a:pt x="116" y="68"/>
                      <a:pt x="120" y="68"/>
                      <a:pt x="120" y="55"/>
                    </a:cubicBezTo>
                    <a:cubicBezTo>
                      <a:pt x="120" y="42"/>
                      <a:pt x="110" y="33"/>
                      <a:pt x="121" y="2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4" name="Freeform 308">
                <a:extLst>
                  <a:ext uri="{FF2B5EF4-FFF2-40B4-BE49-F238E27FC236}">
                    <a16:creationId xmlns:a16="http://schemas.microsoft.com/office/drawing/2014/main" id="{01CDF524-A5F6-F747-9FB7-9A6AE5C02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9" y="2629"/>
                <a:ext cx="19" cy="15"/>
              </a:xfrm>
              <a:custGeom>
                <a:avLst/>
                <a:gdLst>
                  <a:gd name="T0" fmla="*/ 32 w 78"/>
                  <a:gd name="T1" fmla="*/ 1 h 59"/>
                  <a:gd name="T2" fmla="*/ 4 w 78"/>
                  <a:gd name="T3" fmla="*/ 15 h 59"/>
                  <a:gd name="T4" fmla="*/ 18 w 78"/>
                  <a:gd name="T5" fmla="*/ 37 h 59"/>
                  <a:gd name="T6" fmla="*/ 42 w 78"/>
                  <a:gd name="T7" fmla="*/ 59 h 59"/>
                  <a:gd name="T8" fmla="*/ 61 w 78"/>
                  <a:gd name="T9" fmla="*/ 46 h 59"/>
                  <a:gd name="T10" fmla="*/ 77 w 78"/>
                  <a:gd name="T11" fmla="*/ 31 h 59"/>
                  <a:gd name="T12" fmla="*/ 62 w 78"/>
                  <a:gd name="T13" fmla="*/ 10 h 59"/>
                  <a:gd name="T14" fmla="*/ 32 w 78"/>
                  <a:gd name="T15" fmla="*/ 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" h="59">
                    <a:moveTo>
                      <a:pt x="32" y="1"/>
                    </a:moveTo>
                    <a:cubicBezTo>
                      <a:pt x="32" y="1"/>
                      <a:pt x="0" y="2"/>
                      <a:pt x="4" y="15"/>
                    </a:cubicBezTo>
                    <a:cubicBezTo>
                      <a:pt x="8" y="28"/>
                      <a:pt x="9" y="25"/>
                      <a:pt x="18" y="37"/>
                    </a:cubicBezTo>
                    <a:cubicBezTo>
                      <a:pt x="27" y="49"/>
                      <a:pt x="34" y="59"/>
                      <a:pt x="42" y="59"/>
                    </a:cubicBezTo>
                    <a:cubicBezTo>
                      <a:pt x="50" y="59"/>
                      <a:pt x="51" y="49"/>
                      <a:pt x="61" y="46"/>
                    </a:cubicBezTo>
                    <a:cubicBezTo>
                      <a:pt x="71" y="43"/>
                      <a:pt x="76" y="42"/>
                      <a:pt x="77" y="31"/>
                    </a:cubicBezTo>
                    <a:cubicBezTo>
                      <a:pt x="78" y="20"/>
                      <a:pt x="75" y="19"/>
                      <a:pt x="62" y="10"/>
                    </a:cubicBezTo>
                    <a:cubicBezTo>
                      <a:pt x="49" y="1"/>
                      <a:pt x="60" y="0"/>
                      <a:pt x="32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5" name="Freeform 309">
                <a:extLst>
                  <a:ext uri="{FF2B5EF4-FFF2-40B4-BE49-F238E27FC236}">
                    <a16:creationId xmlns:a16="http://schemas.microsoft.com/office/drawing/2014/main" id="{6E664746-3FFB-6D46-B367-3AED9F472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0" y="2600"/>
                <a:ext cx="13" cy="10"/>
              </a:xfrm>
              <a:custGeom>
                <a:avLst/>
                <a:gdLst>
                  <a:gd name="T0" fmla="*/ 52 w 52"/>
                  <a:gd name="T1" fmla="*/ 25 h 39"/>
                  <a:gd name="T2" fmla="*/ 40 w 52"/>
                  <a:gd name="T3" fmla="*/ 15 h 39"/>
                  <a:gd name="T4" fmla="*/ 19 w 52"/>
                  <a:gd name="T5" fmla="*/ 8 h 39"/>
                  <a:gd name="T6" fmla="*/ 0 w 52"/>
                  <a:gd name="T7" fmla="*/ 19 h 39"/>
                  <a:gd name="T8" fmla="*/ 18 w 52"/>
                  <a:gd name="T9" fmla="*/ 31 h 39"/>
                  <a:gd name="T10" fmla="*/ 36 w 52"/>
                  <a:gd name="T11" fmla="*/ 30 h 39"/>
                  <a:gd name="T12" fmla="*/ 52 w 52"/>
                  <a:gd name="T13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39">
                    <a:moveTo>
                      <a:pt x="52" y="25"/>
                    </a:moveTo>
                    <a:cubicBezTo>
                      <a:pt x="52" y="16"/>
                      <a:pt x="45" y="15"/>
                      <a:pt x="40" y="15"/>
                    </a:cubicBezTo>
                    <a:cubicBezTo>
                      <a:pt x="35" y="15"/>
                      <a:pt x="33" y="0"/>
                      <a:pt x="19" y="8"/>
                    </a:cubicBezTo>
                    <a:cubicBezTo>
                      <a:pt x="19" y="8"/>
                      <a:pt x="0" y="13"/>
                      <a:pt x="0" y="19"/>
                    </a:cubicBezTo>
                    <a:cubicBezTo>
                      <a:pt x="0" y="25"/>
                      <a:pt x="11" y="23"/>
                      <a:pt x="18" y="31"/>
                    </a:cubicBezTo>
                    <a:cubicBezTo>
                      <a:pt x="25" y="39"/>
                      <a:pt x="31" y="36"/>
                      <a:pt x="36" y="30"/>
                    </a:cubicBezTo>
                    <a:cubicBezTo>
                      <a:pt x="41" y="24"/>
                      <a:pt x="52" y="34"/>
                      <a:pt x="52" y="2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6" name="Freeform 310">
                <a:extLst>
                  <a:ext uri="{FF2B5EF4-FFF2-40B4-BE49-F238E27FC236}">
                    <a16:creationId xmlns:a16="http://schemas.microsoft.com/office/drawing/2014/main" id="{FC31C5B1-20B8-9B49-A928-D2DC3DA33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3" y="2585"/>
                <a:ext cx="15" cy="9"/>
              </a:xfrm>
              <a:custGeom>
                <a:avLst/>
                <a:gdLst>
                  <a:gd name="T0" fmla="*/ 16 w 59"/>
                  <a:gd name="T1" fmla="*/ 15 h 35"/>
                  <a:gd name="T2" fmla="*/ 40 w 59"/>
                  <a:gd name="T3" fmla="*/ 32 h 35"/>
                  <a:gd name="T4" fmla="*/ 55 w 59"/>
                  <a:gd name="T5" fmla="*/ 24 h 35"/>
                  <a:gd name="T6" fmla="*/ 26 w 59"/>
                  <a:gd name="T7" fmla="*/ 0 h 35"/>
                  <a:gd name="T8" fmla="*/ 16 w 59"/>
                  <a:gd name="T9" fmla="*/ 1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35">
                    <a:moveTo>
                      <a:pt x="16" y="15"/>
                    </a:moveTo>
                    <a:cubicBezTo>
                      <a:pt x="32" y="28"/>
                      <a:pt x="26" y="29"/>
                      <a:pt x="40" y="32"/>
                    </a:cubicBezTo>
                    <a:cubicBezTo>
                      <a:pt x="54" y="35"/>
                      <a:pt x="59" y="35"/>
                      <a:pt x="55" y="24"/>
                    </a:cubicBezTo>
                    <a:cubicBezTo>
                      <a:pt x="51" y="13"/>
                      <a:pt x="43" y="2"/>
                      <a:pt x="26" y="0"/>
                    </a:cubicBezTo>
                    <a:cubicBezTo>
                      <a:pt x="26" y="0"/>
                      <a:pt x="0" y="2"/>
                      <a:pt x="16" y="1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7" name="Freeform 311">
                <a:extLst>
                  <a:ext uri="{FF2B5EF4-FFF2-40B4-BE49-F238E27FC236}">
                    <a16:creationId xmlns:a16="http://schemas.microsoft.com/office/drawing/2014/main" id="{00381181-6203-E142-80B8-22AE87C24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8" y="2624"/>
                <a:ext cx="51" cy="20"/>
              </a:xfrm>
              <a:custGeom>
                <a:avLst/>
                <a:gdLst>
                  <a:gd name="T0" fmla="*/ 193 w 202"/>
                  <a:gd name="T1" fmla="*/ 47 h 79"/>
                  <a:gd name="T2" fmla="*/ 168 w 202"/>
                  <a:gd name="T3" fmla="*/ 20 h 79"/>
                  <a:gd name="T4" fmla="*/ 130 w 202"/>
                  <a:gd name="T5" fmla="*/ 13 h 79"/>
                  <a:gd name="T6" fmla="*/ 100 w 202"/>
                  <a:gd name="T7" fmla="*/ 3 h 79"/>
                  <a:gd name="T8" fmla="*/ 68 w 202"/>
                  <a:gd name="T9" fmla="*/ 10 h 79"/>
                  <a:gd name="T10" fmla="*/ 48 w 202"/>
                  <a:gd name="T11" fmla="*/ 10 h 79"/>
                  <a:gd name="T12" fmla="*/ 19 w 202"/>
                  <a:gd name="T13" fmla="*/ 15 h 79"/>
                  <a:gd name="T14" fmla="*/ 6 w 202"/>
                  <a:gd name="T15" fmla="*/ 50 h 79"/>
                  <a:gd name="T16" fmla="*/ 16 w 202"/>
                  <a:gd name="T17" fmla="*/ 67 h 79"/>
                  <a:gd name="T18" fmla="*/ 30 w 202"/>
                  <a:gd name="T19" fmla="*/ 64 h 79"/>
                  <a:gd name="T20" fmla="*/ 19 w 202"/>
                  <a:gd name="T21" fmla="*/ 51 h 79"/>
                  <a:gd name="T22" fmla="*/ 27 w 202"/>
                  <a:gd name="T23" fmla="*/ 36 h 79"/>
                  <a:gd name="T24" fmla="*/ 37 w 202"/>
                  <a:gd name="T25" fmla="*/ 49 h 79"/>
                  <a:gd name="T26" fmla="*/ 59 w 202"/>
                  <a:gd name="T27" fmla="*/ 52 h 79"/>
                  <a:gd name="T28" fmla="*/ 67 w 202"/>
                  <a:gd name="T29" fmla="*/ 46 h 79"/>
                  <a:gd name="T30" fmla="*/ 80 w 202"/>
                  <a:gd name="T31" fmla="*/ 50 h 79"/>
                  <a:gd name="T32" fmla="*/ 99 w 202"/>
                  <a:gd name="T33" fmla="*/ 55 h 79"/>
                  <a:gd name="T34" fmla="*/ 110 w 202"/>
                  <a:gd name="T35" fmla="*/ 51 h 79"/>
                  <a:gd name="T36" fmla="*/ 126 w 202"/>
                  <a:gd name="T37" fmla="*/ 46 h 79"/>
                  <a:gd name="T38" fmla="*/ 141 w 202"/>
                  <a:gd name="T39" fmla="*/ 56 h 79"/>
                  <a:gd name="T40" fmla="*/ 159 w 202"/>
                  <a:gd name="T41" fmla="*/ 64 h 79"/>
                  <a:gd name="T42" fmla="*/ 173 w 202"/>
                  <a:gd name="T43" fmla="*/ 69 h 79"/>
                  <a:gd name="T44" fmla="*/ 190 w 202"/>
                  <a:gd name="T45" fmla="*/ 79 h 79"/>
                  <a:gd name="T46" fmla="*/ 196 w 202"/>
                  <a:gd name="T47" fmla="*/ 64 h 79"/>
                  <a:gd name="T48" fmla="*/ 193 w 202"/>
                  <a:gd name="T49" fmla="*/ 47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2" h="79">
                    <a:moveTo>
                      <a:pt x="193" y="47"/>
                    </a:moveTo>
                    <a:cubicBezTo>
                      <a:pt x="184" y="40"/>
                      <a:pt x="188" y="20"/>
                      <a:pt x="168" y="20"/>
                    </a:cubicBezTo>
                    <a:cubicBezTo>
                      <a:pt x="148" y="20"/>
                      <a:pt x="144" y="25"/>
                      <a:pt x="130" y="13"/>
                    </a:cubicBezTo>
                    <a:cubicBezTo>
                      <a:pt x="116" y="1"/>
                      <a:pt x="106" y="0"/>
                      <a:pt x="100" y="3"/>
                    </a:cubicBezTo>
                    <a:cubicBezTo>
                      <a:pt x="94" y="6"/>
                      <a:pt x="85" y="10"/>
                      <a:pt x="68" y="10"/>
                    </a:cubicBezTo>
                    <a:cubicBezTo>
                      <a:pt x="51" y="10"/>
                      <a:pt x="65" y="10"/>
                      <a:pt x="48" y="10"/>
                    </a:cubicBezTo>
                    <a:cubicBezTo>
                      <a:pt x="48" y="10"/>
                      <a:pt x="27" y="9"/>
                      <a:pt x="19" y="15"/>
                    </a:cubicBezTo>
                    <a:cubicBezTo>
                      <a:pt x="11" y="21"/>
                      <a:pt x="0" y="30"/>
                      <a:pt x="6" y="50"/>
                    </a:cubicBezTo>
                    <a:cubicBezTo>
                      <a:pt x="12" y="70"/>
                      <a:pt x="10" y="62"/>
                      <a:pt x="16" y="67"/>
                    </a:cubicBezTo>
                    <a:cubicBezTo>
                      <a:pt x="22" y="72"/>
                      <a:pt x="30" y="77"/>
                      <a:pt x="30" y="64"/>
                    </a:cubicBezTo>
                    <a:cubicBezTo>
                      <a:pt x="30" y="51"/>
                      <a:pt x="19" y="63"/>
                      <a:pt x="19" y="51"/>
                    </a:cubicBezTo>
                    <a:cubicBezTo>
                      <a:pt x="19" y="39"/>
                      <a:pt x="21" y="35"/>
                      <a:pt x="27" y="36"/>
                    </a:cubicBezTo>
                    <a:cubicBezTo>
                      <a:pt x="33" y="37"/>
                      <a:pt x="31" y="48"/>
                      <a:pt x="37" y="49"/>
                    </a:cubicBezTo>
                    <a:cubicBezTo>
                      <a:pt x="43" y="50"/>
                      <a:pt x="56" y="57"/>
                      <a:pt x="59" y="52"/>
                    </a:cubicBezTo>
                    <a:cubicBezTo>
                      <a:pt x="62" y="47"/>
                      <a:pt x="61" y="46"/>
                      <a:pt x="67" y="46"/>
                    </a:cubicBezTo>
                    <a:cubicBezTo>
                      <a:pt x="73" y="46"/>
                      <a:pt x="77" y="45"/>
                      <a:pt x="80" y="50"/>
                    </a:cubicBezTo>
                    <a:cubicBezTo>
                      <a:pt x="83" y="55"/>
                      <a:pt x="91" y="55"/>
                      <a:pt x="99" y="55"/>
                    </a:cubicBezTo>
                    <a:cubicBezTo>
                      <a:pt x="107" y="55"/>
                      <a:pt x="109" y="59"/>
                      <a:pt x="110" y="51"/>
                    </a:cubicBezTo>
                    <a:cubicBezTo>
                      <a:pt x="111" y="43"/>
                      <a:pt x="115" y="44"/>
                      <a:pt x="126" y="46"/>
                    </a:cubicBezTo>
                    <a:cubicBezTo>
                      <a:pt x="137" y="48"/>
                      <a:pt x="129" y="56"/>
                      <a:pt x="141" y="56"/>
                    </a:cubicBezTo>
                    <a:cubicBezTo>
                      <a:pt x="153" y="56"/>
                      <a:pt x="149" y="64"/>
                      <a:pt x="159" y="64"/>
                    </a:cubicBezTo>
                    <a:cubicBezTo>
                      <a:pt x="169" y="64"/>
                      <a:pt x="168" y="60"/>
                      <a:pt x="173" y="69"/>
                    </a:cubicBezTo>
                    <a:cubicBezTo>
                      <a:pt x="178" y="78"/>
                      <a:pt x="181" y="79"/>
                      <a:pt x="190" y="79"/>
                    </a:cubicBezTo>
                    <a:cubicBezTo>
                      <a:pt x="199" y="79"/>
                      <a:pt x="197" y="74"/>
                      <a:pt x="196" y="64"/>
                    </a:cubicBezTo>
                    <a:cubicBezTo>
                      <a:pt x="195" y="54"/>
                      <a:pt x="202" y="54"/>
                      <a:pt x="193" y="4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8" name="Freeform 312">
                <a:extLst>
                  <a:ext uri="{FF2B5EF4-FFF2-40B4-BE49-F238E27FC236}">
                    <a16:creationId xmlns:a16="http://schemas.microsoft.com/office/drawing/2014/main" id="{97189ED2-C3B0-C742-9E3A-2BDB51151F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8" y="2606"/>
                <a:ext cx="15" cy="9"/>
              </a:xfrm>
              <a:custGeom>
                <a:avLst/>
                <a:gdLst>
                  <a:gd name="T0" fmla="*/ 11 w 59"/>
                  <a:gd name="T1" fmla="*/ 28 h 33"/>
                  <a:gd name="T2" fmla="*/ 33 w 59"/>
                  <a:gd name="T3" fmla="*/ 29 h 33"/>
                  <a:gd name="T4" fmla="*/ 53 w 59"/>
                  <a:gd name="T5" fmla="*/ 22 h 33"/>
                  <a:gd name="T6" fmla="*/ 41 w 59"/>
                  <a:gd name="T7" fmla="*/ 9 h 33"/>
                  <a:gd name="T8" fmla="*/ 23 w 59"/>
                  <a:gd name="T9" fmla="*/ 8 h 33"/>
                  <a:gd name="T10" fmla="*/ 11 w 59"/>
                  <a:gd name="T11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9" h="33">
                    <a:moveTo>
                      <a:pt x="11" y="28"/>
                    </a:moveTo>
                    <a:cubicBezTo>
                      <a:pt x="22" y="33"/>
                      <a:pt x="23" y="31"/>
                      <a:pt x="33" y="29"/>
                    </a:cubicBezTo>
                    <a:cubicBezTo>
                      <a:pt x="43" y="27"/>
                      <a:pt x="47" y="29"/>
                      <a:pt x="53" y="22"/>
                    </a:cubicBezTo>
                    <a:cubicBezTo>
                      <a:pt x="59" y="15"/>
                      <a:pt x="51" y="12"/>
                      <a:pt x="41" y="9"/>
                    </a:cubicBezTo>
                    <a:cubicBezTo>
                      <a:pt x="31" y="6"/>
                      <a:pt x="32" y="0"/>
                      <a:pt x="23" y="8"/>
                    </a:cubicBezTo>
                    <a:cubicBezTo>
                      <a:pt x="23" y="8"/>
                      <a:pt x="0" y="23"/>
                      <a:pt x="11" y="2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59" name="Freeform 313">
                <a:extLst>
                  <a:ext uri="{FF2B5EF4-FFF2-40B4-BE49-F238E27FC236}">
                    <a16:creationId xmlns:a16="http://schemas.microsoft.com/office/drawing/2014/main" id="{B5892AAD-B6C7-2F43-B1F0-F0A4204389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8" y="2579"/>
                <a:ext cx="17" cy="11"/>
              </a:xfrm>
              <a:custGeom>
                <a:avLst/>
                <a:gdLst>
                  <a:gd name="T0" fmla="*/ 66 w 67"/>
                  <a:gd name="T1" fmla="*/ 19 h 41"/>
                  <a:gd name="T2" fmla="*/ 53 w 67"/>
                  <a:gd name="T3" fmla="*/ 8 h 41"/>
                  <a:gd name="T4" fmla="*/ 21 w 67"/>
                  <a:gd name="T5" fmla="*/ 6 h 41"/>
                  <a:gd name="T6" fmla="*/ 1 w 67"/>
                  <a:gd name="T7" fmla="*/ 13 h 41"/>
                  <a:gd name="T8" fmla="*/ 11 w 67"/>
                  <a:gd name="T9" fmla="*/ 22 h 41"/>
                  <a:gd name="T10" fmla="*/ 26 w 67"/>
                  <a:gd name="T11" fmla="*/ 29 h 41"/>
                  <a:gd name="T12" fmla="*/ 37 w 67"/>
                  <a:gd name="T13" fmla="*/ 32 h 41"/>
                  <a:gd name="T14" fmla="*/ 54 w 67"/>
                  <a:gd name="T15" fmla="*/ 29 h 41"/>
                  <a:gd name="T16" fmla="*/ 66 w 67"/>
                  <a:gd name="T17" fmla="*/ 1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41">
                    <a:moveTo>
                      <a:pt x="66" y="19"/>
                    </a:moveTo>
                    <a:cubicBezTo>
                      <a:pt x="66" y="13"/>
                      <a:pt x="67" y="6"/>
                      <a:pt x="53" y="8"/>
                    </a:cubicBezTo>
                    <a:cubicBezTo>
                      <a:pt x="39" y="10"/>
                      <a:pt x="42" y="8"/>
                      <a:pt x="21" y="6"/>
                    </a:cubicBezTo>
                    <a:cubicBezTo>
                      <a:pt x="21" y="6"/>
                      <a:pt x="0" y="0"/>
                      <a:pt x="1" y="13"/>
                    </a:cubicBezTo>
                    <a:cubicBezTo>
                      <a:pt x="2" y="26"/>
                      <a:pt x="2" y="21"/>
                      <a:pt x="11" y="22"/>
                    </a:cubicBezTo>
                    <a:cubicBezTo>
                      <a:pt x="20" y="23"/>
                      <a:pt x="21" y="24"/>
                      <a:pt x="26" y="29"/>
                    </a:cubicBezTo>
                    <a:cubicBezTo>
                      <a:pt x="31" y="34"/>
                      <a:pt x="34" y="41"/>
                      <a:pt x="37" y="32"/>
                    </a:cubicBezTo>
                    <a:cubicBezTo>
                      <a:pt x="40" y="23"/>
                      <a:pt x="46" y="27"/>
                      <a:pt x="54" y="29"/>
                    </a:cubicBezTo>
                    <a:cubicBezTo>
                      <a:pt x="62" y="31"/>
                      <a:pt x="66" y="25"/>
                      <a:pt x="66" y="1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0" name="Freeform 314">
                <a:extLst>
                  <a:ext uri="{FF2B5EF4-FFF2-40B4-BE49-F238E27FC236}">
                    <a16:creationId xmlns:a16="http://schemas.microsoft.com/office/drawing/2014/main" id="{9A017064-DF02-8846-90D6-853F311085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603"/>
                <a:ext cx="34" cy="11"/>
              </a:xfrm>
              <a:custGeom>
                <a:avLst/>
                <a:gdLst>
                  <a:gd name="T0" fmla="*/ 117 w 132"/>
                  <a:gd name="T1" fmla="*/ 20 h 44"/>
                  <a:gd name="T2" fmla="*/ 88 w 132"/>
                  <a:gd name="T3" fmla="*/ 17 h 44"/>
                  <a:gd name="T4" fmla="*/ 66 w 132"/>
                  <a:gd name="T5" fmla="*/ 10 h 44"/>
                  <a:gd name="T6" fmla="*/ 40 w 132"/>
                  <a:gd name="T7" fmla="*/ 7 h 44"/>
                  <a:gd name="T8" fmla="*/ 13 w 132"/>
                  <a:gd name="T9" fmla="*/ 1 h 44"/>
                  <a:gd name="T10" fmla="*/ 12 w 132"/>
                  <a:gd name="T11" fmla="*/ 12 h 44"/>
                  <a:gd name="T12" fmla="*/ 35 w 132"/>
                  <a:gd name="T13" fmla="*/ 16 h 44"/>
                  <a:gd name="T14" fmla="*/ 59 w 132"/>
                  <a:gd name="T15" fmla="*/ 28 h 44"/>
                  <a:gd name="T16" fmla="*/ 86 w 132"/>
                  <a:gd name="T17" fmla="*/ 35 h 44"/>
                  <a:gd name="T18" fmla="*/ 116 w 132"/>
                  <a:gd name="T19" fmla="*/ 36 h 44"/>
                  <a:gd name="T20" fmla="*/ 117 w 132"/>
                  <a:gd name="T21" fmla="*/ 2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2" h="44">
                    <a:moveTo>
                      <a:pt x="117" y="20"/>
                    </a:moveTo>
                    <a:cubicBezTo>
                      <a:pt x="102" y="17"/>
                      <a:pt x="96" y="23"/>
                      <a:pt x="88" y="17"/>
                    </a:cubicBezTo>
                    <a:cubicBezTo>
                      <a:pt x="80" y="11"/>
                      <a:pt x="88" y="10"/>
                      <a:pt x="66" y="10"/>
                    </a:cubicBezTo>
                    <a:cubicBezTo>
                      <a:pt x="66" y="10"/>
                      <a:pt x="50" y="14"/>
                      <a:pt x="40" y="7"/>
                    </a:cubicBezTo>
                    <a:cubicBezTo>
                      <a:pt x="30" y="0"/>
                      <a:pt x="23" y="0"/>
                      <a:pt x="13" y="1"/>
                    </a:cubicBezTo>
                    <a:cubicBezTo>
                      <a:pt x="3" y="2"/>
                      <a:pt x="0" y="12"/>
                      <a:pt x="12" y="12"/>
                    </a:cubicBezTo>
                    <a:cubicBezTo>
                      <a:pt x="24" y="12"/>
                      <a:pt x="21" y="8"/>
                      <a:pt x="35" y="16"/>
                    </a:cubicBezTo>
                    <a:cubicBezTo>
                      <a:pt x="49" y="24"/>
                      <a:pt x="51" y="24"/>
                      <a:pt x="59" y="28"/>
                    </a:cubicBezTo>
                    <a:cubicBezTo>
                      <a:pt x="67" y="32"/>
                      <a:pt x="73" y="34"/>
                      <a:pt x="86" y="35"/>
                    </a:cubicBezTo>
                    <a:cubicBezTo>
                      <a:pt x="99" y="36"/>
                      <a:pt x="115" y="44"/>
                      <a:pt x="116" y="36"/>
                    </a:cubicBezTo>
                    <a:cubicBezTo>
                      <a:pt x="117" y="28"/>
                      <a:pt x="132" y="23"/>
                      <a:pt x="117" y="2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1" name="Freeform 315">
                <a:extLst>
                  <a:ext uri="{FF2B5EF4-FFF2-40B4-BE49-F238E27FC236}">
                    <a16:creationId xmlns:a16="http://schemas.microsoft.com/office/drawing/2014/main" id="{61DB6242-F633-3245-8D46-900791388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8" y="2591"/>
                <a:ext cx="17" cy="10"/>
              </a:xfrm>
              <a:custGeom>
                <a:avLst/>
                <a:gdLst>
                  <a:gd name="T0" fmla="*/ 34 w 67"/>
                  <a:gd name="T1" fmla="*/ 26 h 39"/>
                  <a:gd name="T2" fmla="*/ 50 w 67"/>
                  <a:gd name="T3" fmla="*/ 37 h 39"/>
                  <a:gd name="T4" fmla="*/ 64 w 67"/>
                  <a:gd name="T5" fmla="*/ 29 h 39"/>
                  <a:gd name="T6" fmla="*/ 27 w 67"/>
                  <a:gd name="T7" fmla="*/ 1 h 39"/>
                  <a:gd name="T8" fmla="*/ 14 w 67"/>
                  <a:gd name="T9" fmla="*/ 10 h 39"/>
                  <a:gd name="T10" fmla="*/ 34 w 67"/>
                  <a:gd name="T11" fmla="*/ 2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39">
                    <a:moveTo>
                      <a:pt x="34" y="26"/>
                    </a:moveTo>
                    <a:cubicBezTo>
                      <a:pt x="39" y="36"/>
                      <a:pt x="43" y="35"/>
                      <a:pt x="50" y="37"/>
                    </a:cubicBezTo>
                    <a:cubicBezTo>
                      <a:pt x="57" y="39"/>
                      <a:pt x="67" y="39"/>
                      <a:pt x="64" y="29"/>
                    </a:cubicBezTo>
                    <a:cubicBezTo>
                      <a:pt x="61" y="19"/>
                      <a:pt x="60" y="10"/>
                      <a:pt x="27" y="1"/>
                    </a:cubicBezTo>
                    <a:cubicBezTo>
                      <a:pt x="27" y="1"/>
                      <a:pt x="0" y="0"/>
                      <a:pt x="14" y="10"/>
                    </a:cubicBezTo>
                    <a:cubicBezTo>
                      <a:pt x="28" y="20"/>
                      <a:pt x="29" y="16"/>
                      <a:pt x="34" y="2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2" name="Freeform 316">
                <a:extLst>
                  <a:ext uri="{FF2B5EF4-FFF2-40B4-BE49-F238E27FC236}">
                    <a16:creationId xmlns:a16="http://schemas.microsoft.com/office/drawing/2014/main" id="{9F8E81E7-FA36-A143-830C-DAE34464B4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0" y="2595"/>
                <a:ext cx="4" cy="4"/>
              </a:xfrm>
              <a:custGeom>
                <a:avLst/>
                <a:gdLst>
                  <a:gd name="T0" fmla="*/ 5 w 16"/>
                  <a:gd name="T1" fmla="*/ 1 h 17"/>
                  <a:gd name="T2" fmla="*/ 6 w 16"/>
                  <a:gd name="T3" fmla="*/ 9 h 17"/>
                  <a:gd name="T4" fmla="*/ 15 w 16"/>
                  <a:gd name="T5" fmla="*/ 5 h 17"/>
                  <a:gd name="T6" fmla="*/ 5 w 16"/>
                  <a:gd name="T7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7">
                    <a:moveTo>
                      <a:pt x="5" y="1"/>
                    </a:moveTo>
                    <a:cubicBezTo>
                      <a:pt x="5" y="1"/>
                      <a:pt x="0" y="1"/>
                      <a:pt x="6" y="9"/>
                    </a:cubicBezTo>
                    <a:cubicBezTo>
                      <a:pt x="12" y="17"/>
                      <a:pt x="16" y="10"/>
                      <a:pt x="15" y="5"/>
                    </a:cubicBezTo>
                    <a:cubicBezTo>
                      <a:pt x="14" y="0"/>
                      <a:pt x="14" y="1"/>
                      <a:pt x="5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3" name="Freeform 317">
                <a:extLst>
                  <a:ext uri="{FF2B5EF4-FFF2-40B4-BE49-F238E27FC236}">
                    <a16:creationId xmlns:a16="http://schemas.microsoft.com/office/drawing/2014/main" id="{41CEAB76-0311-5A43-A2F9-3B0FF1D37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9" y="2662"/>
                <a:ext cx="12" cy="32"/>
              </a:xfrm>
              <a:custGeom>
                <a:avLst/>
                <a:gdLst>
                  <a:gd name="T0" fmla="*/ 41 w 49"/>
                  <a:gd name="T1" fmla="*/ 34 h 125"/>
                  <a:gd name="T2" fmla="*/ 21 w 49"/>
                  <a:gd name="T3" fmla="*/ 23 h 125"/>
                  <a:gd name="T4" fmla="*/ 8 w 49"/>
                  <a:gd name="T5" fmla="*/ 41 h 125"/>
                  <a:gd name="T6" fmla="*/ 12 w 49"/>
                  <a:gd name="T7" fmla="*/ 60 h 125"/>
                  <a:gd name="T8" fmla="*/ 3 w 49"/>
                  <a:gd name="T9" fmla="*/ 80 h 125"/>
                  <a:gd name="T10" fmla="*/ 6 w 49"/>
                  <a:gd name="T11" fmla="*/ 124 h 125"/>
                  <a:gd name="T12" fmla="*/ 22 w 49"/>
                  <a:gd name="T13" fmla="*/ 113 h 125"/>
                  <a:gd name="T14" fmla="*/ 31 w 49"/>
                  <a:gd name="T15" fmla="*/ 94 h 125"/>
                  <a:gd name="T16" fmla="*/ 42 w 49"/>
                  <a:gd name="T17" fmla="*/ 80 h 125"/>
                  <a:gd name="T18" fmla="*/ 41 w 49"/>
                  <a:gd name="T19" fmla="*/ 3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125">
                    <a:moveTo>
                      <a:pt x="41" y="34"/>
                    </a:moveTo>
                    <a:cubicBezTo>
                      <a:pt x="33" y="30"/>
                      <a:pt x="35" y="0"/>
                      <a:pt x="21" y="23"/>
                    </a:cubicBezTo>
                    <a:cubicBezTo>
                      <a:pt x="21" y="23"/>
                      <a:pt x="4" y="31"/>
                      <a:pt x="8" y="41"/>
                    </a:cubicBezTo>
                    <a:cubicBezTo>
                      <a:pt x="12" y="51"/>
                      <a:pt x="16" y="55"/>
                      <a:pt x="12" y="60"/>
                    </a:cubicBezTo>
                    <a:cubicBezTo>
                      <a:pt x="8" y="65"/>
                      <a:pt x="3" y="67"/>
                      <a:pt x="3" y="80"/>
                    </a:cubicBezTo>
                    <a:cubicBezTo>
                      <a:pt x="3" y="93"/>
                      <a:pt x="0" y="124"/>
                      <a:pt x="6" y="124"/>
                    </a:cubicBezTo>
                    <a:cubicBezTo>
                      <a:pt x="12" y="124"/>
                      <a:pt x="16" y="125"/>
                      <a:pt x="22" y="113"/>
                    </a:cubicBezTo>
                    <a:cubicBezTo>
                      <a:pt x="28" y="101"/>
                      <a:pt x="32" y="110"/>
                      <a:pt x="31" y="94"/>
                    </a:cubicBezTo>
                    <a:cubicBezTo>
                      <a:pt x="30" y="78"/>
                      <a:pt x="39" y="98"/>
                      <a:pt x="42" y="80"/>
                    </a:cubicBezTo>
                    <a:cubicBezTo>
                      <a:pt x="45" y="62"/>
                      <a:pt x="49" y="38"/>
                      <a:pt x="41" y="3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4" name="Freeform 318">
                <a:extLst>
                  <a:ext uri="{FF2B5EF4-FFF2-40B4-BE49-F238E27FC236}">
                    <a16:creationId xmlns:a16="http://schemas.microsoft.com/office/drawing/2014/main" id="{4C0A4F5C-0138-634C-B828-277120F69A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7" y="2694"/>
                <a:ext cx="22" cy="17"/>
              </a:xfrm>
              <a:custGeom>
                <a:avLst/>
                <a:gdLst>
                  <a:gd name="T0" fmla="*/ 79 w 86"/>
                  <a:gd name="T1" fmla="*/ 5 h 68"/>
                  <a:gd name="T2" fmla="*/ 46 w 86"/>
                  <a:gd name="T3" fmla="*/ 10 h 68"/>
                  <a:gd name="T4" fmla="*/ 27 w 86"/>
                  <a:gd name="T5" fmla="*/ 31 h 68"/>
                  <a:gd name="T6" fmla="*/ 14 w 86"/>
                  <a:gd name="T7" fmla="*/ 56 h 68"/>
                  <a:gd name="T8" fmla="*/ 38 w 86"/>
                  <a:gd name="T9" fmla="*/ 58 h 68"/>
                  <a:gd name="T10" fmla="*/ 59 w 86"/>
                  <a:gd name="T11" fmla="*/ 35 h 68"/>
                  <a:gd name="T12" fmla="*/ 67 w 86"/>
                  <a:gd name="T13" fmla="*/ 16 h 68"/>
                  <a:gd name="T14" fmla="*/ 79 w 86"/>
                  <a:gd name="T15" fmla="*/ 5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68">
                    <a:moveTo>
                      <a:pt x="79" y="5"/>
                    </a:moveTo>
                    <a:cubicBezTo>
                      <a:pt x="72" y="5"/>
                      <a:pt x="52" y="0"/>
                      <a:pt x="46" y="10"/>
                    </a:cubicBezTo>
                    <a:cubicBezTo>
                      <a:pt x="46" y="10"/>
                      <a:pt x="32" y="24"/>
                      <a:pt x="27" y="31"/>
                    </a:cubicBezTo>
                    <a:cubicBezTo>
                      <a:pt x="22" y="38"/>
                      <a:pt x="0" y="51"/>
                      <a:pt x="14" y="56"/>
                    </a:cubicBezTo>
                    <a:cubicBezTo>
                      <a:pt x="28" y="61"/>
                      <a:pt x="33" y="68"/>
                      <a:pt x="38" y="58"/>
                    </a:cubicBezTo>
                    <a:cubicBezTo>
                      <a:pt x="43" y="48"/>
                      <a:pt x="59" y="47"/>
                      <a:pt x="59" y="35"/>
                    </a:cubicBezTo>
                    <a:cubicBezTo>
                      <a:pt x="59" y="23"/>
                      <a:pt x="53" y="16"/>
                      <a:pt x="67" y="16"/>
                    </a:cubicBezTo>
                    <a:cubicBezTo>
                      <a:pt x="81" y="16"/>
                      <a:pt x="86" y="5"/>
                      <a:pt x="79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5" name="Freeform 319">
                <a:extLst>
                  <a:ext uri="{FF2B5EF4-FFF2-40B4-BE49-F238E27FC236}">
                    <a16:creationId xmlns:a16="http://schemas.microsoft.com/office/drawing/2014/main" id="{306720B6-37E5-2044-971F-D5A5F5047C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583"/>
                <a:ext cx="176" cy="147"/>
              </a:xfrm>
              <a:custGeom>
                <a:avLst/>
                <a:gdLst>
                  <a:gd name="T0" fmla="*/ 687 w 696"/>
                  <a:gd name="T1" fmla="*/ 430 h 579"/>
                  <a:gd name="T2" fmla="*/ 689 w 696"/>
                  <a:gd name="T3" fmla="*/ 376 h 579"/>
                  <a:gd name="T4" fmla="*/ 670 w 696"/>
                  <a:gd name="T5" fmla="*/ 156 h 579"/>
                  <a:gd name="T6" fmla="*/ 580 w 696"/>
                  <a:gd name="T7" fmla="*/ 126 h 579"/>
                  <a:gd name="T8" fmla="*/ 495 w 696"/>
                  <a:gd name="T9" fmla="*/ 83 h 579"/>
                  <a:gd name="T10" fmla="*/ 433 w 696"/>
                  <a:gd name="T11" fmla="*/ 124 h 579"/>
                  <a:gd name="T12" fmla="*/ 354 w 696"/>
                  <a:gd name="T13" fmla="*/ 179 h 579"/>
                  <a:gd name="T14" fmla="*/ 292 w 696"/>
                  <a:gd name="T15" fmla="*/ 188 h 579"/>
                  <a:gd name="T16" fmla="*/ 257 w 696"/>
                  <a:gd name="T17" fmla="*/ 134 h 579"/>
                  <a:gd name="T18" fmla="*/ 258 w 696"/>
                  <a:gd name="T19" fmla="*/ 62 h 579"/>
                  <a:gd name="T20" fmla="*/ 191 w 696"/>
                  <a:gd name="T21" fmla="*/ 28 h 579"/>
                  <a:gd name="T22" fmla="*/ 94 w 696"/>
                  <a:gd name="T23" fmla="*/ 33 h 579"/>
                  <a:gd name="T24" fmla="*/ 65 w 696"/>
                  <a:gd name="T25" fmla="*/ 57 h 579"/>
                  <a:gd name="T26" fmla="*/ 12 w 696"/>
                  <a:gd name="T27" fmla="*/ 38 h 579"/>
                  <a:gd name="T28" fmla="*/ 36 w 696"/>
                  <a:gd name="T29" fmla="*/ 60 h 579"/>
                  <a:gd name="T30" fmla="*/ 59 w 696"/>
                  <a:gd name="T31" fmla="*/ 88 h 579"/>
                  <a:gd name="T32" fmla="*/ 125 w 696"/>
                  <a:gd name="T33" fmla="*/ 133 h 579"/>
                  <a:gd name="T34" fmla="*/ 183 w 696"/>
                  <a:gd name="T35" fmla="*/ 137 h 579"/>
                  <a:gd name="T36" fmla="*/ 234 w 696"/>
                  <a:gd name="T37" fmla="*/ 132 h 579"/>
                  <a:gd name="T38" fmla="*/ 191 w 696"/>
                  <a:gd name="T39" fmla="*/ 148 h 579"/>
                  <a:gd name="T40" fmla="*/ 145 w 696"/>
                  <a:gd name="T41" fmla="*/ 164 h 579"/>
                  <a:gd name="T42" fmla="*/ 137 w 696"/>
                  <a:gd name="T43" fmla="*/ 181 h 579"/>
                  <a:gd name="T44" fmla="*/ 170 w 696"/>
                  <a:gd name="T45" fmla="*/ 227 h 579"/>
                  <a:gd name="T46" fmla="*/ 212 w 696"/>
                  <a:gd name="T47" fmla="*/ 234 h 579"/>
                  <a:gd name="T48" fmla="*/ 252 w 696"/>
                  <a:gd name="T49" fmla="*/ 239 h 579"/>
                  <a:gd name="T50" fmla="*/ 304 w 696"/>
                  <a:gd name="T51" fmla="*/ 268 h 579"/>
                  <a:gd name="T52" fmla="*/ 391 w 696"/>
                  <a:gd name="T53" fmla="*/ 290 h 579"/>
                  <a:gd name="T54" fmla="*/ 500 w 696"/>
                  <a:gd name="T55" fmla="*/ 339 h 579"/>
                  <a:gd name="T56" fmla="*/ 551 w 696"/>
                  <a:gd name="T57" fmla="*/ 435 h 579"/>
                  <a:gd name="T58" fmla="*/ 493 w 696"/>
                  <a:gd name="T59" fmla="*/ 481 h 579"/>
                  <a:gd name="T60" fmla="*/ 498 w 696"/>
                  <a:gd name="T61" fmla="*/ 531 h 579"/>
                  <a:gd name="T62" fmla="*/ 575 w 696"/>
                  <a:gd name="T63" fmla="*/ 509 h 579"/>
                  <a:gd name="T64" fmla="*/ 629 w 696"/>
                  <a:gd name="T65" fmla="*/ 517 h 579"/>
                  <a:gd name="T66" fmla="*/ 690 w 696"/>
                  <a:gd name="T67" fmla="*/ 579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96" h="579">
                    <a:moveTo>
                      <a:pt x="689" y="475"/>
                    </a:moveTo>
                    <a:cubicBezTo>
                      <a:pt x="691" y="451"/>
                      <a:pt x="696" y="437"/>
                      <a:pt x="687" y="430"/>
                    </a:cubicBezTo>
                    <a:cubicBezTo>
                      <a:pt x="679" y="424"/>
                      <a:pt x="672" y="413"/>
                      <a:pt x="684" y="407"/>
                    </a:cubicBezTo>
                    <a:cubicBezTo>
                      <a:pt x="696" y="400"/>
                      <a:pt x="689" y="376"/>
                      <a:pt x="689" y="376"/>
                    </a:cubicBezTo>
                    <a:cubicBezTo>
                      <a:pt x="687" y="161"/>
                      <a:pt x="687" y="161"/>
                      <a:pt x="687" y="161"/>
                    </a:cubicBezTo>
                    <a:cubicBezTo>
                      <a:pt x="679" y="162"/>
                      <a:pt x="673" y="163"/>
                      <a:pt x="670" y="156"/>
                    </a:cubicBezTo>
                    <a:cubicBezTo>
                      <a:pt x="665" y="143"/>
                      <a:pt x="673" y="138"/>
                      <a:pt x="650" y="138"/>
                    </a:cubicBezTo>
                    <a:cubicBezTo>
                      <a:pt x="627" y="138"/>
                      <a:pt x="609" y="143"/>
                      <a:pt x="580" y="126"/>
                    </a:cubicBezTo>
                    <a:cubicBezTo>
                      <a:pt x="551" y="109"/>
                      <a:pt x="547" y="106"/>
                      <a:pt x="531" y="100"/>
                    </a:cubicBezTo>
                    <a:cubicBezTo>
                      <a:pt x="515" y="94"/>
                      <a:pt x="512" y="81"/>
                      <a:pt x="495" y="83"/>
                    </a:cubicBezTo>
                    <a:cubicBezTo>
                      <a:pt x="478" y="85"/>
                      <a:pt x="462" y="84"/>
                      <a:pt x="455" y="98"/>
                    </a:cubicBezTo>
                    <a:cubicBezTo>
                      <a:pt x="448" y="112"/>
                      <a:pt x="451" y="124"/>
                      <a:pt x="433" y="124"/>
                    </a:cubicBezTo>
                    <a:cubicBezTo>
                      <a:pt x="415" y="124"/>
                      <a:pt x="405" y="121"/>
                      <a:pt x="397" y="135"/>
                    </a:cubicBezTo>
                    <a:cubicBezTo>
                      <a:pt x="389" y="149"/>
                      <a:pt x="358" y="169"/>
                      <a:pt x="354" y="179"/>
                    </a:cubicBezTo>
                    <a:cubicBezTo>
                      <a:pt x="350" y="189"/>
                      <a:pt x="354" y="209"/>
                      <a:pt x="330" y="208"/>
                    </a:cubicBezTo>
                    <a:cubicBezTo>
                      <a:pt x="306" y="207"/>
                      <a:pt x="304" y="200"/>
                      <a:pt x="292" y="188"/>
                    </a:cubicBezTo>
                    <a:cubicBezTo>
                      <a:pt x="280" y="176"/>
                      <a:pt x="297" y="168"/>
                      <a:pt x="282" y="158"/>
                    </a:cubicBezTo>
                    <a:cubicBezTo>
                      <a:pt x="267" y="148"/>
                      <a:pt x="256" y="158"/>
                      <a:pt x="257" y="134"/>
                    </a:cubicBezTo>
                    <a:cubicBezTo>
                      <a:pt x="258" y="110"/>
                      <a:pt x="249" y="103"/>
                      <a:pt x="257" y="88"/>
                    </a:cubicBezTo>
                    <a:cubicBezTo>
                      <a:pt x="265" y="73"/>
                      <a:pt x="267" y="72"/>
                      <a:pt x="258" y="62"/>
                    </a:cubicBezTo>
                    <a:cubicBezTo>
                      <a:pt x="249" y="52"/>
                      <a:pt x="261" y="38"/>
                      <a:pt x="237" y="35"/>
                    </a:cubicBezTo>
                    <a:cubicBezTo>
                      <a:pt x="213" y="32"/>
                      <a:pt x="206" y="38"/>
                      <a:pt x="191" y="28"/>
                    </a:cubicBezTo>
                    <a:cubicBezTo>
                      <a:pt x="176" y="18"/>
                      <a:pt x="145" y="0"/>
                      <a:pt x="124" y="18"/>
                    </a:cubicBezTo>
                    <a:cubicBezTo>
                      <a:pt x="124" y="18"/>
                      <a:pt x="111" y="33"/>
                      <a:pt x="94" y="33"/>
                    </a:cubicBezTo>
                    <a:cubicBezTo>
                      <a:pt x="77" y="33"/>
                      <a:pt x="67" y="36"/>
                      <a:pt x="71" y="44"/>
                    </a:cubicBezTo>
                    <a:cubicBezTo>
                      <a:pt x="75" y="52"/>
                      <a:pt x="75" y="69"/>
                      <a:pt x="65" y="57"/>
                    </a:cubicBezTo>
                    <a:cubicBezTo>
                      <a:pt x="55" y="45"/>
                      <a:pt x="49" y="42"/>
                      <a:pt x="38" y="39"/>
                    </a:cubicBezTo>
                    <a:cubicBezTo>
                      <a:pt x="27" y="36"/>
                      <a:pt x="24" y="32"/>
                      <a:pt x="12" y="38"/>
                    </a:cubicBezTo>
                    <a:cubicBezTo>
                      <a:pt x="0" y="44"/>
                      <a:pt x="11" y="50"/>
                      <a:pt x="24" y="50"/>
                    </a:cubicBezTo>
                    <a:cubicBezTo>
                      <a:pt x="37" y="50"/>
                      <a:pt x="34" y="52"/>
                      <a:pt x="36" y="60"/>
                    </a:cubicBezTo>
                    <a:cubicBezTo>
                      <a:pt x="38" y="68"/>
                      <a:pt x="42" y="74"/>
                      <a:pt x="50" y="76"/>
                    </a:cubicBezTo>
                    <a:cubicBezTo>
                      <a:pt x="58" y="78"/>
                      <a:pt x="43" y="86"/>
                      <a:pt x="59" y="88"/>
                    </a:cubicBezTo>
                    <a:cubicBezTo>
                      <a:pt x="75" y="90"/>
                      <a:pt x="108" y="93"/>
                      <a:pt x="112" y="105"/>
                    </a:cubicBezTo>
                    <a:cubicBezTo>
                      <a:pt x="116" y="117"/>
                      <a:pt x="110" y="129"/>
                      <a:pt x="125" y="133"/>
                    </a:cubicBezTo>
                    <a:cubicBezTo>
                      <a:pt x="140" y="137"/>
                      <a:pt x="141" y="132"/>
                      <a:pt x="157" y="137"/>
                    </a:cubicBezTo>
                    <a:cubicBezTo>
                      <a:pt x="173" y="142"/>
                      <a:pt x="178" y="142"/>
                      <a:pt x="183" y="137"/>
                    </a:cubicBezTo>
                    <a:cubicBezTo>
                      <a:pt x="188" y="132"/>
                      <a:pt x="190" y="132"/>
                      <a:pt x="203" y="129"/>
                    </a:cubicBezTo>
                    <a:cubicBezTo>
                      <a:pt x="216" y="126"/>
                      <a:pt x="232" y="125"/>
                      <a:pt x="234" y="132"/>
                    </a:cubicBezTo>
                    <a:cubicBezTo>
                      <a:pt x="236" y="139"/>
                      <a:pt x="238" y="145"/>
                      <a:pt x="225" y="147"/>
                    </a:cubicBezTo>
                    <a:cubicBezTo>
                      <a:pt x="212" y="149"/>
                      <a:pt x="202" y="148"/>
                      <a:pt x="191" y="148"/>
                    </a:cubicBezTo>
                    <a:cubicBezTo>
                      <a:pt x="180" y="148"/>
                      <a:pt x="175" y="152"/>
                      <a:pt x="171" y="161"/>
                    </a:cubicBezTo>
                    <a:cubicBezTo>
                      <a:pt x="167" y="170"/>
                      <a:pt x="159" y="168"/>
                      <a:pt x="145" y="164"/>
                    </a:cubicBezTo>
                    <a:cubicBezTo>
                      <a:pt x="131" y="160"/>
                      <a:pt x="116" y="155"/>
                      <a:pt x="118" y="166"/>
                    </a:cubicBezTo>
                    <a:cubicBezTo>
                      <a:pt x="120" y="177"/>
                      <a:pt x="121" y="179"/>
                      <a:pt x="137" y="181"/>
                    </a:cubicBezTo>
                    <a:cubicBezTo>
                      <a:pt x="153" y="183"/>
                      <a:pt x="146" y="195"/>
                      <a:pt x="159" y="201"/>
                    </a:cubicBezTo>
                    <a:cubicBezTo>
                      <a:pt x="172" y="207"/>
                      <a:pt x="170" y="212"/>
                      <a:pt x="170" y="227"/>
                    </a:cubicBezTo>
                    <a:cubicBezTo>
                      <a:pt x="170" y="242"/>
                      <a:pt x="165" y="248"/>
                      <a:pt x="175" y="253"/>
                    </a:cubicBezTo>
                    <a:cubicBezTo>
                      <a:pt x="185" y="258"/>
                      <a:pt x="209" y="254"/>
                      <a:pt x="212" y="234"/>
                    </a:cubicBezTo>
                    <a:cubicBezTo>
                      <a:pt x="215" y="214"/>
                      <a:pt x="221" y="208"/>
                      <a:pt x="231" y="223"/>
                    </a:cubicBezTo>
                    <a:cubicBezTo>
                      <a:pt x="241" y="238"/>
                      <a:pt x="246" y="239"/>
                      <a:pt x="252" y="239"/>
                    </a:cubicBezTo>
                    <a:cubicBezTo>
                      <a:pt x="258" y="239"/>
                      <a:pt x="257" y="249"/>
                      <a:pt x="274" y="250"/>
                    </a:cubicBezTo>
                    <a:cubicBezTo>
                      <a:pt x="291" y="251"/>
                      <a:pt x="294" y="255"/>
                      <a:pt x="304" y="268"/>
                    </a:cubicBezTo>
                    <a:cubicBezTo>
                      <a:pt x="314" y="281"/>
                      <a:pt x="322" y="276"/>
                      <a:pt x="338" y="279"/>
                    </a:cubicBezTo>
                    <a:cubicBezTo>
                      <a:pt x="354" y="282"/>
                      <a:pt x="367" y="272"/>
                      <a:pt x="391" y="290"/>
                    </a:cubicBezTo>
                    <a:cubicBezTo>
                      <a:pt x="415" y="308"/>
                      <a:pt x="414" y="306"/>
                      <a:pt x="440" y="310"/>
                    </a:cubicBezTo>
                    <a:cubicBezTo>
                      <a:pt x="466" y="314"/>
                      <a:pt x="475" y="312"/>
                      <a:pt x="500" y="339"/>
                    </a:cubicBezTo>
                    <a:cubicBezTo>
                      <a:pt x="525" y="366"/>
                      <a:pt x="502" y="376"/>
                      <a:pt x="536" y="400"/>
                    </a:cubicBezTo>
                    <a:cubicBezTo>
                      <a:pt x="551" y="415"/>
                      <a:pt x="551" y="421"/>
                      <a:pt x="551" y="435"/>
                    </a:cubicBezTo>
                    <a:cubicBezTo>
                      <a:pt x="551" y="449"/>
                      <a:pt x="555" y="459"/>
                      <a:pt x="536" y="461"/>
                    </a:cubicBezTo>
                    <a:cubicBezTo>
                      <a:pt x="517" y="463"/>
                      <a:pt x="496" y="467"/>
                      <a:pt x="493" y="481"/>
                    </a:cubicBezTo>
                    <a:cubicBezTo>
                      <a:pt x="490" y="495"/>
                      <a:pt x="482" y="506"/>
                      <a:pt x="478" y="515"/>
                    </a:cubicBezTo>
                    <a:cubicBezTo>
                      <a:pt x="474" y="524"/>
                      <a:pt x="474" y="533"/>
                      <a:pt x="498" y="531"/>
                    </a:cubicBezTo>
                    <a:cubicBezTo>
                      <a:pt x="522" y="529"/>
                      <a:pt x="552" y="536"/>
                      <a:pt x="553" y="526"/>
                    </a:cubicBezTo>
                    <a:cubicBezTo>
                      <a:pt x="554" y="516"/>
                      <a:pt x="566" y="508"/>
                      <a:pt x="575" y="509"/>
                    </a:cubicBezTo>
                    <a:cubicBezTo>
                      <a:pt x="584" y="510"/>
                      <a:pt x="586" y="517"/>
                      <a:pt x="593" y="516"/>
                    </a:cubicBezTo>
                    <a:cubicBezTo>
                      <a:pt x="600" y="515"/>
                      <a:pt x="620" y="501"/>
                      <a:pt x="629" y="517"/>
                    </a:cubicBezTo>
                    <a:cubicBezTo>
                      <a:pt x="638" y="533"/>
                      <a:pt x="662" y="542"/>
                      <a:pt x="674" y="560"/>
                    </a:cubicBezTo>
                    <a:cubicBezTo>
                      <a:pt x="681" y="570"/>
                      <a:pt x="684" y="576"/>
                      <a:pt x="690" y="579"/>
                    </a:cubicBezTo>
                    <a:cubicBezTo>
                      <a:pt x="689" y="547"/>
                      <a:pt x="688" y="492"/>
                      <a:pt x="689" y="47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6" name="Freeform 320">
                <a:extLst>
                  <a:ext uri="{FF2B5EF4-FFF2-40B4-BE49-F238E27FC236}">
                    <a16:creationId xmlns:a16="http://schemas.microsoft.com/office/drawing/2014/main" id="{6E50963F-EF63-634C-A6DD-933A31EEA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9" y="2692"/>
                <a:ext cx="18" cy="9"/>
              </a:xfrm>
              <a:custGeom>
                <a:avLst/>
                <a:gdLst>
                  <a:gd name="T0" fmla="*/ 46 w 74"/>
                  <a:gd name="T1" fmla="*/ 2 h 34"/>
                  <a:gd name="T2" fmla="*/ 12 w 74"/>
                  <a:gd name="T3" fmla="*/ 0 h 34"/>
                  <a:gd name="T4" fmla="*/ 0 w 74"/>
                  <a:gd name="T5" fmla="*/ 10 h 34"/>
                  <a:gd name="T6" fmla="*/ 11 w 74"/>
                  <a:gd name="T7" fmla="*/ 21 h 34"/>
                  <a:gd name="T8" fmla="*/ 30 w 74"/>
                  <a:gd name="T9" fmla="*/ 27 h 34"/>
                  <a:gd name="T10" fmla="*/ 43 w 74"/>
                  <a:gd name="T11" fmla="*/ 27 h 34"/>
                  <a:gd name="T12" fmla="*/ 57 w 74"/>
                  <a:gd name="T13" fmla="*/ 18 h 34"/>
                  <a:gd name="T14" fmla="*/ 74 w 74"/>
                  <a:gd name="T15" fmla="*/ 7 h 34"/>
                  <a:gd name="T16" fmla="*/ 46 w 74"/>
                  <a:gd name="T17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" h="34">
                    <a:moveTo>
                      <a:pt x="46" y="2"/>
                    </a:moveTo>
                    <a:cubicBezTo>
                      <a:pt x="46" y="2"/>
                      <a:pt x="21" y="0"/>
                      <a:pt x="12" y="0"/>
                    </a:cubicBezTo>
                    <a:cubicBezTo>
                      <a:pt x="3" y="0"/>
                      <a:pt x="0" y="5"/>
                      <a:pt x="0" y="10"/>
                    </a:cubicBezTo>
                    <a:cubicBezTo>
                      <a:pt x="0" y="15"/>
                      <a:pt x="1" y="21"/>
                      <a:pt x="11" y="21"/>
                    </a:cubicBezTo>
                    <a:cubicBezTo>
                      <a:pt x="21" y="21"/>
                      <a:pt x="30" y="21"/>
                      <a:pt x="30" y="27"/>
                    </a:cubicBezTo>
                    <a:cubicBezTo>
                      <a:pt x="30" y="33"/>
                      <a:pt x="42" y="34"/>
                      <a:pt x="43" y="27"/>
                    </a:cubicBezTo>
                    <a:cubicBezTo>
                      <a:pt x="44" y="20"/>
                      <a:pt x="49" y="20"/>
                      <a:pt x="57" y="18"/>
                    </a:cubicBezTo>
                    <a:cubicBezTo>
                      <a:pt x="65" y="16"/>
                      <a:pt x="74" y="11"/>
                      <a:pt x="74" y="7"/>
                    </a:cubicBezTo>
                    <a:cubicBezTo>
                      <a:pt x="74" y="3"/>
                      <a:pt x="66" y="2"/>
                      <a:pt x="46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7" name="Freeform 321">
                <a:extLst>
                  <a:ext uri="{FF2B5EF4-FFF2-40B4-BE49-F238E27FC236}">
                    <a16:creationId xmlns:a16="http://schemas.microsoft.com/office/drawing/2014/main" id="{BB8202D8-2F98-1F44-85C7-FFD2B328F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4" y="2691"/>
                <a:ext cx="10" cy="3"/>
              </a:xfrm>
              <a:custGeom>
                <a:avLst/>
                <a:gdLst>
                  <a:gd name="T0" fmla="*/ 15 w 38"/>
                  <a:gd name="T1" fmla="*/ 0 h 11"/>
                  <a:gd name="T2" fmla="*/ 9 w 38"/>
                  <a:gd name="T3" fmla="*/ 7 h 11"/>
                  <a:gd name="T4" fmla="*/ 15 w 38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8" h="11">
                    <a:moveTo>
                      <a:pt x="15" y="0"/>
                    </a:moveTo>
                    <a:cubicBezTo>
                      <a:pt x="15" y="0"/>
                      <a:pt x="0" y="3"/>
                      <a:pt x="9" y="7"/>
                    </a:cubicBezTo>
                    <a:cubicBezTo>
                      <a:pt x="18" y="11"/>
                      <a:pt x="38" y="1"/>
                      <a:pt x="15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8" name="Freeform 322">
                <a:extLst>
                  <a:ext uri="{FF2B5EF4-FFF2-40B4-BE49-F238E27FC236}">
                    <a16:creationId xmlns:a16="http://schemas.microsoft.com/office/drawing/2014/main" id="{72E22656-5885-0847-9E93-1BCB0A84B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6" y="2710"/>
                <a:ext cx="16" cy="15"/>
              </a:xfrm>
              <a:custGeom>
                <a:avLst/>
                <a:gdLst>
                  <a:gd name="T0" fmla="*/ 46 w 63"/>
                  <a:gd name="T1" fmla="*/ 6 h 57"/>
                  <a:gd name="T2" fmla="*/ 27 w 63"/>
                  <a:gd name="T3" fmla="*/ 4 h 57"/>
                  <a:gd name="T4" fmla="*/ 16 w 63"/>
                  <a:gd name="T5" fmla="*/ 15 h 57"/>
                  <a:gd name="T6" fmla="*/ 5 w 63"/>
                  <a:gd name="T7" fmla="*/ 29 h 57"/>
                  <a:gd name="T8" fmla="*/ 21 w 63"/>
                  <a:gd name="T9" fmla="*/ 41 h 57"/>
                  <a:gd name="T10" fmla="*/ 29 w 63"/>
                  <a:gd name="T11" fmla="*/ 57 h 57"/>
                  <a:gd name="T12" fmla="*/ 38 w 63"/>
                  <a:gd name="T13" fmla="*/ 47 h 57"/>
                  <a:gd name="T14" fmla="*/ 49 w 63"/>
                  <a:gd name="T15" fmla="*/ 39 h 57"/>
                  <a:gd name="T16" fmla="*/ 62 w 63"/>
                  <a:gd name="T17" fmla="*/ 29 h 57"/>
                  <a:gd name="T18" fmla="*/ 46 w 63"/>
                  <a:gd name="T19" fmla="*/ 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3" h="57">
                    <a:moveTo>
                      <a:pt x="46" y="6"/>
                    </a:moveTo>
                    <a:cubicBezTo>
                      <a:pt x="41" y="0"/>
                      <a:pt x="34" y="3"/>
                      <a:pt x="27" y="4"/>
                    </a:cubicBezTo>
                    <a:cubicBezTo>
                      <a:pt x="20" y="5"/>
                      <a:pt x="26" y="15"/>
                      <a:pt x="16" y="15"/>
                    </a:cubicBezTo>
                    <a:cubicBezTo>
                      <a:pt x="6" y="15"/>
                      <a:pt x="0" y="16"/>
                      <a:pt x="5" y="29"/>
                    </a:cubicBezTo>
                    <a:cubicBezTo>
                      <a:pt x="10" y="42"/>
                      <a:pt x="19" y="35"/>
                      <a:pt x="21" y="41"/>
                    </a:cubicBezTo>
                    <a:cubicBezTo>
                      <a:pt x="23" y="47"/>
                      <a:pt x="24" y="57"/>
                      <a:pt x="29" y="57"/>
                    </a:cubicBezTo>
                    <a:cubicBezTo>
                      <a:pt x="34" y="57"/>
                      <a:pt x="38" y="53"/>
                      <a:pt x="38" y="47"/>
                    </a:cubicBezTo>
                    <a:cubicBezTo>
                      <a:pt x="38" y="41"/>
                      <a:pt x="42" y="40"/>
                      <a:pt x="49" y="39"/>
                    </a:cubicBezTo>
                    <a:cubicBezTo>
                      <a:pt x="56" y="38"/>
                      <a:pt x="61" y="34"/>
                      <a:pt x="62" y="29"/>
                    </a:cubicBezTo>
                    <a:cubicBezTo>
                      <a:pt x="63" y="24"/>
                      <a:pt x="60" y="22"/>
                      <a:pt x="46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69" name="Freeform 323">
                <a:extLst>
                  <a:ext uri="{FF2B5EF4-FFF2-40B4-BE49-F238E27FC236}">
                    <a16:creationId xmlns:a16="http://schemas.microsoft.com/office/drawing/2014/main" id="{38C52B74-DEB8-C646-92CA-7341869A2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" y="2671"/>
                <a:ext cx="6" cy="14"/>
              </a:xfrm>
              <a:custGeom>
                <a:avLst/>
                <a:gdLst>
                  <a:gd name="T0" fmla="*/ 10 w 20"/>
                  <a:gd name="T1" fmla="*/ 14 h 55"/>
                  <a:gd name="T2" fmla="*/ 6 w 20"/>
                  <a:gd name="T3" fmla="*/ 46 h 55"/>
                  <a:gd name="T4" fmla="*/ 20 w 20"/>
                  <a:gd name="T5" fmla="*/ 36 h 55"/>
                  <a:gd name="T6" fmla="*/ 10 w 20"/>
                  <a:gd name="T7" fmla="*/ 1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55">
                    <a:moveTo>
                      <a:pt x="10" y="14"/>
                    </a:moveTo>
                    <a:cubicBezTo>
                      <a:pt x="10" y="14"/>
                      <a:pt x="0" y="37"/>
                      <a:pt x="6" y="46"/>
                    </a:cubicBezTo>
                    <a:cubicBezTo>
                      <a:pt x="12" y="55"/>
                      <a:pt x="20" y="46"/>
                      <a:pt x="20" y="36"/>
                    </a:cubicBezTo>
                    <a:cubicBezTo>
                      <a:pt x="20" y="26"/>
                      <a:pt x="16" y="0"/>
                      <a:pt x="10" y="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0" name="Freeform 324">
                <a:extLst>
                  <a:ext uri="{FF2B5EF4-FFF2-40B4-BE49-F238E27FC236}">
                    <a16:creationId xmlns:a16="http://schemas.microsoft.com/office/drawing/2014/main" id="{1EFE2ADA-6E43-214E-84D5-967F67795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4" y="2710"/>
                <a:ext cx="13" cy="10"/>
              </a:xfrm>
              <a:custGeom>
                <a:avLst/>
                <a:gdLst>
                  <a:gd name="T0" fmla="*/ 30 w 52"/>
                  <a:gd name="T1" fmla="*/ 12 h 39"/>
                  <a:gd name="T2" fmla="*/ 0 w 52"/>
                  <a:gd name="T3" fmla="*/ 15 h 39"/>
                  <a:gd name="T4" fmla="*/ 20 w 52"/>
                  <a:gd name="T5" fmla="*/ 33 h 39"/>
                  <a:gd name="T6" fmla="*/ 41 w 52"/>
                  <a:gd name="T7" fmla="*/ 23 h 39"/>
                  <a:gd name="T8" fmla="*/ 30 w 52"/>
                  <a:gd name="T9" fmla="*/ 12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39">
                    <a:moveTo>
                      <a:pt x="30" y="12"/>
                    </a:moveTo>
                    <a:cubicBezTo>
                      <a:pt x="30" y="12"/>
                      <a:pt x="0" y="0"/>
                      <a:pt x="0" y="15"/>
                    </a:cubicBezTo>
                    <a:cubicBezTo>
                      <a:pt x="0" y="30"/>
                      <a:pt x="6" y="39"/>
                      <a:pt x="20" y="33"/>
                    </a:cubicBezTo>
                    <a:cubicBezTo>
                      <a:pt x="34" y="27"/>
                      <a:pt x="31" y="24"/>
                      <a:pt x="41" y="23"/>
                    </a:cubicBezTo>
                    <a:cubicBezTo>
                      <a:pt x="51" y="22"/>
                      <a:pt x="52" y="9"/>
                      <a:pt x="30" y="1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1" name="Freeform 325">
                <a:extLst>
                  <a:ext uri="{FF2B5EF4-FFF2-40B4-BE49-F238E27FC236}">
                    <a16:creationId xmlns:a16="http://schemas.microsoft.com/office/drawing/2014/main" id="{CC842903-DF7A-E344-92F6-FBD299978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5" y="2711"/>
                <a:ext cx="10" cy="5"/>
              </a:xfrm>
              <a:custGeom>
                <a:avLst/>
                <a:gdLst>
                  <a:gd name="T0" fmla="*/ 14 w 40"/>
                  <a:gd name="T1" fmla="*/ 0 h 20"/>
                  <a:gd name="T2" fmla="*/ 11 w 40"/>
                  <a:gd name="T3" fmla="*/ 16 h 20"/>
                  <a:gd name="T4" fmla="*/ 14 w 4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20">
                    <a:moveTo>
                      <a:pt x="14" y="0"/>
                    </a:moveTo>
                    <a:cubicBezTo>
                      <a:pt x="14" y="0"/>
                      <a:pt x="0" y="12"/>
                      <a:pt x="11" y="16"/>
                    </a:cubicBezTo>
                    <a:cubicBezTo>
                      <a:pt x="22" y="20"/>
                      <a:pt x="40" y="8"/>
                      <a:pt x="14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2" name="Freeform 326">
                <a:extLst>
                  <a:ext uri="{FF2B5EF4-FFF2-40B4-BE49-F238E27FC236}">
                    <a16:creationId xmlns:a16="http://schemas.microsoft.com/office/drawing/2014/main" id="{623F233F-9C8D-E749-93A0-FD226E4717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4" y="2706"/>
                <a:ext cx="8" cy="5"/>
              </a:xfrm>
              <a:custGeom>
                <a:avLst/>
                <a:gdLst>
                  <a:gd name="T0" fmla="*/ 21 w 33"/>
                  <a:gd name="T1" fmla="*/ 0 h 22"/>
                  <a:gd name="T2" fmla="*/ 10 w 33"/>
                  <a:gd name="T3" fmla="*/ 13 h 22"/>
                  <a:gd name="T4" fmla="*/ 26 w 33"/>
                  <a:gd name="T5" fmla="*/ 12 h 22"/>
                  <a:gd name="T6" fmla="*/ 21 w 3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" h="22">
                    <a:moveTo>
                      <a:pt x="21" y="0"/>
                    </a:moveTo>
                    <a:cubicBezTo>
                      <a:pt x="21" y="0"/>
                      <a:pt x="0" y="5"/>
                      <a:pt x="10" y="13"/>
                    </a:cubicBezTo>
                    <a:cubicBezTo>
                      <a:pt x="20" y="21"/>
                      <a:pt x="25" y="22"/>
                      <a:pt x="26" y="12"/>
                    </a:cubicBezTo>
                    <a:cubicBezTo>
                      <a:pt x="27" y="2"/>
                      <a:pt x="33" y="0"/>
                      <a:pt x="21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3" name="Freeform 327">
                <a:extLst>
                  <a:ext uri="{FF2B5EF4-FFF2-40B4-BE49-F238E27FC236}">
                    <a16:creationId xmlns:a16="http://schemas.microsoft.com/office/drawing/2014/main" id="{8CF6B719-E0BD-2F43-966B-967FC4A9CD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" y="2712"/>
                <a:ext cx="12" cy="6"/>
              </a:xfrm>
              <a:custGeom>
                <a:avLst/>
                <a:gdLst>
                  <a:gd name="T0" fmla="*/ 20 w 47"/>
                  <a:gd name="T1" fmla="*/ 1 h 24"/>
                  <a:gd name="T2" fmla="*/ 1 w 47"/>
                  <a:gd name="T3" fmla="*/ 9 h 24"/>
                  <a:gd name="T4" fmla="*/ 16 w 47"/>
                  <a:gd name="T5" fmla="*/ 16 h 24"/>
                  <a:gd name="T6" fmla="*/ 20 w 47"/>
                  <a:gd name="T7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4">
                    <a:moveTo>
                      <a:pt x="20" y="1"/>
                    </a:moveTo>
                    <a:cubicBezTo>
                      <a:pt x="20" y="1"/>
                      <a:pt x="0" y="0"/>
                      <a:pt x="1" y="9"/>
                    </a:cubicBezTo>
                    <a:cubicBezTo>
                      <a:pt x="2" y="18"/>
                      <a:pt x="15" y="24"/>
                      <a:pt x="16" y="16"/>
                    </a:cubicBezTo>
                    <a:cubicBezTo>
                      <a:pt x="17" y="8"/>
                      <a:pt x="47" y="10"/>
                      <a:pt x="20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4" name="Freeform 328">
                <a:extLst>
                  <a:ext uri="{FF2B5EF4-FFF2-40B4-BE49-F238E27FC236}">
                    <a16:creationId xmlns:a16="http://schemas.microsoft.com/office/drawing/2014/main" id="{87F2DBDC-052B-6342-92C0-7CA6E34EA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6" y="2500"/>
                <a:ext cx="20" cy="16"/>
              </a:xfrm>
              <a:custGeom>
                <a:avLst/>
                <a:gdLst>
                  <a:gd name="T0" fmla="*/ 9 w 78"/>
                  <a:gd name="T1" fmla="*/ 33 h 60"/>
                  <a:gd name="T2" fmla="*/ 26 w 78"/>
                  <a:gd name="T3" fmla="*/ 46 h 60"/>
                  <a:gd name="T4" fmla="*/ 40 w 78"/>
                  <a:gd name="T5" fmla="*/ 59 h 60"/>
                  <a:gd name="T6" fmla="*/ 53 w 78"/>
                  <a:gd name="T7" fmla="*/ 49 h 60"/>
                  <a:gd name="T8" fmla="*/ 62 w 78"/>
                  <a:gd name="T9" fmla="*/ 33 h 60"/>
                  <a:gd name="T10" fmla="*/ 74 w 78"/>
                  <a:gd name="T11" fmla="*/ 28 h 60"/>
                  <a:gd name="T12" fmla="*/ 77 w 78"/>
                  <a:gd name="T13" fmla="*/ 8 h 60"/>
                  <a:gd name="T14" fmla="*/ 73 w 78"/>
                  <a:gd name="T15" fmla="*/ 0 h 60"/>
                  <a:gd name="T16" fmla="*/ 40 w 78"/>
                  <a:gd name="T17" fmla="*/ 8 h 60"/>
                  <a:gd name="T18" fmla="*/ 13 w 78"/>
                  <a:gd name="T19" fmla="*/ 21 h 60"/>
                  <a:gd name="T20" fmla="*/ 0 w 78"/>
                  <a:gd name="T21" fmla="*/ 27 h 60"/>
                  <a:gd name="T22" fmla="*/ 9 w 78"/>
                  <a:gd name="T23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60">
                    <a:moveTo>
                      <a:pt x="9" y="33"/>
                    </a:moveTo>
                    <a:cubicBezTo>
                      <a:pt x="22" y="37"/>
                      <a:pt x="22" y="41"/>
                      <a:pt x="26" y="46"/>
                    </a:cubicBezTo>
                    <a:cubicBezTo>
                      <a:pt x="29" y="51"/>
                      <a:pt x="32" y="59"/>
                      <a:pt x="40" y="59"/>
                    </a:cubicBezTo>
                    <a:cubicBezTo>
                      <a:pt x="48" y="59"/>
                      <a:pt x="53" y="60"/>
                      <a:pt x="53" y="49"/>
                    </a:cubicBezTo>
                    <a:cubicBezTo>
                      <a:pt x="53" y="38"/>
                      <a:pt x="53" y="33"/>
                      <a:pt x="62" y="33"/>
                    </a:cubicBezTo>
                    <a:cubicBezTo>
                      <a:pt x="72" y="33"/>
                      <a:pt x="73" y="37"/>
                      <a:pt x="74" y="28"/>
                    </a:cubicBezTo>
                    <a:cubicBezTo>
                      <a:pt x="76" y="18"/>
                      <a:pt x="78" y="11"/>
                      <a:pt x="77" y="8"/>
                    </a:cubicBezTo>
                    <a:cubicBezTo>
                      <a:pt x="76" y="5"/>
                      <a:pt x="77" y="4"/>
                      <a:pt x="73" y="0"/>
                    </a:cubicBezTo>
                    <a:cubicBezTo>
                      <a:pt x="59" y="0"/>
                      <a:pt x="46" y="0"/>
                      <a:pt x="40" y="8"/>
                    </a:cubicBezTo>
                    <a:cubicBezTo>
                      <a:pt x="31" y="19"/>
                      <a:pt x="24" y="21"/>
                      <a:pt x="13" y="21"/>
                    </a:cubicBezTo>
                    <a:cubicBezTo>
                      <a:pt x="7" y="21"/>
                      <a:pt x="3" y="23"/>
                      <a:pt x="0" y="27"/>
                    </a:cubicBezTo>
                    <a:cubicBezTo>
                      <a:pt x="2" y="29"/>
                      <a:pt x="5" y="32"/>
                      <a:pt x="9" y="3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5" name="Freeform 329">
                <a:extLst>
                  <a:ext uri="{FF2B5EF4-FFF2-40B4-BE49-F238E27FC236}">
                    <a16:creationId xmlns:a16="http://schemas.microsoft.com/office/drawing/2014/main" id="{5B99BBB5-7883-3043-B193-2293B20A5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1" y="2472"/>
                <a:ext cx="67" cy="89"/>
              </a:xfrm>
              <a:custGeom>
                <a:avLst/>
                <a:gdLst>
                  <a:gd name="T0" fmla="*/ 115 w 264"/>
                  <a:gd name="T1" fmla="*/ 54 h 350"/>
                  <a:gd name="T2" fmla="*/ 103 w 264"/>
                  <a:gd name="T3" fmla="*/ 63 h 350"/>
                  <a:gd name="T4" fmla="*/ 88 w 264"/>
                  <a:gd name="T5" fmla="*/ 54 h 350"/>
                  <a:gd name="T6" fmla="*/ 78 w 264"/>
                  <a:gd name="T7" fmla="*/ 66 h 350"/>
                  <a:gd name="T8" fmla="*/ 66 w 264"/>
                  <a:gd name="T9" fmla="*/ 71 h 350"/>
                  <a:gd name="T10" fmla="*/ 60 w 264"/>
                  <a:gd name="T11" fmla="*/ 60 h 350"/>
                  <a:gd name="T12" fmla="*/ 66 w 264"/>
                  <a:gd name="T13" fmla="*/ 45 h 350"/>
                  <a:gd name="T14" fmla="*/ 54 w 264"/>
                  <a:gd name="T15" fmla="*/ 28 h 350"/>
                  <a:gd name="T16" fmla="*/ 28 w 264"/>
                  <a:gd name="T17" fmla="*/ 16 h 350"/>
                  <a:gd name="T18" fmla="*/ 17 w 264"/>
                  <a:gd name="T19" fmla="*/ 6 h 350"/>
                  <a:gd name="T20" fmla="*/ 4 w 264"/>
                  <a:gd name="T21" fmla="*/ 8 h 350"/>
                  <a:gd name="T22" fmla="*/ 0 w 264"/>
                  <a:gd name="T23" fmla="*/ 13 h 350"/>
                  <a:gd name="T24" fmla="*/ 19 w 264"/>
                  <a:gd name="T25" fmla="*/ 87 h 350"/>
                  <a:gd name="T26" fmla="*/ 39 w 264"/>
                  <a:gd name="T27" fmla="*/ 176 h 350"/>
                  <a:gd name="T28" fmla="*/ 80 w 264"/>
                  <a:gd name="T29" fmla="*/ 256 h 350"/>
                  <a:gd name="T30" fmla="*/ 160 w 264"/>
                  <a:gd name="T31" fmla="*/ 299 h 350"/>
                  <a:gd name="T32" fmla="*/ 220 w 264"/>
                  <a:gd name="T33" fmla="*/ 346 h 350"/>
                  <a:gd name="T34" fmla="*/ 225 w 264"/>
                  <a:gd name="T35" fmla="*/ 350 h 350"/>
                  <a:gd name="T36" fmla="*/ 232 w 264"/>
                  <a:gd name="T37" fmla="*/ 335 h 350"/>
                  <a:gd name="T38" fmla="*/ 253 w 264"/>
                  <a:gd name="T39" fmla="*/ 329 h 350"/>
                  <a:gd name="T40" fmla="*/ 262 w 264"/>
                  <a:gd name="T41" fmla="*/ 333 h 350"/>
                  <a:gd name="T42" fmla="*/ 263 w 264"/>
                  <a:gd name="T43" fmla="*/ 329 h 350"/>
                  <a:gd name="T44" fmla="*/ 249 w 264"/>
                  <a:gd name="T45" fmla="*/ 285 h 350"/>
                  <a:gd name="T46" fmla="*/ 224 w 264"/>
                  <a:gd name="T47" fmla="*/ 253 h 350"/>
                  <a:gd name="T48" fmla="*/ 216 w 264"/>
                  <a:gd name="T49" fmla="*/ 166 h 350"/>
                  <a:gd name="T50" fmla="*/ 207 w 264"/>
                  <a:gd name="T51" fmla="*/ 100 h 350"/>
                  <a:gd name="T52" fmla="*/ 173 w 264"/>
                  <a:gd name="T53" fmla="*/ 61 h 350"/>
                  <a:gd name="T54" fmla="*/ 141 w 264"/>
                  <a:gd name="T55" fmla="*/ 38 h 350"/>
                  <a:gd name="T56" fmla="*/ 129 w 264"/>
                  <a:gd name="T57" fmla="*/ 31 h 350"/>
                  <a:gd name="T58" fmla="*/ 123 w 264"/>
                  <a:gd name="T59" fmla="*/ 44 h 350"/>
                  <a:gd name="T60" fmla="*/ 115 w 264"/>
                  <a:gd name="T61" fmla="*/ 54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64" h="350">
                    <a:moveTo>
                      <a:pt x="115" y="54"/>
                    </a:moveTo>
                    <a:cubicBezTo>
                      <a:pt x="115" y="59"/>
                      <a:pt x="114" y="62"/>
                      <a:pt x="103" y="63"/>
                    </a:cubicBezTo>
                    <a:cubicBezTo>
                      <a:pt x="91" y="64"/>
                      <a:pt x="95" y="54"/>
                      <a:pt x="88" y="54"/>
                    </a:cubicBezTo>
                    <a:cubicBezTo>
                      <a:pt x="82" y="54"/>
                      <a:pt x="78" y="59"/>
                      <a:pt x="78" y="66"/>
                    </a:cubicBezTo>
                    <a:cubicBezTo>
                      <a:pt x="78" y="73"/>
                      <a:pt x="70" y="72"/>
                      <a:pt x="66" y="71"/>
                    </a:cubicBezTo>
                    <a:cubicBezTo>
                      <a:pt x="61" y="69"/>
                      <a:pt x="60" y="66"/>
                      <a:pt x="60" y="60"/>
                    </a:cubicBezTo>
                    <a:cubicBezTo>
                      <a:pt x="60" y="54"/>
                      <a:pt x="61" y="49"/>
                      <a:pt x="66" y="45"/>
                    </a:cubicBezTo>
                    <a:cubicBezTo>
                      <a:pt x="71" y="40"/>
                      <a:pt x="62" y="35"/>
                      <a:pt x="54" y="28"/>
                    </a:cubicBezTo>
                    <a:cubicBezTo>
                      <a:pt x="46" y="21"/>
                      <a:pt x="37" y="18"/>
                      <a:pt x="28" y="16"/>
                    </a:cubicBezTo>
                    <a:cubicBezTo>
                      <a:pt x="20" y="15"/>
                      <a:pt x="18" y="11"/>
                      <a:pt x="17" y="6"/>
                    </a:cubicBezTo>
                    <a:cubicBezTo>
                      <a:pt x="15" y="0"/>
                      <a:pt x="7" y="1"/>
                      <a:pt x="4" y="8"/>
                    </a:cubicBezTo>
                    <a:cubicBezTo>
                      <a:pt x="4" y="10"/>
                      <a:pt x="2" y="12"/>
                      <a:pt x="0" y="13"/>
                    </a:cubicBezTo>
                    <a:cubicBezTo>
                      <a:pt x="15" y="28"/>
                      <a:pt x="17" y="56"/>
                      <a:pt x="19" y="87"/>
                    </a:cubicBezTo>
                    <a:cubicBezTo>
                      <a:pt x="22" y="120"/>
                      <a:pt x="31" y="163"/>
                      <a:pt x="39" y="176"/>
                    </a:cubicBezTo>
                    <a:cubicBezTo>
                      <a:pt x="48" y="189"/>
                      <a:pt x="80" y="227"/>
                      <a:pt x="80" y="256"/>
                    </a:cubicBezTo>
                    <a:cubicBezTo>
                      <a:pt x="80" y="285"/>
                      <a:pt x="137" y="291"/>
                      <a:pt x="160" y="299"/>
                    </a:cubicBezTo>
                    <a:cubicBezTo>
                      <a:pt x="183" y="308"/>
                      <a:pt x="213" y="336"/>
                      <a:pt x="220" y="346"/>
                    </a:cubicBezTo>
                    <a:cubicBezTo>
                      <a:pt x="221" y="348"/>
                      <a:pt x="223" y="349"/>
                      <a:pt x="225" y="350"/>
                    </a:cubicBezTo>
                    <a:cubicBezTo>
                      <a:pt x="225" y="344"/>
                      <a:pt x="227" y="337"/>
                      <a:pt x="232" y="335"/>
                    </a:cubicBezTo>
                    <a:cubicBezTo>
                      <a:pt x="242" y="332"/>
                      <a:pt x="248" y="327"/>
                      <a:pt x="253" y="329"/>
                    </a:cubicBezTo>
                    <a:cubicBezTo>
                      <a:pt x="256" y="330"/>
                      <a:pt x="259" y="332"/>
                      <a:pt x="262" y="333"/>
                    </a:cubicBezTo>
                    <a:cubicBezTo>
                      <a:pt x="263" y="332"/>
                      <a:pt x="263" y="330"/>
                      <a:pt x="263" y="329"/>
                    </a:cubicBezTo>
                    <a:cubicBezTo>
                      <a:pt x="264" y="311"/>
                      <a:pt x="254" y="295"/>
                      <a:pt x="249" y="285"/>
                    </a:cubicBezTo>
                    <a:cubicBezTo>
                      <a:pt x="243" y="275"/>
                      <a:pt x="237" y="268"/>
                      <a:pt x="224" y="253"/>
                    </a:cubicBezTo>
                    <a:cubicBezTo>
                      <a:pt x="211" y="239"/>
                      <a:pt x="213" y="183"/>
                      <a:pt x="216" y="166"/>
                    </a:cubicBezTo>
                    <a:cubicBezTo>
                      <a:pt x="219" y="149"/>
                      <a:pt x="219" y="120"/>
                      <a:pt x="207" y="100"/>
                    </a:cubicBezTo>
                    <a:cubicBezTo>
                      <a:pt x="196" y="80"/>
                      <a:pt x="183" y="76"/>
                      <a:pt x="173" y="61"/>
                    </a:cubicBezTo>
                    <a:cubicBezTo>
                      <a:pt x="163" y="47"/>
                      <a:pt x="155" y="44"/>
                      <a:pt x="141" y="38"/>
                    </a:cubicBezTo>
                    <a:cubicBezTo>
                      <a:pt x="137" y="37"/>
                      <a:pt x="133" y="34"/>
                      <a:pt x="129" y="31"/>
                    </a:cubicBezTo>
                    <a:cubicBezTo>
                      <a:pt x="126" y="35"/>
                      <a:pt x="124" y="39"/>
                      <a:pt x="123" y="44"/>
                    </a:cubicBezTo>
                    <a:cubicBezTo>
                      <a:pt x="120" y="51"/>
                      <a:pt x="115" y="48"/>
                      <a:pt x="115" y="5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6" name="Freeform 330">
                <a:extLst>
                  <a:ext uri="{FF2B5EF4-FFF2-40B4-BE49-F238E27FC236}">
                    <a16:creationId xmlns:a16="http://schemas.microsoft.com/office/drawing/2014/main" id="{59E25675-CC4A-B94E-BCD9-EA0F7C8355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3" y="2466"/>
                <a:ext cx="160" cy="102"/>
              </a:xfrm>
              <a:custGeom>
                <a:avLst/>
                <a:gdLst>
                  <a:gd name="T0" fmla="*/ 24 w 632"/>
                  <a:gd name="T1" fmla="*/ 368 h 402"/>
                  <a:gd name="T2" fmla="*/ 68 w 632"/>
                  <a:gd name="T3" fmla="*/ 400 h 402"/>
                  <a:gd name="T4" fmla="*/ 100 w 632"/>
                  <a:gd name="T5" fmla="*/ 389 h 402"/>
                  <a:gd name="T6" fmla="*/ 156 w 632"/>
                  <a:gd name="T7" fmla="*/ 383 h 402"/>
                  <a:gd name="T8" fmla="*/ 198 w 632"/>
                  <a:gd name="T9" fmla="*/ 356 h 402"/>
                  <a:gd name="T10" fmla="*/ 260 w 632"/>
                  <a:gd name="T11" fmla="*/ 375 h 402"/>
                  <a:gd name="T12" fmla="*/ 325 w 632"/>
                  <a:gd name="T13" fmla="*/ 352 h 402"/>
                  <a:gd name="T14" fmla="*/ 348 w 632"/>
                  <a:gd name="T15" fmla="*/ 304 h 402"/>
                  <a:gd name="T16" fmla="*/ 366 w 632"/>
                  <a:gd name="T17" fmla="*/ 264 h 402"/>
                  <a:gd name="T18" fmla="*/ 392 w 632"/>
                  <a:gd name="T19" fmla="*/ 198 h 402"/>
                  <a:gd name="T20" fmla="*/ 442 w 632"/>
                  <a:gd name="T21" fmla="*/ 177 h 402"/>
                  <a:gd name="T22" fmla="*/ 516 w 632"/>
                  <a:gd name="T23" fmla="*/ 194 h 402"/>
                  <a:gd name="T24" fmla="*/ 546 w 632"/>
                  <a:gd name="T25" fmla="*/ 181 h 402"/>
                  <a:gd name="T26" fmla="*/ 571 w 632"/>
                  <a:gd name="T27" fmla="*/ 160 h 402"/>
                  <a:gd name="T28" fmla="*/ 570 w 632"/>
                  <a:gd name="T29" fmla="*/ 138 h 402"/>
                  <a:gd name="T30" fmla="*/ 614 w 632"/>
                  <a:gd name="T31" fmla="*/ 128 h 402"/>
                  <a:gd name="T32" fmla="*/ 574 w 632"/>
                  <a:gd name="T33" fmla="*/ 90 h 402"/>
                  <a:gd name="T34" fmla="*/ 525 w 632"/>
                  <a:gd name="T35" fmla="*/ 67 h 402"/>
                  <a:gd name="T36" fmla="*/ 484 w 632"/>
                  <a:gd name="T37" fmla="*/ 15 h 402"/>
                  <a:gd name="T38" fmla="*/ 419 w 632"/>
                  <a:gd name="T39" fmla="*/ 61 h 402"/>
                  <a:gd name="T40" fmla="*/ 386 w 632"/>
                  <a:gd name="T41" fmla="*/ 110 h 402"/>
                  <a:gd name="T42" fmla="*/ 360 w 632"/>
                  <a:gd name="T43" fmla="*/ 135 h 402"/>
                  <a:gd name="T44" fmla="*/ 361 w 632"/>
                  <a:gd name="T45" fmla="*/ 163 h 402"/>
                  <a:gd name="T46" fmla="*/ 340 w 632"/>
                  <a:gd name="T47" fmla="*/ 184 h 402"/>
                  <a:gd name="T48" fmla="*/ 313 w 632"/>
                  <a:gd name="T49" fmla="*/ 181 h 402"/>
                  <a:gd name="T50" fmla="*/ 287 w 632"/>
                  <a:gd name="T51" fmla="*/ 162 h 402"/>
                  <a:gd name="T52" fmla="*/ 245 w 632"/>
                  <a:gd name="T53" fmla="*/ 218 h 402"/>
                  <a:gd name="T54" fmla="*/ 148 w 632"/>
                  <a:gd name="T55" fmla="*/ 267 h 402"/>
                  <a:gd name="T56" fmla="*/ 104 w 632"/>
                  <a:gd name="T57" fmla="*/ 319 h 402"/>
                  <a:gd name="T58" fmla="*/ 83 w 632"/>
                  <a:gd name="T59" fmla="*/ 358 h 402"/>
                  <a:gd name="T60" fmla="*/ 21 w 632"/>
                  <a:gd name="T61" fmla="*/ 336 h 402"/>
                  <a:gd name="T62" fmla="*/ 0 w 632"/>
                  <a:gd name="T63" fmla="*/ 31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32" h="402">
                    <a:moveTo>
                      <a:pt x="5" y="343"/>
                    </a:moveTo>
                    <a:cubicBezTo>
                      <a:pt x="13" y="351"/>
                      <a:pt x="19" y="361"/>
                      <a:pt x="24" y="368"/>
                    </a:cubicBezTo>
                    <a:cubicBezTo>
                      <a:pt x="29" y="375"/>
                      <a:pt x="46" y="379"/>
                      <a:pt x="50" y="386"/>
                    </a:cubicBezTo>
                    <a:cubicBezTo>
                      <a:pt x="54" y="394"/>
                      <a:pt x="58" y="399"/>
                      <a:pt x="68" y="400"/>
                    </a:cubicBezTo>
                    <a:cubicBezTo>
                      <a:pt x="78" y="402"/>
                      <a:pt x="80" y="401"/>
                      <a:pt x="80" y="396"/>
                    </a:cubicBezTo>
                    <a:cubicBezTo>
                      <a:pt x="81" y="391"/>
                      <a:pt x="93" y="389"/>
                      <a:pt x="100" y="389"/>
                    </a:cubicBezTo>
                    <a:cubicBezTo>
                      <a:pt x="107" y="389"/>
                      <a:pt x="112" y="385"/>
                      <a:pt x="121" y="390"/>
                    </a:cubicBezTo>
                    <a:cubicBezTo>
                      <a:pt x="130" y="394"/>
                      <a:pt x="149" y="395"/>
                      <a:pt x="156" y="383"/>
                    </a:cubicBezTo>
                    <a:cubicBezTo>
                      <a:pt x="164" y="372"/>
                      <a:pt x="170" y="370"/>
                      <a:pt x="175" y="364"/>
                    </a:cubicBezTo>
                    <a:cubicBezTo>
                      <a:pt x="179" y="357"/>
                      <a:pt x="185" y="357"/>
                      <a:pt x="198" y="356"/>
                    </a:cubicBezTo>
                    <a:cubicBezTo>
                      <a:pt x="211" y="355"/>
                      <a:pt x="228" y="355"/>
                      <a:pt x="231" y="361"/>
                    </a:cubicBezTo>
                    <a:cubicBezTo>
                      <a:pt x="235" y="368"/>
                      <a:pt x="249" y="373"/>
                      <a:pt x="260" y="375"/>
                    </a:cubicBezTo>
                    <a:cubicBezTo>
                      <a:pt x="270" y="377"/>
                      <a:pt x="274" y="358"/>
                      <a:pt x="287" y="359"/>
                    </a:cubicBezTo>
                    <a:cubicBezTo>
                      <a:pt x="300" y="360"/>
                      <a:pt x="325" y="360"/>
                      <a:pt x="325" y="352"/>
                    </a:cubicBezTo>
                    <a:cubicBezTo>
                      <a:pt x="326" y="343"/>
                      <a:pt x="331" y="340"/>
                      <a:pt x="335" y="333"/>
                    </a:cubicBezTo>
                    <a:cubicBezTo>
                      <a:pt x="340" y="327"/>
                      <a:pt x="337" y="309"/>
                      <a:pt x="348" y="304"/>
                    </a:cubicBezTo>
                    <a:cubicBezTo>
                      <a:pt x="360" y="299"/>
                      <a:pt x="357" y="293"/>
                      <a:pt x="358" y="284"/>
                    </a:cubicBezTo>
                    <a:cubicBezTo>
                      <a:pt x="359" y="275"/>
                      <a:pt x="356" y="267"/>
                      <a:pt x="366" y="264"/>
                    </a:cubicBezTo>
                    <a:cubicBezTo>
                      <a:pt x="375" y="260"/>
                      <a:pt x="383" y="255"/>
                      <a:pt x="383" y="237"/>
                    </a:cubicBezTo>
                    <a:cubicBezTo>
                      <a:pt x="384" y="218"/>
                      <a:pt x="384" y="209"/>
                      <a:pt x="392" y="198"/>
                    </a:cubicBezTo>
                    <a:cubicBezTo>
                      <a:pt x="400" y="187"/>
                      <a:pt x="396" y="175"/>
                      <a:pt x="404" y="175"/>
                    </a:cubicBezTo>
                    <a:cubicBezTo>
                      <a:pt x="412" y="175"/>
                      <a:pt x="427" y="175"/>
                      <a:pt x="442" y="177"/>
                    </a:cubicBezTo>
                    <a:cubicBezTo>
                      <a:pt x="457" y="179"/>
                      <a:pt x="476" y="173"/>
                      <a:pt x="490" y="177"/>
                    </a:cubicBezTo>
                    <a:cubicBezTo>
                      <a:pt x="500" y="180"/>
                      <a:pt x="509" y="189"/>
                      <a:pt x="516" y="194"/>
                    </a:cubicBezTo>
                    <a:cubicBezTo>
                      <a:pt x="518" y="192"/>
                      <a:pt x="522" y="190"/>
                      <a:pt x="528" y="190"/>
                    </a:cubicBezTo>
                    <a:cubicBezTo>
                      <a:pt x="540" y="190"/>
                      <a:pt x="546" y="187"/>
                      <a:pt x="546" y="181"/>
                    </a:cubicBezTo>
                    <a:cubicBezTo>
                      <a:pt x="546" y="175"/>
                      <a:pt x="548" y="175"/>
                      <a:pt x="558" y="175"/>
                    </a:cubicBezTo>
                    <a:cubicBezTo>
                      <a:pt x="568" y="175"/>
                      <a:pt x="573" y="170"/>
                      <a:pt x="571" y="160"/>
                    </a:cubicBezTo>
                    <a:cubicBezTo>
                      <a:pt x="569" y="150"/>
                      <a:pt x="556" y="160"/>
                      <a:pt x="555" y="148"/>
                    </a:cubicBezTo>
                    <a:cubicBezTo>
                      <a:pt x="554" y="136"/>
                      <a:pt x="559" y="138"/>
                      <a:pt x="570" y="138"/>
                    </a:cubicBezTo>
                    <a:cubicBezTo>
                      <a:pt x="581" y="138"/>
                      <a:pt x="602" y="140"/>
                      <a:pt x="602" y="136"/>
                    </a:cubicBezTo>
                    <a:cubicBezTo>
                      <a:pt x="602" y="132"/>
                      <a:pt x="607" y="130"/>
                      <a:pt x="614" y="128"/>
                    </a:cubicBezTo>
                    <a:cubicBezTo>
                      <a:pt x="621" y="126"/>
                      <a:pt x="632" y="111"/>
                      <a:pt x="616" y="107"/>
                    </a:cubicBezTo>
                    <a:cubicBezTo>
                      <a:pt x="600" y="103"/>
                      <a:pt x="580" y="99"/>
                      <a:pt x="574" y="90"/>
                    </a:cubicBezTo>
                    <a:cubicBezTo>
                      <a:pt x="568" y="81"/>
                      <a:pt x="560" y="80"/>
                      <a:pt x="554" y="81"/>
                    </a:cubicBezTo>
                    <a:cubicBezTo>
                      <a:pt x="548" y="82"/>
                      <a:pt x="525" y="79"/>
                      <a:pt x="525" y="67"/>
                    </a:cubicBezTo>
                    <a:cubicBezTo>
                      <a:pt x="525" y="55"/>
                      <a:pt x="526" y="44"/>
                      <a:pt x="515" y="35"/>
                    </a:cubicBezTo>
                    <a:cubicBezTo>
                      <a:pt x="504" y="26"/>
                      <a:pt x="487" y="21"/>
                      <a:pt x="484" y="15"/>
                    </a:cubicBezTo>
                    <a:cubicBezTo>
                      <a:pt x="481" y="9"/>
                      <a:pt x="465" y="0"/>
                      <a:pt x="455" y="18"/>
                    </a:cubicBezTo>
                    <a:cubicBezTo>
                      <a:pt x="445" y="36"/>
                      <a:pt x="423" y="41"/>
                      <a:pt x="419" y="61"/>
                    </a:cubicBezTo>
                    <a:cubicBezTo>
                      <a:pt x="415" y="81"/>
                      <a:pt x="418" y="78"/>
                      <a:pt x="407" y="84"/>
                    </a:cubicBezTo>
                    <a:cubicBezTo>
                      <a:pt x="396" y="90"/>
                      <a:pt x="388" y="98"/>
                      <a:pt x="386" y="110"/>
                    </a:cubicBezTo>
                    <a:cubicBezTo>
                      <a:pt x="384" y="122"/>
                      <a:pt x="392" y="136"/>
                      <a:pt x="374" y="136"/>
                    </a:cubicBezTo>
                    <a:cubicBezTo>
                      <a:pt x="369" y="136"/>
                      <a:pt x="365" y="136"/>
                      <a:pt x="360" y="135"/>
                    </a:cubicBezTo>
                    <a:cubicBezTo>
                      <a:pt x="364" y="139"/>
                      <a:pt x="363" y="140"/>
                      <a:pt x="364" y="143"/>
                    </a:cubicBezTo>
                    <a:cubicBezTo>
                      <a:pt x="365" y="146"/>
                      <a:pt x="363" y="153"/>
                      <a:pt x="361" y="163"/>
                    </a:cubicBezTo>
                    <a:cubicBezTo>
                      <a:pt x="360" y="172"/>
                      <a:pt x="359" y="168"/>
                      <a:pt x="349" y="168"/>
                    </a:cubicBezTo>
                    <a:cubicBezTo>
                      <a:pt x="340" y="168"/>
                      <a:pt x="340" y="173"/>
                      <a:pt x="340" y="184"/>
                    </a:cubicBezTo>
                    <a:cubicBezTo>
                      <a:pt x="340" y="195"/>
                      <a:pt x="335" y="194"/>
                      <a:pt x="327" y="194"/>
                    </a:cubicBezTo>
                    <a:cubicBezTo>
                      <a:pt x="319" y="194"/>
                      <a:pt x="316" y="186"/>
                      <a:pt x="313" y="181"/>
                    </a:cubicBezTo>
                    <a:cubicBezTo>
                      <a:pt x="309" y="176"/>
                      <a:pt x="309" y="172"/>
                      <a:pt x="296" y="168"/>
                    </a:cubicBezTo>
                    <a:cubicBezTo>
                      <a:pt x="292" y="167"/>
                      <a:pt x="289" y="164"/>
                      <a:pt x="287" y="162"/>
                    </a:cubicBezTo>
                    <a:cubicBezTo>
                      <a:pt x="284" y="165"/>
                      <a:pt x="283" y="169"/>
                      <a:pt x="281" y="175"/>
                    </a:cubicBezTo>
                    <a:cubicBezTo>
                      <a:pt x="277" y="187"/>
                      <a:pt x="254" y="201"/>
                      <a:pt x="245" y="218"/>
                    </a:cubicBezTo>
                    <a:cubicBezTo>
                      <a:pt x="236" y="235"/>
                      <a:pt x="226" y="255"/>
                      <a:pt x="197" y="257"/>
                    </a:cubicBezTo>
                    <a:cubicBezTo>
                      <a:pt x="168" y="259"/>
                      <a:pt x="159" y="267"/>
                      <a:pt x="148" y="267"/>
                    </a:cubicBezTo>
                    <a:cubicBezTo>
                      <a:pt x="137" y="267"/>
                      <a:pt x="116" y="275"/>
                      <a:pt x="116" y="285"/>
                    </a:cubicBezTo>
                    <a:cubicBezTo>
                      <a:pt x="116" y="295"/>
                      <a:pt x="109" y="314"/>
                      <a:pt x="104" y="319"/>
                    </a:cubicBezTo>
                    <a:cubicBezTo>
                      <a:pt x="99" y="324"/>
                      <a:pt x="100" y="337"/>
                      <a:pt x="100" y="343"/>
                    </a:cubicBezTo>
                    <a:cubicBezTo>
                      <a:pt x="100" y="349"/>
                      <a:pt x="94" y="359"/>
                      <a:pt x="83" y="358"/>
                    </a:cubicBezTo>
                    <a:cubicBezTo>
                      <a:pt x="72" y="357"/>
                      <a:pt x="70" y="339"/>
                      <a:pt x="55" y="340"/>
                    </a:cubicBezTo>
                    <a:cubicBezTo>
                      <a:pt x="40" y="341"/>
                      <a:pt x="24" y="342"/>
                      <a:pt x="21" y="336"/>
                    </a:cubicBezTo>
                    <a:cubicBezTo>
                      <a:pt x="18" y="330"/>
                      <a:pt x="14" y="318"/>
                      <a:pt x="6" y="317"/>
                    </a:cubicBezTo>
                    <a:cubicBezTo>
                      <a:pt x="3" y="316"/>
                      <a:pt x="2" y="317"/>
                      <a:pt x="0" y="318"/>
                    </a:cubicBezTo>
                    <a:cubicBezTo>
                      <a:pt x="0" y="326"/>
                      <a:pt x="0" y="338"/>
                      <a:pt x="5" y="34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7" name="Freeform 331">
                <a:extLst>
                  <a:ext uri="{FF2B5EF4-FFF2-40B4-BE49-F238E27FC236}">
                    <a16:creationId xmlns:a16="http://schemas.microsoft.com/office/drawing/2014/main" id="{B9ABBB99-FAD5-0D4B-8AE8-3673164AF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" y="2163"/>
                <a:ext cx="30" cy="60"/>
              </a:xfrm>
              <a:custGeom>
                <a:avLst/>
                <a:gdLst>
                  <a:gd name="T0" fmla="*/ 6 w 117"/>
                  <a:gd name="T1" fmla="*/ 179 h 235"/>
                  <a:gd name="T2" fmla="*/ 18 w 117"/>
                  <a:gd name="T3" fmla="*/ 193 h 235"/>
                  <a:gd name="T4" fmla="*/ 33 w 117"/>
                  <a:gd name="T5" fmla="*/ 202 h 235"/>
                  <a:gd name="T6" fmla="*/ 39 w 117"/>
                  <a:gd name="T7" fmla="*/ 217 h 235"/>
                  <a:gd name="T8" fmla="*/ 45 w 117"/>
                  <a:gd name="T9" fmla="*/ 235 h 235"/>
                  <a:gd name="T10" fmla="*/ 46 w 117"/>
                  <a:gd name="T11" fmla="*/ 235 h 235"/>
                  <a:gd name="T12" fmla="*/ 58 w 117"/>
                  <a:gd name="T13" fmla="*/ 210 h 235"/>
                  <a:gd name="T14" fmla="*/ 64 w 117"/>
                  <a:gd name="T15" fmla="*/ 196 h 235"/>
                  <a:gd name="T16" fmla="*/ 70 w 117"/>
                  <a:gd name="T17" fmla="*/ 183 h 235"/>
                  <a:gd name="T18" fmla="*/ 90 w 117"/>
                  <a:gd name="T19" fmla="*/ 144 h 235"/>
                  <a:gd name="T20" fmla="*/ 100 w 117"/>
                  <a:gd name="T21" fmla="*/ 101 h 235"/>
                  <a:gd name="T22" fmla="*/ 107 w 117"/>
                  <a:gd name="T23" fmla="*/ 82 h 235"/>
                  <a:gd name="T24" fmla="*/ 116 w 117"/>
                  <a:gd name="T25" fmla="*/ 39 h 235"/>
                  <a:gd name="T26" fmla="*/ 117 w 117"/>
                  <a:gd name="T27" fmla="*/ 19 h 235"/>
                  <a:gd name="T28" fmla="*/ 95 w 117"/>
                  <a:gd name="T29" fmla="*/ 3 h 235"/>
                  <a:gd name="T30" fmla="*/ 78 w 117"/>
                  <a:gd name="T31" fmla="*/ 5 h 235"/>
                  <a:gd name="T32" fmla="*/ 65 w 117"/>
                  <a:gd name="T33" fmla="*/ 15 h 235"/>
                  <a:gd name="T34" fmla="*/ 54 w 117"/>
                  <a:gd name="T35" fmla="*/ 29 h 235"/>
                  <a:gd name="T36" fmla="*/ 41 w 117"/>
                  <a:gd name="T37" fmla="*/ 41 h 235"/>
                  <a:gd name="T38" fmla="*/ 34 w 117"/>
                  <a:gd name="T39" fmla="*/ 48 h 235"/>
                  <a:gd name="T40" fmla="*/ 30 w 117"/>
                  <a:gd name="T41" fmla="*/ 74 h 235"/>
                  <a:gd name="T42" fmla="*/ 15 w 117"/>
                  <a:gd name="T43" fmla="*/ 88 h 235"/>
                  <a:gd name="T44" fmla="*/ 5 w 117"/>
                  <a:gd name="T45" fmla="*/ 100 h 235"/>
                  <a:gd name="T46" fmla="*/ 3 w 117"/>
                  <a:gd name="T47" fmla="*/ 115 h 235"/>
                  <a:gd name="T48" fmla="*/ 1 w 117"/>
                  <a:gd name="T49" fmla="*/ 151 h 235"/>
                  <a:gd name="T50" fmla="*/ 6 w 117"/>
                  <a:gd name="T51" fmla="*/ 179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7" h="235">
                    <a:moveTo>
                      <a:pt x="6" y="179"/>
                    </a:moveTo>
                    <a:cubicBezTo>
                      <a:pt x="9" y="183"/>
                      <a:pt x="14" y="190"/>
                      <a:pt x="18" y="193"/>
                    </a:cubicBezTo>
                    <a:cubicBezTo>
                      <a:pt x="22" y="197"/>
                      <a:pt x="29" y="198"/>
                      <a:pt x="33" y="202"/>
                    </a:cubicBezTo>
                    <a:cubicBezTo>
                      <a:pt x="36" y="206"/>
                      <a:pt x="37" y="212"/>
                      <a:pt x="39" y="217"/>
                    </a:cubicBezTo>
                    <a:cubicBezTo>
                      <a:pt x="40" y="221"/>
                      <a:pt x="41" y="235"/>
                      <a:pt x="45" y="235"/>
                    </a:cubicBezTo>
                    <a:cubicBezTo>
                      <a:pt x="46" y="235"/>
                      <a:pt x="46" y="235"/>
                      <a:pt x="46" y="235"/>
                    </a:cubicBezTo>
                    <a:cubicBezTo>
                      <a:pt x="51" y="234"/>
                      <a:pt x="57" y="214"/>
                      <a:pt x="58" y="210"/>
                    </a:cubicBezTo>
                    <a:cubicBezTo>
                      <a:pt x="60" y="205"/>
                      <a:pt x="62" y="201"/>
                      <a:pt x="64" y="196"/>
                    </a:cubicBezTo>
                    <a:cubicBezTo>
                      <a:pt x="66" y="192"/>
                      <a:pt x="68" y="186"/>
                      <a:pt x="70" y="183"/>
                    </a:cubicBezTo>
                    <a:cubicBezTo>
                      <a:pt x="90" y="144"/>
                      <a:pt x="90" y="144"/>
                      <a:pt x="90" y="144"/>
                    </a:cubicBezTo>
                    <a:cubicBezTo>
                      <a:pt x="100" y="101"/>
                      <a:pt x="100" y="101"/>
                      <a:pt x="100" y="101"/>
                    </a:cubicBezTo>
                    <a:cubicBezTo>
                      <a:pt x="107" y="82"/>
                      <a:pt x="107" y="82"/>
                      <a:pt x="107" y="82"/>
                    </a:cubicBezTo>
                    <a:cubicBezTo>
                      <a:pt x="111" y="69"/>
                      <a:pt x="116" y="53"/>
                      <a:pt x="116" y="39"/>
                    </a:cubicBezTo>
                    <a:cubicBezTo>
                      <a:pt x="116" y="32"/>
                      <a:pt x="117" y="25"/>
                      <a:pt x="117" y="19"/>
                    </a:cubicBezTo>
                    <a:cubicBezTo>
                      <a:pt x="116" y="9"/>
                      <a:pt x="103" y="7"/>
                      <a:pt x="95" y="3"/>
                    </a:cubicBezTo>
                    <a:cubicBezTo>
                      <a:pt x="87" y="0"/>
                      <a:pt x="86" y="1"/>
                      <a:pt x="78" y="5"/>
                    </a:cubicBezTo>
                    <a:cubicBezTo>
                      <a:pt x="73" y="8"/>
                      <a:pt x="69" y="10"/>
                      <a:pt x="65" y="15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0" y="33"/>
                      <a:pt x="45" y="37"/>
                      <a:pt x="41" y="41"/>
                    </a:cubicBezTo>
                    <a:cubicBezTo>
                      <a:pt x="39" y="44"/>
                      <a:pt x="36" y="46"/>
                      <a:pt x="34" y="48"/>
                    </a:cubicBezTo>
                    <a:cubicBezTo>
                      <a:pt x="30" y="54"/>
                      <a:pt x="31" y="67"/>
                      <a:pt x="30" y="74"/>
                    </a:cubicBezTo>
                    <a:cubicBezTo>
                      <a:pt x="29" y="85"/>
                      <a:pt x="22" y="82"/>
                      <a:pt x="15" y="88"/>
                    </a:cubicBezTo>
                    <a:cubicBezTo>
                      <a:pt x="11" y="91"/>
                      <a:pt x="8" y="96"/>
                      <a:pt x="5" y="100"/>
                    </a:cubicBezTo>
                    <a:cubicBezTo>
                      <a:pt x="2" y="105"/>
                      <a:pt x="3" y="109"/>
                      <a:pt x="3" y="115"/>
                    </a:cubicBezTo>
                    <a:cubicBezTo>
                      <a:pt x="3" y="127"/>
                      <a:pt x="2" y="139"/>
                      <a:pt x="1" y="151"/>
                    </a:cubicBezTo>
                    <a:cubicBezTo>
                      <a:pt x="0" y="160"/>
                      <a:pt x="0" y="171"/>
                      <a:pt x="6" y="17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8" name="Freeform 332">
                <a:extLst>
                  <a:ext uri="{FF2B5EF4-FFF2-40B4-BE49-F238E27FC236}">
                    <a16:creationId xmlns:a16="http://schemas.microsoft.com/office/drawing/2014/main" id="{5CF36F4B-B03C-3E44-83CE-44604D314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9" y="2251"/>
                <a:ext cx="40" cy="32"/>
              </a:xfrm>
              <a:custGeom>
                <a:avLst/>
                <a:gdLst>
                  <a:gd name="T0" fmla="*/ 128 w 159"/>
                  <a:gd name="T1" fmla="*/ 62 h 126"/>
                  <a:gd name="T2" fmla="*/ 137 w 159"/>
                  <a:gd name="T3" fmla="*/ 57 h 126"/>
                  <a:gd name="T4" fmla="*/ 141 w 159"/>
                  <a:gd name="T5" fmla="*/ 48 h 126"/>
                  <a:gd name="T6" fmla="*/ 155 w 159"/>
                  <a:gd name="T7" fmla="*/ 12 h 126"/>
                  <a:gd name="T8" fmla="*/ 153 w 159"/>
                  <a:gd name="T9" fmla="*/ 10 h 126"/>
                  <a:gd name="T10" fmla="*/ 119 w 159"/>
                  <a:gd name="T11" fmla="*/ 5 h 126"/>
                  <a:gd name="T12" fmla="*/ 96 w 159"/>
                  <a:gd name="T13" fmla="*/ 5 h 126"/>
                  <a:gd name="T14" fmla="*/ 71 w 159"/>
                  <a:gd name="T15" fmla="*/ 2 h 126"/>
                  <a:gd name="T16" fmla="*/ 38 w 159"/>
                  <a:gd name="T17" fmla="*/ 21 h 126"/>
                  <a:gd name="T18" fmla="*/ 30 w 159"/>
                  <a:gd name="T19" fmla="*/ 31 h 126"/>
                  <a:gd name="T20" fmla="*/ 19 w 159"/>
                  <a:gd name="T21" fmla="*/ 43 h 126"/>
                  <a:gd name="T22" fmla="*/ 1 w 159"/>
                  <a:gd name="T23" fmla="*/ 68 h 126"/>
                  <a:gd name="T24" fmla="*/ 2 w 159"/>
                  <a:gd name="T25" fmla="*/ 78 h 126"/>
                  <a:gd name="T26" fmla="*/ 7 w 159"/>
                  <a:gd name="T27" fmla="*/ 98 h 126"/>
                  <a:gd name="T28" fmla="*/ 13 w 159"/>
                  <a:gd name="T29" fmla="*/ 112 h 126"/>
                  <a:gd name="T30" fmla="*/ 48 w 159"/>
                  <a:gd name="T31" fmla="*/ 125 h 126"/>
                  <a:gd name="T32" fmla="*/ 65 w 159"/>
                  <a:gd name="T33" fmla="*/ 123 h 126"/>
                  <a:gd name="T34" fmla="*/ 85 w 159"/>
                  <a:gd name="T35" fmla="*/ 122 h 126"/>
                  <a:gd name="T36" fmla="*/ 129 w 159"/>
                  <a:gd name="T37" fmla="*/ 88 h 126"/>
                  <a:gd name="T38" fmla="*/ 123 w 159"/>
                  <a:gd name="T39" fmla="*/ 77 h 126"/>
                  <a:gd name="T40" fmla="*/ 128 w 159"/>
                  <a:gd name="T41" fmla="*/ 6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9" h="126">
                    <a:moveTo>
                      <a:pt x="128" y="62"/>
                    </a:moveTo>
                    <a:cubicBezTo>
                      <a:pt x="132" y="60"/>
                      <a:pt x="133" y="60"/>
                      <a:pt x="137" y="57"/>
                    </a:cubicBezTo>
                    <a:cubicBezTo>
                      <a:pt x="141" y="54"/>
                      <a:pt x="140" y="55"/>
                      <a:pt x="141" y="48"/>
                    </a:cubicBezTo>
                    <a:cubicBezTo>
                      <a:pt x="142" y="41"/>
                      <a:pt x="159" y="18"/>
                      <a:pt x="155" y="12"/>
                    </a:cubicBezTo>
                    <a:cubicBezTo>
                      <a:pt x="154" y="12"/>
                      <a:pt x="154" y="11"/>
                      <a:pt x="153" y="10"/>
                    </a:cubicBezTo>
                    <a:cubicBezTo>
                      <a:pt x="147" y="2"/>
                      <a:pt x="129" y="5"/>
                      <a:pt x="119" y="5"/>
                    </a:cubicBezTo>
                    <a:cubicBezTo>
                      <a:pt x="111" y="5"/>
                      <a:pt x="103" y="4"/>
                      <a:pt x="96" y="5"/>
                    </a:cubicBezTo>
                    <a:cubicBezTo>
                      <a:pt x="89" y="6"/>
                      <a:pt x="77" y="0"/>
                      <a:pt x="71" y="2"/>
                    </a:cubicBezTo>
                    <a:cubicBezTo>
                      <a:pt x="58" y="6"/>
                      <a:pt x="51" y="16"/>
                      <a:pt x="38" y="21"/>
                    </a:cubicBezTo>
                    <a:cubicBezTo>
                      <a:pt x="32" y="23"/>
                      <a:pt x="32" y="25"/>
                      <a:pt x="30" y="31"/>
                    </a:cubicBezTo>
                    <a:cubicBezTo>
                      <a:pt x="27" y="37"/>
                      <a:pt x="24" y="39"/>
                      <a:pt x="19" y="43"/>
                    </a:cubicBezTo>
                    <a:cubicBezTo>
                      <a:pt x="13" y="49"/>
                      <a:pt x="3" y="59"/>
                      <a:pt x="1" y="68"/>
                    </a:cubicBezTo>
                    <a:cubicBezTo>
                      <a:pt x="0" y="72"/>
                      <a:pt x="1" y="74"/>
                      <a:pt x="2" y="78"/>
                    </a:cubicBezTo>
                    <a:cubicBezTo>
                      <a:pt x="4" y="85"/>
                      <a:pt x="5" y="92"/>
                      <a:pt x="7" y="98"/>
                    </a:cubicBezTo>
                    <a:cubicBezTo>
                      <a:pt x="8" y="103"/>
                      <a:pt x="11" y="107"/>
                      <a:pt x="13" y="112"/>
                    </a:cubicBezTo>
                    <a:cubicBezTo>
                      <a:pt x="17" y="126"/>
                      <a:pt x="35" y="123"/>
                      <a:pt x="48" y="125"/>
                    </a:cubicBezTo>
                    <a:cubicBezTo>
                      <a:pt x="65" y="123"/>
                      <a:pt x="65" y="123"/>
                      <a:pt x="65" y="123"/>
                    </a:cubicBezTo>
                    <a:cubicBezTo>
                      <a:pt x="65" y="123"/>
                      <a:pt x="85" y="122"/>
                      <a:pt x="85" y="122"/>
                    </a:cubicBezTo>
                    <a:cubicBezTo>
                      <a:pt x="102" y="120"/>
                      <a:pt x="119" y="102"/>
                      <a:pt x="129" y="88"/>
                    </a:cubicBezTo>
                    <a:cubicBezTo>
                      <a:pt x="131" y="87"/>
                      <a:pt x="124" y="79"/>
                      <a:pt x="123" y="77"/>
                    </a:cubicBezTo>
                    <a:cubicBezTo>
                      <a:pt x="121" y="72"/>
                      <a:pt x="123" y="66"/>
                      <a:pt x="128" y="6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79" name="Freeform 333">
                <a:extLst>
                  <a:ext uri="{FF2B5EF4-FFF2-40B4-BE49-F238E27FC236}">
                    <a16:creationId xmlns:a16="http://schemas.microsoft.com/office/drawing/2014/main" id="{DA80B8D6-585F-FA45-AB3C-09C7FF460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9" y="2212"/>
                <a:ext cx="16" cy="8"/>
              </a:xfrm>
              <a:custGeom>
                <a:avLst/>
                <a:gdLst>
                  <a:gd name="T0" fmla="*/ 15 w 65"/>
                  <a:gd name="T1" fmla="*/ 3 h 32"/>
                  <a:gd name="T2" fmla="*/ 3 w 65"/>
                  <a:gd name="T3" fmla="*/ 14 h 32"/>
                  <a:gd name="T4" fmla="*/ 0 w 65"/>
                  <a:gd name="T5" fmla="*/ 19 h 32"/>
                  <a:gd name="T6" fmla="*/ 12 w 65"/>
                  <a:gd name="T7" fmla="*/ 25 h 32"/>
                  <a:gd name="T8" fmla="*/ 49 w 65"/>
                  <a:gd name="T9" fmla="*/ 20 h 32"/>
                  <a:gd name="T10" fmla="*/ 32 w 65"/>
                  <a:gd name="T11" fmla="*/ 9 h 32"/>
                  <a:gd name="T12" fmla="*/ 24 w 65"/>
                  <a:gd name="T13" fmla="*/ 1 h 32"/>
                  <a:gd name="T14" fmla="*/ 15 w 65"/>
                  <a:gd name="T15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5" h="32">
                    <a:moveTo>
                      <a:pt x="15" y="3"/>
                    </a:moveTo>
                    <a:cubicBezTo>
                      <a:pt x="9" y="8"/>
                      <a:pt x="3" y="10"/>
                      <a:pt x="3" y="14"/>
                    </a:cubicBezTo>
                    <a:cubicBezTo>
                      <a:pt x="2" y="16"/>
                      <a:pt x="1" y="17"/>
                      <a:pt x="0" y="19"/>
                    </a:cubicBezTo>
                    <a:cubicBezTo>
                      <a:pt x="4" y="21"/>
                      <a:pt x="8" y="23"/>
                      <a:pt x="12" y="25"/>
                    </a:cubicBezTo>
                    <a:cubicBezTo>
                      <a:pt x="28" y="32"/>
                      <a:pt x="34" y="28"/>
                      <a:pt x="49" y="20"/>
                    </a:cubicBezTo>
                    <a:cubicBezTo>
                      <a:pt x="65" y="13"/>
                      <a:pt x="45" y="12"/>
                      <a:pt x="32" y="9"/>
                    </a:cubicBezTo>
                    <a:cubicBezTo>
                      <a:pt x="24" y="7"/>
                      <a:pt x="21" y="3"/>
                      <a:pt x="24" y="1"/>
                    </a:cubicBezTo>
                    <a:cubicBezTo>
                      <a:pt x="22" y="0"/>
                      <a:pt x="18" y="0"/>
                      <a:pt x="15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0" name="Freeform 334">
                <a:extLst>
                  <a:ext uri="{FF2B5EF4-FFF2-40B4-BE49-F238E27FC236}">
                    <a16:creationId xmlns:a16="http://schemas.microsoft.com/office/drawing/2014/main" id="{36F443E3-4981-E44A-B60D-DFB1A3EA3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0" y="1621"/>
                <a:ext cx="980" cy="627"/>
              </a:xfrm>
              <a:custGeom>
                <a:avLst/>
                <a:gdLst>
                  <a:gd name="T0" fmla="*/ 3453 w 3875"/>
                  <a:gd name="T1" fmla="*/ 987 h 2481"/>
                  <a:gd name="T2" fmla="*/ 3593 w 3875"/>
                  <a:gd name="T3" fmla="*/ 896 h 2481"/>
                  <a:gd name="T4" fmla="*/ 3639 w 3875"/>
                  <a:gd name="T5" fmla="*/ 865 h 2481"/>
                  <a:gd name="T6" fmla="*/ 3767 w 3875"/>
                  <a:gd name="T7" fmla="*/ 690 h 2481"/>
                  <a:gd name="T8" fmla="*/ 3836 w 3875"/>
                  <a:gd name="T9" fmla="*/ 437 h 2481"/>
                  <a:gd name="T10" fmla="*/ 3609 w 3875"/>
                  <a:gd name="T11" fmla="*/ 406 h 2481"/>
                  <a:gd name="T12" fmla="*/ 3377 w 3875"/>
                  <a:gd name="T13" fmla="*/ 222 h 2481"/>
                  <a:gd name="T14" fmla="*/ 3157 w 3875"/>
                  <a:gd name="T15" fmla="*/ 3 h 2481"/>
                  <a:gd name="T16" fmla="*/ 2977 w 3875"/>
                  <a:gd name="T17" fmla="*/ 118 h 2481"/>
                  <a:gd name="T18" fmla="*/ 2775 w 3875"/>
                  <a:gd name="T19" fmla="*/ 341 h 2481"/>
                  <a:gd name="T20" fmla="*/ 2729 w 3875"/>
                  <a:gd name="T21" fmla="*/ 328 h 2481"/>
                  <a:gd name="T22" fmla="*/ 2722 w 3875"/>
                  <a:gd name="T23" fmla="*/ 320 h 2481"/>
                  <a:gd name="T24" fmla="*/ 2762 w 3875"/>
                  <a:gd name="T25" fmla="*/ 496 h 2481"/>
                  <a:gd name="T26" fmla="*/ 2694 w 3875"/>
                  <a:gd name="T27" fmla="*/ 643 h 2481"/>
                  <a:gd name="T28" fmla="*/ 2413 w 3875"/>
                  <a:gd name="T29" fmla="*/ 816 h 2481"/>
                  <a:gd name="T30" fmla="*/ 1945 w 3875"/>
                  <a:gd name="T31" fmla="*/ 964 h 2481"/>
                  <a:gd name="T32" fmla="*/ 1453 w 3875"/>
                  <a:gd name="T33" fmla="*/ 888 h 2481"/>
                  <a:gd name="T34" fmla="*/ 1179 w 3875"/>
                  <a:gd name="T35" fmla="*/ 712 h 2481"/>
                  <a:gd name="T36" fmla="*/ 1037 w 3875"/>
                  <a:gd name="T37" fmla="*/ 496 h 2481"/>
                  <a:gd name="T38" fmla="*/ 880 w 3875"/>
                  <a:gd name="T39" fmla="*/ 383 h 2481"/>
                  <a:gd name="T40" fmla="*/ 835 w 3875"/>
                  <a:gd name="T41" fmla="*/ 377 h 2481"/>
                  <a:gd name="T42" fmla="*/ 719 w 3875"/>
                  <a:gd name="T43" fmla="*/ 558 h 2481"/>
                  <a:gd name="T44" fmla="*/ 494 w 3875"/>
                  <a:gd name="T45" fmla="*/ 688 h 2481"/>
                  <a:gd name="T46" fmla="*/ 404 w 3875"/>
                  <a:gd name="T47" fmla="*/ 895 h 2481"/>
                  <a:gd name="T48" fmla="*/ 403 w 3875"/>
                  <a:gd name="T49" fmla="*/ 914 h 2481"/>
                  <a:gd name="T50" fmla="*/ 405 w 3875"/>
                  <a:gd name="T51" fmla="*/ 937 h 2481"/>
                  <a:gd name="T52" fmla="*/ 95 w 3875"/>
                  <a:gd name="T53" fmla="*/ 1060 h 2481"/>
                  <a:gd name="T54" fmla="*/ 9 w 3875"/>
                  <a:gd name="T55" fmla="*/ 1101 h 2481"/>
                  <a:gd name="T56" fmla="*/ 2 w 3875"/>
                  <a:gd name="T57" fmla="*/ 1120 h 2481"/>
                  <a:gd name="T58" fmla="*/ 0 w 3875"/>
                  <a:gd name="T59" fmla="*/ 1161 h 2481"/>
                  <a:gd name="T60" fmla="*/ 75 w 3875"/>
                  <a:gd name="T61" fmla="*/ 1276 h 2481"/>
                  <a:gd name="T62" fmla="*/ 57 w 3875"/>
                  <a:gd name="T63" fmla="*/ 1316 h 2481"/>
                  <a:gd name="T64" fmla="*/ 223 w 3875"/>
                  <a:gd name="T65" fmla="*/ 1434 h 2481"/>
                  <a:gd name="T66" fmla="*/ 418 w 3875"/>
                  <a:gd name="T67" fmla="*/ 1441 h 2481"/>
                  <a:gd name="T68" fmla="*/ 357 w 3875"/>
                  <a:gd name="T69" fmla="*/ 1621 h 2481"/>
                  <a:gd name="T70" fmla="*/ 388 w 3875"/>
                  <a:gd name="T71" fmla="*/ 1762 h 2481"/>
                  <a:gd name="T72" fmla="*/ 494 w 3875"/>
                  <a:gd name="T73" fmla="*/ 1793 h 2481"/>
                  <a:gd name="T74" fmla="*/ 743 w 3875"/>
                  <a:gd name="T75" fmla="*/ 1939 h 2481"/>
                  <a:gd name="T76" fmla="*/ 915 w 3875"/>
                  <a:gd name="T77" fmla="*/ 1966 h 2481"/>
                  <a:gd name="T78" fmla="*/ 925 w 3875"/>
                  <a:gd name="T79" fmla="*/ 1964 h 2481"/>
                  <a:gd name="T80" fmla="*/ 1014 w 3875"/>
                  <a:gd name="T81" fmla="*/ 1941 h 2481"/>
                  <a:gd name="T82" fmla="*/ 1192 w 3875"/>
                  <a:gd name="T83" fmla="*/ 1971 h 2481"/>
                  <a:gd name="T84" fmla="*/ 1405 w 3875"/>
                  <a:gd name="T85" fmla="*/ 1857 h 2481"/>
                  <a:gd name="T86" fmla="*/ 1492 w 3875"/>
                  <a:gd name="T87" fmla="*/ 1941 h 2481"/>
                  <a:gd name="T88" fmla="*/ 1560 w 3875"/>
                  <a:gd name="T89" fmla="*/ 2124 h 2481"/>
                  <a:gd name="T90" fmla="*/ 1585 w 3875"/>
                  <a:gd name="T91" fmla="*/ 2244 h 2481"/>
                  <a:gd name="T92" fmla="*/ 1678 w 3875"/>
                  <a:gd name="T93" fmla="*/ 2405 h 2481"/>
                  <a:gd name="T94" fmla="*/ 1737 w 3875"/>
                  <a:gd name="T95" fmla="*/ 2395 h 2481"/>
                  <a:gd name="T96" fmla="*/ 1792 w 3875"/>
                  <a:gd name="T97" fmla="*/ 2337 h 2481"/>
                  <a:gd name="T98" fmla="*/ 1853 w 3875"/>
                  <a:gd name="T99" fmla="*/ 2337 h 2481"/>
                  <a:gd name="T100" fmla="*/ 2010 w 3875"/>
                  <a:gd name="T101" fmla="*/ 2286 h 2481"/>
                  <a:gd name="T102" fmla="*/ 2180 w 3875"/>
                  <a:gd name="T103" fmla="*/ 2394 h 2481"/>
                  <a:gd name="T104" fmla="*/ 2319 w 3875"/>
                  <a:gd name="T105" fmla="*/ 2422 h 2481"/>
                  <a:gd name="T106" fmla="*/ 2593 w 3875"/>
                  <a:gd name="T107" fmla="*/ 2331 h 2481"/>
                  <a:gd name="T108" fmla="*/ 2848 w 3875"/>
                  <a:gd name="T109" fmla="*/ 2180 h 2481"/>
                  <a:gd name="T110" fmla="*/ 3026 w 3875"/>
                  <a:gd name="T111" fmla="*/ 1934 h 2481"/>
                  <a:gd name="T112" fmla="*/ 3038 w 3875"/>
                  <a:gd name="T113" fmla="*/ 1759 h 2481"/>
                  <a:gd name="T114" fmla="*/ 2886 w 3875"/>
                  <a:gd name="T115" fmla="*/ 1471 h 2481"/>
                  <a:gd name="T116" fmla="*/ 3009 w 3875"/>
                  <a:gd name="T117" fmla="*/ 1270 h 2481"/>
                  <a:gd name="T118" fmla="*/ 2893 w 3875"/>
                  <a:gd name="T119" fmla="*/ 1118 h 2481"/>
                  <a:gd name="T120" fmla="*/ 3023 w 3875"/>
                  <a:gd name="T121" fmla="*/ 1181 h 2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875" h="2481">
                    <a:moveTo>
                      <a:pt x="3214" y="1079"/>
                    </a:moveTo>
                    <a:cubicBezTo>
                      <a:pt x="3224" y="1070"/>
                      <a:pt x="3251" y="1060"/>
                      <a:pt x="3259" y="1054"/>
                    </a:cubicBezTo>
                    <a:cubicBezTo>
                      <a:pt x="3267" y="1047"/>
                      <a:pt x="3279" y="1048"/>
                      <a:pt x="3286" y="1042"/>
                    </a:cubicBezTo>
                    <a:cubicBezTo>
                      <a:pt x="3293" y="1036"/>
                      <a:pt x="3295" y="1030"/>
                      <a:pt x="3303" y="1028"/>
                    </a:cubicBezTo>
                    <a:cubicBezTo>
                      <a:pt x="3312" y="1026"/>
                      <a:pt x="3321" y="1018"/>
                      <a:pt x="3331" y="1010"/>
                    </a:cubicBezTo>
                    <a:cubicBezTo>
                      <a:pt x="3341" y="1001"/>
                      <a:pt x="3350" y="986"/>
                      <a:pt x="3352" y="976"/>
                    </a:cubicBezTo>
                    <a:cubicBezTo>
                      <a:pt x="3354" y="965"/>
                      <a:pt x="3355" y="959"/>
                      <a:pt x="3370" y="959"/>
                    </a:cubicBezTo>
                    <a:cubicBezTo>
                      <a:pt x="3385" y="959"/>
                      <a:pt x="3379" y="975"/>
                      <a:pt x="3383" y="975"/>
                    </a:cubicBezTo>
                    <a:cubicBezTo>
                      <a:pt x="3387" y="975"/>
                      <a:pt x="3401" y="982"/>
                      <a:pt x="3407" y="989"/>
                    </a:cubicBezTo>
                    <a:cubicBezTo>
                      <a:pt x="3412" y="996"/>
                      <a:pt x="3430" y="996"/>
                      <a:pt x="3434" y="991"/>
                    </a:cubicBezTo>
                    <a:cubicBezTo>
                      <a:pt x="3438" y="986"/>
                      <a:pt x="3447" y="988"/>
                      <a:pt x="3453" y="987"/>
                    </a:cubicBezTo>
                    <a:cubicBezTo>
                      <a:pt x="3459" y="986"/>
                      <a:pt x="3457" y="977"/>
                      <a:pt x="3452" y="974"/>
                    </a:cubicBezTo>
                    <a:cubicBezTo>
                      <a:pt x="3447" y="970"/>
                      <a:pt x="3453" y="960"/>
                      <a:pt x="3446" y="954"/>
                    </a:cubicBezTo>
                    <a:cubicBezTo>
                      <a:pt x="3439" y="947"/>
                      <a:pt x="3447" y="940"/>
                      <a:pt x="3465" y="942"/>
                    </a:cubicBezTo>
                    <a:cubicBezTo>
                      <a:pt x="3483" y="943"/>
                      <a:pt x="3509" y="939"/>
                      <a:pt x="3513" y="931"/>
                    </a:cubicBezTo>
                    <a:cubicBezTo>
                      <a:pt x="3517" y="923"/>
                      <a:pt x="3522" y="912"/>
                      <a:pt x="3530" y="912"/>
                    </a:cubicBezTo>
                    <a:cubicBezTo>
                      <a:pt x="3538" y="912"/>
                      <a:pt x="3549" y="906"/>
                      <a:pt x="3549" y="898"/>
                    </a:cubicBezTo>
                    <a:cubicBezTo>
                      <a:pt x="3549" y="889"/>
                      <a:pt x="3549" y="887"/>
                      <a:pt x="3557" y="883"/>
                    </a:cubicBezTo>
                    <a:cubicBezTo>
                      <a:pt x="3565" y="879"/>
                      <a:pt x="3554" y="869"/>
                      <a:pt x="3563" y="866"/>
                    </a:cubicBezTo>
                    <a:cubicBezTo>
                      <a:pt x="3573" y="864"/>
                      <a:pt x="3584" y="873"/>
                      <a:pt x="3585" y="878"/>
                    </a:cubicBezTo>
                    <a:cubicBezTo>
                      <a:pt x="3585" y="884"/>
                      <a:pt x="3585" y="892"/>
                      <a:pt x="3591" y="895"/>
                    </a:cubicBezTo>
                    <a:cubicBezTo>
                      <a:pt x="3591" y="895"/>
                      <a:pt x="3592" y="896"/>
                      <a:pt x="3593" y="896"/>
                    </a:cubicBezTo>
                    <a:cubicBezTo>
                      <a:pt x="3594" y="896"/>
                      <a:pt x="3594" y="896"/>
                      <a:pt x="3595" y="896"/>
                    </a:cubicBezTo>
                    <a:cubicBezTo>
                      <a:pt x="3595" y="896"/>
                      <a:pt x="3595" y="896"/>
                      <a:pt x="3595" y="896"/>
                    </a:cubicBezTo>
                    <a:cubicBezTo>
                      <a:pt x="3597" y="896"/>
                      <a:pt x="3598" y="896"/>
                      <a:pt x="3600" y="895"/>
                    </a:cubicBezTo>
                    <a:cubicBezTo>
                      <a:pt x="3600" y="895"/>
                      <a:pt x="3600" y="895"/>
                      <a:pt x="3600" y="895"/>
                    </a:cubicBezTo>
                    <a:cubicBezTo>
                      <a:pt x="3601" y="894"/>
                      <a:pt x="3603" y="893"/>
                      <a:pt x="3604" y="891"/>
                    </a:cubicBezTo>
                    <a:cubicBezTo>
                      <a:pt x="3604" y="891"/>
                      <a:pt x="3604" y="891"/>
                      <a:pt x="3604" y="891"/>
                    </a:cubicBezTo>
                    <a:cubicBezTo>
                      <a:pt x="3605" y="890"/>
                      <a:pt x="3605" y="889"/>
                      <a:pt x="3605" y="889"/>
                    </a:cubicBezTo>
                    <a:cubicBezTo>
                      <a:pt x="3606" y="889"/>
                      <a:pt x="3606" y="888"/>
                      <a:pt x="3606" y="888"/>
                    </a:cubicBezTo>
                    <a:cubicBezTo>
                      <a:pt x="3606" y="887"/>
                      <a:pt x="3606" y="886"/>
                      <a:pt x="3607" y="885"/>
                    </a:cubicBezTo>
                    <a:cubicBezTo>
                      <a:pt x="3609" y="876"/>
                      <a:pt x="3609" y="880"/>
                      <a:pt x="3620" y="880"/>
                    </a:cubicBezTo>
                    <a:cubicBezTo>
                      <a:pt x="3631" y="879"/>
                      <a:pt x="3634" y="875"/>
                      <a:pt x="3639" y="865"/>
                    </a:cubicBezTo>
                    <a:cubicBezTo>
                      <a:pt x="3645" y="855"/>
                      <a:pt x="3649" y="858"/>
                      <a:pt x="3650" y="849"/>
                    </a:cubicBezTo>
                    <a:cubicBezTo>
                      <a:pt x="3651" y="840"/>
                      <a:pt x="3653" y="829"/>
                      <a:pt x="3650" y="821"/>
                    </a:cubicBezTo>
                    <a:cubicBezTo>
                      <a:pt x="3647" y="813"/>
                      <a:pt x="3649" y="792"/>
                      <a:pt x="3650" y="782"/>
                    </a:cubicBezTo>
                    <a:cubicBezTo>
                      <a:pt x="3651" y="772"/>
                      <a:pt x="3649" y="762"/>
                      <a:pt x="3644" y="758"/>
                    </a:cubicBezTo>
                    <a:cubicBezTo>
                      <a:pt x="3639" y="753"/>
                      <a:pt x="3644" y="747"/>
                      <a:pt x="3639" y="742"/>
                    </a:cubicBezTo>
                    <a:cubicBezTo>
                      <a:pt x="3633" y="738"/>
                      <a:pt x="3629" y="730"/>
                      <a:pt x="3630" y="722"/>
                    </a:cubicBezTo>
                    <a:cubicBezTo>
                      <a:pt x="3631" y="714"/>
                      <a:pt x="3647" y="714"/>
                      <a:pt x="3659" y="712"/>
                    </a:cubicBezTo>
                    <a:cubicBezTo>
                      <a:pt x="3670" y="710"/>
                      <a:pt x="3674" y="702"/>
                      <a:pt x="3680" y="692"/>
                    </a:cubicBezTo>
                    <a:cubicBezTo>
                      <a:pt x="3686" y="683"/>
                      <a:pt x="3696" y="688"/>
                      <a:pt x="3706" y="693"/>
                    </a:cubicBezTo>
                    <a:cubicBezTo>
                      <a:pt x="3716" y="698"/>
                      <a:pt x="3731" y="705"/>
                      <a:pt x="3747" y="708"/>
                    </a:cubicBezTo>
                    <a:cubicBezTo>
                      <a:pt x="3763" y="710"/>
                      <a:pt x="3767" y="704"/>
                      <a:pt x="3767" y="690"/>
                    </a:cubicBezTo>
                    <a:cubicBezTo>
                      <a:pt x="3768" y="676"/>
                      <a:pt x="3771" y="673"/>
                      <a:pt x="3781" y="670"/>
                    </a:cubicBezTo>
                    <a:cubicBezTo>
                      <a:pt x="3791" y="666"/>
                      <a:pt x="3793" y="652"/>
                      <a:pt x="3797" y="639"/>
                    </a:cubicBezTo>
                    <a:cubicBezTo>
                      <a:pt x="3801" y="626"/>
                      <a:pt x="3805" y="624"/>
                      <a:pt x="3813" y="617"/>
                    </a:cubicBezTo>
                    <a:cubicBezTo>
                      <a:pt x="3821" y="610"/>
                      <a:pt x="3821" y="592"/>
                      <a:pt x="3820" y="580"/>
                    </a:cubicBezTo>
                    <a:cubicBezTo>
                      <a:pt x="3819" y="567"/>
                      <a:pt x="3835" y="556"/>
                      <a:pt x="3835" y="542"/>
                    </a:cubicBezTo>
                    <a:cubicBezTo>
                      <a:pt x="3835" y="528"/>
                      <a:pt x="3841" y="518"/>
                      <a:pt x="3849" y="517"/>
                    </a:cubicBezTo>
                    <a:cubicBezTo>
                      <a:pt x="3857" y="516"/>
                      <a:pt x="3863" y="514"/>
                      <a:pt x="3868" y="504"/>
                    </a:cubicBezTo>
                    <a:cubicBezTo>
                      <a:pt x="3873" y="493"/>
                      <a:pt x="3870" y="484"/>
                      <a:pt x="3861" y="478"/>
                    </a:cubicBezTo>
                    <a:cubicBezTo>
                      <a:pt x="3851" y="471"/>
                      <a:pt x="3860" y="464"/>
                      <a:pt x="3867" y="461"/>
                    </a:cubicBezTo>
                    <a:cubicBezTo>
                      <a:pt x="3875" y="458"/>
                      <a:pt x="3870" y="451"/>
                      <a:pt x="3869" y="444"/>
                    </a:cubicBezTo>
                    <a:cubicBezTo>
                      <a:pt x="3867" y="436"/>
                      <a:pt x="3848" y="437"/>
                      <a:pt x="3836" y="437"/>
                    </a:cubicBezTo>
                    <a:cubicBezTo>
                      <a:pt x="3824" y="437"/>
                      <a:pt x="3828" y="448"/>
                      <a:pt x="3813" y="450"/>
                    </a:cubicBezTo>
                    <a:cubicBezTo>
                      <a:pt x="3799" y="453"/>
                      <a:pt x="3799" y="455"/>
                      <a:pt x="3791" y="460"/>
                    </a:cubicBezTo>
                    <a:cubicBezTo>
                      <a:pt x="3782" y="466"/>
                      <a:pt x="3767" y="465"/>
                      <a:pt x="3755" y="466"/>
                    </a:cubicBezTo>
                    <a:cubicBezTo>
                      <a:pt x="3742" y="466"/>
                      <a:pt x="3733" y="482"/>
                      <a:pt x="3723" y="492"/>
                    </a:cubicBezTo>
                    <a:cubicBezTo>
                      <a:pt x="3713" y="502"/>
                      <a:pt x="3703" y="500"/>
                      <a:pt x="3687" y="499"/>
                    </a:cubicBezTo>
                    <a:cubicBezTo>
                      <a:pt x="3672" y="498"/>
                      <a:pt x="3671" y="489"/>
                      <a:pt x="3661" y="494"/>
                    </a:cubicBezTo>
                    <a:cubicBezTo>
                      <a:pt x="3651" y="500"/>
                      <a:pt x="3640" y="498"/>
                      <a:pt x="3637" y="495"/>
                    </a:cubicBezTo>
                    <a:cubicBezTo>
                      <a:pt x="3635" y="492"/>
                      <a:pt x="3635" y="485"/>
                      <a:pt x="3621" y="478"/>
                    </a:cubicBezTo>
                    <a:cubicBezTo>
                      <a:pt x="3608" y="472"/>
                      <a:pt x="3619" y="462"/>
                      <a:pt x="3619" y="454"/>
                    </a:cubicBezTo>
                    <a:cubicBezTo>
                      <a:pt x="3619" y="446"/>
                      <a:pt x="3623" y="432"/>
                      <a:pt x="3615" y="427"/>
                    </a:cubicBezTo>
                    <a:cubicBezTo>
                      <a:pt x="3607" y="422"/>
                      <a:pt x="3609" y="416"/>
                      <a:pt x="3609" y="406"/>
                    </a:cubicBezTo>
                    <a:cubicBezTo>
                      <a:pt x="3609" y="397"/>
                      <a:pt x="3591" y="401"/>
                      <a:pt x="3577" y="396"/>
                    </a:cubicBezTo>
                    <a:cubicBezTo>
                      <a:pt x="3563" y="392"/>
                      <a:pt x="3560" y="375"/>
                      <a:pt x="3550" y="366"/>
                    </a:cubicBezTo>
                    <a:cubicBezTo>
                      <a:pt x="3540" y="356"/>
                      <a:pt x="3535" y="350"/>
                      <a:pt x="3520" y="358"/>
                    </a:cubicBezTo>
                    <a:cubicBezTo>
                      <a:pt x="3505" y="366"/>
                      <a:pt x="3493" y="348"/>
                      <a:pt x="3486" y="342"/>
                    </a:cubicBezTo>
                    <a:cubicBezTo>
                      <a:pt x="3479" y="336"/>
                      <a:pt x="3472" y="337"/>
                      <a:pt x="3465" y="346"/>
                    </a:cubicBezTo>
                    <a:cubicBezTo>
                      <a:pt x="3459" y="356"/>
                      <a:pt x="3453" y="346"/>
                      <a:pt x="3444" y="345"/>
                    </a:cubicBezTo>
                    <a:cubicBezTo>
                      <a:pt x="3435" y="344"/>
                      <a:pt x="3426" y="334"/>
                      <a:pt x="3418" y="327"/>
                    </a:cubicBezTo>
                    <a:cubicBezTo>
                      <a:pt x="3410" y="320"/>
                      <a:pt x="3409" y="307"/>
                      <a:pt x="3413" y="293"/>
                    </a:cubicBezTo>
                    <a:cubicBezTo>
                      <a:pt x="3417" y="279"/>
                      <a:pt x="3405" y="282"/>
                      <a:pt x="3402" y="270"/>
                    </a:cubicBezTo>
                    <a:cubicBezTo>
                      <a:pt x="3399" y="258"/>
                      <a:pt x="3400" y="254"/>
                      <a:pt x="3394" y="243"/>
                    </a:cubicBezTo>
                    <a:cubicBezTo>
                      <a:pt x="3388" y="232"/>
                      <a:pt x="3385" y="230"/>
                      <a:pt x="3377" y="222"/>
                    </a:cubicBezTo>
                    <a:cubicBezTo>
                      <a:pt x="3369" y="214"/>
                      <a:pt x="3370" y="211"/>
                      <a:pt x="3369" y="198"/>
                    </a:cubicBezTo>
                    <a:cubicBezTo>
                      <a:pt x="3369" y="186"/>
                      <a:pt x="3363" y="178"/>
                      <a:pt x="3361" y="172"/>
                    </a:cubicBezTo>
                    <a:cubicBezTo>
                      <a:pt x="3359" y="165"/>
                      <a:pt x="3357" y="162"/>
                      <a:pt x="3347" y="150"/>
                    </a:cubicBezTo>
                    <a:cubicBezTo>
                      <a:pt x="3337" y="139"/>
                      <a:pt x="3339" y="122"/>
                      <a:pt x="3337" y="108"/>
                    </a:cubicBezTo>
                    <a:cubicBezTo>
                      <a:pt x="3336" y="94"/>
                      <a:pt x="3321" y="93"/>
                      <a:pt x="3318" y="84"/>
                    </a:cubicBezTo>
                    <a:cubicBezTo>
                      <a:pt x="3315" y="74"/>
                      <a:pt x="3311" y="66"/>
                      <a:pt x="3301" y="63"/>
                    </a:cubicBezTo>
                    <a:cubicBezTo>
                      <a:pt x="3290" y="60"/>
                      <a:pt x="3285" y="51"/>
                      <a:pt x="3279" y="41"/>
                    </a:cubicBezTo>
                    <a:cubicBezTo>
                      <a:pt x="3273" y="31"/>
                      <a:pt x="3245" y="34"/>
                      <a:pt x="3232" y="35"/>
                    </a:cubicBezTo>
                    <a:cubicBezTo>
                      <a:pt x="3219" y="36"/>
                      <a:pt x="3214" y="33"/>
                      <a:pt x="3210" y="28"/>
                    </a:cubicBezTo>
                    <a:cubicBezTo>
                      <a:pt x="3206" y="24"/>
                      <a:pt x="3200" y="18"/>
                      <a:pt x="3189" y="16"/>
                    </a:cubicBezTo>
                    <a:cubicBezTo>
                      <a:pt x="3177" y="14"/>
                      <a:pt x="3166" y="6"/>
                      <a:pt x="3157" y="3"/>
                    </a:cubicBezTo>
                    <a:cubicBezTo>
                      <a:pt x="3147" y="0"/>
                      <a:pt x="3140" y="6"/>
                      <a:pt x="3126" y="10"/>
                    </a:cubicBezTo>
                    <a:cubicBezTo>
                      <a:pt x="3112" y="14"/>
                      <a:pt x="3107" y="8"/>
                      <a:pt x="3087" y="8"/>
                    </a:cubicBezTo>
                    <a:cubicBezTo>
                      <a:pt x="3067" y="8"/>
                      <a:pt x="3072" y="14"/>
                      <a:pt x="3059" y="16"/>
                    </a:cubicBezTo>
                    <a:cubicBezTo>
                      <a:pt x="3045" y="19"/>
                      <a:pt x="3036" y="18"/>
                      <a:pt x="3023" y="18"/>
                    </a:cubicBezTo>
                    <a:cubicBezTo>
                      <a:pt x="3009" y="19"/>
                      <a:pt x="3007" y="27"/>
                      <a:pt x="2997" y="27"/>
                    </a:cubicBezTo>
                    <a:cubicBezTo>
                      <a:pt x="2987" y="27"/>
                      <a:pt x="2989" y="30"/>
                      <a:pt x="2973" y="38"/>
                    </a:cubicBezTo>
                    <a:cubicBezTo>
                      <a:pt x="2957" y="46"/>
                      <a:pt x="2955" y="62"/>
                      <a:pt x="2943" y="66"/>
                    </a:cubicBezTo>
                    <a:cubicBezTo>
                      <a:pt x="2931" y="69"/>
                      <a:pt x="2932" y="72"/>
                      <a:pt x="2932" y="79"/>
                    </a:cubicBezTo>
                    <a:cubicBezTo>
                      <a:pt x="2932" y="86"/>
                      <a:pt x="2945" y="86"/>
                      <a:pt x="2957" y="86"/>
                    </a:cubicBezTo>
                    <a:cubicBezTo>
                      <a:pt x="2969" y="85"/>
                      <a:pt x="2969" y="97"/>
                      <a:pt x="2969" y="103"/>
                    </a:cubicBezTo>
                    <a:cubicBezTo>
                      <a:pt x="2969" y="109"/>
                      <a:pt x="2972" y="114"/>
                      <a:pt x="2977" y="118"/>
                    </a:cubicBezTo>
                    <a:cubicBezTo>
                      <a:pt x="2981" y="122"/>
                      <a:pt x="2981" y="125"/>
                      <a:pt x="2977" y="134"/>
                    </a:cubicBezTo>
                    <a:cubicBezTo>
                      <a:pt x="2973" y="142"/>
                      <a:pt x="2959" y="148"/>
                      <a:pt x="2945" y="156"/>
                    </a:cubicBezTo>
                    <a:cubicBezTo>
                      <a:pt x="2932" y="163"/>
                      <a:pt x="2927" y="179"/>
                      <a:pt x="2923" y="194"/>
                    </a:cubicBezTo>
                    <a:cubicBezTo>
                      <a:pt x="2919" y="210"/>
                      <a:pt x="2911" y="215"/>
                      <a:pt x="2906" y="227"/>
                    </a:cubicBezTo>
                    <a:cubicBezTo>
                      <a:pt x="2901" y="239"/>
                      <a:pt x="2896" y="246"/>
                      <a:pt x="2886" y="254"/>
                    </a:cubicBezTo>
                    <a:cubicBezTo>
                      <a:pt x="2876" y="261"/>
                      <a:pt x="2874" y="271"/>
                      <a:pt x="2880" y="276"/>
                    </a:cubicBezTo>
                    <a:cubicBezTo>
                      <a:pt x="2886" y="280"/>
                      <a:pt x="2891" y="285"/>
                      <a:pt x="2888" y="294"/>
                    </a:cubicBezTo>
                    <a:cubicBezTo>
                      <a:pt x="2885" y="302"/>
                      <a:pt x="2873" y="307"/>
                      <a:pt x="2861" y="307"/>
                    </a:cubicBezTo>
                    <a:cubicBezTo>
                      <a:pt x="2849" y="307"/>
                      <a:pt x="2848" y="314"/>
                      <a:pt x="2834" y="318"/>
                    </a:cubicBezTo>
                    <a:cubicBezTo>
                      <a:pt x="2820" y="322"/>
                      <a:pt x="2818" y="334"/>
                      <a:pt x="2803" y="344"/>
                    </a:cubicBezTo>
                    <a:cubicBezTo>
                      <a:pt x="2789" y="353"/>
                      <a:pt x="2786" y="345"/>
                      <a:pt x="2775" y="341"/>
                    </a:cubicBezTo>
                    <a:cubicBezTo>
                      <a:pt x="2763" y="337"/>
                      <a:pt x="2761" y="335"/>
                      <a:pt x="2742" y="332"/>
                    </a:cubicBezTo>
                    <a:cubicBezTo>
                      <a:pt x="2741" y="332"/>
                      <a:pt x="2740" y="332"/>
                      <a:pt x="2739" y="332"/>
                    </a:cubicBezTo>
                    <a:cubicBezTo>
                      <a:pt x="2739" y="332"/>
                      <a:pt x="2738" y="332"/>
                      <a:pt x="2738" y="332"/>
                    </a:cubicBezTo>
                    <a:cubicBezTo>
                      <a:pt x="2737" y="332"/>
                      <a:pt x="2737" y="331"/>
                      <a:pt x="2736" y="331"/>
                    </a:cubicBezTo>
                    <a:cubicBezTo>
                      <a:pt x="2736" y="331"/>
                      <a:pt x="2736" y="331"/>
                      <a:pt x="2735" y="331"/>
                    </a:cubicBezTo>
                    <a:cubicBezTo>
                      <a:pt x="2735" y="331"/>
                      <a:pt x="2734" y="331"/>
                      <a:pt x="2733" y="330"/>
                    </a:cubicBezTo>
                    <a:cubicBezTo>
                      <a:pt x="2733" y="330"/>
                      <a:pt x="2733" y="330"/>
                      <a:pt x="2733" y="330"/>
                    </a:cubicBezTo>
                    <a:cubicBezTo>
                      <a:pt x="2732" y="330"/>
                      <a:pt x="2732" y="330"/>
                      <a:pt x="2731" y="329"/>
                    </a:cubicBezTo>
                    <a:cubicBezTo>
                      <a:pt x="2731" y="329"/>
                      <a:pt x="2731" y="329"/>
                      <a:pt x="2731" y="329"/>
                    </a:cubicBezTo>
                    <a:cubicBezTo>
                      <a:pt x="2730" y="329"/>
                      <a:pt x="2730" y="329"/>
                      <a:pt x="2729" y="328"/>
                    </a:cubicBezTo>
                    <a:cubicBezTo>
                      <a:pt x="2729" y="328"/>
                      <a:pt x="2729" y="328"/>
                      <a:pt x="2729" y="328"/>
                    </a:cubicBezTo>
                    <a:cubicBezTo>
                      <a:pt x="2728" y="328"/>
                      <a:pt x="2728" y="327"/>
                      <a:pt x="2728" y="327"/>
                    </a:cubicBezTo>
                    <a:cubicBezTo>
                      <a:pt x="2728" y="327"/>
                      <a:pt x="2728" y="327"/>
                      <a:pt x="2727" y="327"/>
                    </a:cubicBezTo>
                    <a:cubicBezTo>
                      <a:pt x="2727" y="327"/>
                      <a:pt x="2727" y="326"/>
                      <a:pt x="2726" y="326"/>
                    </a:cubicBezTo>
                    <a:cubicBezTo>
                      <a:pt x="2726" y="326"/>
                      <a:pt x="2726" y="326"/>
                      <a:pt x="2726" y="325"/>
                    </a:cubicBezTo>
                    <a:cubicBezTo>
                      <a:pt x="2726" y="325"/>
                      <a:pt x="2725" y="325"/>
                      <a:pt x="2725" y="325"/>
                    </a:cubicBezTo>
                    <a:cubicBezTo>
                      <a:pt x="2725" y="324"/>
                      <a:pt x="2725" y="324"/>
                      <a:pt x="2725" y="324"/>
                    </a:cubicBezTo>
                    <a:cubicBezTo>
                      <a:pt x="2724" y="324"/>
                      <a:pt x="2724" y="323"/>
                      <a:pt x="2724" y="323"/>
                    </a:cubicBezTo>
                    <a:cubicBezTo>
                      <a:pt x="2724" y="323"/>
                      <a:pt x="2724" y="323"/>
                      <a:pt x="2724" y="323"/>
                    </a:cubicBezTo>
                    <a:cubicBezTo>
                      <a:pt x="2723" y="322"/>
                      <a:pt x="2723" y="322"/>
                      <a:pt x="2723" y="321"/>
                    </a:cubicBezTo>
                    <a:cubicBezTo>
                      <a:pt x="2723" y="321"/>
                      <a:pt x="2723" y="321"/>
                      <a:pt x="2723" y="321"/>
                    </a:cubicBezTo>
                    <a:cubicBezTo>
                      <a:pt x="2723" y="321"/>
                      <a:pt x="2722" y="320"/>
                      <a:pt x="2722" y="320"/>
                    </a:cubicBezTo>
                    <a:cubicBezTo>
                      <a:pt x="2722" y="320"/>
                      <a:pt x="2722" y="320"/>
                      <a:pt x="2722" y="320"/>
                    </a:cubicBezTo>
                    <a:cubicBezTo>
                      <a:pt x="2722" y="319"/>
                      <a:pt x="2721" y="319"/>
                      <a:pt x="2721" y="318"/>
                    </a:cubicBezTo>
                    <a:cubicBezTo>
                      <a:pt x="2721" y="318"/>
                      <a:pt x="2721" y="318"/>
                      <a:pt x="2721" y="318"/>
                    </a:cubicBezTo>
                    <a:cubicBezTo>
                      <a:pt x="2710" y="335"/>
                      <a:pt x="2703" y="361"/>
                      <a:pt x="2693" y="369"/>
                    </a:cubicBezTo>
                    <a:cubicBezTo>
                      <a:pt x="2681" y="379"/>
                      <a:pt x="2688" y="395"/>
                      <a:pt x="2676" y="406"/>
                    </a:cubicBezTo>
                    <a:cubicBezTo>
                      <a:pt x="2664" y="417"/>
                      <a:pt x="2668" y="420"/>
                      <a:pt x="2668" y="438"/>
                    </a:cubicBezTo>
                    <a:cubicBezTo>
                      <a:pt x="2668" y="456"/>
                      <a:pt x="2665" y="454"/>
                      <a:pt x="2650" y="457"/>
                    </a:cubicBezTo>
                    <a:cubicBezTo>
                      <a:pt x="2635" y="460"/>
                      <a:pt x="2647" y="478"/>
                      <a:pt x="2663" y="492"/>
                    </a:cubicBezTo>
                    <a:cubicBezTo>
                      <a:pt x="2679" y="506"/>
                      <a:pt x="2682" y="490"/>
                      <a:pt x="2686" y="484"/>
                    </a:cubicBezTo>
                    <a:cubicBezTo>
                      <a:pt x="2690" y="478"/>
                      <a:pt x="2721" y="486"/>
                      <a:pt x="2735" y="482"/>
                    </a:cubicBezTo>
                    <a:cubicBezTo>
                      <a:pt x="2749" y="478"/>
                      <a:pt x="2750" y="495"/>
                      <a:pt x="2762" y="496"/>
                    </a:cubicBezTo>
                    <a:cubicBezTo>
                      <a:pt x="2774" y="497"/>
                      <a:pt x="2781" y="482"/>
                      <a:pt x="2789" y="474"/>
                    </a:cubicBezTo>
                    <a:cubicBezTo>
                      <a:pt x="2797" y="466"/>
                      <a:pt x="2821" y="469"/>
                      <a:pt x="2828" y="472"/>
                    </a:cubicBezTo>
                    <a:cubicBezTo>
                      <a:pt x="2835" y="475"/>
                      <a:pt x="2858" y="483"/>
                      <a:pt x="2865" y="495"/>
                    </a:cubicBezTo>
                    <a:cubicBezTo>
                      <a:pt x="2872" y="507"/>
                      <a:pt x="2901" y="529"/>
                      <a:pt x="2916" y="540"/>
                    </a:cubicBezTo>
                    <a:cubicBezTo>
                      <a:pt x="2931" y="551"/>
                      <a:pt x="2931" y="570"/>
                      <a:pt x="2926" y="576"/>
                    </a:cubicBezTo>
                    <a:cubicBezTo>
                      <a:pt x="2921" y="582"/>
                      <a:pt x="2909" y="578"/>
                      <a:pt x="2893" y="584"/>
                    </a:cubicBezTo>
                    <a:cubicBezTo>
                      <a:pt x="2877" y="590"/>
                      <a:pt x="2877" y="578"/>
                      <a:pt x="2868" y="572"/>
                    </a:cubicBezTo>
                    <a:cubicBezTo>
                      <a:pt x="2859" y="566"/>
                      <a:pt x="2844" y="570"/>
                      <a:pt x="2829" y="570"/>
                    </a:cubicBezTo>
                    <a:cubicBezTo>
                      <a:pt x="2814" y="570"/>
                      <a:pt x="2807" y="587"/>
                      <a:pt x="2787" y="586"/>
                    </a:cubicBezTo>
                    <a:cubicBezTo>
                      <a:pt x="2767" y="585"/>
                      <a:pt x="2760" y="599"/>
                      <a:pt x="2733" y="602"/>
                    </a:cubicBezTo>
                    <a:cubicBezTo>
                      <a:pt x="2706" y="605"/>
                      <a:pt x="2702" y="623"/>
                      <a:pt x="2694" y="643"/>
                    </a:cubicBezTo>
                    <a:cubicBezTo>
                      <a:pt x="2686" y="663"/>
                      <a:pt x="2676" y="666"/>
                      <a:pt x="2657" y="679"/>
                    </a:cubicBezTo>
                    <a:cubicBezTo>
                      <a:pt x="2638" y="692"/>
                      <a:pt x="2608" y="678"/>
                      <a:pt x="2592" y="678"/>
                    </a:cubicBezTo>
                    <a:cubicBezTo>
                      <a:pt x="2576" y="678"/>
                      <a:pt x="2569" y="710"/>
                      <a:pt x="2557" y="713"/>
                    </a:cubicBezTo>
                    <a:cubicBezTo>
                      <a:pt x="2545" y="716"/>
                      <a:pt x="2537" y="725"/>
                      <a:pt x="2521" y="730"/>
                    </a:cubicBezTo>
                    <a:cubicBezTo>
                      <a:pt x="2505" y="735"/>
                      <a:pt x="2492" y="727"/>
                      <a:pt x="2477" y="725"/>
                    </a:cubicBezTo>
                    <a:cubicBezTo>
                      <a:pt x="2462" y="723"/>
                      <a:pt x="2462" y="718"/>
                      <a:pt x="2447" y="706"/>
                    </a:cubicBezTo>
                    <a:cubicBezTo>
                      <a:pt x="2432" y="694"/>
                      <a:pt x="2428" y="706"/>
                      <a:pt x="2412" y="709"/>
                    </a:cubicBezTo>
                    <a:cubicBezTo>
                      <a:pt x="2396" y="712"/>
                      <a:pt x="2400" y="737"/>
                      <a:pt x="2392" y="742"/>
                    </a:cubicBezTo>
                    <a:cubicBezTo>
                      <a:pt x="2384" y="747"/>
                      <a:pt x="2384" y="753"/>
                      <a:pt x="2382" y="759"/>
                    </a:cubicBezTo>
                    <a:cubicBezTo>
                      <a:pt x="2380" y="765"/>
                      <a:pt x="2392" y="781"/>
                      <a:pt x="2409" y="790"/>
                    </a:cubicBezTo>
                    <a:cubicBezTo>
                      <a:pt x="2426" y="799"/>
                      <a:pt x="2421" y="811"/>
                      <a:pt x="2413" y="816"/>
                    </a:cubicBezTo>
                    <a:cubicBezTo>
                      <a:pt x="2405" y="821"/>
                      <a:pt x="2403" y="830"/>
                      <a:pt x="2374" y="838"/>
                    </a:cubicBezTo>
                    <a:cubicBezTo>
                      <a:pt x="2345" y="846"/>
                      <a:pt x="2348" y="863"/>
                      <a:pt x="2333" y="876"/>
                    </a:cubicBezTo>
                    <a:cubicBezTo>
                      <a:pt x="2318" y="889"/>
                      <a:pt x="2308" y="895"/>
                      <a:pt x="2292" y="895"/>
                    </a:cubicBezTo>
                    <a:cubicBezTo>
                      <a:pt x="2276" y="895"/>
                      <a:pt x="2259" y="907"/>
                      <a:pt x="2246" y="911"/>
                    </a:cubicBezTo>
                    <a:cubicBezTo>
                      <a:pt x="2233" y="915"/>
                      <a:pt x="2221" y="915"/>
                      <a:pt x="2193" y="912"/>
                    </a:cubicBezTo>
                    <a:cubicBezTo>
                      <a:pt x="2165" y="909"/>
                      <a:pt x="2157" y="912"/>
                      <a:pt x="2143" y="912"/>
                    </a:cubicBezTo>
                    <a:cubicBezTo>
                      <a:pt x="2129" y="912"/>
                      <a:pt x="2101" y="920"/>
                      <a:pt x="2086" y="923"/>
                    </a:cubicBezTo>
                    <a:cubicBezTo>
                      <a:pt x="2071" y="926"/>
                      <a:pt x="2054" y="941"/>
                      <a:pt x="2036" y="942"/>
                    </a:cubicBezTo>
                    <a:cubicBezTo>
                      <a:pt x="2018" y="943"/>
                      <a:pt x="2022" y="957"/>
                      <a:pt x="2009" y="957"/>
                    </a:cubicBezTo>
                    <a:cubicBezTo>
                      <a:pt x="1996" y="957"/>
                      <a:pt x="1996" y="962"/>
                      <a:pt x="1985" y="974"/>
                    </a:cubicBezTo>
                    <a:cubicBezTo>
                      <a:pt x="1974" y="986"/>
                      <a:pt x="1958" y="978"/>
                      <a:pt x="1945" y="964"/>
                    </a:cubicBezTo>
                    <a:cubicBezTo>
                      <a:pt x="1932" y="950"/>
                      <a:pt x="1916" y="960"/>
                      <a:pt x="1902" y="962"/>
                    </a:cubicBezTo>
                    <a:cubicBezTo>
                      <a:pt x="1888" y="964"/>
                      <a:pt x="1884" y="963"/>
                      <a:pt x="1873" y="956"/>
                    </a:cubicBezTo>
                    <a:cubicBezTo>
                      <a:pt x="1862" y="949"/>
                      <a:pt x="1863" y="945"/>
                      <a:pt x="1846" y="945"/>
                    </a:cubicBezTo>
                    <a:cubicBezTo>
                      <a:pt x="1829" y="945"/>
                      <a:pt x="1827" y="938"/>
                      <a:pt x="1813" y="938"/>
                    </a:cubicBezTo>
                    <a:cubicBezTo>
                      <a:pt x="1799" y="938"/>
                      <a:pt x="1800" y="933"/>
                      <a:pt x="1775" y="914"/>
                    </a:cubicBezTo>
                    <a:cubicBezTo>
                      <a:pt x="1750" y="895"/>
                      <a:pt x="1720" y="907"/>
                      <a:pt x="1706" y="901"/>
                    </a:cubicBezTo>
                    <a:cubicBezTo>
                      <a:pt x="1692" y="895"/>
                      <a:pt x="1681" y="895"/>
                      <a:pt x="1669" y="894"/>
                    </a:cubicBezTo>
                    <a:cubicBezTo>
                      <a:pt x="1657" y="893"/>
                      <a:pt x="1648" y="894"/>
                      <a:pt x="1630" y="902"/>
                    </a:cubicBezTo>
                    <a:cubicBezTo>
                      <a:pt x="1612" y="910"/>
                      <a:pt x="1583" y="899"/>
                      <a:pt x="1570" y="899"/>
                    </a:cubicBezTo>
                    <a:cubicBezTo>
                      <a:pt x="1557" y="899"/>
                      <a:pt x="1534" y="903"/>
                      <a:pt x="1514" y="892"/>
                    </a:cubicBezTo>
                    <a:cubicBezTo>
                      <a:pt x="1494" y="881"/>
                      <a:pt x="1467" y="887"/>
                      <a:pt x="1453" y="888"/>
                    </a:cubicBezTo>
                    <a:cubicBezTo>
                      <a:pt x="1439" y="889"/>
                      <a:pt x="1433" y="894"/>
                      <a:pt x="1425" y="877"/>
                    </a:cubicBezTo>
                    <a:cubicBezTo>
                      <a:pt x="1417" y="860"/>
                      <a:pt x="1415" y="866"/>
                      <a:pt x="1404" y="857"/>
                    </a:cubicBezTo>
                    <a:cubicBezTo>
                      <a:pt x="1393" y="848"/>
                      <a:pt x="1391" y="840"/>
                      <a:pt x="1390" y="829"/>
                    </a:cubicBezTo>
                    <a:cubicBezTo>
                      <a:pt x="1389" y="818"/>
                      <a:pt x="1389" y="810"/>
                      <a:pt x="1378" y="803"/>
                    </a:cubicBezTo>
                    <a:cubicBezTo>
                      <a:pt x="1367" y="796"/>
                      <a:pt x="1374" y="793"/>
                      <a:pt x="1369" y="783"/>
                    </a:cubicBezTo>
                    <a:cubicBezTo>
                      <a:pt x="1364" y="773"/>
                      <a:pt x="1353" y="772"/>
                      <a:pt x="1338" y="770"/>
                    </a:cubicBezTo>
                    <a:cubicBezTo>
                      <a:pt x="1323" y="768"/>
                      <a:pt x="1310" y="756"/>
                      <a:pt x="1304" y="749"/>
                    </a:cubicBezTo>
                    <a:cubicBezTo>
                      <a:pt x="1298" y="742"/>
                      <a:pt x="1290" y="742"/>
                      <a:pt x="1280" y="739"/>
                    </a:cubicBezTo>
                    <a:cubicBezTo>
                      <a:pt x="1270" y="736"/>
                      <a:pt x="1265" y="733"/>
                      <a:pt x="1257" y="720"/>
                    </a:cubicBezTo>
                    <a:cubicBezTo>
                      <a:pt x="1249" y="707"/>
                      <a:pt x="1222" y="712"/>
                      <a:pt x="1211" y="711"/>
                    </a:cubicBezTo>
                    <a:cubicBezTo>
                      <a:pt x="1200" y="710"/>
                      <a:pt x="1192" y="712"/>
                      <a:pt x="1179" y="712"/>
                    </a:cubicBezTo>
                    <a:cubicBezTo>
                      <a:pt x="1166" y="712"/>
                      <a:pt x="1162" y="709"/>
                      <a:pt x="1149" y="705"/>
                    </a:cubicBezTo>
                    <a:cubicBezTo>
                      <a:pt x="1136" y="701"/>
                      <a:pt x="1113" y="705"/>
                      <a:pt x="1095" y="703"/>
                    </a:cubicBezTo>
                    <a:cubicBezTo>
                      <a:pt x="1077" y="701"/>
                      <a:pt x="1085" y="692"/>
                      <a:pt x="1069" y="684"/>
                    </a:cubicBezTo>
                    <a:cubicBezTo>
                      <a:pt x="1053" y="676"/>
                      <a:pt x="1062" y="672"/>
                      <a:pt x="1063" y="663"/>
                    </a:cubicBezTo>
                    <a:cubicBezTo>
                      <a:pt x="1064" y="654"/>
                      <a:pt x="1070" y="644"/>
                      <a:pt x="1083" y="635"/>
                    </a:cubicBezTo>
                    <a:cubicBezTo>
                      <a:pt x="1096" y="626"/>
                      <a:pt x="1087" y="624"/>
                      <a:pt x="1080" y="619"/>
                    </a:cubicBezTo>
                    <a:cubicBezTo>
                      <a:pt x="1073" y="614"/>
                      <a:pt x="1075" y="599"/>
                      <a:pt x="1089" y="593"/>
                    </a:cubicBezTo>
                    <a:cubicBezTo>
                      <a:pt x="1103" y="587"/>
                      <a:pt x="1097" y="576"/>
                      <a:pt x="1085" y="571"/>
                    </a:cubicBezTo>
                    <a:cubicBezTo>
                      <a:pt x="1073" y="566"/>
                      <a:pt x="1076" y="556"/>
                      <a:pt x="1063" y="546"/>
                    </a:cubicBezTo>
                    <a:cubicBezTo>
                      <a:pt x="1050" y="536"/>
                      <a:pt x="1048" y="526"/>
                      <a:pt x="1047" y="516"/>
                    </a:cubicBezTo>
                    <a:cubicBezTo>
                      <a:pt x="1046" y="506"/>
                      <a:pt x="1040" y="501"/>
                      <a:pt x="1037" y="496"/>
                    </a:cubicBezTo>
                    <a:cubicBezTo>
                      <a:pt x="1034" y="491"/>
                      <a:pt x="1025" y="482"/>
                      <a:pt x="1017" y="480"/>
                    </a:cubicBezTo>
                    <a:cubicBezTo>
                      <a:pt x="1009" y="478"/>
                      <a:pt x="1003" y="479"/>
                      <a:pt x="999" y="472"/>
                    </a:cubicBezTo>
                    <a:cubicBezTo>
                      <a:pt x="995" y="465"/>
                      <a:pt x="977" y="472"/>
                      <a:pt x="964" y="471"/>
                    </a:cubicBezTo>
                    <a:cubicBezTo>
                      <a:pt x="951" y="470"/>
                      <a:pt x="934" y="453"/>
                      <a:pt x="932" y="447"/>
                    </a:cubicBezTo>
                    <a:cubicBezTo>
                      <a:pt x="930" y="441"/>
                      <a:pt x="927" y="439"/>
                      <a:pt x="913" y="434"/>
                    </a:cubicBezTo>
                    <a:cubicBezTo>
                      <a:pt x="899" y="429"/>
                      <a:pt x="897" y="424"/>
                      <a:pt x="895" y="417"/>
                    </a:cubicBezTo>
                    <a:cubicBezTo>
                      <a:pt x="893" y="410"/>
                      <a:pt x="889" y="410"/>
                      <a:pt x="885" y="399"/>
                    </a:cubicBezTo>
                    <a:cubicBezTo>
                      <a:pt x="883" y="394"/>
                      <a:pt x="883" y="388"/>
                      <a:pt x="884" y="382"/>
                    </a:cubicBezTo>
                    <a:cubicBezTo>
                      <a:pt x="883" y="383"/>
                      <a:pt x="883" y="383"/>
                      <a:pt x="882" y="383"/>
                    </a:cubicBezTo>
                    <a:cubicBezTo>
                      <a:pt x="882" y="383"/>
                      <a:pt x="882" y="383"/>
                      <a:pt x="882" y="383"/>
                    </a:cubicBezTo>
                    <a:cubicBezTo>
                      <a:pt x="881" y="383"/>
                      <a:pt x="881" y="383"/>
                      <a:pt x="880" y="383"/>
                    </a:cubicBezTo>
                    <a:cubicBezTo>
                      <a:pt x="880" y="383"/>
                      <a:pt x="880" y="383"/>
                      <a:pt x="880" y="383"/>
                    </a:cubicBezTo>
                    <a:cubicBezTo>
                      <a:pt x="878" y="383"/>
                      <a:pt x="875" y="383"/>
                      <a:pt x="872" y="383"/>
                    </a:cubicBezTo>
                    <a:cubicBezTo>
                      <a:pt x="872" y="383"/>
                      <a:pt x="872" y="383"/>
                      <a:pt x="872" y="383"/>
                    </a:cubicBezTo>
                    <a:cubicBezTo>
                      <a:pt x="871" y="383"/>
                      <a:pt x="871" y="383"/>
                      <a:pt x="871" y="383"/>
                    </a:cubicBezTo>
                    <a:cubicBezTo>
                      <a:pt x="870" y="383"/>
                      <a:pt x="869" y="382"/>
                      <a:pt x="869" y="382"/>
                    </a:cubicBezTo>
                    <a:cubicBezTo>
                      <a:pt x="859" y="382"/>
                      <a:pt x="855" y="385"/>
                      <a:pt x="849" y="378"/>
                    </a:cubicBezTo>
                    <a:cubicBezTo>
                      <a:pt x="846" y="375"/>
                      <a:pt x="843" y="373"/>
                      <a:pt x="839" y="372"/>
                    </a:cubicBezTo>
                    <a:cubicBezTo>
                      <a:pt x="839" y="372"/>
                      <a:pt x="839" y="372"/>
                      <a:pt x="839" y="372"/>
                    </a:cubicBezTo>
                    <a:cubicBezTo>
                      <a:pt x="839" y="373"/>
                      <a:pt x="838" y="373"/>
                      <a:pt x="838" y="374"/>
                    </a:cubicBezTo>
                    <a:cubicBezTo>
                      <a:pt x="838" y="374"/>
                      <a:pt x="838" y="374"/>
                      <a:pt x="838" y="374"/>
                    </a:cubicBezTo>
                    <a:cubicBezTo>
                      <a:pt x="837" y="375"/>
                      <a:pt x="836" y="376"/>
                      <a:pt x="835" y="377"/>
                    </a:cubicBezTo>
                    <a:cubicBezTo>
                      <a:pt x="835" y="377"/>
                      <a:pt x="835" y="377"/>
                      <a:pt x="835" y="377"/>
                    </a:cubicBezTo>
                    <a:cubicBezTo>
                      <a:pt x="834" y="378"/>
                      <a:pt x="834" y="379"/>
                      <a:pt x="833" y="379"/>
                    </a:cubicBezTo>
                    <a:cubicBezTo>
                      <a:pt x="833" y="379"/>
                      <a:pt x="832" y="380"/>
                      <a:pt x="832" y="380"/>
                    </a:cubicBezTo>
                    <a:cubicBezTo>
                      <a:pt x="831" y="380"/>
                      <a:pt x="830" y="381"/>
                      <a:pt x="829" y="382"/>
                    </a:cubicBezTo>
                    <a:cubicBezTo>
                      <a:pt x="819" y="388"/>
                      <a:pt x="823" y="392"/>
                      <a:pt x="821" y="414"/>
                    </a:cubicBezTo>
                    <a:cubicBezTo>
                      <a:pt x="819" y="437"/>
                      <a:pt x="793" y="437"/>
                      <a:pt x="772" y="437"/>
                    </a:cubicBezTo>
                    <a:cubicBezTo>
                      <a:pt x="751" y="437"/>
                      <a:pt x="743" y="464"/>
                      <a:pt x="743" y="474"/>
                    </a:cubicBezTo>
                    <a:cubicBezTo>
                      <a:pt x="742" y="484"/>
                      <a:pt x="743" y="496"/>
                      <a:pt x="749" y="504"/>
                    </a:cubicBezTo>
                    <a:cubicBezTo>
                      <a:pt x="754" y="512"/>
                      <a:pt x="751" y="517"/>
                      <a:pt x="752" y="529"/>
                    </a:cubicBezTo>
                    <a:cubicBezTo>
                      <a:pt x="753" y="541"/>
                      <a:pt x="747" y="544"/>
                      <a:pt x="739" y="546"/>
                    </a:cubicBezTo>
                    <a:cubicBezTo>
                      <a:pt x="731" y="547"/>
                      <a:pt x="727" y="550"/>
                      <a:pt x="719" y="558"/>
                    </a:cubicBezTo>
                    <a:cubicBezTo>
                      <a:pt x="711" y="566"/>
                      <a:pt x="703" y="566"/>
                      <a:pt x="693" y="560"/>
                    </a:cubicBezTo>
                    <a:cubicBezTo>
                      <a:pt x="682" y="554"/>
                      <a:pt x="669" y="556"/>
                      <a:pt x="647" y="558"/>
                    </a:cubicBezTo>
                    <a:cubicBezTo>
                      <a:pt x="624" y="560"/>
                      <a:pt x="634" y="552"/>
                      <a:pt x="610" y="540"/>
                    </a:cubicBezTo>
                    <a:cubicBezTo>
                      <a:pt x="586" y="529"/>
                      <a:pt x="587" y="546"/>
                      <a:pt x="583" y="555"/>
                    </a:cubicBezTo>
                    <a:cubicBezTo>
                      <a:pt x="579" y="564"/>
                      <a:pt x="575" y="574"/>
                      <a:pt x="571" y="590"/>
                    </a:cubicBezTo>
                    <a:cubicBezTo>
                      <a:pt x="567" y="606"/>
                      <a:pt x="571" y="606"/>
                      <a:pt x="559" y="614"/>
                    </a:cubicBezTo>
                    <a:cubicBezTo>
                      <a:pt x="547" y="622"/>
                      <a:pt x="541" y="658"/>
                      <a:pt x="540" y="665"/>
                    </a:cubicBezTo>
                    <a:cubicBezTo>
                      <a:pt x="539" y="672"/>
                      <a:pt x="542" y="679"/>
                      <a:pt x="553" y="679"/>
                    </a:cubicBezTo>
                    <a:cubicBezTo>
                      <a:pt x="563" y="679"/>
                      <a:pt x="563" y="686"/>
                      <a:pt x="559" y="695"/>
                    </a:cubicBezTo>
                    <a:cubicBezTo>
                      <a:pt x="556" y="704"/>
                      <a:pt x="543" y="704"/>
                      <a:pt x="523" y="702"/>
                    </a:cubicBezTo>
                    <a:cubicBezTo>
                      <a:pt x="504" y="701"/>
                      <a:pt x="507" y="690"/>
                      <a:pt x="494" y="688"/>
                    </a:cubicBezTo>
                    <a:cubicBezTo>
                      <a:pt x="481" y="685"/>
                      <a:pt x="466" y="690"/>
                      <a:pt x="461" y="700"/>
                    </a:cubicBezTo>
                    <a:cubicBezTo>
                      <a:pt x="455" y="709"/>
                      <a:pt x="420" y="700"/>
                      <a:pt x="419" y="706"/>
                    </a:cubicBezTo>
                    <a:cubicBezTo>
                      <a:pt x="417" y="712"/>
                      <a:pt x="393" y="704"/>
                      <a:pt x="391" y="715"/>
                    </a:cubicBezTo>
                    <a:cubicBezTo>
                      <a:pt x="389" y="726"/>
                      <a:pt x="393" y="731"/>
                      <a:pt x="407" y="731"/>
                    </a:cubicBezTo>
                    <a:cubicBezTo>
                      <a:pt x="421" y="731"/>
                      <a:pt x="415" y="758"/>
                      <a:pt x="416" y="776"/>
                    </a:cubicBezTo>
                    <a:cubicBezTo>
                      <a:pt x="417" y="795"/>
                      <a:pt x="415" y="799"/>
                      <a:pt x="427" y="808"/>
                    </a:cubicBezTo>
                    <a:cubicBezTo>
                      <a:pt x="439" y="816"/>
                      <a:pt x="435" y="828"/>
                      <a:pt x="440" y="846"/>
                    </a:cubicBezTo>
                    <a:cubicBezTo>
                      <a:pt x="445" y="864"/>
                      <a:pt x="435" y="862"/>
                      <a:pt x="432" y="872"/>
                    </a:cubicBezTo>
                    <a:cubicBezTo>
                      <a:pt x="429" y="882"/>
                      <a:pt x="410" y="882"/>
                      <a:pt x="405" y="892"/>
                    </a:cubicBezTo>
                    <a:cubicBezTo>
                      <a:pt x="404" y="892"/>
                      <a:pt x="404" y="893"/>
                      <a:pt x="404" y="894"/>
                    </a:cubicBezTo>
                    <a:cubicBezTo>
                      <a:pt x="404" y="894"/>
                      <a:pt x="404" y="895"/>
                      <a:pt x="404" y="895"/>
                    </a:cubicBezTo>
                    <a:cubicBezTo>
                      <a:pt x="403" y="895"/>
                      <a:pt x="403" y="896"/>
                      <a:pt x="403" y="897"/>
                    </a:cubicBezTo>
                    <a:cubicBezTo>
                      <a:pt x="403" y="897"/>
                      <a:pt x="403" y="897"/>
                      <a:pt x="403" y="898"/>
                    </a:cubicBezTo>
                    <a:cubicBezTo>
                      <a:pt x="403" y="898"/>
                      <a:pt x="403" y="899"/>
                      <a:pt x="403" y="900"/>
                    </a:cubicBezTo>
                    <a:cubicBezTo>
                      <a:pt x="403" y="900"/>
                      <a:pt x="403" y="900"/>
                      <a:pt x="403" y="901"/>
                    </a:cubicBezTo>
                    <a:cubicBezTo>
                      <a:pt x="403" y="901"/>
                      <a:pt x="403" y="902"/>
                      <a:pt x="403" y="903"/>
                    </a:cubicBezTo>
                    <a:cubicBezTo>
                      <a:pt x="403" y="903"/>
                      <a:pt x="403" y="904"/>
                      <a:pt x="403" y="904"/>
                    </a:cubicBezTo>
                    <a:cubicBezTo>
                      <a:pt x="403" y="905"/>
                      <a:pt x="403" y="906"/>
                      <a:pt x="403" y="906"/>
                    </a:cubicBezTo>
                    <a:cubicBezTo>
                      <a:pt x="403" y="907"/>
                      <a:pt x="403" y="907"/>
                      <a:pt x="403" y="908"/>
                    </a:cubicBezTo>
                    <a:cubicBezTo>
                      <a:pt x="403" y="908"/>
                      <a:pt x="403" y="909"/>
                      <a:pt x="403" y="910"/>
                    </a:cubicBezTo>
                    <a:cubicBezTo>
                      <a:pt x="403" y="911"/>
                      <a:pt x="403" y="911"/>
                      <a:pt x="403" y="911"/>
                    </a:cubicBezTo>
                    <a:cubicBezTo>
                      <a:pt x="403" y="912"/>
                      <a:pt x="403" y="913"/>
                      <a:pt x="403" y="914"/>
                    </a:cubicBezTo>
                    <a:cubicBezTo>
                      <a:pt x="403" y="915"/>
                      <a:pt x="403" y="915"/>
                      <a:pt x="403" y="915"/>
                    </a:cubicBezTo>
                    <a:cubicBezTo>
                      <a:pt x="403" y="916"/>
                      <a:pt x="403" y="917"/>
                      <a:pt x="403" y="919"/>
                    </a:cubicBezTo>
                    <a:cubicBezTo>
                      <a:pt x="404" y="921"/>
                      <a:pt x="404" y="924"/>
                      <a:pt x="404" y="926"/>
                    </a:cubicBezTo>
                    <a:cubicBezTo>
                      <a:pt x="404" y="926"/>
                      <a:pt x="404" y="926"/>
                      <a:pt x="404" y="927"/>
                    </a:cubicBezTo>
                    <a:cubicBezTo>
                      <a:pt x="404" y="927"/>
                      <a:pt x="404" y="928"/>
                      <a:pt x="404" y="929"/>
                    </a:cubicBezTo>
                    <a:cubicBezTo>
                      <a:pt x="405" y="929"/>
                      <a:pt x="405" y="930"/>
                      <a:pt x="405" y="930"/>
                    </a:cubicBezTo>
                    <a:cubicBezTo>
                      <a:pt x="405" y="931"/>
                      <a:pt x="405" y="931"/>
                      <a:pt x="405" y="932"/>
                    </a:cubicBezTo>
                    <a:cubicBezTo>
                      <a:pt x="405" y="932"/>
                      <a:pt x="405" y="933"/>
                      <a:pt x="405" y="933"/>
                    </a:cubicBezTo>
                    <a:cubicBezTo>
                      <a:pt x="405" y="934"/>
                      <a:pt x="405" y="934"/>
                      <a:pt x="405" y="935"/>
                    </a:cubicBezTo>
                    <a:cubicBezTo>
                      <a:pt x="405" y="935"/>
                      <a:pt x="405" y="936"/>
                      <a:pt x="405" y="936"/>
                    </a:cubicBezTo>
                    <a:cubicBezTo>
                      <a:pt x="405" y="936"/>
                      <a:pt x="405" y="937"/>
                      <a:pt x="405" y="937"/>
                    </a:cubicBezTo>
                    <a:cubicBezTo>
                      <a:pt x="405" y="938"/>
                      <a:pt x="405" y="938"/>
                      <a:pt x="405" y="938"/>
                    </a:cubicBezTo>
                    <a:cubicBezTo>
                      <a:pt x="405" y="939"/>
                      <a:pt x="405" y="940"/>
                      <a:pt x="405" y="940"/>
                    </a:cubicBezTo>
                    <a:cubicBezTo>
                      <a:pt x="403" y="951"/>
                      <a:pt x="397" y="948"/>
                      <a:pt x="381" y="950"/>
                    </a:cubicBezTo>
                    <a:cubicBezTo>
                      <a:pt x="366" y="952"/>
                      <a:pt x="356" y="960"/>
                      <a:pt x="337" y="968"/>
                    </a:cubicBezTo>
                    <a:cubicBezTo>
                      <a:pt x="319" y="976"/>
                      <a:pt x="287" y="992"/>
                      <a:pt x="285" y="1007"/>
                    </a:cubicBezTo>
                    <a:cubicBezTo>
                      <a:pt x="283" y="1022"/>
                      <a:pt x="230" y="1017"/>
                      <a:pt x="214" y="1017"/>
                    </a:cubicBezTo>
                    <a:cubicBezTo>
                      <a:pt x="198" y="1017"/>
                      <a:pt x="184" y="1020"/>
                      <a:pt x="180" y="1045"/>
                    </a:cubicBezTo>
                    <a:cubicBezTo>
                      <a:pt x="176" y="1070"/>
                      <a:pt x="160" y="1067"/>
                      <a:pt x="149" y="1066"/>
                    </a:cubicBezTo>
                    <a:cubicBezTo>
                      <a:pt x="139" y="1066"/>
                      <a:pt x="137" y="1074"/>
                      <a:pt x="126" y="1074"/>
                    </a:cubicBezTo>
                    <a:cubicBezTo>
                      <a:pt x="115" y="1074"/>
                      <a:pt x="116" y="1072"/>
                      <a:pt x="115" y="1062"/>
                    </a:cubicBezTo>
                    <a:cubicBezTo>
                      <a:pt x="115" y="1053"/>
                      <a:pt x="99" y="1053"/>
                      <a:pt x="95" y="1060"/>
                    </a:cubicBezTo>
                    <a:cubicBezTo>
                      <a:pt x="90" y="1066"/>
                      <a:pt x="83" y="1066"/>
                      <a:pt x="75" y="1066"/>
                    </a:cubicBezTo>
                    <a:cubicBezTo>
                      <a:pt x="66" y="1066"/>
                      <a:pt x="59" y="1068"/>
                      <a:pt x="54" y="1078"/>
                    </a:cubicBezTo>
                    <a:cubicBezTo>
                      <a:pt x="49" y="1088"/>
                      <a:pt x="37" y="1092"/>
                      <a:pt x="17" y="1096"/>
                    </a:cubicBezTo>
                    <a:cubicBezTo>
                      <a:pt x="16" y="1096"/>
                      <a:pt x="15" y="1096"/>
                      <a:pt x="15" y="1096"/>
                    </a:cubicBezTo>
                    <a:cubicBezTo>
                      <a:pt x="14" y="1096"/>
                      <a:pt x="14" y="1096"/>
                      <a:pt x="14" y="1097"/>
                    </a:cubicBezTo>
                    <a:cubicBezTo>
                      <a:pt x="14" y="1097"/>
                      <a:pt x="13" y="1097"/>
                      <a:pt x="13" y="1097"/>
                    </a:cubicBezTo>
                    <a:cubicBezTo>
                      <a:pt x="12" y="1097"/>
                      <a:pt x="12" y="1097"/>
                      <a:pt x="12" y="1098"/>
                    </a:cubicBezTo>
                    <a:cubicBezTo>
                      <a:pt x="12" y="1098"/>
                      <a:pt x="11" y="1098"/>
                      <a:pt x="11" y="1099"/>
                    </a:cubicBezTo>
                    <a:cubicBezTo>
                      <a:pt x="11" y="1099"/>
                      <a:pt x="11" y="1099"/>
                      <a:pt x="10" y="1099"/>
                    </a:cubicBezTo>
                    <a:cubicBezTo>
                      <a:pt x="10" y="1099"/>
                      <a:pt x="9" y="1100"/>
                      <a:pt x="9" y="1101"/>
                    </a:cubicBezTo>
                    <a:cubicBezTo>
                      <a:pt x="9" y="1101"/>
                      <a:pt x="9" y="1101"/>
                      <a:pt x="9" y="1101"/>
                    </a:cubicBezTo>
                    <a:cubicBezTo>
                      <a:pt x="8" y="1101"/>
                      <a:pt x="8" y="1102"/>
                      <a:pt x="7" y="1102"/>
                    </a:cubicBezTo>
                    <a:cubicBezTo>
                      <a:pt x="7" y="1103"/>
                      <a:pt x="7" y="1103"/>
                      <a:pt x="7" y="1103"/>
                    </a:cubicBezTo>
                    <a:cubicBezTo>
                      <a:pt x="7" y="1104"/>
                      <a:pt x="6" y="1104"/>
                      <a:pt x="6" y="1105"/>
                    </a:cubicBezTo>
                    <a:cubicBezTo>
                      <a:pt x="6" y="1105"/>
                      <a:pt x="6" y="1105"/>
                      <a:pt x="6" y="1105"/>
                    </a:cubicBezTo>
                    <a:cubicBezTo>
                      <a:pt x="5" y="1107"/>
                      <a:pt x="4" y="1109"/>
                      <a:pt x="4" y="1110"/>
                    </a:cubicBezTo>
                    <a:cubicBezTo>
                      <a:pt x="4" y="1111"/>
                      <a:pt x="4" y="1111"/>
                      <a:pt x="4" y="1111"/>
                    </a:cubicBezTo>
                    <a:cubicBezTo>
                      <a:pt x="3" y="1112"/>
                      <a:pt x="3" y="1112"/>
                      <a:pt x="3" y="1113"/>
                    </a:cubicBezTo>
                    <a:cubicBezTo>
                      <a:pt x="3" y="1113"/>
                      <a:pt x="3" y="1114"/>
                      <a:pt x="3" y="1114"/>
                    </a:cubicBezTo>
                    <a:cubicBezTo>
                      <a:pt x="3" y="1115"/>
                      <a:pt x="2" y="1116"/>
                      <a:pt x="2" y="1117"/>
                    </a:cubicBezTo>
                    <a:cubicBezTo>
                      <a:pt x="2" y="1117"/>
                      <a:pt x="2" y="1117"/>
                      <a:pt x="2" y="1117"/>
                    </a:cubicBezTo>
                    <a:cubicBezTo>
                      <a:pt x="2" y="1118"/>
                      <a:pt x="2" y="1119"/>
                      <a:pt x="2" y="1120"/>
                    </a:cubicBezTo>
                    <a:cubicBezTo>
                      <a:pt x="2" y="1120"/>
                      <a:pt x="2" y="1120"/>
                      <a:pt x="2" y="1120"/>
                    </a:cubicBezTo>
                    <a:cubicBezTo>
                      <a:pt x="1" y="1121"/>
                      <a:pt x="1" y="1122"/>
                      <a:pt x="1" y="1123"/>
                    </a:cubicBezTo>
                    <a:cubicBezTo>
                      <a:pt x="1" y="1124"/>
                      <a:pt x="1" y="1124"/>
                      <a:pt x="1" y="1124"/>
                    </a:cubicBezTo>
                    <a:cubicBezTo>
                      <a:pt x="1" y="1125"/>
                      <a:pt x="1" y="1126"/>
                      <a:pt x="1" y="1127"/>
                    </a:cubicBezTo>
                    <a:cubicBezTo>
                      <a:pt x="1" y="1127"/>
                      <a:pt x="1" y="1127"/>
                      <a:pt x="1" y="1127"/>
                    </a:cubicBezTo>
                    <a:cubicBezTo>
                      <a:pt x="0" y="1130"/>
                      <a:pt x="0" y="1132"/>
                      <a:pt x="0" y="1134"/>
                    </a:cubicBezTo>
                    <a:cubicBezTo>
                      <a:pt x="0" y="1134"/>
                      <a:pt x="0" y="1134"/>
                      <a:pt x="0" y="1134"/>
                    </a:cubicBezTo>
                    <a:cubicBezTo>
                      <a:pt x="0" y="1136"/>
                      <a:pt x="0" y="1137"/>
                      <a:pt x="0" y="1138"/>
                    </a:cubicBezTo>
                    <a:cubicBezTo>
                      <a:pt x="0" y="1138"/>
                      <a:pt x="0" y="1138"/>
                      <a:pt x="0" y="1138"/>
                    </a:cubicBezTo>
                    <a:cubicBezTo>
                      <a:pt x="0" y="1146"/>
                      <a:pt x="0" y="1154"/>
                      <a:pt x="0" y="1160"/>
                    </a:cubicBezTo>
                    <a:cubicBezTo>
                      <a:pt x="0" y="1160"/>
                      <a:pt x="0" y="1161"/>
                      <a:pt x="0" y="1161"/>
                    </a:cubicBezTo>
                    <a:cubicBezTo>
                      <a:pt x="0" y="1161"/>
                      <a:pt x="0" y="1161"/>
                      <a:pt x="0" y="1162"/>
                    </a:cubicBezTo>
                    <a:cubicBezTo>
                      <a:pt x="0" y="1162"/>
                      <a:pt x="0" y="1163"/>
                      <a:pt x="0" y="1164"/>
                    </a:cubicBezTo>
                    <a:cubicBezTo>
                      <a:pt x="0" y="1179"/>
                      <a:pt x="5" y="1188"/>
                      <a:pt x="7" y="1198"/>
                    </a:cubicBezTo>
                    <a:cubicBezTo>
                      <a:pt x="10" y="1209"/>
                      <a:pt x="21" y="1204"/>
                      <a:pt x="27" y="1199"/>
                    </a:cubicBezTo>
                    <a:cubicBezTo>
                      <a:pt x="32" y="1194"/>
                      <a:pt x="49" y="1202"/>
                      <a:pt x="55" y="1204"/>
                    </a:cubicBezTo>
                    <a:cubicBezTo>
                      <a:pt x="61" y="1206"/>
                      <a:pt x="66" y="1226"/>
                      <a:pt x="66" y="1236"/>
                    </a:cubicBezTo>
                    <a:cubicBezTo>
                      <a:pt x="66" y="1245"/>
                      <a:pt x="66" y="1256"/>
                      <a:pt x="71" y="1266"/>
                    </a:cubicBezTo>
                    <a:cubicBezTo>
                      <a:pt x="72" y="1267"/>
                      <a:pt x="73" y="1268"/>
                      <a:pt x="73" y="1269"/>
                    </a:cubicBezTo>
                    <a:cubicBezTo>
                      <a:pt x="73" y="1270"/>
                      <a:pt x="74" y="1271"/>
                      <a:pt x="74" y="1271"/>
                    </a:cubicBezTo>
                    <a:cubicBezTo>
                      <a:pt x="74" y="1272"/>
                      <a:pt x="74" y="1273"/>
                      <a:pt x="74" y="1273"/>
                    </a:cubicBezTo>
                    <a:cubicBezTo>
                      <a:pt x="75" y="1274"/>
                      <a:pt x="75" y="1275"/>
                      <a:pt x="75" y="1276"/>
                    </a:cubicBezTo>
                    <a:cubicBezTo>
                      <a:pt x="75" y="1276"/>
                      <a:pt x="75" y="1277"/>
                      <a:pt x="75" y="1277"/>
                    </a:cubicBezTo>
                    <a:cubicBezTo>
                      <a:pt x="75" y="1278"/>
                      <a:pt x="75" y="1279"/>
                      <a:pt x="75" y="1280"/>
                    </a:cubicBezTo>
                    <a:cubicBezTo>
                      <a:pt x="75" y="1281"/>
                      <a:pt x="75" y="1281"/>
                      <a:pt x="75" y="1281"/>
                    </a:cubicBezTo>
                    <a:cubicBezTo>
                      <a:pt x="75" y="1282"/>
                      <a:pt x="75" y="1283"/>
                      <a:pt x="75" y="1285"/>
                    </a:cubicBezTo>
                    <a:cubicBezTo>
                      <a:pt x="75" y="1285"/>
                      <a:pt x="75" y="1285"/>
                      <a:pt x="75" y="1285"/>
                    </a:cubicBezTo>
                    <a:cubicBezTo>
                      <a:pt x="75" y="1286"/>
                      <a:pt x="75" y="1288"/>
                      <a:pt x="74" y="1289"/>
                    </a:cubicBezTo>
                    <a:cubicBezTo>
                      <a:pt x="74" y="1289"/>
                      <a:pt x="74" y="1289"/>
                      <a:pt x="74" y="1289"/>
                    </a:cubicBezTo>
                    <a:cubicBezTo>
                      <a:pt x="74" y="1292"/>
                      <a:pt x="73" y="1294"/>
                      <a:pt x="72" y="1297"/>
                    </a:cubicBezTo>
                    <a:cubicBezTo>
                      <a:pt x="72" y="1297"/>
                      <a:pt x="72" y="1297"/>
                      <a:pt x="72" y="1297"/>
                    </a:cubicBezTo>
                    <a:cubicBezTo>
                      <a:pt x="71" y="1298"/>
                      <a:pt x="71" y="1298"/>
                      <a:pt x="71" y="1299"/>
                    </a:cubicBezTo>
                    <a:cubicBezTo>
                      <a:pt x="65" y="1311"/>
                      <a:pt x="63" y="1312"/>
                      <a:pt x="57" y="1316"/>
                    </a:cubicBezTo>
                    <a:cubicBezTo>
                      <a:pt x="56" y="1316"/>
                      <a:pt x="56" y="1316"/>
                      <a:pt x="55" y="1317"/>
                    </a:cubicBezTo>
                    <a:cubicBezTo>
                      <a:pt x="59" y="1320"/>
                      <a:pt x="65" y="1324"/>
                      <a:pt x="73" y="1324"/>
                    </a:cubicBezTo>
                    <a:cubicBezTo>
                      <a:pt x="87" y="1324"/>
                      <a:pt x="92" y="1322"/>
                      <a:pt x="96" y="1328"/>
                    </a:cubicBezTo>
                    <a:cubicBezTo>
                      <a:pt x="100" y="1333"/>
                      <a:pt x="101" y="1336"/>
                      <a:pt x="112" y="1339"/>
                    </a:cubicBezTo>
                    <a:cubicBezTo>
                      <a:pt x="123" y="1342"/>
                      <a:pt x="121" y="1347"/>
                      <a:pt x="127" y="1350"/>
                    </a:cubicBezTo>
                    <a:cubicBezTo>
                      <a:pt x="133" y="1352"/>
                      <a:pt x="140" y="1360"/>
                      <a:pt x="140" y="1368"/>
                    </a:cubicBezTo>
                    <a:cubicBezTo>
                      <a:pt x="140" y="1377"/>
                      <a:pt x="129" y="1387"/>
                      <a:pt x="136" y="1393"/>
                    </a:cubicBezTo>
                    <a:cubicBezTo>
                      <a:pt x="143" y="1399"/>
                      <a:pt x="145" y="1407"/>
                      <a:pt x="155" y="1407"/>
                    </a:cubicBezTo>
                    <a:cubicBezTo>
                      <a:pt x="165" y="1407"/>
                      <a:pt x="173" y="1403"/>
                      <a:pt x="181" y="1413"/>
                    </a:cubicBezTo>
                    <a:cubicBezTo>
                      <a:pt x="188" y="1423"/>
                      <a:pt x="184" y="1425"/>
                      <a:pt x="200" y="1427"/>
                    </a:cubicBezTo>
                    <a:cubicBezTo>
                      <a:pt x="216" y="1429"/>
                      <a:pt x="211" y="1433"/>
                      <a:pt x="223" y="1434"/>
                    </a:cubicBezTo>
                    <a:cubicBezTo>
                      <a:pt x="223" y="1434"/>
                      <a:pt x="224" y="1434"/>
                      <a:pt x="225" y="1434"/>
                    </a:cubicBezTo>
                    <a:cubicBezTo>
                      <a:pt x="225" y="1434"/>
                      <a:pt x="225" y="1434"/>
                      <a:pt x="226" y="1434"/>
                    </a:cubicBezTo>
                    <a:cubicBezTo>
                      <a:pt x="237" y="1435"/>
                      <a:pt x="258" y="1438"/>
                      <a:pt x="267" y="1432"/>
                    </a:cubicBezTo>
                    <a:cubicBezTo>
                      <a:pt x="268" y="1432"/>
                      <a:pt x="268" y="1432"/>
                      <a:pt x="269" y="1432"/>
                    </a:cubicBezTo>
                    <a:cubicBezTo>
                      <a:pt x="269" y="1431"/>
                      <a:pt x="270" y="1431"/>
                      <a:pt x="270" y="1430"/>
                    </a:cubicBezTo>
                    <a:cubicBezTo>
                      <a:pt x="279" y="1422"/>
                      <a:pt x="278" y="1416"/>
                      <a:pt x="289" y="1415"/>
                    </a:cubicBezTo>
                    <a:cubicBezTo>
                      <a:pt x="299" y="1414"/>
                      <a:pt x="299" y="1406"/>
                      <a:pt x="310" y="1403"/>
                    </a:cubicBezTo>
                    <a:cubicBezTo>
                      <a:pt x="321" y="1400"/>
                      <a:pt x="322" y="1396"/>
                      <a:pt x="335" y="1396"/>
                    </a:cubicBezTo>
                    <a:cubicBezTo>
                      <a:pt x="347" y="1396"/>
                      <a:pt x="361" y="1395"/>
                      <a:pt x="370" y="1406"/>
                    </a:cubicBezTo>
                    <a:cubicBezTo>
                      <a:pt x="379" y="1418"/>
                      <a:pt x="385" y="1426"/>
                      <a:pt x="397" y="1428"/>
                    </a:cubicBezTo>
                    <a:cubicBezTo>
                      <a:pt x="409" y="1431"/>
                      <a:pt x="421" y="1432"/>
                      <a:pt x="418" y="1441"/>
                    </a:cubicBezTo>
                    <a:cubicBezTo>
                      <a:pt x="415" y="1450"/>
                      <a:pt x="409" y="1452"/>
                      <a:pt x="410" y="1461"/>
                    </a:cubicBezTo>
                    <a:cubicBezTo>
                      <a:pt x="411" y="1470"/>
                      <a:pt x="411" y="1487"/>
                      <a:pt x="403" y="1489"/>
                    </a:cubicBezTo>
                    <a:cubicBezTo>
                      <a:pt x="395" y="1491"/>
                      <a:pt x="391" y="1494"/>
                      <a:pt x="386" y="1502"/>
                    </a:cubicBezTo>
                    <a:cubicBezTo>
                      <a:pt x="381" y="1510"/>
                      <a:pt x="375" y="1530"/>
                      <a:pt x="362" y="1533"/>
                    </a:cubicBezTo>
                    <a:cubicBezTo>
                      <a:pt x="349" y="1536"/>
                      <a:pt x="343" y="1543"/>
                      <a:pt x="338" y="1536"/>
                    </a:cubicBezTo>
                    <a:cubicBezTo>
                      <a:pt x="333" y="1530"/>
                      <a:pt x="327" y="1524"/>
                      <a:pt x="319" y="1528"/>
                    </a:cubicBezTo>
                    <a:cubicBezTo>
                      <a:pt x="312" y="1533"/>
                      <a:pt x="305" y="1540"/>
                      <a:pt x="313" y="1548"/>
                    </a:cubicBezTo>
                    <a:cubicBezTo>
                      <a:pt x="321" y="1557"/>
                      <a:pt x="325" y="1558"/>
                      <a:pt x="322" y="1568"/>
                    </a:cubicBezTo>
                    <a:cubicBezTo>
                      <a:pt x="319" y="1577"/>
                      <a:pt x="327" y="1591"/>
                      <a:pt x="335" y="1594"/>
                    </a:cubicBezTo>
                    <a:cubicBezTo>
                      <a:pt x="344" y="1598"/>
                      <a:pt x="351" y="1605"/>
                      <a:pt x="351" y="1609"/>
                    </a:cubicBezTo>
                    <a:cubicBezTo>
                      <a:pt x="352" y="1613"/>
                      <a:pt x="351" y="1616"/>
                      <a:pt x="357" y="1621"/>
                    </a:cubicBezTo>
                    <a:cubicBezTo>
                      <a:pt x="362" y="1626"/>
                      <a:pt x="368" y="1633"/>
                      <a:pt x="362" y="1639"/>
                    </a:cubicBezTo>
                    <a:cubicBezTo>
                      <a:pt x="356" y="1645"/>
                      <a:pt x="347" y="1644"/>
                      <a:pt x="343" y="1651"/>
                    </a:cubicBezTo>
                    <a:cubicBezTo>
                      <a:pt x="338" y="1658"/>
                      <a:pt x="326" y="1668"/>
                      <a:pt x="323" y="1662"/>
                    </a:cubicBezTo>
                    <a:cubicBezTo>
                      <a:pt x="319" y="1656"/>
                      <a:pt x="318" y="1644"/>
                      <a:pt x="315" y="1642"/>
                    </a:cubicBezTo>
                    <a:cubicBezTo>
                      <a:pt x="311" y="1640"/>
                      <a:pt x="305" y="1646"/>
                      <a:pt x="299" y="1646"/>
                    </a:cubicBezTo>
                    <a:cubicBezTo>
                      <a:pt x="293" y="1646"/>
                      <a:pt x="289" y="1654"/>
                      <a:pt x="295" y="1663"/>
                    </a:cubicBezTo>
                    <a:cubicBezTo>
                      <a:pt x="301" y="1672"/>
                      <a:pt x="304" y="1670"/>
                      <a:pt x="307" y="1682"/>
                    </a:cubicBezTo>
                    <a:cubicBezTo>
                      <a:pt x="311" y="1694"/>
                      <a:pt x="307" y="1731"/>
                      <a:pt x="319" y="1731"/>
                    </a:cubicBezTo>
                    <a:cubicBezTo>
                      <a:pt x="330" y="1731"/>
                      <a:pt x="339" y="1722"/>
                      <a:pt x="345" y="1736"/>
                    </a:cubicBezTo>
                    <a:cubicBezTo>
                      <a:pt x="351" y="1749"/>
                      <a:pt x="353" y="1757"/>
                      <a:pt x="365" y="1757"/>
                    </a:cubicBezTo>
                    <a:cubicBezTo>
                      <a:pt x="377" y="1757"/>
                      <a:pt x="381" y="1750"/>
                      <a:pt x="388" y="1762"/>
                    </a:cubicBezTo>
                    <a:cubicBezTo>
                      <a:pt x="395" y="1774"/>
                      <a:pt x="394" y="1779"/>
                      <a:pt x="407" y="1784"/>
                    </a:cubicBezTo>
                    <a:cubicBezTo>
                      <a:pt x="419" y="1788"/>
                      <a:pt x="425" y="1789"/>
                      <a:pt x="431" y="1794"/>
                    </a:cubicBezTo>
                    <a:cubicBezTo>
                      <a:pt x="438" y="1800"/>
                      <a:pt x="442" y="1796"/>
                      <a:pt x="446" y="1804"/>
                    </a:cubicBezTo>
                    <a:cubicBezTo>
                      <a:pt x="446" y="1805"/>
                      <a:pt x="447" y="1806"/>
                      <a:pt x="447" y="1806"/>
                    </a:cubicBezTo>
                    <a:cubicBezTo>
                      <a:pt x="447" y="1807"/>
                      <a:pt x="447" y="1807"/>
                      <a:pt x="447" y="1807"/>
                    </a:cubicBezTo>
                    <a:cubicBezTo>
                      <a:pt x="447" y="1807"/>
                      <a:pt x="447" y="1808"/>
                      <a:pt x="448" y="1809"/>
                    </a:cubicBezTo>
                    <a:cubicBezTo>
                      <a:pt x="448" y="1809"/>
                      <a:pt x="448" y="1809"/>
                      <a:pt x="448" y="1809"/>
                    </a:cubicBezTo>
                    <a:cubicBezTo>
                      <a:pt x="451" y="1809"/>
                      <a:pt x="455" y="1810"/>
                      <a:pt x="458" y="1812"/>
                    </a:cubicBezTo>
                    <a:cubicBezTo>
                      <a:pt x="468" y="1817"/>
                      <a:pt x="469" y="1818"/>
                      <a:pt x="473" y="1818"/>
                    </a:cubicBezTo>
                    <a:cubicBezTo>
                      <a:pt x="478" y="1819"/>
                      <a:pt x="475" y="1803"/>
                      <a:pt x="482" y="1802"/>
                    </a:cubicBezTo>
                    <a:cubicBezTo>
                      <a:pt x="488" y="1801"/>
                      <a:pt x="487" y="1793"/>
                      <a:pt x="494" y="1793"/>
                    </a:cubicBezTo>
                    <a:cubicBezTo>
                      <a:pt x="500" y="1792"/>
                      <a:pt x="502" y="1802"/>
                      <a:pt x="509" y="1802"/>
                    </a:cubicBezTo>
                    <a:cubicBezTo>
                      <a:pt x="516" y="1802"/>
                      <a:pt x="528" y="1803"/>
                      <a:pt x="530" y="1809"/>
                    </a:cubicBezTo>
                    <a:cubicBezTo>
                      <a:pt x="533" y="1815"/>
                      <a:pt x="536" y="1825"/>
                      <a:pt x="544" y="1827"/>
                    </a:cubicBezTo>
                    <a:cubicBezTo>
                      <a:pt x="552" y="1828"/>
                      <a:pt x="561" y="1828"/>
                      <a:pt x="565" y="1833"/>
                    </a:cubicBezTo>
                    <a:cubicBezTo>
                      <a:pt x="569" y="1839"/>
                      <a:pt x="588" y="1858"/>
                      <a:pt x="600" y="1862"/>
                    </a:cubicBezTo>
                    <a:cubicBezTo>
                      <a:pt x="612" y="1865"/>
                      <a:pt x="612" y="1870"/>
                      <a:pt x="620" y="1877"/>
                    </a:cubicBezTo>
                    <a:cubicBezTo>
                      <a:pt x="628" y="1885"/>
                      <a:pt x="631" y="1895"/>
                      <a:pt x="646" y="1895"/>
                    </a:cubicBezTo>
                    <a:cubicBezTo>
                      <a:pt x="660" y="1895"/>
                      <a:pt x="671" y="1892"/>
                      <a:pt x="679" y="1900"/>
                    </a:cubicBezTo>
                    <a:cubicBezTo>
                      <a:pt x="686" y="1909"/>
                      <a:pt x="689" y="1916"/>
                      <a:pt x="699" y="1918"/>
                    </a:cubicBezTo>
                    <a:cubicBezTo>
                      <a:pt x="710" y="1920"/>
                      <a:pt x="721" y="1919"/>
                      <a:pt x="725" y="1927"/>
                    </a:cubicBezTo>
                    <a:cubicBezTo>
                      <a:pt x="729" y="1936"/>
                      <a:pt x="736" y="1939"/>
                      <a:pt x="743" y="1939"/>
                    </a:cubicBezTo>
                    <a:cubicBezTo>
                      <a:pt x="751" y="1940"/>
                      <a:pt x="773" y="1944"/>
                      <a:pt x="777" y="1948"/>
                    </a:cubicBezTo>
                    <a:cubicBezTo>
                      <a:pt x="781" y="1952"/>
                      <a:pt x="783" y="1961"/>
                      <a:pt x="791" y="1962"/>
                    </a:cubicBezTo>
                    <a:cubicBezTo>
                      <a:pt x="800" y="1962"/>
                      <a:pt x="812" y="1972"/>
                      <a:pt x="815" y="1966"/>
                    </a:cubicBezTo>
                    <a:cubicBezTo>
                      <a:pt x="818" y="1960"/>
                      <a:pt x="824" y="1953"/>
                      <a:pt x="831" y="1960"/>
                    </a:cubicBezTo>
                    <a:cubicBezTo>
                      <a:pt x="837" y="1967"/>
                      <a:pt x="851" y="1975"/>
                      <a:pt x="854" y="1976"/>
                    </a:cubicBezTo>
                    <a:cubicBezTo>
                      <a:pt x="858" y="1976"/>
                      <a:pt x="869" y="1975"/>
                      <a:pt x="876" y="1975"/>
                    </a:cubicBezTo>
                    <a:cubicBezTo>
                      <a:pt x="882" y="1975"/>
                      <a:pt x="882" y="1965"/>
                      <a:pt x="894" y="1965"/>
                    </a:cubicBezTo>
                    <a:cubicBezTo>
                      <a:pt x="899" y="1965"/>
                      <a:pt x="904" y="1966"/>
                      <a:pt x="909" y="1966"/>
                    </a:cubicBezTo>
                    <a:cubicBezTo>
                      <a:pt x="909" y="1966"/>
                      <a:pt x="909" y="1966"/>
                      <a:pt x="909" y="1966"/>
                    </a:cubicBezTo>
                    <a:cubicBezTo>
                      <a:pt x="911" y="1966"/>
                      <a:pt x="913" y="1966"/>
                      <a:pt x="914" y="1966"/>
                    </a:cubicBezTo>
                    <a:cubicBezTo>
                      <a:pt x="915" y="1966"/>
                      <a:pt x="915" y="1966"/>
                      <a:pt x="915" y="1966"/>
                    </a:cubicBezTo>
                    <a:cubicBezTo>
                      <a:pt x="915" y="1966"/>
                      <a:pt x="916" y="1966"/>
                      <a:pt x="917" y="1966"/>
                    </a:cubicBezTo>
                    <a:cubicBezTo>
                      <a:pt x="917" y="1966"/>
                      <a:pt x="917" y="1966"/>
                      <a:pt x="917" y="1966"/>
                    </a:cubicBezTo>
                    <a:cubicBezTo>
                      <a:pt x="918" y="1966"/>
                      <a:pt x="918" y="1966"/>
                      <a:pt x="919" y="1966"/>
                    </a:cubicBezTo>
                    <a:cubicBezTo>
                      <a:pt x="919" y="1966"/>
                      <a:pt x="919" y="1966"/>
                      <a:pt x="919" y="1966"/>
                    </a:cubicBezTo>
                    <a:cubicBezTo>
                      <a:pt x="920" y="1966"/>
                      <a:pt x="920" y="1966"/>
                      <a:pt x="921" y="1966"/>
                    </a:cubicBezTo>
                    <a:cubicBezTo>
                      <a:pt x="921" y="1966"/>
                      <a:pt x="921" y="1966"/>
                      <a:pt x="921" y="1966"/>
                    </a:cubicBezTo>
                    <a:cubicBezTo>
                      <a:pt x="922" y="1966"/>
                      <a:pt x="922" y="1965"/>
                      <a:pt x="922" y="1965"/>
                    </a:cubicBezTo>
                    <a:cubicBezTo>
                      <a:pt x="922" y="1965"/>
                      <a:pt x="923" y="1965"/>
                      <a:pt x="923" y="1965"/>
                    </a:cubicBezTo>
                    <a:cubicBezTo>
                      <a:pt x="923" y="1965"/>
                      <a:pt x="923" y="1965"/>
                      <a:pt x="924" y="1965"/>
                    </a:cubicBezTo>
                    <a:cubicBezTo>
                      <a:pt x="924" y="1965"/>
                      <a:pt x="924" y="1965"/>
                      <a:pt x="924" y="1965"/>
                    </a:cubicBezTo>
                    <a:cubicBezTo>
                      <a:pt x="925" y="1964"/>
                      <a:pt x="925" y="1964"/>
                      <a:pt x="925" y="1964"/>
                    </a:cubicBezTo>
                    <a:cubicBezTo>
                      <a:pt x="930" y="1959"/>
                      <a:pt x="935" y="1956"/>
                      <a:pt x="943" y="1957"/>
                    </a:cubicBezTo>
                    <a:cubicBezTo>
                      <a:pt x="950" y="1957"/>
                      <a:pt x="952" y="1962"/>
                      <a:pt x="952" y="1968"/>
                    </a:cubicBezTo>
                    <a:cubicBezTo>
                      <a:pt x="952" y="1973"/>
                      <a:pt x="948" y="1989"/>
                      <a:pt x="951" y="1993"/>
                    </a:cubicBezTo>
                    <a:cubicBezTo>
                      <a:pt x="951" y="1994"/>
                      <a:pt x="951" y="1994"/>
                      <a:pt x="951" y="1994"/>
                    </a:cubicBezTo>
                    <a:cubicBezTo>
                      <a:pt x="952" y="1994"/>
                      <a:pt x="952" y="1995"/>
                      <a:pt x="952" y="1995"/>
                    </a:cubicBezTo>
                    <a:cubicBezTo>
                      <a:pt x="952" y="1995"/>
                      <a:pt x="952" y="1995"/>
                      <a:pt x="953" y="1996"/>
                    </a:cubicBezTo>
                    <a:cubicBezTo>
                      <a:pt x="953" y="1996"/>
                      <a:pt x="953" y="1996"/>
                      <a:pt x="953" y="1996"/>
                    </a:cubicBezTo>
                    <a:cubicBezTo>
                      <a:pt x="956" y="1999"/>
                      <a:pt x="963" y="2002"/>
                      <a:pt x="966" y="1993"/>
                    </a:cubicBezTo>
                    <a:cubicBezTo>
                      <a:pt x="970" y="1982"/>
                      <a:pt x="973" y="1977"/>
                      <a:pt x="978" y="1975"/>
                    </a:cubicBezTo>
                    <a:cubicBezTo>
                      <a:pt x="983" y="1973"/>
                      <a:pt x="984" y="1961"/>
                      <a:pt x="992" y="1959"/>
                    </a:cubicBezTo>
                    <a:cubicBezTo>
                      <a:pt x="999" y="1956"/>
                      <a:pt x="1009" y="1942"/>
                      <a:pt x="1014" y="1941"/>
                    </a:cubicBezTo>
                    <a:cubicBezTo>
                      <a:pt x="1019" y="1940"/>
                      <a:pt x="1024" y="1932"/>
                      <a:pt x="1028" y="1936"/>
                    </a:cubicBezTo>
                    <a:cubicBezTo>
                      <a:pt x="1033" y="1941"/>
                      <a:pt x="1038" y="1942"/>
                      <a:pt x="1045" y="1944"/>
                    </a:cubicBezTo>
                    <a:cubicBezTo>
                      <a:pt x="1053" y="1946"/>
                      <a:pt x="1055" y="1961"/>
                      <a:pt x="1064" y="1961"/>
                    </a:cubicBezTo>
                    <a:cubicBezTo>
                      <a:pt x="1072" y="1960"/>
                      <a:pt x="1080" y="1958"/>
                      <a:pt x="1087" y="1959"/>
                    </a:cubicBezTo>
                    <a:cubicBezTo>
                      <a:pt x="1094" y="1960"/>
                      <a:pt x="1107" y="1951"/>
                      <a:pt x="1115" y="1956"/>
                    </a:cubicBezTo>
                    <a:cubicBezTo>
                      <a:pt x="1124" y="1961"/>
                      <a:pt x="1121" y="1964"/>
                      <a:pt x="1128" y="1967"/>
                    </a:cubicBezTo>
                    <a:cubicBezTo>
                      <a:pt x="1135" y="1970"/>
                      <a:pt x="1132" y="1981"/>
                      <a:pt x="1137" y="1981"/>
                    </a:cubicBezTo>
                    <a:cubicBezTo>
                      <a:pt x="1137" y="1981"/>
                      <a:pt x="1137" y="1981"/>
                      <a:pt x="1137" y="1981"/>
                    </a:cubicBezTo>
                    <a:cubicBezTo>
                      <a:pt x="1138" y="1981"/>
                      <a:pt x="1138" y="1981"/>
                      <a:pt x="1139" y="1981"/>
                    </a:cubicBezTo>
                    <a:cubicBezTo>
                      <a:pt x="1146" y="1980"/>
                      <a:pt x="1152" y="1974"/>
                      <a:pt x="1161" y="1976"/>
                    </a:cubicBezTo>
                    <a:cubicBezTo>
                      <a:pt x="1169" y="1977"/>
                      <a:pt x="1189" y="1981"/>
                      <a:pt x="1192" y="1971"/>
                    </a:cubicBezTo>
                    <a:cubicBezTo>
                      <a:pt x="1195" y="1961"/>
                      <a:pt x="1194" y="1949"/>
                      <a:pt x="1205" y="1947"/>
                    </a:cubicBezTo>
                    <a:cubicBezTo>
                      <a:pt x="1216" y="1945"/>
                      <a:pt x="1223" y="1938"/>
                      <a:pt x="1226" y="1930"/>
                    </a:cubicBezTo>
                    <a:cubicBezTo>
                      <a:pt x="1230" y="1921"/>
                      <a:pt x="1231" y="1916"/>
                      <a:pt x="1242" y="1916"/>
                    </a:cubicBezTo>
                    <a:cubicBezTo>
                      <a:pt x="1253" y="1917"/>
                      <a:pt x="1266" y="1917"/>
                      <a:pt x="1274" y="1906"/>
                    </a:cubicBezTo>
                    <a:cubicBezTo>
                      <a:pt x="1282" y="1895"/>
                      <a:pt x="1284" y="1888"/>
                      <a:pt x="1295" y="1882"/>
                    </a:cubicBezTo>
                    <a:cubicBezTo>
                      <a:pt x="1307" y="1875"/>
                      <a:pt x="1316" y="1861"/>
                      <a:pt x="1323" y="1869"/>
                    </a:cubicBezTo>
                    <a:cubicBezTo>
                      <a:pt x="1330" y="1876"/>
                      <a:pt x="1331" y="1886"/>
                      <a:pt x="1341" y="1886"/>
                    </a:cubicBezTo>
                    <a:cubicBezTo>
                      <a:pt x="1350" y="1886"/>
                      <a:pt x="1353" y="1882"/>
                      <a:pt x="1358" y="1886"/>
                    </a:cubicBezTo>
                    <a:cubicBezTo>
                      <a:pt x="1363" y="1890"/>
                      <a:pt x="1369" y="1892"/>
                      <a:pt x="1372" y="1888"/>
                    </a:cubicBezTo>
                    <a:cubicBezTo>
                      <a:pt x="1376" y="1883"/>
                      <a:pt x="1384" y="1868"/>
                      <a:pt x="1391" y="1868"/>
                    </a:cubicBezTo>
                    <a:cubicBezTo>
                      <a:pt x="1397" y="1868"/>
                      <a:pt x="1399" y="1857"/>
                      <a:pt x="1405" y="1857"/>
                    </a:cubicBezTo>
                    <a:cubicBezTo>
                      <a:pt x="1411" y="1856"/>
                      <a:pt x="1410" y="1864"/>
                      <a:pt x="1415" y="1865"/>
                    </a:cubicBezTo>
                    <a:cubicBezTo>
                      <a:pt x="1420" y="1866"/>
                      <a:pt x="1426" y="1871"/>
                      <a:pt x="1426" y="1875"/>
                    </a:cubicBezTo>
                    <a:cubicBezTo>
                      <a:pt x="1427" y="1879"/>
                      <a:pt x="1422" y="1887"/>
                      <a:pt x="1429" y="1891"/>
                    </a:cubicBezTo>
                    <a:cubicBezTo>
                      <a:pt x="1436" y="1894"/>
                      <a:pt x="1439" y="1899"/>
                      <a:pt x="1440" y="1904"/>
                    </a:cubicBezTo>
                    <a:cubicBezTo>
                      <a:pt x="1440" y="1909"/>
                      <a:pt x="1441" y="1914"/>
                      <a:pt x="1435" y="1917"/>
                    </a:cubicBezTo>
                    <a:cubicBezTo>
                      <a:pt x="1430" y="1921"/>
                      <a:pt x="1419" y="1933"/>
                      <a:pt x="1431" y="1934"/>
                    </a:cubicBezTo>
                    <a:cubicBezTo>
                      <a:pt x="1444" y="1936"/>
                      <a:pt x="1456" y="1929"/>
                      <a:pt x="1461" y="1934"/>
                    </a:cubicBezTo>
                    <a:cubicBezTo>
                      <a:pt x="1465" y="1940"/>
                      <a:pt x="1466" y="1943"/>
                      <a:pt x="1471" y="1942"/>
                    </a:cubicBezTo>
                    <a:cubicBezTo>
                      <a:pt x="1476" y="1940"/>
                      <a:pt x="1482" y="1938"/>
                      <a:pt x="1488" y="1940"/>
                    </a:cubicBezTo>
                    <a:cubicBezTo>
                      <a:pt x="1489" y="1941"/>
                      <a:pt x="1489" y="1941"/>
                      <a:pt x="1490" y="1941"/>
                    </a:cubicBezTo>
                    <a:cubicBezTo>
                      <a:pt x="1491" y="1941"/>
                      <a:pt x="1491" y="1941"/>
                      <a:pt x="1492" y="1941"/>
                    </a:cubicBezTo>
                    <a:cubicBezTo>
                      <a:pt x="1496" y="1940"/>
                      <a:pt x="1499" y="1935"/>
                      <a:pt x="1502" y="1931"/>
                    </a:cubicBezTo>
                    <a:cubicBezTo>
                      <a:pt x="1505" y="1926"/>
                      <a:pt x="1517" y="1921"/>
                      <a:pt x="1522" y="1931"/>
                    </a:cubicBezTo>
                    <a:cubicBezTo>
                      <a:pt x="1527" y="1942"/>
                      <a:pt x="1530" y="1942"/>
                      <a:pt x="1537" y="1946"/>
                    </a:cubicBezTo>
                    <a:cubicBezTo>
                      <a:pt x="1544" y="1951"/>
                      <a:pt x="1545" y="1961"/>
                      <a:pt x="1545" y="1969"/>
                    </a:cubicBezTo>
                    <a:cubicBezTo>
                      <a:pt x="1545" y="1977"/>
                      <a:pt x="1548" y="1988"/>
                      <a:pt x="1556" y="1989"/>
                    </a:cubicBezTo>
                    <a:cubicBezTo>
                      <a:pt x="1565" y="1991"/>
                      <a:pt x="1581" y="1993"/>
                      <a:pt x="1581" y="2001"/>
                    </a:cubicBezTo>
                    <a:cubicBezTo>
                      <a:pt x="1581" y="2010"/>
                      <a:pt x="1577" y="2022"/>
                      <a:pt x="1580" y="2029"/>
                    </a:cubicBezTo>
                    <a:cubicBezTo>
                      <a:pt x="1583" y="2036"/>
                      <a:pt x="1585" y="2043"/>
                      <a:pt x="1584" y="2050"/>
                    </a:cubicBezTo>
                    <a:cubicBezTo>
                      <a:pt x="1582" y="2058"/>
                      <a:pt x="1578" y="2058"/>
                      <a:pt x="1578" y="2069"/>
                    </a:cubicBezTo>
                    <a:cubicBezTo>
                      <a:pt x="1578" y="2080"/>
                      <a:pt x="1581" y="2098"/>
                      <a:pt x="1576" y="2104"/>
                    </a:cubicBezTo>
                    <a:cubicBezTo>
                      <a:pt x="1571" y="2110"/>
                      <a:pt x="1570" y="2119"/>
                      <a:pt x="1560" y="2124"/>
                    </a:cubicBezTo>
                    <a:cubicBezTo>
                      <a:pt x="1549" y="2129"/>
                      <a:pt x="1548" y="2131"/>
                      <a:pt x="1540" y="2141"/>
                    </a:cubicBezTo>
                    <a:cubicBezTo>
                      <a:pt x="1533" y="2151"/>
                      <a:pt x="1524" y="2155"/>
                      <a:pt x="1520" y="2164"/>
                    </a:cubicBezTo>
                    <a:cubicBezTo>
                      <a:pt x="1516" y="2172"/>
                      <a:pt x="1516" y="2180"/>
                      <a:pt x="1510" y="2184"/>
                    </a:cubicBezTo>
                    <a:cubicBezTo>
                      <a:pt x="1504" y="2189"/>
                      <a:pt x="1506" y="2191"/>
                      <a:pt x="1509" y="2198"/>
                    </a:cubicBezTo>
                    <a:cubicBezTo>
                      <a:pt x="1513" y="2205"/>
                      <a:pt x="1513" y="2205"/>
                      <a:pt x="1514" y="2214"/>
                    </a:cubicBezTo>
                    <a:cubicBezTo>
                      <a:pt x="1516" y="2223"/>
                      <a:pt x="1510" y="2239"/>
                      <a:pt x="1514" y="2241"/>
                    </a:cubicBezTo>
                    <a:cubicBezTo>
                      <a:pt x="1517" y="2242"/>
                      <a:pt x="1524" y="2242"/>
                      <a:pt x="1528" y="2237"/>
                    </a:cubicBezTo>
                    <a:cubicBezTo>
                      <a:pt x="1531" y="2232"/>
                      <a:pt x="1539" y="2229"/>
                      <a:pt x="1544" y="2229"/>
                    </a:cubicBezTo>
                    <a:cubicBezTo>
                      <a:pt x="1549" y="2229"/>
                      <a:pt x="1555" y="2222"/>
                      <a:pt x="1560" y="2225"/>
                    </a:cubicBezTo>
                    <a:cubicBezTo>
                      <a:pt x="1565" y="2229"/>
                      <a:pt x="1578" y="2228"/>
                      <a:pt x="1585" y="2223"/>
                    </a:cubicBezTo>
                    <a:cubicBezTo>
                      <a:pt x="1592" y="2217"/>
                      <a:pt x="1588" y="2234"/>
                      <a:pt x="1585" y="2244"/>
                    </a:cubicBezTo>
                    <a:cubicBezTo>
                      <a:pt x="1582" y="2253"/>
                      <a:pt x="1583" y="2255"/>
                      <a:pt x="1587" y="2264"/>
                    </a:cubicBezTo>
                    <a:cubicBezTo>
                      <a:pt x="1590" y="2274"/>
                      <a:pt x="1592" y="2272"/>
                      <a:pt x="1594" y="2283"/>
                    </a:cubicBezTo>
                    <a:cubicBezTo>
                      <a:pt x="1595" y="2293"/>
                      <a:pt x="1597" y="2297"/>
                      <a:pt x="1606" y="2298"/>
                    </a:cubicBezTo>
                    <a:cubicBezTo>
                      <a:pt x="1616" y="2298"/>
                      <a:pt x="1634" y="2294"/>
                      <a:pt x="1631" y="2307"/>
                    </a:cubicBezTo>
                    <a:cubicBezTo>
                      <a:pt x="1628" y="2319"/>
                      <a:pt x="1618" y="2319"/>
                      <a:pt x="1620" y="2327"/>
                    </a:cubicBezTo>
                    <a:cubicBezTo>
                      <a:pt x="1622" y="2335"/>
                      <a:pt x="1619" y="2341"/>
                      <a:pt x="1615" y="2343"/>
                    </a:cubicBezTo>
                    <a:cubicBezTo>
                      <a:pt x="1611" y="2345"/>
                      <a:pt x="1604" y="2353"/>
                      <a:pt x="1610" y="2356"/>
                    </a:cubicBezTo>
                    <a:cubicBezTo>
                      <a:pt x="1616" y="2359"/>
                      <a:pt x="1614" y="2364"/>
                      <a:pt x="1623" y="2364"/>
                    </a:cubicBezTo>
                    <a:cubicBezTo>
                      <a:pt x="1631" y="2363"/>
                      <a:pt x="1651" y="2362"/>
                      <a:pt x="1655" y="2369"/>
                    </a:cubicBezTo>
                    <a:cubicBezTo>
                      <a:pt x="1658" y="2377"/>
                      <a:pt x="1661" y="2380"/>
                      <a:pt x="1665" y="2389"/>
                    </a:cubicBezTo>
                    <a:cubicBezTo>
                      <a:pt x="1669" y="2397"/>
                      <a:pt x="1666" y="2405"/>
                      <a:pt x="1678" y="2405"/>
                    </a:cubicBezTo>
                    <a:cubicBezTo>
                      <a:pt x="1690" y="2405"/>
                      <a:pt x="1703" y="2408"/>
                      <a:pt x="1706" y="2402"/>
                    </a:cubicBezTo>
                    <a:cubicBezTo>
                      <a:pt x="1709" y="2396"/>
                      <a:pt x="1713" y="2398"/>
                      <a:pt x="1718" y="2393"/>
                    </a:cubicBezTo>
                    <a:cubicBezTo>
                      <a:pt x="1723" y="2387"/>
                      <a:pt x="1726" y="2384"/>
                      <a:pt x="1730" y="2383"/>
                    </a:cubicBezTo>
                    <a:cubicBezTo>
                      <a:pt x="1731" y="2383"/>
                      <a:pt x="1731" y="2383"/>
                      <a:pt x="1731" y="2383"/>
                    </a:cubicBezTo>
                    <a:cubicBezTo>
                      <a:pt x="1731" y="2383"/>
                      <a:pt x="1731" y="2383"/>
                      <a:pt x="1731" y="2383"/>
                    </a:cubicBezTo>
                    <a:cubicBezTo>
                      <a:pt x="1734" y="2383"/>
                      <a:pt x="1735" y="2385"/>
                      <a:pt x="1736" y="2389"/>
                    </a:cubicBezTo>
                    <a:cubicBezTo>
                      <a:pt x="1736" y="2389"/>
                      <a:pt x="1736" y="2389"/>
                      <a:pt x="1736" y="2389"/>
                    </a:cubicBezTo>
                    <a:cubicBezTo>
                      <a:pt x="1737" y="2389"/>
                      <a:pt x="1737" y="2390"/>
                      <a:pt x="1737" y="2391"/>
                    </a:cubicBezTo>
                    <a:cubicBezTo>
                      <a:pt x="1737" y="2391"/>
                      <a:pt x="1737" y="2391"/>
                      <a:pt x="1737" y="2392"/>
                    </a:cubicBezTo>
                    <a:cubicBezTo>
                      <a:pt x="1737" y="2392"/>
                      <a:pt x="1737" y="2392"/>
                      <a:pt x="1737" y="2393"/>
                    </a:cubicBezTo>
                    <a:cubicBezTo>
                      <a:pt x="1737" y="2393"/>
                      <a:pt x="1737" y="2394"/>
                      <a:pt x="1737" y="2395"/>
                    </a:cubicBezTo>
                    <a:cubicBezTo>
                      <a:pt x="1737" y="2400"/>
                      <a:pt x="1737" y="2402"/>
                      <a:pt x="1739" y="2407"/>
                    </a:cubicBezTo>
                    <a:cubicBezTo>
                      <a:pt x="1742" y="2413"/>
                      <a:pt x="1740" y="2422"/>
                      <a:pt x="1749" y="2422"/>
                    </a:cubicBezTo>
                    <a:cubicBezTo>
                      <a:pt x="1758" y="2421"/>
                      <a:pt x="1773" y="2427"/>
                      <a:pt x="1774" y="2419"/>
                    </a:cubicBezTo>
                    <a:cubicBezTo>
                      <a:pt x="1774" y="2412"/>
                      <a:pt x="1773" y="2406"/>
                      <a:pt x="1776" y="2401"/>
                    </a:cubicBezTo>
                    <a:cubicBezTo>
                      <a:pt x="1778" y="2397"/>
                      <a:pt x="1780" y="2386"/>
                      <a:pt x="1775" y="2382"/>
                    </a:cubicBezTo>
                    <a:cubicBezTo>
                      <a:pt x="1770" y="2378"/>
                      <a:pt x="1768" y="2379"/>
                      <a:pt x="1767" y="2373"/>
                    </a:cubicBezTo>
                    <a:cubicBezTo>
                      <a:pt x="1766" y="2368"/>
                      <a:pt x="1758" y="2368"/>
                      <a:pt x="1758" y="2362"/>
                    </a:cubicBezTo>
                    <a:cubicBezTo>
                      <a:pt x="1758" y="2357"/>
                      <a:pt x="1759" y="2349"/>
                      <a:pt x="1762" y="2348"/>
                    </a:cubicBezTo>
                    <a:cubicBezTo>
                      <a:pt x="1766" y="2347"/>
                      <a:pt x="1763" y="2334"/>
                      <a:pt x="1771" y="2334"/>
                    </a:cubicBezTo>
                    <a:cubicBezTo>
                      <a:pt x="1780" y="2334"/>
                      <a:pt x="1780" y="2334"/>
                      <a:pt x="1789" y="2336"/>
                    </a:cubicBezTo>
                    <a:cubicBezTo>
                      <a:pt x="1790" y="2337"/>
                      <a:pt x="1791" y="2337"/>
                      <a:pt x="1792" y="2337"/>
                    </a:cubicBezTo>
                    <a:cubicBezTo>
                      <a:pt x="1793" y="2337"/>
                      <a:pt x="1793" y="2337"/>
                      <a:pt x="1793" y="2337"/>
                    </a:cubicBezTo>
                    <a:cubicBezTo>
                      <a:pt x="1794" y="2337"/>
                      <a:pt x="1795" y="2338"/>
                      <a:pt x="1796" y="2338"/>
                    </a:cubicBezTo>
                    <a:cubicBezTo>
                      <a:pt x="1796" y="2338"/>
                      <a:pt x="1796" y="2338"/>
                      <a:pt x="1796" y="2338"/>
                    </a:cubicBezTo>
                    <a:cubicBezTo>
                      <a:pt x="1798" y="2338"/>
                      <a:pt x="1800" y="2337"/>
                      <a:pt x="1801" y="2337"/>
                    </a:cubicBezTo>
                    <a:cubicBezTo>
                      <a:pt x="1802" y="2336"/>
                      <a:pt x="1802" y="2336"/>
                      <a:pt x="1803" y="2335"/>
                    </a:cubicBezTo>
                    <a:cubicBezTo>
                      <a:pt x="1803" y="2335"/>
                      <a:pt x="1803" y="2335"/>
                      <a:pt x="1804" y="2335"/>
                    </a:cubicBezTo>
                    <a:cubicBezTo>
                      <a:pt x="1804" y="2335"/>
                      <a:pt x="1804" y="2335"/>
                      <a:pt x="1804" y="2334"/>
                    </a:cubicBezTo>
                    <a:cubicBezTo>
                      <a:pt x="1805" y="2334"/>
                      <a:pt x="1805" y="2333"/>
                      <a:pt x="1806" y="2333"/>
                    </a:cubicBezTo>
                    <a:cubicBezTo>
                      <a:pt x="1810" y="2327"/>
                      <a:pt x="1821" y="2317"/>
                      <a:pt x="1826" y="2319"/>
                    </a:cubicBezTo>
                    <a:cubicBezTo>
                      <a:pt x="1831" y="2321"/>
                      <a:pt x="1840" y="2324"/>
                      <a:pt x="1842" y="2330"/>
                    </a:cubicBezTo>
                    <a:cubicBezTo>
                      <a:pt x="1843" y="2336"/>
                      <a:pt x="1848" y="2337"/>
                      <a:pt x="1853" y="2337"/>
                    </a:cubicBezTo>
                    <a:cubicBezTo>
                      <a:pt x="1859" y="2337"/>
                      <a:pt x="1861" y="2331"/>
                      <a:pt x="1864" y="2328"/>
                    </a:cubicBezTo>
                    <a:cubicBezTo>
                      <a:pt x="1866" y="2325"/>
                      <a:pt x="1871" y="2317"/>
                      <a:pt x="1875" y="2319"/>
                    </a:cubicBezTo>
                    <a:cubicBezTo>
                      <a:pt x="1879" y="2322"/>
                      <a:pt x="1887" y="2326"/>
                      <a:pt x="1890" y="2322"/>
                    </a:cubicBezTo>
                    <a:cubicBezTo>
                      <a:pt x="1892" y="2317"/>
                      <a:pt x="1898" y="2317"/>
                      <a:pt x="1900" y="2320"/>
                    </a:cubicBezTo>
                    <a:cubicBezTo>
                      <a:pt x="1902" y="2324"/>
                      <a:pt x="1904" y="2328"/>
                      <a:pt x="1909" y="2327"/>
                    </a:cubicBezTo>
                    <a:cubicBezTo>
                      <a:pt x="1915" y="2327"/>
                      <a:pt x="1915" y="2318"/>
                      <a:pt x="1924" y="2317"/>
                    </a:cubicBezTo>
                    <a:cubicBezTo>
                      <a:pt x="1932" y="2315"/>
                      <a:pt x="1933" y="2313"/>
                      <a:pt x="1942" y="2313"/>
                    </a:cubicBezTo>
                    <a:cubicBezTo>
                      <a:pt x="1952" y="2313"/>
                      <a:pt x="1963" y="2322"/>
                      <a:pt x="1970" y="2307"/>
                    </a:cubicBezTo>
                    <a:cubicBezTo>
                      <a:pt x="1976" y="2291"/>
                      <a:pt x="1971" y="2286"/>
                      <a:pt x="1979" y="2285"/>
                    </a:cubicBezTo>
                    <a:cubicBezTo>
                      <a:pt x="1986" y="2284"/>
                      <a:pt x="1988" y="2275"/>
                      <a:pt x="1995" y="2275"/>
                    </a:cubicBezTo>
                    <a:cubicBezTo>
                      <a:pt x="2002" y="2275"/>
                      <a:pt x="2007" y="2279"/>
                      <a:pt x="2010" y="2286"/>
                    </a:cubicBezTo>
                    <a:cubicBezTo>
                      <a:pt x="2014" y="2293"/>
                      <a:pt x="2019" y="2297"/>
                      <a:pt x="2027" y="2299"/>
                    </a:cubicBezTo>
                    <a:cubicBezTo>
                      <a:pt x="2034" y="2301"/>
                      <a:pt x="2039" y="2305"/>
                      <a:pt x="2049" y="2305"/>
                    </a:cubicBezTo>
                    <a:cubicBezTo>
                      <a:pt x="2060" y="2306"/>
                      <a:pt x="2079" y="2302"/>
                      <a:pt x="2084" y="2308"/>
                    </a:cubicBezTo>
                    <a:cubicBezTo>
                      <a:pt x="2089" y="2314"/>
                      <a:pt x="2094" y="2325"/>
                      <a:pt x="2089" y="2328"/>
                    </a:cubicBezTo>
                    <a:cubicBezTo>
                      <a:pt x="2084" y="2331"/>
                      <a:pt x="2080" y="2332"/>
                      <a:pt x="2080" y="2339"/>
                    </a:cubicBezTo>
                    <a:cubicBezTo>
                      <a:pt x="2080" y="2345"/>
                      <a:pt x="2081" y="2358"/>
                      <a:pt x="2085" y="2362"/>
                    </a:cubicBezTo>
                    <a:cubicBezTo>
                      <a:pt x="2090" y="2366"/>
                      <a:pt x="2105" y="2382"/>
                      <a:pt x="2108" y="2385"/>
                    </a:cubicBezTo>
                    <a:cubicBezTo>
                      <a:pt x="2112" y="2389"/>
                      <a:pt x="2122" y="2396"/>
                      <a:pt x="2134" y="2396"/>
                    </a:cubicBezTo>
                    <a:cubicBezTo>
                      <a:pt x="2145" y="2396"/>
                      <a:pt x="2152" y="2390"/>
                      <a:pt x="2159" y="2394"/>
                    </a:cubicBezTo>
                    <a:cubicBezTo>
                      <a:pt x="2164" y="2397"/>
                      <a:pt x="2168" y="2397"/>
                      <a:pt x="2173" y="2399"/>
                    </a:cubicBezTo>
                    <a:cubicBezTo>
                      <a:pt x="2175" y="2397"/>
                      <a:pt x="2177" y="2396"/>
                      <a:pt x="2180" y="2394"/>
                    </a:cubicBezTo>
                    <a:cubicBezTo>
                      <a:pt x="2198" y="2382"/>
                      <a:pt x="2180" y="2394"/>
                      <a:pt x="2200" y="2395"/>
                    </a:cubicBezTo>
                    <a:cubicBezTo>
                      <a:pt x="2221" y="2397"/>
                      <a:pt x="2209" y="2391"/>
                      <a:pt x="2221" y="2391"/>
                    </a:cubicBezTo>
                    <a:cubicBezTo>
                      <a:pt x="2232" y="2391"/>
                      <a:pt x="2235" y="2401"/>
                      <a:pt x="2243" y="2405"/>
                    </a:cubicBezTo>
                    <a:cubicBezTo>
                      <a:pt x="2252" y="2410"/>
                      <a:pt x="2258" y="2401"/>
                      <a:pt x="2264" y="2394"/>
                    </a:cubicBezTo>
                    <a:cubicBezTo>
                      <a:pt x="2269" y="2387"/>
                      <a:pt x="2279" y="2397"/>
                      <a:pt x="2288" y="2398"/>
                    </a:cubicBezTo>
                    <a:cubicBezTo>
                      <a:pt x="2296" y="2400"/>
                      <a:pt x="2291" y="2410"/>
                      <a:pt x="2281" y="2418"/>
                    </a:cubicBezTo>
                    <a:cubicBezTo>
                      <a:pt x="2271" y="2427"/>
                      <a:pt x="2272" y="2438"/>
                      <a:pt x="2278" y="2440"/>
                    </a:cubicBezTo>
                    <a:cubicBezTo>
                      <a:pt x="2284" y="2441"/>
                      <a:pt x="2289" y="2461"/>
                      <a:pt x="2301" y="2471"/>
                    </a:cubicBezTo>
                    <a:cubicBezTo>
                      <a:pt x="2312" y="2481"/>
                      <a:pt x="2318" y="2480"/>
                      <a:pt x="2325" y="2467"/>
                    </a:cubicBezTo>
                    <a:cubicBezTo>
                      <a:pt x="2332" y="2454"/>
                      <a:pt x="2319" y="2451"/>
                      <a:pt x="2315" y="2444"/>
                    </a:cubicBezTo>
                    <a:cubicBezTo>
                      <a:pt x="2311" y="2437"/>
                      <a:pt x="2315" y="2434"/>
                      <a:pt x="2319" y="2422"/>
                    </a:cubicBezTo>
                    <a:cubicBezTo>
                      <a:pt x="2324" y="2411"/>
                      <a:pt x="2338" y="2411"/>
                      <a:pt x="2348" y="2407"/>
                    </a:cubicBezTo>
                    <a:cubicBezTo>
                      <a:pt x="2358" y="2402"/>
                      <a:pt x="2378" y="2399"/>
                      <a:pt x="2395" y="2399"/>
                    </a:cubicBezTo>
                    <a:cubicBezTo>
                      <a:pt x="2413" y="2399"/>
                      <a:pt x="2420" y="2397"/>
                      <a:pt x="2428" y="2387"/>
                    </a:cubicBezTo>
                    <a:cubicBezTo>
                      <a:pt x="2437" y="2377"/>
                      <a:pt x="2450" y="2382"/>
                      <a:pt x="2466" y="2388"/>
                    </a:cubicBezTo>
                    <a:cubicBezTo>
                      <a:pt x="2481" y="2394"/>
                      <a:pt x="2490" y="2364"/>
                      <a:pt x="2500" y="2354"/>
                    </a:cubicBezTo>
                    <a:cubicBezTo>
                      <a:pt x="2507" y="2346"/>
                      <a:pt x="2517" y="2350"/>
                      <a:pt x="2528" y="2355"/>
                    </a:cubicBezTo>
                    <a:cubicBezTo>
                      <a:pt x="2529" y="2353"/>
                      <a:pt x="2530" y="2352"/>
                      <a:pt x="2531" y="2350"/>
                    </a:cubicBezTo>
                    <a:cubicBezTo>
                      <a:pt x="2531" y="2346"/>
                      <a:pt x="2537" y="2344"/>
                      <a:pt x="2543" y="2339"/>
                    </a:cubicBezTo>
                    <a:cubicBezTo>
                      <a:pt x="2546" y="2336"/>
                      <a:pt x="2550" y="2336"/>
                      <a:pt x="2552" y="2337"/>
                    </a:cubicBezTo>
                    <a:cubicBezTo>
                      <a:pt x="2554" y="2335"/>
                      <a:pt x="2559" y="2334"/>
                      <a:pt x="2567" y="2334"/>
                    </a:cubicBezTo>
                    <a:cubicBezTo>
                      <a:pt x="2589" y="2334"/>
                      <a:pt x="2579" y="2331"/>
                      <a:pt x="2593" y="2331"/>
                    </a:cubicBezTo>
                    <a:cubicBezTo>
                      <a:pt x="2608" y="2331"/>
                      <a:pt x="2613" y="2328"/>
                      <a:pt x="2618" y="2319"/>
                    </a:cubicBezTo>
                    <a:cubicBezTo>
                      <a:pt x="2622" y="2311"/>
                      <a:pt x="2636" y="2319"/>
                      <a:pt x="2645" y="2321"/>
                    </a:cubicBezTo>
                    <a:cubicBezTo>
                      <a:pt x="2653" y="2322"/>
                      <a:pt x="2655" y="2318"/>
                      <a:pt x="2666" y="2311"/>
                    </a:cubicBezTo>
                    <a:cubicBezTo>
                      <a:pt x="2678" y="2303"/>
                      <a:pt x="2694" y="2311"/>
                      <a:pt x="2706" y="2309"/>
                    </a:cubicBezTo>
                    <a:cubicBezTo>
                      <a:pt x="2719" y="2308"/>
                      <a:pt x="2714" y="2285"/>
                      <a:pt x="2722" y="2281"/>
                    </a:cubicBezTo>
                    <a:cubicBezTo>
                      <a:pt x="2731" y="2276"/>
                      <a:pt x="2732" y="2268"/>
                      <a:pt x="2744" y="2263"/>
                    </a:cubicBezTo>
                    <a:cubicBezTo>
                      <a:pt x="2755" y="2259"/>
                      <a:pt x="2759" y="2258"/>
                      <a:pt x="2775" y="2246"/>
                    </a:cubicBezTo>
                    <a:cubicBezTo>
                      <a:pt x="2791" y="2235"/>
                      <a:pt x="2790" y="2233"/>
                      <a:pt x="2802" y="2226"/>
                    </a:cubicBezTo>
                    <a:cubicBezTo>
                      <a:pt x="2815" y="2219"/>
                      <a:pt x="2807" y="2216"/>
                      <a:pt x="2807" y="2202"/>
                    </a:cubicBezTo>
                    <a:cubicBezTo>
                      <a:pt x="2807" y="2187"/>
                      <a:pt x="2812" y="2195"/>
                      <a:pt x="2830" y="2197"/>
                    </a:cubicBezTo>
                    <a:cubicBezTo>
                      <a:pt x="2847" y="2200"/>
                      <a:pt x="2847" y="2196"/>
                      <a:pt x="2848" y="2180"/>
                    </a:cubicBezTo>
                    <a:cubicBezTo>
                      <a:pt x="2850" y="2164"/>
                      <a:pt x="2870" y="2173"/>
                      <a:pt x="2877" y="2156"/>
                    </a:cubicBezTo>
                    <a:cubicBezTo>
                      <a:pt x="2884" y="2139"/>
                      <a:pt x="2880" y="2139"/>
                      <a:pt x="2896" y="2134"/>
                    </a:cubicBezTo>
                    <a:cubicBezTo>
                      <a:pt x="2911" y="2130"/>
                      <a:pt x="2913" y="2117"/>
                      <a:pt x="2910" y="2107"/>
                    </a:cubicBezTo>
                    <a:cubicBezTo>
                      <a:pt x="2907" y="2097"/>
                      <a:pt x="2903" y="2088"/>
                      <a:pt x="2909" y="2084"/>
                    </a:cubicBezTo>
                    <a:cubicBezTo>
                      <a:pt x="2914" y="2080"/>
                      <a:pt x="2921" y="2071"/>
                      <a:pt x="2911" y="2060"/>
                    </a:cubicBezTo>
                    <a:cubicBezTo>
                      <a:pt x="2901" y="2048"/>
                      <a:pt x="2921" y="2044"/>
                      <a:pt x="2933" y="2044"/>
                    </a:cubicBezTo>
                    <a:cubicBezTo>
                      <a:pt x="2944" y="2044"/>
                      <a:pt x="2946" y="2025"/>
                      <a:pt x="2950" y="2025"/>
                    </a:cubicBezTo>
                    <a:cubicBezTo>
                      <a:pt x="2954" y="2025"/>
                      <a:pt x="2963" y="2023"/>
                      <a:pt x="2963" y="2007"/>
                    </a:cubicBezTo>
                    <a:cubicBezTo>
                      <a:pt x="2963" y="1991"/>
                      <a:pt x="2979" y="1994"/>
                      <a:pt x="2979" y="1982"/>
                    </a:cubicBezTo>
                    <a:cubicBezTo>
                      <a:pt x="2979" y="1971"/>
                      <a:pt x="2982" y="1957"/>
                      <a:pt x="2992" y="1955"/>
                    </a:cubicBezTo>
                    <a:cubicBezTo>
                      <a:pt x="3002" y="1954"/>
                      <a:pt x="3006" y="1945"/>
                      <a:pt x="3026" y="1934"/>
                    </a:cubicBezTo>
                    <a:cubicBezTo>
                      <a:pt x="3046" y="1922"/>
                      <a:pt x="3025" y="1915"/>
                      <a:pt x="3035" y="1909"/>
                    </a:cubicBezTo>
                    <a:cubicBezTo>
                      <a:pt x="3045" y="1904"/>
                      <a:pt x="3038" y="1896"/>
                      <a:pt x="3033" y="1882"/>
                    </a:cubicBezTo>
                    <a:cubicBezTo>
                      <a:pt x="3029" y="1868"/>
                      <a:pt x="3039" y="1872"/>
                      <a:pt x="3055" y="1872"/>
                    </a:cubicBezTo>
                    <a:cubicBezTo>
                      <a:pt x="3070" y="1872"/>
                      <a:pt x="3063" y="1859"/>
                      <a:pt x="3048" y="1851"/>
                    </a:cubicBezTo>
                    <a:cubicBezTo>
                      <a:pt x="3032" y="1842"/>
                      <a:pt x="3053" y="1842"/>
                      <a:pt x="3058" y="1830"/>
                    </a:cubicBezTo>
                    <a:cubicBezTo>
                      <a:pt x="3062" y="1819"/>
                      <a:pt x="3045" y="1820"/>
                      <a:pt x="3033" y="1818"/>
                    </a:cubicBezTo>
                    <a:cubicBezTo>
                      <a:pt x="3022" y="1815"/>
                      <a:pt x="3025" y="1805"/>
                      <a:pt x="3012" y="1800"/>
                    </a:cubicBezTo>
                    <a:cubicBezTo>
                      <a:pt x="2999" y="1796"/>
                      <a:pt x="2995" y="1815"/>
                      <a:pt x="2972" y="1813"/>
                    </a:cubicBezTo>
                    <a:cubicBezTo>
                      <a:pt x="2949" y="1812"/>
                      <a:pt x="2950" y="1796"/>
                      <a:pt x="2979" y="1796"/>
                    </a:cubicBezTo>
                    <a:cubicBezTo>
                      <a:pt x="3007" y="1796"/>
                      <a:pt x="3002" y="1786"/>
                      <a:pt x="3007" y="1775"/>
                    </a:cubicBezTo>
                    <a:cubicBezTo>
                      <a:pt x="3013" y="1763"/>
                      <a:pt x="3020" y="1766"/>
                      <a:pt x="3038" y="1759"/>
                    </a:cubicBezTo>
                    <a:cubicBezTo>
                      <a:pt x="3055" y="1752"/>
                      <a:pt x="3050" y="1740"/>
                      <a:pt x="3043" y="1733"/>
                    </a:cubicBezTo>
                    <a:cubicBezTo>
                      <a:pt x="3036" y="1726"/>
                      <a:pt x="3023" y="1716"/>
                      <a:pt x="3009" y="1709"/>
                    </a:cubicBezTo>
                    <a:cubicBezTo>
                      <a:pt x="2995" y="1701"/>
                      <a:pt x="3007" y="1686"/>
                      <a:pt x="3025" y="1694"/>
                    </a:cubicBezTo>
                    <a:cubicBezTo>
                      <a:pt x="3042" y="1703"/>
                      <a:pt x="3045" y="1711"/>
                      <a:pt x="3053" y="1696"/>
                    </a:cubicBezTo>
                    <a:cubicBezTo>
                      <a:pt x="3062" y="1680"/>
                      <a:pt x="3039" y="1674"/>
                      <a:pt x="3030" y="1663"/>
                    </a:cubicBezTo>
                    <a:cubicBezTo>
                      <a:pt x="3022" y="1651"/>
                      <a:pt x="3013" y="1644"/>
                      <a:pt x="3000" y="1641"/>
                    </a:cubicBezTo>
                    <a:cubicBezTo>
                      <a:pt x="2987" y="1638"/>
                      <a:pt x="2992" y="1617"/>
                      <a:pt x="2989" y="1600"/>
                    </a:cubicBezTo>
                    <a:cubicBezTo>
                      <a:pt x="2986" y="1582"/>
                      <a:pt x="2970" y="1578"/>
                      <a:pt x="2970" y="1570"/>
                    </a:cubicBezTo>
                    <a:cubicBezTo>
                      <a:pt x="2970" y="1561"/>
                      <a:pt x="2960" y="1550"/>
                      <a:pt x="2954" y="1525"/>
                    </a:cubicBezTo>
                    <a:cubicBezTo>
                      <a:pt x="2949" y="1501"/>
                      <a:pt x="2934" y="1505"/>
                      <a:pt x="2914" y="1499"/>
                    </a:cubicBezTo>
                    <a:cubicBezTo>
                      <a:pt x="2894" y="1494"/>
                      <a:pt x="2888" y="1485"/>
                      <a:pt x="2886" y="1471"/>
                    </a:cubicBezTo>
                    <a:cubicBezTo>
                      <a:pt x="2883" y="1456"/>
                      <a:pt x="2896" y="1459"/>
                      <a:pt x="2903" y="1438"/>
                    </a:cubicBezTo>
                    <a:cubicBezTo>
                      <a:pt x="2910" y="1416"/>
                      <a:pt x="2929" y="1423"/>
                      <a:pt x="2939" y="1399"/>
                    </a:cubicBezTo>
                    <a:cubicBezTo>
                      <a:pt x="2949" y="1375"/>
                      <a:pt x="2953" y="1383"/>
                      <a:pt x="2969" y="1382"/>
                    </a:cubicBezTo>
                    <a:cubicBezTo>
                      <a:pt x="2984" y="1380"/>
                      <a:pt x="2983" y="1372"/>
                      <a:pt x="2987" y="1357"/>
                    </a:cubicBezTo>
                    <a:cubicBezTo>
                      <a:pt x="2992" y="1343"/>
                      <a:pt x="3002" y="1340"/>
                      <a:pt x="3019" y="1339"/>
                    </a:cubicBezTo>
                    <a:cubicBezTo>
                      <a:pt x="3036" y="1337"/>
                      <a:pt x="3039" y="1336"/>
                      <a:pt x="3049" y="1329"/>
                    </a:cubicBezTo>
                    <a:cubicBezTo>
                      <a:pt x="3059" y="1322"/>
                      <a:pt x="3060" y="1319"/>
                      <a:pt x="3076" y="1330"/>
                    </a:cubicBezTo>
                    <a:cubicBezTo>
                      <a:pt x="3092" y="1342"/>
                      <a:pt x="3092" y="1317"/>
                      <a:pt x="3096" y="1307"/>
                    </a:cubicBezTo>
                    <a:cubicBezTo>
                      <a:pt x="3101" y="1297"/>
                      <a:pt x="3098" y="1293"/>
                      <a:pt x="3088" y="1286"/>
                    </a:cubicBezTo>
                    <a:cubicBezTo>
                      <a:pt x="3078" y="1279"/>
                      <a:pt x="3059" y="1280"/>
                      <a:pt x="3048" y="1284"/>
                    </a:cubicBezTo>
                    <a:cubicBezTo>
                      <a:pt x="3036" y="1289"/>
                      <a:pt x="3017" y="1281"/>
                      <a:pt x="3009" y="1270"/>
                    </a:cubicBezTo>
                    <a:cubicBezTo>
                      <a:pt x="3000" y="1259"/>
                      <a:pt x="2977" y="1253"/>
                      <a:pt x="2967" y="1257"/>
                    </a:cubicBezTo>
                    <a:cubicBezTo>
                      <a:pt x="2957" y="1261"/>
                      <a:pt x="2936" y="1280"/>
                      <a:pt x="2924" y="1296"/>
                    </a:cubicBezTo>
                    <a:cubicBezTo>
                      <a:pt x="2913" y="1312"/>
                      <a:pt x="2881" y="1306"/>
                      <a:pt x="2873" y="1299"/>
                    </a:cubicBezTo>
                    <a:cubicBezTo>
                      <a:pt x="2864" y="1292"/>
                      <a:pt x="2870" y="1279"/>
                      <a:pt x="2874" y="1267"/>
                    </a:cubicBezTo>
                    <a:cubicBezTo>
                      <a:pt x="2878" y="1256"/>
                      <a:pt x="2871" y="1251"/>
                      <a:pt x="2866" y="1243"/>
                    </a:cubicBezTo>
                    <a:cubicBezTo>
                      <a:pt x="2860" y="1234"/>
                      <a:pt x="2847" y="1231"/>
                      <a:pt x="2844" y="1243"/>
                    </a:cubicBezTo>
                    <a:cubicBezTo>
                      <a:pt x="2841" y="1254"/>
                      <a:pt x="2824" y="1230"/>
                      <a:pt x="2810" y="1233"/>
                    </a:cubicBezTo>
                    <a:cubicBezTo>
                      <a:pt x="2795" y="1236"/>
                      <a:pt x="2791" y="1224"/>
                      <a:pt x="2778" y="1208"/>
                    </a:cubicBezTo>
                    <a:cubicBezTo>
                      <a:pt x="2765" y="1193"/>
                      <a:pt x="2785" y="1178"/>
                      <a:pt x="2787" y="1164"/>
                    </a:cubicBezTo>
                    <a:cubicBezTo>
                      <a:pt x="2788" y="1150"/>
                      <a:pt x="2837" y="1161"/>
                      <a:pt x="2863" y="1157"/>
                    </a:cubicBezTo>
                    <a:cubicBezTo>
                      <a:pt x="2888" y="1152"/>
                      <a:pt x="2884" y="1137"/>
                      <a:pt x="2893" y="1118"/>
                    </a:cubicBezTo>
                    <a:cubicBezTo>
                      <a:pt x="2901" y="1099"/>
                      <a:pt x="2924" y="1097"/>
                      <a:pt x="2941" y="1089"/>
                    </a:cubicBezTo>
                    <a:cubicBezTo>
                      <a:pt x="2959" y="1082"/>
                      <a:pt x="2959" y="1072"/>
                      <a:pt x="2972" y="1062"/>
                    </a:cubicBezTo>
                    <a:cubicBezTo>
                      <a:pt x="2984" y="1052"/>
                      <a:pt x="2995" y="1044"/>
                      <a:pt x="3006" y="1031"/>
                    </a:cubicBezTo>
                    <a:cubicBezTo>
                      <a:pt x="3017" y="1018"/>
                      <a:pt x="3032" y="1044"/>
                      <a:pt x="3035" y="1032"/>
                    </a:cubicBezTo>
                    <a:cubicBezTo>
                      <a:pt x="3038" y="1021"/>
                      <a:pt x="3046" y="1029"/>
                      <a:pt x="3053" y="1034"/>
                    </a:cubicBezTo>
                    <a:cubicBezTo>
                      <a:pt x="3060" y="1038"/>
                      <a:pt x="3070" y="1045"/>
                      <a:pt x="3069" y="1061"/>
                    </a:cubicBezTo>
                    <a:cubicBezTo>
                      <a:pt x="3068" y="1077"/>
                      <a:pt x="3055" y="1092"/>
                      <a:pt x="3032" y="1105"/>
                    </a:cubicBezTo>
                    <a:cubicBezTo>
                      <a:pt x="3009" y="1118"/>
                      <a:pt x="3022" y="1132"/>
                      <a:pt x="3029" y="1132"/>
                    </a:cubicBezTo>
                    <a:cubicBezTo>
                      <a:pt x="3036" y="1132"/>
                      <a:pt x="3040" y="1141"/>
                      <a:pt x="3032" y="1155"/>
                    </a:cubicBezTo>
                    <a:cubicBezTo>
                      <a:pt x="3023" y="1170"/>
                      <a:pt x="3006" y="1164"/>
                      <a:pt x="2999" y="1177"/>
                    </a:cubicBezTo>
                    <a:cubicBezTo>
                      <a:pt x="2992" y="1190"/>
                      <a:pt x="3007" y="1194"/>
                      <a:pt x="3023" y="1181"/>
                    </a:cubicBezTo>
                    <a:cubicBezTo>
                      <a:pt x="3039" y="1168"/>
                      <a:pt x="3058" y="1164"/>
                      <a:pt x="3065" y="1155"/>
                    </a:cubicBezTo>
                    <a:cubicBezTo>
                      <a:pt x="3072" y="1147"/>
                      <a:pt x="3098" y="1140"/>
                      <a:pt x="3116" y="1125"/>
                    </a:cubicBezTo>
                    <a:cubicBezTo>
                      <a:pt x="3135" y="1111"/>
                      <a:pt x="3154" y="1105"/>
                      <a:pt x="3168" y="1104"/>
                    </a:cubicBezTo>
                    <a:cubicBezTo>
                      <a:pt x="3175" y="1103"/>
                      <a:pt x="3185" y="1103"/>
                      <a:pt x="3198" y="1106"/>
                    </a:cubicBezTo>
                    <a:cubicBezTo>
                      <a:pt x="3200" y="1094"/>
                      <a:pt x="3206" y="1086"/>
                      <a:pt x="3214" y="107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1" name="Freeform 335">
                <a:extLst>
                  <a:ext uri="{FF2B5EF4-FFF2-40B4-BE49-F238E27FC236}">
                    <a16:creationId xmlns:a16="http://schemas.microsoft.com/office/drawing/2014/main" id="{9F79555D-B5D3-EA45-BA41-F064FD71D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3" y="2107"/>
                <a:ext cx="144" cy="311"/>
              </a:xfrm>
              <a:custGeom>
                <a:avLst/>
                <a:gdLst>
                  <a:gd name="T0" fmla="*/ 459 w 569"/>
                  <a:gd name="T1" fmla="*/ 1149 h 1232"/>
                  <a:gd name="T2" fmla="*/ 460 w 569"/>
                  <a:gd name="T3" fmla="*/ 1064 h 1232"/>
                  <a:gd name="T4" fmla="*/ 422 w 569"/>
                  <a:gd name="T5" fmla="*/ 966 h 1232"/>
                  <a:gd name="T6" fmla="*/ 391 w 569"/>
                  <a:gd name="T7" fmla="*/ 895 h 1232"/>
                  <a:gd name="T8" fmla="*/ 428 w 569"/>
                  <a:gd name="T9" fmla="*/ 830 h 1232"/>
                  <a:gd name="T10" fmla="*/ 381 w 569"/>
                  <a:gd name="T11" fmla="*/ 759 h 1232"/>
                  <a:gd name="T12" fmla="*/ 342 w 569"/>
                  <a:gd name="T13" fmla="*/ 677 h 1232"/>
                  <a:gd name="T14" fmla="*/ 402 w 569"/>
                  <a:gd name="T15" fmla="*/ 599 h 1232"/>
                  <a:gd name="T16" fmla="*/ 481 w 569"/>
                  <a:gd name="T17" fmla="*/ 559 h 1232"/>
                  <a:gd name="T18" fmla="*/ 488 w 569"/>
                  <a:gd name="T19" fmla="*/ 559 h 1232"/>
                  <a:gd name="T20" fmla="*/ 503 w 569"/>
                  <a:gd name="T21" fmla="*/ 557 h 1232"/>
                  <a:gd name="T22" fmla="*/ 506 w 569"/>
                  <a:gd name="T23" fmla="*/ 556 h 1232"/>
                  <a:gd name="T24" fmla="*/ 508 w 569"/>
                  <a:gd name="T25" fmla="*/ 554 h 1232"/>
                  <a:gd name="T26" fmla="*/ 510 w 569"/>
                  <a:gd name="T27" fmla="*/ 551 h 1232"/>
                  <a:gd name="T28" fmla="*/ 511 w 569"/>
                  <a:gd name="T29" fmla="*/ 548 h 1232"/>
                  <a:gd name="T30" fmla="*/ 524 w 569"/>
                  <a:gd name="T31" fmla="*/ 526 h 1232"/>
                  <a:gd name="T32" fmla="*/ 569 w 569"/>
                  <a:gd name="T33" fmla="*/ 462 h 1232"/>
                  <a:gd name="T34" fmla="*/ 544 w 569"/>
                  <a:gd name="T35" fmla="*/ 481 h 1232"/>
                  <a:gd name="T36" fmla="*/ 493 w 569"/>
                  <a:gd name="T37" fmla="*/ 448 h 1232"/>
                  <a:gd name="T38" fmla="*/ 453 w 569"/>
                  <a:gd name="T39" fmla="*/ 422 h 1232"/>
                  <a:gd name="T40" fmla="*/ 444 w 569"/>
                  <a:gd name="T41" fmla="*/ 377 h 1232"/>
                  <a:gd name="T42" fmla="*/ 423 w 569"/>
                  <a:gd name="T43" fmla="*/ 323 h 1232"/>
                  <a:gd name="T44" fmla="*/ 382 w 569"/>
                  <a:gd name="T45" fmla="*/ 308 h 1232"/>
                  <a:gd name="T46" fmla="*/ 352 w 569"/>
                  <a:gd name="T47" fmla="*/ 293 h 1232"/>
                  <a:gd name="T48" fmla="*/ 358 w 569"/>
                  <a:gd name="T49" fmla="*/ 243 h 1232"/>
                  <a:gd name="T50" fmla="*/ 414 w 569"/>
                  <a:gd name="T51" fmla="*/ 183 h 1232"/>
                  <a:gd name="T52" fmla="*/ 418 w 569"/>
                  <a:gd name="T53" fmla="*/ 108 h 1232"/>
                  <a:gd name="T54" fmla="*/ 383 w 569"/>
                  <a:gd name="T55" fmla="*/ 48 h 1232"/>
                  <a:gd name="T56" fmla="*/ 340 w 569"/>
                  <a:gd name="T57" fmla="*/ 10 h 1232"/>
                  <a:gd name="T58" fmla="*/ 315 w 569"/>
                  <a:gd name="T59" fmla="*/ 51 h 1232"/>
                  <a:gd name="T60" fmla="*/ 298 w 569"/>
                  <a:gd name="T61" fmla="*/ 96 h 1232"/>
                  <a:gd name="T62" fmla="*/ 207 w 569"/>
                  <a:gd name="T63" fmla="*/ 131 h 1232"/>
                  <a:gd name="T64" fmla="*/ 186 w 569"/>
                  <a:gd name="T65" fmla="*/ 193 h 1232"/>
                  <a:gd name="T66" fmla="*/ 153 w 569"/>
                  <a:gd name="T67" fmla="*/ 231 h 1232"/>
                  <a:gd name="T68" fmla="*/ 151 w 569"/>
                  <a:gd name="T69" fmla="*/ 275 h 1232"/>
                  <a:gd name="T70" fmla="*/ 121 w 569"/>
                  <a:gd name="T71" fmla="*/ 328 h 1232"/>
                  <a:gd name="T72" fmla="*/ 81 w 569"/>
                  <a:gd name="T73" fmla="*/ 321 h 1232"/>
                  <a:gd name="T74" fmla="*/ 65 w 569"/>
                  <a:gd name="T75" fmla="*/ 384 h 1232"/>
                  <a:gd name="T76" fmla="*/ 71 w 569"/>
                  <a:gd name="T77" fmla="*/ 431 h 1232"/>
                  <a:gd name="T78" fmla="*/ 30 w 569"/>
                  <a:gd name="T79" fmla="*/ 444 h 1232"/>
                  <a:gd name="T80" fmla="*/ 31 w 569"/>
                  <a:gd name="T81" fmla="*/ 446 h 1232"/>
                  <a:gd name="T82" fmla="*/ 29 w 569"/>
                  <a:gd name="T83" fmla="*/ 458 h 1232"/>
                  <a:gd name="T84" fmla="*/ 29 w 569"/>
                  <a:gd name="T85" fmla="*/ 463 h 1232"/>
                  <a:gd name="T86" fmla="*/ 31 w 569"/>
                  <a:gd name="T87" fmla="*/ 479 h 1232"/>
                  <a:gd name="T88" fmla="*/ 0 w 569"/>
                  <a:gd name="T89" fmla="*/ 516 h 1232"/>
                  <a:gd name="T90" fmla="*/ 97 w 569"/>
                  <a:gd name="T91" fmla="*/ 600 h 1232"/>
                  <a:gd name="T92" fmla="*/ 91 w 569"/>
                  <a:gd name="T93" fmla="*/ 661 h 1232"/>
                  <a:gd name="T94" fmla="*/ 147 w 569"/>
                  <a:gd name="T95" fmla="*/ 725 h 1232"/>
                  <a:gd name="T96" fmla="*/ 133 w 569"/>
                  <a:gd name="T97" fmla="*/ 843 h 1232"/>
                  <a:gd name="T98" fmla="*/ 186 w 569"/>
                  <a:gd name="T99" fmla="*/ 861 h 1232"/>
                  <a:gd name="T100" fmla="*/ 277 w 569"/>
                  <a:gd name="T101" fmla="*/ 817 h 1232"/>
                  <a:gd name="T102" fmla="*/ 326 w 569"/>
                  <a:gd name="T103" fmla="*/ 788 h 1232"/>
                  <a:gd name="T104" fmla="*/ 355 w 569"/>
                  <a:gd name="T105" fmla="*/ 881 h 1232"/>
                  <a:gd name="T106" fmla="*/ 396 w 569"/>
                  <a:gd name="T107" fmla="*/ 1007 h 1232"/>
                  <a:gd name="T108" fmla="*/ 402 w 569"/>
                  <a:gd name="T109" fmla="*/ 1096 h 1232"/>
                  <a:gd name="T110" fmla="*/ 392 w 569"/>
                  <a:gd name="T111" fmla="*/ 1136 h 1232"/>
                  <a:gd name="T112" fmla="*/ 406 w 569"/>
                  <a:gd name="T113" fmla="*/ 1228 h 1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69" h="1232">
                    <a:moveTo>
                      <a:pt x="419" y="1215"/>
                    </a:moveTo>
                    <a:cubicBezTo>
                      <a:pt x="419" y="1200"/>
                      <a:pt x="421" y="1186"/>
                      <a:pt x="432" y="1178"/>
                    </a:cubicBezTo>
                    <a:cubicBezTo>
                      <a:pt x="443" y="1170"/>
                      <a:pt x="454" y="1164"/>
                      <a:pt x="459" y="1149"/>
                    </a:cubicBezTo>
                    <a:cubicBezTo>
                      <a:pt x="465" y="1135"/>
                      <a:pt x="474" y="1143"/>
                      <a:pt x="473" y="1128"/>
                    </a:cubicBezTo>
                    <a:cubicBezTo>
                      <a:pt x="472" y="1112"/>
                      <a:pt x="476" y="1103"/>
                      <a:pt x="469" y="1098"/>
                    </a:cubicBezTo>
                    <a:cubicBezTo>
                      <a:pt x="462" y="1093"/>
                      <a:pt x="470" y="1069"/>
                      <a:pt x="460" y="1064"/>
                    </a:cubicBezTo>
                    <a:cubicBezTo>
                      <a:pt x="449" y="1058"/>
                      <a:pt x="445" y="1058"/>
                      <a:pt x="448" y="1042"/>
                    </a:cubicBezTo>
                    <a:cubicBezTo>
                      <a:pt x="451" y="1026"/>
                      <a:pt x="453" y="999"/>
                      <a:pt x="447" y="990"/>
                    </a:cubicBezTo>
                    <a:cubicBezTo>
                      <a:pt x="441" y="982"/>
                      <a:pt x="428" y="970"/>
                      <a:pt x="422" y="966"/>
                    </a:cubicBezTo>
                    <a:cubicBezTo>
                      <a:pt x="415" y="961"/>
                      <a:pt x="401" y="943"/>
                      <a:pt x="398" y="936"/>
                    </a:cubicBezTo>
                    <a:cubicBezTo>
                      <a:pt x="395" y="929"/>
                      <a:pt x="392" y="920"/>
                      <a:pt x="388" y="917"/>
                    </a:cubicBezTo>
                    <a:cubicBezTo>
                      <a:pt x="383" y="913"/>
                      <a:pt x="379" y="897"/>
                      <a:pt x="391" y="895"/>
                    </a:cubicBezTo>
                    <a:cubicBezTo>
                      <a:pt x="403" y="893"/>
                      <a:pt x="411" y="887"/>
                      <a:pt x="410" y="872"/>
                    </a:cubicBezTo>
                    <a:cubicBezTo>
                      <a:pt x="410" y="858"/>
                      <a:pt x="403" y="847"/>
                      <a:pt x="412" y="843"/>
                    </a:cubicBezTo>
                    <a:cubicBezTo>
                      <a:pt x="421" y="839"/>
                      <a:pt x="428" y="841"/>
                      <a:pt x="428" y="830"/>
                    </a:cubicBezTo>
                    <a:cubicBezTo>
                      <a:pt x="428" y="820"/>
                      <a:pt x="424" y="821"/>
                      <a:pt x="417" y="815"/>
                    </a:cubicBezTo>
                    <a:cubicBezTo>
                      <a:pt x="410" y="808"/>
                      <a:pt x="402" y="793"/>
                      <a:pt x="400" y="785"/>
                    </a:cubicBezTo>
                    <a:cubicBezTo>
                      <a:pt x="397" y="776"/>
                      <a:pt x="394" y="769"/>
                      <a:pt x="381" y="759"/>
                    </a:cubicBezTo>
                    <a:cubicBezTo>
                      <a:pt x="368" y="748"/>
                      <a:pt x="353" y="736"/>
                      <a:pt x="353" y="724"/>
                    </a:cubicBezTo>
                    <a:cubicBezTo>
                      <a:pt x="353" y="712"/>
                      <a:pt x="353" y="697"/>
                      <a:pt x="346" y="693"/>
                    </a:cubicBezTo>
                    <a:cubicBezTo>
                      <a:pt x="339" y="688"/>
                      <a:pt x="332" y="679"/>
                      <a:pt x="342" y="677"/>
                    </a:cubicBezTo>
                    <a:cubicBezTo>
                      <a:pt x="352" y="675"/>
                      <a:pt x="359" y="679"/>
                      <a:pt x="359" y="662"/>
                    </a:cubicBezTo>
                    <a:cubicBezTo>
                      <a:pt x="359" y="645"/>
                      <a:pt x="359" y="609"/>
                      <a:pt x="372" y="602"/>
                    </a:cubicBezTo>
                    <a:cubicBezTo>
                      <a:pt x="385" y="596"/>
                      <a:pt x="388" y="595"/>
                      <a:pt x="402" y="599"/>
                    </a:cubicBezTo>
                    <a:cubicBezTo>
                      <a:pt x="416" y="603"/>
                      <a:pt x="425" y="602"/>
                      <a:pt x="433" y="591"/>
                    </a:cubicBezTo>
                    <a:cubicBezTo>
                      <a:pt x="441" y="580"/>
                      <a:pt x="448" y="576"/>
                      <a:pt x="456" y="575"/>
                    </a:cubicBezTo>
                    <a:cubicBezTo>
                      <a:pt x="465" y="574"/>
                      <a:pt x="465" y="560"/>
                      <a:pt x="481" y="559"/>
                    </a:cubicBezTo>
                    <a:cubicBezTo>
                      <a:pt x="482" y="559"/>
                      <a:pt x="484" y="559"/>
                      <a:pt x="485" y="559"/>
                    </a:cubicBezTo>
                    <a:cubicBezTo>
                      <a:pt x="485" y="559"/>
                      <a:pt x="486" y="559"/>
                      <a:pt x="486" y="559"/>
                    </a:cubicBezTo>
                    <a:cubicBezTo>
                      <a:pt x="487" y="559"/>
                      <a:pt x="487" y="559"/>
                      <a:pt x="488" y="559"/>
                    </a:cubicBezTo>
                    <a:cubicBezTo>
                      <a:pt x="493" y="558"/>
                      <a:pt x="497" y="558"/>
                      <a:pt x="501" y="558"/>
                    </a:cubicBezTo>
                    <a:cubicBezTo>
                      <a:pt x="501" y="558"/>
                      <a:pt x="501" y="558"/>
                      <a:pt x="501" y="558"/>
                    </a:cubicBezTo>
                    <a:cubicBezTo>
                      <a:pt x="502" y="557"/>
                      <a:pt x="502" y="557"/>
                      <a:pt x="503" y="557"/>
                    </a:cubicBezTo>
                    <a:cubicBezTo>
                      <a:pt x="503" y="557"/>
                      <a:pt x="503" y="557"/>
                      <a:pt x="503" y="557"/>
                    </a:cubicBezTo>
                    <a:cubicBezTo>
                      <a:pt x="504" y="557"/>
                      <a:pt x="505" y="556"/>
                      <a:pt x="505" y="556"/>
                    </a:cubicBezTo>
                    <a:cubicBezTo>
                      <a:pt x="506" y="556"/>
                      <a:pt x="506" y="556"/>
                      <a:pt x="506" y="556"/>
                    </a:cubicBezTo>
                    <a:cubicBezTo>
                      <a:pt x="506" y="555"/>
                      <a:pt x="507" y="555"/>
                      <a:pt x="507" y="555"/>
                    </a:cubicBezTo>
                    <a:cubicBezTo>
                      <a:pt x="507" y="555"/>
                      <a:pt x="507" y="555"/>
                      <a:pt x="508" y="555"/>
                    </a:cubicBezTo>
                    <a:cubicBezTo>
                      <a:pt x="508" y="554"/>
                      <a:pt x="508" y="554"/>
                      <a:pt x="508" y="554"/>
                    </a:cubicBezTo>
                    <a:cubicBezTo>
                      <a:pt x="508" y="554"/>
                      <a:pt x="509" y="554"/>
                      <a:pt x="509" y="553"/>
                    </a:cubicBezTo>
                    <a:cubicBezTo>
                      <a:pt x="509" y="553"/>
                      <a:pt x="509" y="553"/>
                      <a:pt x="510" y="552"/>
                    </a:cubicBezTo>
                    <a:cubicBezTo>
                      <a:pt x="510" y="552"/>
                      <a:pt x="510" y="552"/>
                      <a:pt x="510" y="551"/>
                    </a:cubicBezTo>
                    <a:cubicBezTo>
                      <a:pt x="510" y="551"/>
                      <a:pt x="511" y="551"/>
                      <a:pt x="511" y="550"/>
                    </a:cubicBezTo>
                    <a:cubicBezTo>
                      <a:pt x="511" y="550"/>
                      <a:pt x="511" y="550"/>
                      <a:pt x="511" y="549"/>
                    </a:cubicBezTo>
                    <a:cubicBezTo>
                      <a:pt x="511" y="549"/>
                      <a:pt x="511" y="549"/>
                      <a:pt x="511" y="548"/>
                    </a:cubicBezTo>
                    <a:cubicBezTo>
                      <a:pt x="512" y="548"/>
                      <a:pt x="512" y="548"/>
                      <a:pt x="512" y="547"/>
                    </a:cubicBezTo>
                    <a:cubicBezTo>
                      <a:pt x="512" y="546"/>
                      <a:pt x="512" y="546"/>
                      <a:pt x="512" y="545"/>
                    </a:cubicBezTo>
                    <a:cubicBezTo>
                      <a:pt x="515" y="529"/>
                      <a:pt x="515" y="531"/>
                      <a:pt x="524" y="526"/>
                    </a:cubicBezTo>
                    <a:cubicBezTo>
                      <a:pt x="534" y="521"/>
                      <a:pt x="541" y="519"/>
                      <a:pt x="544" y="509"/>
                    </a:cubicBezTo>
                    <a:cubicBezTo>
                      <a:pt x="547" y="498"/>
                      <a:pt x="548" y="496"/>
                      <a:pt x="555" y="490"/>
                    </a:cubicBezTo>
                    <a:cubicBezTo>
                      <a:pt x="561" y="485"/>
                      <a:pt x="566" y="474"/>
                      <a:pt x="569" y="462"/>
                    </a:cubicBezTo>
                    <a:cubicBezTo>
                      <a:pt x="569" y="462"/>
                      <a:pt x="569" y="462"/>
                      <a:pt x="568" y="462"/>
                    </a:cubicBezTo>
                    <a:cubicBezTo>
                      <a:pt x="564" y="463"/>
                      <a:pt x="561" y="466"/>
                      <a:pt x="556" y="472"/>
                    </a:cubicBezTo>
                    <a:cubicBezTo>
                      <a:pt x="551" y="477"/>
                      <a:pt x="547" y="475"/>
                      <a:pt x="544" y="481"/>
                    </a:cubicBezTo>
                    <a:cubicBezTo>
                      <a:pt x="541" y="487"/>
                      <a:pt x="528" y="484"/>
                      <a:pt x="516" y="484"/>
                    </a:cubicBezTo>
                    <a:cubicBezTo>
                      <a:pt x="504" y="484"/>
                      <a:pt x="507" y="476"/>
                      <a:pt x="503" y="468"/>
                    </a:cubicBezTo>
                    <a:cubicBezTo>
                      <a:pt x="499" y="459"/>
                      <a:pt x="496" y="456"/>
                      <a:pt x="493" y="448"/>
                    </a:cubicBezTo>
                    <a:cubicBezTo>
                      <a:pt x="489" y="441"/>
                      <a:pt x="469" y="442"/>
                      <a:pt x="461" y="443"/>
                    </a:cubicBezTo>
                    <a:cubicBezTo>
                      <a:pt x="452" y="443"/>
                      <a:pt x="454" y="438"/>
                      <a:pt x="448" y="435"/>
                    </a:cubicBezTo>
                    <a:cubicBezTo>
                      <a:pt x="442" y="432"/>
                      <a:pt x="449" y="424"/>
                      <a:pt x="453" y="422"/>
                    </a:cubicBezTo>
                    <a:cubicBezTo>
                      <a:pt x="457" y="420"/>
                      <a:pt x="460" y="414"/>
                      <a:pt x="458" y="406"/>
                    </a:cubicBezTo>
                    <a:cubicBezTo>
                      <a:pt x="456" y="398"/>
                      <a:pt x="466" y="398"/>
                      <a:pt x="469" y="386"/>
                    </a:cubicBezTo>
                    <a:cubicBezTo>
                      <a:pt x="472" y="373"/>
                      <a:pt x="454" y="377"/>
                      <a:pt x="444" y="377"/>
                    </a:cubicBezTo>
                    <a:cubicBezTo>
                      <a:pt x="435" y="376"/>
                      <a:pt x="433" y="372"/>
                      <a:pt x="432" y="362"/>
                    </a:cubicBezTo>
                    <a:cubicBezTo>
                      <a:pt x="430" y="351"/>
                      <a:pt x="428" y="353"/>
                      <a:pt x="425" y="343"/>
                    </a:cubicBezTo>
                    <a:cubicBezTo>
                      <a:pt x="421" y="334"/>
                      <a:pt x="420" y="332"/>
                      <a:pt x="423" y="323"/>
                    </a:cubicBezTo>
                    <a:cubicBezTo>
                      <a:pt x="426" y="313"/>
                      <a:pt x="430" y="296"/>
                      <a:pt x="423" y="302"/>
                    </a:cubicBezTo>
                    <a:cubicBezTo>
                      <a:pt x="416" y="307"/>
                      <a:pt x="403" y="308"/>
                      <a:pt x="398" y="304"/>
                    </a:cubicBezTo>
                    <a:cubicBezTo>
                      <a:pt x="393" y="301"/>
                      <a:pt x="387" y="308"/>
                      <a:pt x="382" y="308"/>
                    </a:cubicBezTo>
                    <a:cubicBezTo>
                      <a:pt x="377" y="308"/>
                      <a:pt x="369" y="311"/>
                      <a:pt x="366" y="316"/>
                    </a:cubicBezTo>
                    <a:cubicBezTo>
                      <a:pt x="362" y="321"/>
                      <a:pt x="355" y="321"/>
                      <a:pt x="352" y="320"/>
                    </a:cubicBezTo>
                    <a:cubicBezTo>
                      <a:pt x="348" y="318"/>
                      <a:pt x="354" y="302"/>
                      <a:pt x="352" y="293"/>
                    </a:cubicBezTo>
                    <a:cubicBezTo>
                      <a:pt x="351" y="284"/>
                      <a:pt x="351" y="284"/>
                      <a:pt x="347" y="277"/>
                    </a:cubicBezTo>
                    <a:cubicBezTo>
                      <a:pt x="344" y="270"/>
                      <a:pt x="342" y="268"/>
                      <a:pt x="348" y="263"/>
                    </a:cubicBezTo>
                    <a:cubicBezTo>
                      <a:pt x="354" y="259"/>
                      <a:pt x="354" y="251"/>
                      <a:pt x="358" y="243"/>
                    </a:cubicBezTo>
                    <a:cubicBezTo>
                      <a:pt x="362" y="234"/>
                      <a:pt x="371" y="230"/>
                      <a:pt x="378" y="220"/>
                    </a:cubicBezTo>
                    <a:cubicBezTo>
                      <a:pt x="386" y="210"/>
                      <a:pt x="387" y="208"/>
                      <a:pt x="398" y="203"/>
                    </a:cubicBezTo>
                    <a:cubicBezTo>
                      <a:pt x="408" y="198"/>
                      <a:pt x="409" y="189"/>
                      <a:pt x="414" y="183"/>
                    </a:cubicBezTo>
                    <a:cubicBezTo>
                      <a:pt x="419" y="177"/>
                      <a:pt x="416" y="159"/>
                      <a:pt x="416" y="148"/>
                    </a:cubicBezTo>
                    <a:cubicBezTo>
                      <a:pt x="416" y="137"/>
                      <a:pt x="420" y="137"/>
                      <a:pt x="422" y="129"/>
                    </a:cubicBezTo>
                    <a:cubicBezTo>
                      <a:pt x="423" y="122"/>
                      <a:pt x="421" y="115"/>
                      <a:pt x="418" y="108"/>
                    </a:cubicBezTo>
                    <a:cubicBezTo>
                      <a:pt x="415" y="101"/>
                      <a:pt x="419" y="89"/>
                      <a:pt x="419" y="80"/>
                    </a:cubicBezTo>
                    <a:cubicBezTo>
                      <a:pt x="419" y="72"/>
                      <a:pt x="403" y="70"/>
                      <a:pt x="394" y="68"/>
                    </a:cubicBezTo>
                    <a:cubicBezTo>
                      <a:pt x="386" y="67"/>
                      <a:pt x="383" y="56"/>
                      <a:pt x="383" y="48"/>
                    </a:cubicBezTo>
                    <a:cubicBezTo>
                      <a:pt x="383" y="40"/>
                      <a:pt x="382" y="30"/>
                      <a:pt x="375" y="25"/>
                    </a:cubicBezTo>
                    <a:cubicBezTo>
                      <a:pt x="368" y="21"/>
                      <a:pt x="365" y="21"/>
                      <a:pt x="360" y="10"/>
                    </a:cubicBezTo>
                    <a:cubicBezTo>
                      <a:pt x="355" y="0"/>
                      <a:pt x="343" y="5"/>
                      <a:pt x="340" y="10"/>
                    </a:cubicBezTo>
                    <a:cubicBezTo>
                      <a:pt x="337" y="14"/>
                      <a:pt x="334" y="19"/>
                      <a:pt x="330" y="20"/>
                    </a:cubicBezTo>
                    <a:cubicBezTo>
                      <a:pt x="330" y="25"/>
                      <a:pt x="329" y="29"/>
                      <a:pt x="329" y="34"/>
                    </a:cubicBezTo>
                    <a:cubicBezTo>
                      <a:pt x="329" y="43"/>
                      <a:pt x="327" y="48"/>
                      <a:pt x="315" y="51"/>
                    </a:cubicBezTo>
                    <a:cubicBezTo>
                      <a:pt x="304" y="54"/>
                      <a:pt x="303" y="62"/>
                      <a:pt x="301" y="73"/>
                    </a:cubicBezTo>
                    <a:cubicBezTo>
                      <a:pt x="299" y="85"/>
                      <a:pt x="311" y="85"/>
                      <a:pt x="312" y="93"/>
                    </a:cubicBezTo>
                    <a:cubicBezTo>
                      <a:pt x="312" y="101"/>
                      <a:pt x="304" y="106"/>
                      <a:pt x="298" y="96"/>
                    </a:cubicBezTo>
                    <a:cubicBezTo>
                      <a:pt x="291" y="85"/>
                      <a:pt x="279" y="89"/>
                      <a:pt x="271" y="89"/>
                    </a:cubicBezTo>
                    <a:cubicBezTo>
                      <a:pt x="263" y="89"/>
                      <a:pt x="244" y="92"/>
                      <a:pt x="238" y="104"/>
                    </a:cubicBezTo>
                    <a:cubicBezTo>
                      <a:pt x="231" y="117"/>
                      <a:pt x="222" y="130"/>
                      <a:pt x="207" y="131"/>
                    </a:cubicBezTo>
                    <a:cubicBezTo>
                      <a:pt x="193" y="132"/>
                      <a:pt x="189" y="145"/>
                      <a:pt x="187" y="158"/>
                    </a:cubicBezTo>
                    <a:cubicBezTo>
                      <a:pt x="184" y="170"/>
                      <a:pt x="186" y="167"/>
                      <a:pt x="192" y="174"/>
                    </a:cubicBezTo>
                    <a:cubicBezTo>
                      <a:pt x="198" y="181"/>
                      <a:pt x="187" y="184"/>
                      <a:pt x="186" y="193"/>
                    </a:cubicBezTo>
                    <a:cubicBezTo>
                      <a:pt x="186" y="202"/>
                      <a:pt x="175" y="210"/>
                      <a:pt x="170" y="211"/>
                    </a:cubicBezTo>
                    <a:cubicBezTo>
                      <a:pt x="166" y="212"/>
                      <a:pt x="159" y="212"/>
                      <a:pt x="159" y="221"/>
                    </a:cubicBezTo>
                    <a:cubicBezTo>
                      <a:pt x="158" y="229"/>
                      <a:pt x="154" y="227"/>
                      <a:pt x="153" y="231"/>
                    </a:cubicBezTo>
                    <a:cubicBezTo>
                      <a:pt x="153" y="236"/>
                      <a:pt x="158" y="236"/>
                      <a:pt x="163" y="241"/>
                    </a:cubicBezTo>
                    <a:cubicBezTo>
                      <a:pt x="169" y="245"/>
                      <a:pt x="160" y="249"/>
                      <a:pt x="160" y="256"/>
                    </a:cubicBezTo>
                    <a:cubicBezTo>
                      <a:pt x="159" y="263"/>
                      <a:pt x="163" y="274"/>
                      <a:pt x="151" y="275"/>
                    </a:cubicBezTo>
                    <a:cubicBezTo>
                      <a:pt x="138" y="277"/>
                      <a:pt x="152" y="292"/>
                      <a:pt x="138" y="293"/>
                    </a:cubicBezTo>
                    <a:cubicBezTo>
                      <a:pt x="124" y="293"/>
                      <a:pt x="129" y="310"/>
                      <a:pt x="130" y="319"/>
                    </a:cubicBezTo>
                    <a:cubicBezTo>
                      <a:pt x="130" y="328"/>
                      <a:pt x="122" y="332"/>
                      <a:pt x="121" y="328"/>
                    </a:cubicBezTo>
                    <a:cubicBezTo>
                      <a:pt x="120" y="323"/>
                      <a:pt x="117" y="316"/>
                      <a:pt x="105" y="316"/>
                    </a:cubicBezTo>
                    <a:cubicBezTo>
                      <a:pt x="93" y="317"/>
                      <a:pt x="94" y="309"/>
                      <a:pt x="83" y="309"/>
                    </a:cubicBezTo>
                    <a:cubicBezTo>
                      <a:pt x="73" y="309"/>
                      <a:pt x="75" y="317"/>
                      <a:pt x="81" y="321"/>
                    </a:cubicBezTo>
                    <a:cubicBezTo>
                      <a:pt x="86" y="325"/>
                      <a:pt x="87" y="331"/>
                      <a:pt x="82" y="334"/>
                    </a:cubicBezTo>
                    <a:cubicBezTo>
                      <a:pt x="76" y="337"/>
                      <a:pt x="78" y="356"/>
                      <a:pt x="78" y="366"/>
                    </a:cubicBezTo>
                    <a:cubicBezTo>
                      <a:pt x="78" y="377"/>
                      <a:pt x="72" y="380"/>
                      <a:pt x="65" y="384"/>
                    </a:cubicBezTo>
                    <a:cubicBezTo>
                      <a:pt x="57" y="387"/>
                      <a:pt x="59" y="400"/>
                      <a:pt x="59" y="408"/>
                    </a:cubicBezTo>
                    <a:cubicBezTo>
                      <a:pt x="59" y="417"/>
                      <a:pt x="60" y="417"/>
                      <a:pt x="65" y="417"/>
                    </a:cubicBezTo>
                    <a:cubicBezTo>
                      <a:pt x="69" y="417"/>
                      <a:pt x="71" y="424"/>
                      <a:pt x="71" y="431"/>
                    </a:cubicBezTo>
                    <a:cubicBezTo>
                      <a:pt x="71" y="437"/>
                      <a:pt x="60" y="436"/>
                      <a:pt x="59" y="444"/>
                    </a:cubicBezTo>
                    <a:cubicBezTo>
                      <a:pt x="59" y="452"/>
                      <a:pt x="51" y="449"/>
                      <a:pt x="42" y="446"/>
                    </a:cubicBezTo>
                    <a:cubicBezTo>
                      <a:pt x="38" y="444"/>
                      <a:pt x="34" y="444"/>
                      <a:pt x="30" y="444"/>
                    </a:cubicBezTo>
                    <a:cubicBezTo>
                      <a:pt x="30" y="444"/>
                      <a:pt x="30" y="444"/>
                      <a:pt x="30" y="444"/>
                    </a:cubicBezTo>
                    <a:cubicBezTo>
                      <a:pt x="30" y="444"/>
                      <a:pt x="31" y="445"/>
                      <a:pt x="31" y="446"/>
                    </a:cubicBezTo>
                    <a:cubicBezTo>
                      <a:pt x="31" y="446"/>
                      <a:pt x="31" y="446"/>
                      <a:pt x="31" y="446"/>
                    </a:cubicBezTo>
                    <a:cubicBezTo>
                      <a:pt x="31" y="449"/>
                      <a:pt x="30" y="453"/>
                      <a:pt x="30" y="456"/>
                    </a:cubicBezTo>
                    <a:cubicBezTo>
                      <a:pt x="30" y="456"/>
                      <a:pt x="30" y="456"/>
                      <a:pt x="30" y="456"/>
                    </a:cubicBezTo>
                    <a:cubicBezTo>
                      <a:pt x="29" y="457"/>
                      <a:pt x="29" y="458"/>
                      <a:pt x="29" y="458"/>
                    </a:cubicBezTo>
                    <a:cubicBezTo>
                      <a:pt x="29" y="459"/>
                      <a:pt x="29" y="460"/>
                      <a:pt x="29" y="460"/>
                    </a:cubicBezTo>
                    <a:cubicBezTo>
                      <a:pt x="29" y="460"/>
                      <a:pt x="29" y="461"/>
                      <a:pt x="29" y="461"/>
                    </a:cubicBezTo>
                    <a:cubicBezTo>
                      <a:pt x="29" y="462"/>
                      <a:pt x="29" y="462"/>
                      <a:pt x="29" y="463"/>
                    </a:cubicBezTo>
                    <a:cubicBezTo>
                      <a:pt x="29" y="463"/>
                      <a:pt x="29" y="463"/>
                      <a:pt x="29" y="463"/>
                    </a:cubicBezTo>
                    <a:cubicBezTo>
                      <a:pt x="29" y="464"/>
                      <a:pt x="29" y="464"/>
                      <a:pt x="29" y="465"/>
                    </a:cubicBezTo>
                    <a:cubicBezTo>
                      <a:pt x="31" y="469"/>
                      <a:pt x="25" y="473"/>
                      <a:pt x="31" y="479"/>
                    </a:cubicBezTo>
                    <a:cubicBezTo>
                      <a:pt x="38" y="486"/>
                      <a:pt x="41" y="496"/>
                      <a:pt x="34" y="495"/>
                    </a:cubicBezTo>
                    <a:cubicBezTo>
                      <a:pt x="27" y="495"/>
                      <a:pt x="13" y="490"/>
                      <a:pt x="11" y="494"/>
                    </a:cubicBezTo>
                    <a:cubicBezTo>
                      <a:pt x="10" y="498"/>
                      <a:pt x="12" y="511"/>
                      <a:pt x="0" y="516"/>
                    </a:cubicBezTo>
                    <a:cubicBezTo>
                      <a:pt x="10" y="535"/>
                      <a:pt x="40" y="565"/>
                      <a:pt x="55" y="579"/>
                    </a:cubicBezTo>
                    <a:cubicBezTo>
                      <a:pt x="72" y="595"/>
                      <a:pt x="70" y="593"/>
                      <a:pt x="71" y="583"/>
                    </a:cubicBezTo>
                    <a:cubicBezTo>
                      <a:pt x="72" y="573"/>
                      <a:pt x="84" y="592"/>
                      <a:pt x="97" y="600"/>
                    </a:cubicBezTo>
                    <a:cubicBezTo>
                      <a:pt x="110" y="609"/>
                      <a:pt x="101" y="616"/>
                      <a:pt x="92" y="623"/>
                    </a:cubicBezTo>
                    <a:cubicBezTo>
                      <a:pt x="84" y="630"/>
                      <a:pt x="88" y="630"/>
                      <a:pt x="97" y="639"/>
                    </a:cubicBezTo>
                    <a:cubicBezTo>
                      <a:pt x="105" y="648"/>
                      <a:pt x="85" y="650"/>
                      <a:pt x="91" y="661"/>
                    </a:cubicBezTo>
                    <a:cubicBezTo>
                      <a:pt x="97" y="671"/>
                      <a:pt x="108" y="649"/>
                      <a:pt x="118" y="652"/>
                    </a:cubicBezTo>
                    <a:cubicBezTo>
                      <a:pt x="128" y="655"/>
                      <a:pt x="128" y="675"/>
                      <a:pt x="133" y="695"/>
                    </a:cubicBezTo>
                    <a:cubicBezTo>
                      <a:pt x="137" y="715"/>
                      <a:pt x="147" y="714"/>
                      <a:pt x="147" y="725"/>
                    </a:cubicBezTo>
                    <a:cubicBezTo>
                      <a:pt x="147" y="736"/>
                      <a:pt x="147" y="749"/>
                      <a:pt x="148" y="768"/>
                    </a:cubicBezTo>
                    <a:cubicBezTo>
                      <a:pt x="150" y="787"/>
                      <a:pt x="135" y="792"/>
                      <a:pt x="135" y="802"/>
                    </a:cubicBezTo>
                    <a:cubicBezTo>
                      <a:pt x="135" y="812"/>
                      <a:pt x="133" y="831"/>
                      <a:pt x="133" y="843"/>
                    </a:cubicBezTo>
                    <a:cubicBezTo>
                      <a:pt x="133" y="854"/>
                      <a:pt x="150" y="860"/>
                      <a:pt x="153" y="853"/>
                    </a:cubicBezTo>
                    <a:cubicBezTo>
                      <a:pt x="156" y="845"/>
                      <a:pt x="160" y="847"/>
                      <a:pt x="167" y="857"/>
                    </a:cubicBezTo>
                    <a:cubicBezTo>
                      <a:pt x="174" y="867"/>
                      <a:pt x="180" y="874"/>
                      <a:pt x="186" y="861"/>
                    </a:cubicBezTo>
                    <a:cubicBezTo>
                      <a:pt x="191" y="848"/>
                      <a:pt x="196" y="863"/>
                      <a:pt x="207" y="863"/>
                    </a:cubicBezTo>
                    <a:cubicBezTo>
                      <a:pt x="219" y="863"/>
                      <a:pt x="227" y="853"/>
                      <a:pt x="239" y="835"/>
                    </a:cubicBezTo>
                    <a:cubicBezTo>
                      <a:pt x="250" y="818"/>
                      <a:pt x="266" y="818"/>
                      <a:pt x="277" y="817"/>
                    </a:cubicBezTo>
                    <a:cubicBezTo>
                      <a:pt x="289" y="815"/>
                      <a:pt x="289" y="802"/>
                      <a:pt x="293" y="802"/>
                    </a:cubicBezTo>
                    <a:cubicBezTo>
                      <a:pt x="297" y="802"/>
                      <a:pt x="302" y="784"/>
                      <a:pt x="306" y="771"/>
                    </a:cubicBezTo>
                    <a:cubicBezTo>
                      <a:pt x="310" y="758"/>
                      <a:pt x="326" y="778"/>
                      <a:pt x="326" y="788"/>
                    </a:cubicBezTo>
                    <a:cubicBezTo>
                      <a:pt x="326" y="798"/>
                      <a:pt x="329" y="800"/>
                      <a:pt x="333" y="811"/>
                    </a:cubicBezTo>
                    <a:cubicBezTo>
                      <a:pt x="338" y="822"/>
                      <a:pt x="346" y="820"/>
                      <a:pt x="346" y="837"/>
                    </a:cubicBezTo>
                    <a:cubicBezTo>
                      <a:pt x="346" y="854"/>
                      <a:pt x="355" y="861"/>
                      <a:pt x="355" y="881"/>
                    </a:cubicBezTo>
                    <a:cubicBezTo>
                      <a:pt x="355" y="901"/>
                      <a:pt x="355" y="908"/>
                      <a:pt x="360" y="923"/>
                    </a:cubicBezTo>
                    <a:cubicBezTo>
                      <a:pt x="366" y="937"/>
                      <a:pt x="372" y="944"/>
                      <a:pt x="373" y="970"/>
                    </a:cubicBezTo>
                    <a:cubicBezTo>
                      <a:pt x="375" y="996"/>
                      <a:pt x="385" y="996"/>
                      <a:pt x="396" y="1007"/>
                    </a:cubicBezTo>
                    <a:cubicBezTo>
                      <a:pt x="408" y="1019"/>
                      <a:pt x="402" y="1022"/>
                      <a:pt x="405" y="1042"/>
                    </a:cubicBezTo>
                    <a:cubicBezTo>
                      <a:pt x="408" y="1062"/>
                      <a:pt x="415" y="1070"/>
                      <a:pt x="415" y="1082"/>
                    </a:cubicBezTo>
                    <a:cubicBezTo>
                      <a:pt x="415" y="1093"/>
                      <a:pt x="412" y="1092"/>
                      <a:pt x="402" y="1096"/>
                    </a:cubicBezTo>
                    <a:cubicBezTo>
                      <a:pt x="392" y="1101"/>
                      <a:pt x="403" y="1106"/>
                      <a:pt x="403" y="1115"/>
                    </a:cubicBezTo>
                    <a:cubicBezTo>
                      <a:pt x="403" y="1123"/>
                      <a:pt x="393" y="1119"/>
                      <a:pt x="386" y="1119"/>
                    </a:cubicBezTo>
                    <a:cubicBezTo>
                      <a:pt x="379" y="1119"/>
                      <a:pt x="383" y="1136"/>
                      <a:pt x="392" y="1136"/>
                    </a:cubicBezTo>
                    <a:cubicBezTo>
                      <a:pt x="401" y="1136"/>
                      <a:pt x="398" y="1134"/>
                      <a:pt x="412" y="1139"/>
                    </a:cubicBezTo>
                    <a:cubicBezTo>
                      <a:pt x="426" y="1145"/>
                      <a:pt x="419" y="1161"/>
                      <a:pt x="408" y="1169"/>
                    </a:cubicBezTo>
                    <a:cubicBezTo>
                      <a:pt x="396" y="1178"/>
                      <a:pt x="405" y="1202"/>
                      <a:pt x="406" y="1228"/>
                    </a:cubicBezTo>
                    <a:cubicBezTo>
                      <a:pt x="406" y="1229"/>
                      <a:pt x="406" y="1231"/>
                      <a:pt x="407" y="1232"/>
                    </a:cubicBezTo>
                    <a:cubicBezTo>
                      <a:pt x="411" y="1230"/>
                      <a:pt x="419" y="1226"/>
                      <a:pt x="419" y="121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2" name="Freeform 336">
                <a:extLst>
                  <a:ext uri="{FF2B5EF4-FFF2-40B4-BE49-F238E27FC236}">
                    <a16:creationId xmlns:a16="http://schemas.microsoft.com/office/drawing/2014/main" id="{3D43565F-7204-F743-9996-A68232A4B1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1" y="2211"/>
                <a:ext cx="124" cy="147"/>
              </a:xfrm>
              <a:custGeom>
                <a:avLst/>
                <a:gdLst>
                  <a:gd name="T0" fmla="*/ 19 w 490"/>
                  <a:gd name="T1" fmla="*/ 113 h 580"/>
                  <a:gd name="T2" fmla="*/ 6 w 490"/>
                  <a:gd name="T3" fmla="*/ 135 h 580"/>
                  <a:gd name="T4" fmla="*/ 5 w 490"/>
                  <a:gd name="T5" fmla="*/ 138 h 580"/>
                  <a:gd name="T6" fmla="*/ 3 w 490"/>
                  <a:gd name="T7" fmla="*/ 141 h 580"/>
                  <a:gd name="T8" fmla="*/ 1 w 490"/>
                  <a:gd name="T9" fmla="*/ 143 h 580"/>
                  <a:gd name="T10" fmla="*/ 28 w 490"/>
                  <a:gd name="T11" fmla="*/ 160 h 580"/>
                  <a:gd name="T12" fmla="*/ 22 w 490"/>
                  <a:gd name="T13" fmla="*/ 194 h 580"/>
                  <a:gd name="T14" fmla="*/ 59 w 490"/>
                  <a:gd name="T15" fmla="*/ 193 h 580"/>
                  <a:gd name="T16" fmla="*/ 76 w 490"/>
                  <a:gd name="T17" fmla="*/ 230 h 580"/>
                  <a:gd name="T18" fmla="*/ 68 w 490"/>
                  <a:gd name="T19" fmla="*/ 284 h 580"/>
                  <a:gd name="T20" fmla="*/ 49 w 490"/>
                  <a:gd name="T21" fmla="*/ 322 h 580"/>
                  <a:gd name="T22" fmla="*/ 79 w 490"/>
                  <a:gd name="T23" fmla="*/ 333 h 580"/>
                  <a:gd name="T24" fmla="*/ 139 w 490"/>
                  <a:gd name="T25" fmla="*/ 291 h 580"/>
                  <a:gd name="T26" fmla="*/ 186 w 490"/>
                  <a:gd name="T27" fmla="*/ 301 h 580"/>
                  <a:gd name="T28" fmla="*/ 258 w 490"/>
                  <a:gd name="T29" fmla="*/ 298 h 580"/>
                  <a:gd name="T30" fmla="*/ 298 w 490"/>
                  <a:gd name="T31" fmla="*/ 368 h 580"/>
                  <a:gd name="T32" fmla="*/ 327 w 490"/>
                  <a:gd name="T33" fmla="*/ 428 h 580"/>
                  <a:gd name="T34" fmla="*/ 346 w 490"/>
                  <a:gd name="T35" fmla="*/ 481 h 580"/>
                  <a:gd name="T36" fmla="*/ 346 w 490"/>
                  <a:gd name="T37" fmla="*/ 529 h 580"/>
                  <a:gd name="T38" fmla="*/ 332 w 490"/>
                  <a:gd name="T39" fmla="*/ 544 h 580"/>
                  <a:gd name="T40" fmla="*/ 331 w 490"/>
                  <a:gd name="T41" fmla="*/ 544 h 580"/>
                  <a:gd name="T42" fmla="*/ 366 w 490"/>
                  <a:gd name="T43" fmla="*/ 565 h 580"/>
                  <a:gd name="T44" fmla="*/ 398 w 490"/>
                  <a:gd name="T45" fmla="*/ 528 h 580"/>
                  <a:gd name="T46" fmla="*/ 449 w 490"/>
                  <a:gd name="T47" fmla="*/ 534 h 580"/>
                  <a:gd name="T48" fmla="*/ 474 w 490"/>
                  <a:gd name="T49" fmla="*/ 510 h 580"/>
                  <a:gd name="T50" fmla="*/ 474 w 490"/>
                  <a:gd name="T51" fmla="*/ 509 h 580"/>
                  <a:gd name="T52" fmla="*/ 473 w 490"/>
                  <a:gd name="T53" fmla="*/ 507 h 580"/>
                  <a:gd name="T54" fmla="*/ 478 w 490"/>
                  <a:gd name="T55" fmla="*/ 476 h 580"/>
                  <a:gd name="T56" fmla="*/ 469 w 490"/>
                  <a:gd name="T57" fmla="*/ 438 h 580"/>
                  <a:gd name="T58" fmla="*/ 428 w 490"/>
                  <a:gd name="T59" fmla="*/ 399 h 580"/>
                  <a:gd name="T60" fmla="*/ 366 w 490"/>
                  <a:gd name="T61" fmla="*/ 327 h 580"/>
                  <a:gd name="T62" fmla="*/ 326 w 490"/>
                  <a:gd name="T63" fmla="*/ 260 h 580"/>
                  <a:gd name="T64" fmla="*/ 250 w 490"/>
                  <a:gd name="T65" fmla="*/ 218 h 580"/>
                  <a:gd name="T66" fmla="*/ 299 w 490"/>
                  <a:gd name="T67" fmla="*/ 179 h 580"/>
                  <a:gd name="T68" fmla="*/ 284 w 490"/>
                  <a:gd name="T69" fmla="*/ 143 h 580"/>
                  <a:gd name="T70" fmla="*/ 250 w 490"/>
                  <a:gd name="T71" fmla="*/ 108 h 580"/>
                  <a:gd name="T72" fmla="*/ 188 w 490"/>
                  <a:gd name="T73" fmla="*/ 96 h 580"/>
                  <a:gd name="T74" fmla="*/ 173 w 490"/>
                  <a:gd name="T75" fmla="*/ 52 h 580"/>
                  <a:gd name="T76" fmla="*/ 134 w 490"/>
                  <a:gd name="T77" fmla="*/ 3 h 580"/>
                  <a:gd name="T78" fmla="*/ 126 w 490"/>
                  <a:gd name="T79" fmla="*/ 3 h 580"/>
                  <a:gd name="T80" fmla="*/ 104 w 490"/>
                  <a:gd name="T81" fmla="*/ 0 h 580"/>
                  <a:gd name="T82" fmla="*/ 100 w 490"/>
                  <a:gd name="T83" fmla="*/ 39 h 580"/>
                  <a:gd name="T84" fmla="*/ 107 w 490"/>
                  <a:gd name="T85" fmla="*/ 85 h 580"/>
                  <a:gd name="T86" fmla="*/ 70 w 490"/>
                  <a:gd name="T87" fmla="*/ 61 h 580"/>
                  <a:gd name="T88" fmla="*/ 70 w 490"/>
                  <a:gd name="T89" fmla="*/ 57 h 580"/>
                  <a:gd name="T90" fmla="*/ 64 w 490"/>
                  <a:gd name="T91" fmla="*/ 49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90" h="580">
                    <a:moveTo>
                      <a:pt x="50" y="77"/>
                    </a:moveTo>
                    <a:cubicBezTo>
                      <a:pt x="43" y="83"/>
                      <a:pt x="42" y="85"/>
                      <a:pt x="39" y="96"/>
                    </a:cubicBezTo>
                    <a:cubicBezTo>
                      <a:pt x="36" y="106"/>
                      <a:pt x="29" y="108"/>
                      <a:pt x="19" y="113"/>
                    </a:cubicBezTo>
                    <a:cubicBezTo>
                      <a:pt x="10" y="118"/>
                      <a:pt x="10" y="116"/>
                      <a:pt x="7" y="132"/>
                    </a:cubicBezTo>
                    <a:cubicBezTo>
                      <a:pt x="7" y="133"/>
                      <a:pt x="7" y="133"/>
                      <a:pt x="7" y="134"/>
                    </a:cubicBezTo>
                    <a:cubicBezTo>
                      <a:pt x="7" y="135"/>
                      <a:pt x="7" y="135"/>
                      <a:pt x="6" y="135"/>
                    </a:cubicBezTo>
                    <a:cubicBezTo>
                      <a:pt x="6" y="136"/>
                      <a:pt x="6" y="136"/>
                      <a:pt x="6" y="136"/>
                    </a:cubicBezTo>
                    <a:cubicBezTo>
                      <a:pt x="6" y="137"/>
                      <a:pt x="6" y="137"/>
                      <a:pt x="6" y="137"/>
                    </a:cubicBezTo>
                    <a:cubicBezTo>
                      <a:pt x="6" y="138"/>
                      <a:pt x="5" y="138"/>
                      <a:pt x="5" y="138"/>
                    </a:cubicBezTo>
                    <a:cubicBezTo>
                      <a:pt x="5" y="139"/>
                      <a:pt x="5" y="139"/>
                      <a:pt x="5" y="139"/>
                    </a:cubicBezTo>
                    <a:cubicBezTo>
                      <a:pt x="4" y="140"/>
                      <a:pt x="4" y="140"/>
                      <a:pt x="4" y="140"/>
                    </a:cubicBezTo>
                    <a:cubicBezTo>
                      <a:pt x="4" y="141"/>
                      <a:pt x="3" y="141"/>
                      <a:pt x="3" y="141"/>
                    </a:cubicBezTo>
                    <a:cubicBezTo>
                      <a:pt x="3" y="141"/>
                      <a:pt x="3" y="141"/>
                      <a:pt x="3" y="142"/>
                    </a:cubicBezTo>
                    <a:cubicBezTo>
                      <a:pt x="2" y="142"/>
                      <a:pt x="2" y="142"/>
                      <a:pt x="2" y="142"/>
                    </a:cubicBezTo>
                    <a:cubicBezTo>
                      <a:pt x="2" y="142"/>
                      <a:pt x="1" y="142"/>
                      <a:pt x="1" y="143"/>
                    </a:cubicBezTo>
                    <a:cubicBezTo>
                      <a:pt x="1" y="143"/>
                      <a:pt x="1" y="143"/>
                      <a:pt x="0" y="143"/>
                    </a:cubicBezTo>
                    <a:cubicBezTo>
                      <a:pt x="2" y="146"/>
                      <a:pt x="5" y="149"/>
                      <a:pt x="11" y="148"/>
                    </a:cubicBezTo>
                    <a:cubicBezTo>
                      <a:pt x="25" y="147"/>
                      <a:pt x="26" y="157"/>
                      <a:pt x="28" y="160"/>
                    </a:cubicBezTo>
                    <a:cubicBezTo>
                      <a:pt x="30" y="162"/>
                      <a:pt x="39" y="162"/>
                      <a:pt x="31" y="170"/>
                    </a:cubicBezTo>
                    <a:cubicBezTo>
                      <a:pt x="23" y="178"/>
                      <a:pt x="23" y="178"/>
                      <a:pt x="23" y="182"/>
                    </a:cubicBezTo>
                    <a:cubicBezTo>
                      <a:pt x="23" y="187"/>
                      <a:pt x="13" y="187"/>
                      <a:pt x="22" y="194"/>
                    </a:cubicBezTo>
                    <a:cubicBezTo>
                      <a:pt x="30" y="200"/>
                      <a:pt x="30" y="206"/>
                      <a:pt x="38" y="205"/>
                    </a:cubicBezTo>
                    <a:cubicBezTo>
                      <a:pt x="47" y="204"/>
                      <a:pt x="50" y="205"/>
                      <a:pt x="50" y="200"/>
                    </a:cubicBezTo>
                    <a:cubicBezTo>
                      <a:pt x="50" y="194"/>
                      <a:pt x="54" y="193"/>
                      <a:pt x="59" y="193"/>
                    </a:cubicBezTo>
                    <a:cubicBezTo>
                      <a:pt x="64" y="193"/>
                      <a:pt x="68" y="194"/>
                      <a:pt x="68" y="200"/>
                    </a:cubicBezTo>
                    <a:cubicBezTo>
                      <a:pt x="68" y="206"/>
                      <a:pt x="73" y="212"/>
                      <a:pt x="75" y="214"/>
                    </a:cubicBezTo>
                    <a:cubicBezTo>
                      <a:pt x="77" y="215"/>
                      <a:pt x="76" y="224"/>
                      <a:pt x="76" y="230"/>
                    </a:cubicBezTo>
                    <a:cubicBezTo>
                      <a:pt x="76" y="237"/>
                      <a:pt x="79" y="253"/>
                      <a:pt x="74" y="256"/>
                    </a:cubicBezTo>
                    <a:cubicBezTo>
                      <a:pt x="68" y="258"/>
                      <a:pt x="64" y="262"/>
                      <a:pt x="64" y="267"/>
                    </a:cubicBezTo>
                    <a:cubicBezTo>
                      <a:pt x="65" y="272"/>
                      <a:pt x="64" y="282"/>
                      <a:pt x="68" y="284"/>
                    </a:cubicBezTo>
                    <a:cubicBezTo>
                      <a:pt x="72" y="287"/>
                      <a:pt x="73" y="293"/>
                      <a:pt x="70" y="298"/>
                    </a:cubicBezTo>
                    <a:cubicBezTo>
                      <a:pt x="66" y="302"/>
                      <a:pt x="59" y="306"/>
                      <a:pt x="59" y="310"/>
                    </a:cubicBezTo>
                    <a:cubicBezTo>
                      <a:pt x="59" y="314"/>
                      <a:pt x="52" y="318"/>
                      <a:pt x="49" y="322"/>
                    </a:cubicBezTo>
                    <a:cubicBezTo>
                      <a:pt x="46" y="326"/>
                      <a:pt x="48" y="329"/>
                      <a:pt x="54" y="332"/>
                    </a:cubicBezTo>
                    <a:cubicBezTo>
                      <a:pt x="60" y="336"/>
                      <a:pt x="52" y="339"/>
                      <a:pt x="62" y="339"/>
                    </a:cubicBezTo>
                    <a:cubicBezTo>
                      <a:pt x="71" y="339"/>
                      <a:pt x="76" y="340"/>
                      <a:pt x="79" y="333"/>
                    </a:cubicBezTo>
                    <a:cubicBezTo>
                      <a:pt x="82" y="326"/>
                      <a:pt x="87" y="318"/>
                      <a:pt x="97" y="314"/>
                    </a:cubicBezTo>
                    <a:cubicBezTo>
                      <a:pt x="107" y="310"/>
                      <a:pt x="98" y="302"/>
                      <a:pt x="110" y="298"/>
                    </a:cubicBezTo>
                    <a:cubicBezTo>
                      <a:pt x="122" y="294"/>
                      <a:pt x="128" y="278"/>
                      <a:pt x="139" y="291"/>
                    </a:cubicBezTo>
                    <a:cubicBezTo>
                      <a:pt x="150" y="304"/>
                      <a:pt x="150" y="300"/>
                      <a:pt x="155" y="302"/>
                    </a:cubicBezTo>
                    <a:cubicBezTo>
                      <a:pt x="160" y="304"/>
                      <a:pt x="166" y="318"/>
                      <a:pt x="172" y="311"/>
                    </a:cubicBezTo>
                    <a:cubicBezTo>
                      <a:pt x="178" y="304"/>
                      <a:pt x="173" y="303"/>
                      <a:pt x="186" y="301"/>
                    </a:cubicBezTo>
                    <a:cubicBezTo>
                      <a:pt x="198" y="299"/>
                      <a:pt x="195" y="280"/>
                      <a:pt x="203" y="278"/>
                    </a:cubicBezTo>
                    <a:cubicBezTo>
                      <a:pt x="211" y="275"/>
                      <a:pt x="233" y="274"/>
                      <a:pt x="239" y="280"/>
                    </a:cubicBezTo>
                    <a:cubicBezTo>
                      <a:pt x="245" y="286"/>
                      <a:pt x="253" y="288"/>
                      <a:pt x="258" y="298"/>
                    </a:cubicBezTo>
                    <a:cubicBezTo>
                      <a:pt x="264" y="307"/>
                      <a:pt x="274" y="321"/>
                      <a:pt x="283" y="326"/>
                    </a:cubicBezTo>
                    <a:cubicBezTo>
                      <a:pt x="292" y="332"/>
                      <a:pt x="300" y="340"/>
                      <a:pt x="302" y="347"/>
                    </a:cubicBezTo>
                    <a:cubicBezTo>
                      <a:pt x="304" y="354"/>
                      <a:pt x="297" y="361"/>
                      <a:pt x="298" y="368"/>
                    </a:cubicBezTo>
                    <a:cubicBezTo>
                      <a:pt x="298" y="376"/>
                      <a:pt x="298" y="382"/>
                      <a:pt x="298" y="389"/>
                    </a:cubicBezTo>
                    <a:cubicBezTo>
                      <a:pt x="298" y="396"/>
                      <a:pt x="292" y="404"/>
                      <a:pt x="304" y="411"/>
                    </a:cubicBezTo>
                    <a:cubicBezTo>
                      <a:pt x="317" y="418"/>
                      <a:pt x="321" y="425"/>
                      <a:pt x="327" y="428"/>
                    </a:cubicBezTo>
                    <a:cubicBezTo>
                      <a:pt x="333" y="432"/>
                      <a:pt x="347" y="436"/>
                      <a:pt x="350" y="445"/>
                    </a:cubicBezTo>
                    <a:cubicBezTo>
                      <a:pt x="352" y="454"/>
                      <a:pt x="361" y="464"/>
                      <a:pt x="356" y="468"/>
                    </a:cubicBezTo>
                    <a:cubicBezTo>
                      <a:pt x="352" y="473"/>
                      <a:pt x="347" y="476"/>
                      <a:pt x="346" y="481"/>
                    </a:cubicBezTo>
                    <a:cubicBezTo>
                      <a:pt x="346" y="486"/>
                      <a:pt x="333" y="486"/>
                      <a:pt x="340" y="494"/>
                    </a:cubicBezTo>
                    <a:cubicBezTo>
                      <a:pt x="348" y="501"/>
                      <a:pt x="348" y="507"/>
                      <a:pt x="348" y="512"/>
                    </a:cubicBezTo>
                    <a:cubicBezTo>
                      <a:pt x="348" y="516"/>
                      <a:pt x="349" y="527"/>
                      <a:pt x="346" y="529"/>
                    </a:cubicBezTo>
                    <a:cubicBezTo>
                      <a:pt x="342" y="531"/>
                      <a:pt x="334" y="538"/>
                      <a:pt x="332" y="542"/>
                    </a:cubicBezTo>
                    <a:cubicBezTo>
                      <a:pt x="332" y="543"/>
                      <a:pt x="332" y="543"/>
                      <a:pt x="332" y="543"/>
                    </a:cubicBezTo>
                    <a:cubicBezTo>
                      <a:pt x="332" y="543"/>
                      <a:pt x="332" y="543"/>
                      <a:pt x="332" y="544"/>
                    </a:cubicBezTo>
                    <a:cubicBezTo>
                      <a:pt x="332" y="544"/>
                      <a:pt x="332" y="544"/>
                      <a:pt x="331" y="544"/>
                    </a:cubicBezTo>
                    <a:cubicBezTo>
                      <a:pt x="331" y="544"/>
                      <a:pt x="331" y="544"/>
                      <a:pt x="331" y="544"/>
                    </a:cubicBezTo>
                    <a:cubicBezTo>
                      <a:pt x="331" y="544"/>
                      <a:pt x="331" y="544"/>
                      <a:pt x="331" y="544"/>
                    </a:cubicBezTo>
                    <a:cubicBezTo>
                      <a:pt x="330" y="545"/>
                      <a:pt x="330" y="545"/>
                      <a:pt x="330" y="545"/>
                    </a:cubicBezTo>
                    <a:cubicBezTo>
                      <a:pt x="334" y="554"/>
                      <a:pt x="341" y="556"/>
                      <a:pt x="346" y="556"/>
                    </a:cubicBezTo>
                    <a:cubicBezTo>
                      <a:pt x="351" y="556"/>
                      <a:pt x="354" y="550"/>
                      <a:pt x="366" y="565"/>
                    </a:cubicBezTo>
                    <a:cubicBezTo>
                      <a:pt x="379" y="580"/>
                      <a:pt x="382" y="570"/>
                      <a:pt x="386" y="566"/>
                    </a:cubicBezTo>
                    <a:cubicBezTo>
                      <a:pt x="390" y="562"/>
                      <a:pt x="386" y="556"/>
                      <a:pt x="384" y="548"/>
                    </a:cubicBezTo>
                    <a:cubicBezTo>
                      <a:pt x="382" y="541"/>
                      <a:pt x="395" y="532"/>
                      <a:pt x="398" y="528"/>
                    </a:cubicBezTo>
                    <a:cubicBezTo>
                      <a:pt x="400" y="523"/>
                      <a:pt x="409" y="524"/>
                      <a:pt x="415" y="530"/>
                    </a:cubicBezTo>
                    <a:cubicBezTo>
                      <a:pt x="421" y="536"/>
                      <a:pt x="426" y="539"/>
                      <a:pt x="432" y="543"/>
                    </a:cubicBezTo>
                    <a:cubicBezTo>
                      <a:pt x="439" y="547"/>
                      <a:pt x="447" y="540"/>
                      <a:pt x="449" y="534"/>
                    </a:cubicBezTo>
                    <a:cubicBezTo>
                      <a:pt x="451" y="528"/>
                      <a:pt x="454" y="525"/>
                      <a:pt x="465" y="523"/>
                    </a:cubicBezTo>
                    <a:cubicBezTo>
                      <a:pt x="465" y="523"/>
                      <a:pt x="466" y="523"/>
                      <a:pt x="466" y="523"/>
                    </a:cubicBezTo>
                    <a:cubicBezTo>
                      <a:pt x="473" y="521"/>
                      <a:pt x="474" y="514"/>
                      <a:pt x="474" y="510"/>
                    </a:cubicBezTo>
                    <a:cubicBezTo>
                      <a:pt x="474" y="510"/>
                      <a:pt x="474" y="510"/>
                      <a:pt x="474" y="510"/>
                    </a:cubicBezTo>
                    <a:cubicBezTo>
                      <a:pt x="474" y="510"/>
                      <a:pt x="474" y="509"/>
                      <a:pt x="474" y="509"/>
                    </a:cubicBezTo>
                    <a:cubicBezTo>
                      <a:pt x="474" y="509"/>
                      <a:pt x="474" y="509"/>
                      <a:pt x="474" y="509"/>
                    </a:cubicBezTo>
                    <a:cubicBezTo>
                      <a:pt x="474" y="508"/>
                      <a:pt x="474" y="508"/>
                      <a:pt x="474" y="508"/>
                    </a:cubicBezTo>
                    <a:cubicBezTo>
                      <a:pt x="473" y="508"/>
                      <a:pt x="473" y="508"/>
                      <a:pt x="473" y="508"/>
                    </a:cubicBezTo>
                    <a:cubicBezTo>
                      <a:pt x="473" y="507"/>
                      <a:pt x="473" y="507"/>
                      <a:pt x="473" y="507"/>
                    </a:cubicBezTo>
                    <a:cubicBezTo>
                      <a:pt x="473" y="507"/>
                      <a:pt x="473" y="507"/>
                      <a:pt x="473" y="506"/>
                    </a:cubicBezTo>
                    <a:cubicBezTo>
                      <a:pt x="472" y="503"/>
                      <a:pt x="470" y="498"/>
                      <a:pt x="480" y="494"/>
                    </a:cubicBezTo>
                    <a:cubicBezTo>
                      <a:pt x="490" y="491"/>
                      <a:pt x="484" y="482"/>
                      <a:pt x="478" y="476"/>
                    </a:cubicBezTo>
                    <a:cubicBezTo>
                      <a:pt x="472" y="469"/>
                      <a:pt x="466" y="464"/>
                      <a:pt x="458" y="461"/>
                    </a:cubicBezTo>
                    <a:cubicBezTo>
                      <a:pt x="449" y="458"/>
                      <a:pt x="453" y="451"/>
                      <a:pt x="453" y="446"/>
                    </a:cubicBezTo>
                    <a:cubicBezTo>
                      <a:pt x="453" y="440"/>
                      <a:pt x="464" y="441"/>
                      <a:pt x="469" y="438"/>
                    </a:cubicBezTo>
                    <a:cubicBezTo>
                      <a:pt x="474" y="436"/>
                      <a:pt x="465" y="426"/>
                      <a:pt x="461" y="424"/>
                    </a:cubicBezTo>
                    <a:cubicBezTo>
                      <a:pt x="457" y="422"/>
                      <a:pt x="457" y="417"/>
                      <a:pt x="447" y="413"/>
                    </a:cubicBezTo>
                    <a:cubicBezTo>
                      <a:pt x="437" y="409"/>
                      <a:pt x="440" y="402"/>
                      <a:pt x="428" y="399"/>
                    </a:cubicBezTo>
                    <a:cubicBezTo>
                      <a:pt x="417" y="396"/>
                      <a:pt x="416" y="390"/>
                      <a:pt x="414" y="380"/>
                    </a:cubicBezTo>
                    <a:cubicBezTo>
                      <a:pt x="411" y="369"/>
                      <a:pt x="408" y="362"/>
                      <a:pt x="402" y="356"/>
                    </a:cubicBezTo>
                    <a:cubicBezTo>
                      <a:pt x="395" y="350"/>
                      <a:pt x="376" y="333"/>
                      <a:pt x="366" y="327"/>
                    </a:cubicBezTo>
                    <a:cubicBezTo>
                      <a:pt x="357" y="321"/>
                      <a:pt x="352" y="314"/>
                      <a:pt x="352" y="304"/>
                    </a:cubicBezTo>
                    <a:cubicBezTo>
                      <a:pt x="352" y="294"/>
                      <a:pt x="345" y="294"/>
                      <a:pt x="333" y="287"/>
                    </a:cubicBezTo>
                    <a:cubicBezTo>
                      <a:pt x="321" y="280"/>
                      <a:pt x="326" y="268"/>
                      <a:pt x="326" y="260"/>
                    </a:cubicBezTo>
                    <a:cubicBezTo>
                      <a:pt x="326" y="253"/>
                      <a:pt x="314" y="254"/>
                      <a:pt x="306" y="253"/>
                    </a:cubicBezTo>
                    <a:cubicBezTo>
                      <a:pt x="297" y="252"/>
                      <a:pt x="292" y="246"/>
                      <a:pt x="280" y="239"/>
                    </a:cubicBezTo>
                    <a:cubicBezTo>
                      <a:pt x="269" y="232"/>
                      <a:pt x="268" y="226"/>
                      <a:pt x="250" y="218"/>
                    </a:cubicBezTo>
                    <a:cubicBezTo>
                      <a:pt x="231" y="211"/>
                      <a:pt x="252" y="202"/>
                      <a:pt x="252" y="196"/>
                    </a:cubicBezTo>
                    <a:cubicBezTo>
                      <a:pt x="253" y="190"/>
                      <a:pt x="278" y="195"/>
                      <a:pt x="285" y="195"/>
                    </a:cubicBezTo>
                    <a:cubicBezTo>
                      <a:pt x="292" y="195"/>
                      <a:pt x="299" y="186"/>
                      <a:pt x="299" y="179"/>
                    </a:cubicBezTo>
                    <a:cubicBezTo>
                      <a:pt x="299" y="172"/>
                      <a:pt x="310" y="172"/>
                      <a:pt x="312" y="167"/>
                    </a:cubicBezTo>
                    <a:cubicBezTo>
                      <a:pt x="314" y="162"/>
                      <a:pt x="312" y="153"/>
                      <a:pt x="302" y="154"/>
                    </a:cubicBezTo>
                    <a:cubicBezTo>
                      <a:pt x="292" y="154"/>
                      <a:pt x="292" y="146"/>
                      <a:pt x="284" y="143"/>
                    </a:cubicBezTo>
                    <a:cubicBezTo>
                      <a:pt x="277" y="140"/>
                      <a:pt x="281" y="136"/>
                      <a:pt x="282" y="130"/>
                    </a:cubicBezTo>
                    <a:cubicBezTo>
                      <a:pt x="284" y="124"/>
                      <a:pt x="276" y="118"/>
                      <a:pt x="272" y="112"/>
                    </a:cubicBezTo>
                    <a:cubicBezTo>
                      <a:pt x="268" y="106"/>
                      <a:pt x="258" y="106"/>
                      <a:pt x="250" y="108"/>
                    </a:cubicBezTo>
                    <a:cubicBezTo>
                      <a:pt x="242" y="111"/>
                      <a:pt x="237" y="112"/>
                      <a:pt x="235" y="119"/>
                    </a:cubicBezTo>
                    <a:cubicBezTo>
                      <a:pt x="233" y="126"/>
                      <a:pt x="217" y="119"/>
                      <a:pt x="206" y="118"/>
                    </a:cubicBezTo>
                    <a:cubicBezTo>
                      <a:pt x="194" y="116"/>
                      <a:pt x="196" y="104"/>
                      <a:pt x="188" y="96"/>
                    </a:cubicBezTo>
                    <a:cubicBezTo>
                      <a:pt x="179" y="88"/>
                      <a:pt x="171" y="82"/>
                      <a:pt x="177" y="80"/>
                    </a:cubicBezTo>
                    <a:cubicBezTo>
                      <a:pt x="183" y="79"/>
                      <a:pt x="187" y="66"/>
                      <a:pt x="187" y="62"/>
                    </a:cubicBezTo>
                    <a:cubicBezTo>
                      <a:pt x="187" y="57"/>
                      <a:pt x="182" y="52"/>
                      <a:pt x="173" y="52"/>
                    </a:cubicBezTo>
                    <a:cubicBezTo>
                      <a:pt x="164" y="51"/>
                      <a:pt x="166" y="52"/>
                      <a:pt x="163" y="43"/>
                    </a:cubicBezTo>
                    <a:cubicBezTo>
                      <a:pt x="160" y="34"/>
                      <a:pt x="152" y="26"/>
                      <a:pt x="142" y="24"/>
                    </a:cubicBezTo>
                    <a:cubicBezTo>
                      <a:pt x="135" y="22"/>
                      <a:pt x="134" y="10"/>
                      <a:pt x="134" y="3"/>
                    </a:cubicBezTo>
                    <a:cubicBezTo>
                      <a:pt x="133" y="3"/>
                      <a:pt x="131" y="4"/>
                      <a:pt x="129" y="4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8" y="4"/>
                      <a:pt x="127" y="3"/>
                      <a:pt x="126" y="3"/>
                    </a:cubicBezTo>
                    <a:cubicBezTo>
                      <a:pt x="126" y="3"/>
                      <a:pt x="126" y="3"/>
                      <a:pt x="125" y="3"/>
                    </a:cubicBezTo>
                    <a:cubicBezTo>
                      <a:pt x="124" y="3"/>
                      <a:pt x="123" y="3"/>
                      <a:pt x="122" y="2"/>
                    </a:cubicBezTo>
                    <a:cubicBezTo>
                      <a:pt x="113" y="0"/>
                      <a:pt x="113" y="0"/>
                      <a:pt x="104" y="0"/>
                    </a:cubicBezTo>
                    <a:cubicBezTo>
                      <a:pt x="96" y="0"/>
                      <a:pt x="99" y="13"/>
                      <a:pt x="95" y="14"/>
                    </a:cubicBezTo>
                    <a:cubicBezTo>
                      <a:pt x="92" y="15"/>
                      <a:pt x="91" y="23"/>
                      <a:pt x="91" y="28"/>
                    </a:cubicBezTo>
                    <a:cubicBezTo>
                      <a:pt x="91" y="34"/>
                      <a:pt x="99" y="34"/>
                      <a:pt x="100" y="39"/>
                    </a:cubicBezTo>
                    <a:cubicBezTo>
                      <a:pt x="101" y="45"/>
                      <a:pt x="103" y="44"/>
                      <a:pt x="108" y="48"/>
                    </a:cubicBezTo>
                    <a:cubicBezTo>
                      <a:pt x="113" y="52"/>
                      <a:pt x="111" y="63"/>
                      <a:pt x="109" y="67"/>
                    </a:cubicBezTo>
                    <a:cubicBezTo>
                      <a:pt x="106" y="72"/>
                      <a:pt x="107" y="78"/>
                      <a:pt x="107" y="85"/>
                    </a:cubicBezTo>
                    <a:cubicBezTo>
                      <a:pt x="106" y="93"/>
                      <a:pt x="91" y="87"/>
                      <a:pt x="82" y="88"/>
                    </a:cubicBezTo>
                    <a:cubicBezTo>
                      <a:pt x="73" y="88"/>
                      <a:pt x="75" y="79"/>
                      <a:pt x="72" y="73"/>
                    </a:cubicBezTo>
                    <a:cubicBezTo>
                      <a:pt x="70" y="68"/>
                      <a:pt x="70" y="66"/>
                      <a:pt x="70" y="61"/>
                    </a:cubicBezTo>
                    <a:cubicBezTo>
                      <a:pt x="70" y="60"/>
                      <a:pt x="70" y="59"/>
                      <a:pt x="70" y="59"/>
                    </a:cubicBezTo>
                    <a:cubicBezTo>
                      <a:pt x="70" y="58"/>
                      <a:pt x="70" y="58"/>
                      <a:pt x="70" y="58"/>
                    </a:cubicBezTo>
                    <a:cubicBezTo>
                      <a:pt x="70" y="57"/>
                      <a:pt x="70" y="57"/>
                      <a:pt x="70" y="57"/>
                    </a:cubicBezTo>
                    <a:cubicBezTo>
                      <a:pt x="70" y="56"/>
                      <a:pt x="70" y="55"/>
                      <a:pt x="69" y="55"/>
                    </a:cubicBezTo>
                    <a:cubicBezTo>
                      <a:pt x="69" y="55"/>
                      <a:pt x="69" y="55"/>
                      <a:pt x="69" y="55"/>
                    </a:cubicBezTo>
                    <a:cubicBezTo>
                      <a:pt x="68" y="51"/>
                      <a:pt x="67" y="49"/>
                      <a:pt x="64" y="49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61" y="61"/>
                      <a:pt x="56" y="72"/>
                      <a:pt x="50" y="7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3" name="Freeform 337">
                <a:extLst>
                  <a:ext uri="{FF2B5EF4-FFF2-40B4-BE49-F238E27FC236}">
                    <a16:creationId xmlns:a16="http://schemas.microsoft.com/office/drawing/2014/main" id="{A1BF969F-ED8D-264A-844A-5A854B55B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6" y="2343"/>
                <a:ext cx="88" cy="77"/>
              </a:xfrm>
              <a:custGeom>
                <a:avLst/>
                <a:gdLst>
                  <a:gd name="T0" fmla="*/ 155 w 348"/>
                  <a:gd name="T1" fmla="*/ 266 h 301"/>
                  <a:gd name="T2" fmla="*/ 180 w 348"/>
                  <a:gd name="T3" fmla="*/ 256 h 301"/>
                  <a:gd name="T4" fmla="*/ 198 w 348"/>
                  <a:gd name="T5" fmla="*/ 237 h 301"/>
                  <a:gd name="T6" fmla="*/ 232 w 348"/>
                  <a:gd name="T7" fmla="*/ 241 h 301"/>
                  <a:gd name="T8" fmla="*/ 250 w 348"/>
                  <a:gd name="T9" fmla="*/ 250 h 301"/>
                  <a:gd name="T10" fmla="*/ 256 w 348"/>
                  <a:gd name="T11" fmla="*/ 233 h 301"/>
                  <a:gd name="T12" fmla="*/ 236 w 348"/>
                  <a:gd name="T13" fmla="*/ 221 h 301"/>
                  <a:gd name="T14" fmla="*/ 227 w 348"/>
                  <a:gd name="T15" fmla="*/ 203 h 301"/>
                  <a:gd name="T16" fmla="*/ 236 w 348"/>
                  <a:gd name="T17" fmla="*/ 189 h 301"/>
                  <a:gd name="T18" fmla="*/ 249 w 348"/>
                  <a:gd name="T19" fmla="*/ 181 h 301"/>
                  <a:gd name="T20" fmla="*/ 264 w 348"/>
                  <a:gd name="T21" fmla="*/ 191 h 301"/>
                  <a:gd name="T22" fmla="*/ 276 w 348"/>
                  <a:gd name="T23" fmla="*/ 172 h 301"/>
                  <a:gd name="T24" fmla="*/ 296 w 348"/>
                  <a:gd name="T25" fmla="*/ 163 h 301"/>
                  <a:gd name="T26" fmla="*/ 310 w 348"/>
                  <a:gd name="T27" fmla="*/ 155 h 301"/>
                  <a:gd name="T28" fmla="*/ 332 w 348"/>
                  <a:gd name="T29" fmla="*/ 131 h 301"/>
                  <a:gd name="T30" fmla="*/ 346 w 348"/>
                  <a:gd name="T31" fmla="*/ 103 h 301"/>
                  <a:gd name="T32" fmla="*/ 341 w 348"/>
                  <a:gd name="T33" fmla="*/ 62 h 301"/>
                  <a:gd name="T34" fmla="*/ 331 w 348"/>
                  <a:gd name="T35" fmla="*/ 41 h 301"/>
                  <a:gd name="T36" fmla="*/ 327 w 348"/>
                  <a:gd name="T37" fmla="*/ 19 h 301"/>
                  <a:gd name="T38" fmla="*/ 330 w 348"/>
                  <a:gd name="T39" fmla="*/ 0 h 301"/>
                  <a:gd name="T40" fmla="*/ 329 w 348"/>
                  <a:gd name="T41" fmla="*/ 0 h 301"/>
                  <a:gd name="T42" fmla="*/ 313 w 348"/>
                  <a:gd name="T43" fmla="*/ 11 h 301"/>
                  <a:gd name="T44" fmla="*/ 296 w 348"/>
                  <a:gd name="T45" fmla="*/ 20 h 301"/>
                  <a:gd name="T46" fmla="*/ 279 w 348"/>
                  <a:gd name="T47" fmla="*/ 7 h 301"/>
                  <a:gd name="T48" fmla="*/ 262 w 348"/>
                  <a:gd name="T49" fmla="*/ 5 h 301"/>
                  <a:gd name="T50" fmla="*/ 248 w 348"/>
                  <a:gd name="T51" fmla="*/ 25 h 301"/>
                  <a:gd name="T52" fmla="*/ 250 w 348"/>
                  <a:gd name="T53" fmla="*/ 43 h 301"/>
                  <a:gd name="T54" fmla="*/ 230 w 348"/>
                  <a:gd name="T55" fmla="*/ 42 h 301"/>
                  <a:gd name="T56" fmla="*/ 210 w 348"/>
                  <a:gd name="T57" fmla="*/ 33 h 301"/>
                  <a:gd name="T58" fmla="*/ 194 w 348"/>
                  <a:gd name="T59" fmla="*/ 22 h 301"/>
                  <a:gd name="T60" fmla="*/ 187 w 348"/>
                  <a:gd name="T61" fmla="*/ 23 h 301"/>
                  <a:gd name="T62" fmla="*/ 187 w 348"/>
                  <a:gd name="T63" fmla="*/ 23 h 301"/>
                  <a:gd name="T64" fmla="*/ 184 w 348"/>
                  <a:gd name="T65" fmla="*/ 22 h 301"/>
                  <a:gd name="T66" fmla="*/ 184 w 348"/>
                  <a:gd name="T67" fmla="*/ 22 h 301"/>
                  <a:gd name="T68" fmla="*/ 182 w 348"/>
                  <a:gd name="T69" fmla="*/ 22 h 301"/>
                  <a:gd name="T70" fmla="*/ 181 w 348"/>
                  <a:gd name="T71" fmla="*/ 21 h 301"/>
                  <a:gd name="T72" fmla="*/ 179 w 348"/>
                  <a:gd name="T73" fmla="*/ 21 h 301"/>
                  <a:gd name="T74" fmla="*/ 179 w 348"/>
                  <a:gd name="T75" fmla="*/ 21 h 301"/>
                  <a:gd name="T76" fmla="*/ 177 w 348"/>
                  <a:gd name="T77" fmla="*/ 19 h 301"/>
                  <a:gd name="T78" fmla="*/ 176 w 348"/>
                  <a:gd name="T79" fmla="*/ 19 h 301"/>
                  <a:gd name="T80" fmla="*/ 174 w 348"/>
                  <a:gd name="T81" fmla="*/ 17 h 301"/>
                  <a:gd name="T82" fmla="*/ 156 w 348"/>
                  <a:gd name="T83" fmla="*/ 11 h 301"/>
                  <a:gd name="T84" fmla="*/ 137 w 348"/>
                  <a:gd name="T85" fmla="*/ 17 h 301"/>
                  <a:gd name="T86" fmla="*/ 109 w 348"/>
                  <a:gd name="T87" fmla="*/ 17 h 301"/>
                  <a:gd name="T88" fmla="*/ 88 w 348"/>
                  <a:gd name="T89" fmla="*/ 11 h 301"/>
                  <a:gd name="T90" fmla="*/ 64 w 348"/>
                  <a:gd name="T91" fmla="*/ 17 h 301"/>
                  <a:gd name="T92" fmla="*/ 47 w 348"/>
                  <a:gd name="T93" fmla="*/ 29 h 301"/>
                  <a:gd name="T94" fmla="*/ 15 w 348"/>
                  <a:gd name="T95" fmla="*/ 72 h 301"/>
                  <a:gd name="T96" fmla="*/ 11 w 348"/>
                  <a:gd name="T97" fmla="*/ 97 h 301"/>
                  <a:gd name="T98" fmla="*/ 22 w 348"/>
                  <a:gd name="T99" fmla="*/ 127 h 301"/>
                  <a:gd name="T100" fmla="*/ 36 w 348"/>
                  <a:gd name="T101" fmla="*/ 153 h 301"/>
                  <a:gd name="T102" fmla="*/ 40 w 348"/>
                  <a:gd name="T103" fmla="*/ 182 h 301"/>
                  <a:gd name="T104" fmla="*/ 58 w 348"/>
                  <a:gd name="T105" fmla="*/ 205 h 301"/>
                  <a:gd name="T106" fmla="*/ 51 w 348"/>
                  <a:gd name="T107" fmla="*/ 233 h 301"/>
                  <a:gd name="T108" fmla="*/ 71 w 348"/>
                  <a:gd name="T109" fmla="*/ 238 h 301"/>
                  <a:gd name="T110" fmla="*/ 92 w 348"/>
                  <a:gd name="T111" fmla="*/ 226 h 301"/>
                  <a:gd name="T112" fmla="*/ 86 w 348"/>
                  <a:gd name="T113" fmla="*/ 255 h 301"/>
                  <a:gd name="T114" fmla="*/ 105 w 348"/>
                  <a:gd name="T115" fmla="*/ 261 h 301"/>
                  <a:gd name="T116" fmla="*/ 114 w 348"/>
                  <a:gd name="T117" fmla="*/ 285 h 301"/>
                  <a:gd name="T118" fmla="*/ 127 w 348"/>
                  <a:gd name="T119" fmla="*/ 268 h 301"/>
                  <a:gd name="T120" fmla="*/ 138 w 348"/>
                  <a:gd name="T121" fmla="*/ 270 h 301"/>
                  <a:gd name="T122" fmla="*/ 155 w 348"/>
                  <a:gd name="T123" fmla="*/ 266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8" h="301">
                    <a:moveTo>
                      <a:pt x="155" y="266"/>
                    </a:moveTo>
                    <a:cubicBezTo>
                      <a:pt x="176" y="268"/>
                      <a:pt x="180" y="265"/>
                      <a:pt x="180" y="256"/>
                    </a:cubicBezTo>
                    <a:cubicBezTo>
                      <a:pt x="180" y="247"/>
                      <a:pt x="172" y="237"/>
                      <a:pt x="198" y="237"/>
                    </a:cubicBezTo>
                    <a:cubicBezTo>
                      <a:pt x="223" y="237"/>
                      <a:pt x="228" y="233"/>
                      <a:pt x="232" y="241"/>
                    </a:cubicBezTo>
                    <a:cubicBezTo>
                      <a:pt x="237" y="249"/>
                      <a:pt x="244" y="256"/>
                      <a:pt x="250" y="250"/>
                    </a:cubicBezTo>
                    <a:cubicBezTo>
                      <a:pt x="256" y="244"/>
                      <a:pt x="263" y="238"/>
                      <a:pt x="256" y="233"/>
                    </a:cubicBezTo>
                    <a:cubicBezTo>
                      <a:pt x="248" y="227"/>
                      <a:pt x="237" y="231"/>
                      <a:pt x="236" y="221"/>
                    </a:cubicBezTo>
                    <a:cubicBezTo>
                      <a:pt x="236" y="210"/>
                      <a:pt x="226" y="213"/>
                      <a:pt x="227" y="203"/>
                    </a:cubicBezTo>
                    <a:cubicBezTo>
                      <a:pt x="228" y="194"/>
                      <a:pt x="228" y="193"/>
                      <a:pt x="236" y="189"/>
                    </a:cubicBezTo>
                    <a:cubicBezTo>
                      <a:pt x="244" y="186"/>
                      <a:pt x="244" y="177"/>
                      <a:pt x="249" y="181"/>
                    </a:cubicBezTo>
                    <a:cubicBezTo>
                      <a:pt x="254" y="186"/>
                      <a:pt x="255" y="191"/>
                      <a:pt x="264" y="191"/>
                    </a:cubicBezTo>
                    <a:cubicBezTo>
                      <a:pt x="274" y="191"/>
                      <a:pt x="268" y="172"/>
                      <a:pt x="276" y="172"/>
                    </a:cubicBezTo>
                    <a:cubicBezTo>
                      <a:pt x="284" y="172"/>
                      <a:pt x="286" y="164"/>
                      <a:pt x="296" y="163"/>
                    </a:cubicBezTo>
                    <a:cubicBezTo>
                      <a:pt x="305" y="163"/>
                      <a:pt x="306" y="163"/>
                      <a:pt x="310" y="155"/>
                    </a:cubicBezTo>
                    <a:cubicBezTo>
                      <a:pt x="315" y="146"/>
                      <a:pt x="322" y="139"/>
                      <a:pt x="332" y="131"/>
                    </a:cubicBezTo>
                    <a:cubicBezTo>
                      <a:pt x="341" y="123"/>
                      <a:pt x="345" y="117"/>
                      <a:pt x="346" y="103"/>
                    </a:cubicBezTo>
                    <a:cubicBezTo>
                      <a:pt x="348" y="90"/>
                      <a:pt x="346" y="63"/>
                      <a:pt x="341" y="62"/>
                    </a:cubicBezTo>
                    <a:cubicBezTo>
                      <a:pt x="336" y="61"/>
                      <a:pt x="339" y="43"/>
                      <a:pt x="331" y="41"/>
                    </a:cubicBezTo>
                    <a:cubicBezTo>
                      <a:pt x="323" y="38"/>
                      <a:pt x="324" y="32"/>
                      <a:pt x="327" y="19"/>
                    </a:cubicBezTo>
                    <a:cubicBezTo>
                      <a:pt x="329" y="12"/>
                      <a:pt x="331" y="6"/>
                      <a:pt x="330" y="0"/>
                    </a:cubicBezTo>
                    <a:cubicBezTo>
                      <a:pt x="330" y="0"/>
                      <a:pt x="329" y="0"/>
                      <a:pt x="329" y="0"/>
                    </a:cubicBezTo>
                    <a:cubicBezTo>
                      <a:pt x="318" y="2"/>
                      <a:pt x="315" y="5"/>
                      <a:pt x="313" y="11"/>
                    </a:cubicBezTo>
                    <a:cubicBezTo>
                      <a:pt x="311" y="17"/>
                      <a:pt x="303" y="24"/>
                      <a:pt x="296" y="20"/>
                    </a:cubicBezTo>
                    <a:cubicBezTo>
                      <a:pt x="290" y="16"/>
                      <a:pt x="285" y="13"/>
                      <a:pt x="279" y="7"/>
                    </a:cubicBezTo>
                    <a:cubicBezTo>
                      <a:pt x="273" y="1"/>
                      <a:pt x="264" y="0"/>
                      <a:pt x="262" y="5"/>
                    </a:cubicBezTo>
                    <a:cubicBezTo>
                      <a:pt x="259" y="9"/>
                      <a:pt x="246" y="18"/>
                      <a:pt x="248" y="25"/>
                    </a:cubicBezTo>
                    <a:cubicBezTo>
                      <a:pt x="250" y="33"/>
                      <a:pt x="254" y="39"/>
                      <a:pt x="250" y="43"/>
                    </a:cubicBezTo>
                    <a:cubicBezTo>
                      <a:pt x="246" y="47"/>
                      <a:pt x="243" y="57"/>
                      <a:pt x="230" y="42"/>
                    </a:cubicBezTo>
                    <a:cubicBezTo>
                      <a:pt x="218" y="27"/>
                      <a:pt x="215" y="33"/>
                      <a:pt x="210" y="33"/>
                    </a:cubicBezTo>
                    <a:cubicBezTo>
                      <a:pt x="205" y="33"/>
                      <a:pt x="198" y="31"/>
                      <a:pt x="194" y="22"/>
                    </a:cubicBezTo>
                    <a:cubicBezTo>
                      <a:pt x="192" y="23"/>
                      <a:pt x="190" y="23"/>
                      <a:pt x="187" y="23"/>
                    </a:cubicBezTo>
                    <a:cubicBezTo>
                      <a:pt x="187" y="23"/>
                      <a:pt x="187" y="23"/>
                      <a:pt x="187" y="23"/>
                    </a:cubicBezTo>
                    <a:cubicBezTo>
                      <a:pt x="186" y="23"/>
                      <a:pt x="185" y="22"/>
                      <a:pt x="184" y="22"/>
                    </a:cubicBezTo>
                    <a:cubicBezTo>
                      <a:pt x="184" y="22"/>
                      <a:pt x="184" y="22"/>
                      <a:pt x="184" y="22"/>
                    </a:cubicBezTo>
                    <a:cubicBezTo>
                      <a:pt x="183" y="22"/>
                      <a:pt x="183" y="22"/>
                      <a:pt x="182" y="22"/>
                    </a:cubicBezTo>
                    <a:cubicBezTo>
                      <a:pt x="182" y="22"/>
                      <a:pt x="181" y="22"/>
                      <a:pt x="181" y="21"/>
                    </a:cubicBezTo>
                    <a:cubicBezTo>
                      <a:pt x="181" y="21"/>
                      <a:pt x="180" y="21"/>
                      <a:pt x="179" y="21"/>
                    </a:cubicBezTo>
                    <a:cubicBezTo>
                      <a:pt x="179" y="21"/>
                      <a:pt x="179" y="21"/>
                      <a:pt x="179" y="21"/>
                    </a:cubicBezTo>
                    <a:cubicBezTo>
                      <a:pt x="178" y="20"/>
                      <a:pt x="177" y="20"/>
                      <a:pt x="177" y="19"/>
                    </a:cubicBezTo>
                    <a:cubicBezTo>
                      <a:pt x="177" y="19"/>
                      <a:pt x="176" y="19"/>
                      <a:pt x="176" y="19"/>
                    </a:cubicBezTo>
                    <a:cubicBezTo>
                      <a:pt x="176" y="19"/>
                      <a:pt x="175" y="18"/>
                      <a:pt x="174" y="17"/>
                    </a:cubicBezTo>
                    <a:cubicBezTo>
                      <a:pt x="168" y="11"/>
                      <a:pt x="159" y="5"/>
                      <a:pt x="156" y="11"/>
                    </a:cubicBezTo>
                    <a:cubicBezTo>
                      <a:pt x="154" y="16"/>
                      <a:pt x="140" y="19"/>
                      <a:pt x="137" y="17"/>
                    </a:cubicBezTo>
                    <a:cubicBezTo>
                      <a:pt x="134" y="15"/>
                      <a:pt x="117" y="14"/>
                      <a:pt x="109" y="17"/>
                    </a:cubicBezTo>
                    <a:cubicBezTo>
                      <a:pt x="101" y="19"/>
                      <a:pt x="94" y="4"/>
                      <a:pt x="88" y="11"/>
                    </a:cubicBezTo>
                    <a:cubicBezTo>
                      <a:pt x="83" y="19"/>
                      <a:pt x="70" y="17"/>
                      <a:pt x="64" y="17"/>
                    </a:cubicBezTo>
                    <a:cubicBezTo>
                      <a:pt x="58" y="17"/>
                      <a:pt x="50" y="20"/>
                      <a:pt x="47" y="29"/>
                    </a:cubicBezTo>
                    <a:cubicBezTo>
                      <a:pt x="44" y="39"/>
                      <a:pt x="23" y="67"/>
                      <a:pt x="15" y="72"/>
                    </a:cubicBezTo>
                    <a:cubicBezTo>
                      <a:pt x="7" y="77"/>
                      <a:pt x="0" y="84"/>
                      <a:pt x="11" y="97"/>
                    </a:cubicBezTo>
                    <a:cubicBezTo>
                      <a:pt x="22" y="111"/>
                      <a:pt x="16" y="117"/>
                      <a:pt x="22" y="127"/>
                    </a:cubicBezTo>
                    <a:cubicBezTo>
                      <a:pt x="28" y="138"/>
                      <a:pt x="34" y="146"/>
                      <a:pt x="36" y="153"/>
                    </a:cubicBezTo>
                    <a:cubicBezTo>
                      <a:pt x="38" y="159"/>
                      <a:pt x="40" y="171"/>
                      <a:pt x="40" y="182"/>
                    </a:cubicBezTo>
                    <a:cubicBezTo>
                      <a:pt x="48" y="191"/>
                      <a:pt x="55" y="199"/>
                      <a:pt x="58" y="205"/>
                    </a:cubicBezTo>
                    <a:cubicBezTo>
                      <a:pt x="66" y="219"/>
                      <a:pt x="51" y="223"/>
                      <a:pt x="51" y="233"/>
                    </a:cubicBezTo>
                    <a:cubicBezTo>
                      <a:pt x="51" y="243"/>
                      <a:pt x="66" y="245"/>
                      <a:pt x="71" y="238"/>
                    </a:cubicBezTo>
                    <a:cubicBezTo>
                      <a:pt x="75" y="231"/>
                      <a:pt x="84" y="218"/>
                      <a:pt x="92" y="226"/>
                    </a:cubicBezTo>
                    <a:cubicBezTo>
                      <a:pt x="101" y="235"/>
                      <a:pt x="91" y="241"/>
                      <a:pt x="86" y="255"/>
                    </a:cubicBezTo>
                    <a:cubicBezTo>
                      <a:pt x="82" y="269"/>
                      <a:pt x="98" y="259"/>
                      <a:pt x="105" y="261"/>
                    </a:cubicBezTo>
                    <a:cubicBezTo>
                      <a:pt x="112" y="262"/>
                      <a:pt x="114" y="269"/>
                      <a:pt x="114" y="285"/>
                    </a:cubicBezTo>
                    <a:cubicBezTo>
                      <a:pt x="114" y="301"/>
                      <a:pt x="125" y="278"/>
                      <a:pt x="127" y="268"/>
                    </a:cubicBezTo>
                    <a:cubicBezTo>
                      <a:pt x="127" y="262"/>
                      <a:pt x="132" y="266"/>
                      <a:pt x="138" y="270"/>
                    </a:cubicBezTo>
                    <a:cubicBezTo>
                      <a:pt x="141" y="267"/>
                      <a:pt x="146" y="265"/>
                      <a:pt x="155" y="26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4" name="Freeform 338">
                <a:extLst>
                  <a:ext uri="{FF2B5EF4-FFF2-40B4-BE49-F238E27FC236}">
                    <a16:creationId xmlns:a16="http://schemas.microsoft.com/office/drawing/2014/main" id="{4170D539-D1FB-1449-ACFA-DBD0B1B1F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7" y="2437"/>
                <a:ext cx="3" cy="9"/>
              </a:xfrm>
              <a:custGeom>
                <a:avLst/>
                <a:gdLst>
                  <a:gd name="T0" fmla="*/ 11 w 13"/>
                  <a:gd name="T1" fmla="*/ 18 h 33"/>
                  <a:gd name="T2" fmla="*/ 13 w 13"/>
                  <a:gd name="T3" fmla="*/ 2 h 33"/>
                  <a:gd name="T4" fmla="*/ 0 w 13"/>
                  <a:gd name="T5" fmla="*/ 16 h 33"/>
                  <a:gd name="T6" fmla="*/ 11 w 13"/>
                  <a:gd name="T7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3">
                    <a:moveTo>
                      <a:pt x="11" y="18"/>
                    </a:moveTo>
                    <a:cubicBezTo>
                      <a:pt x="13" y="2"/>
                      <a:pt x="13" y="2"/>
                      <a:pt x="13" y="2"/>
                    </a:cubicBezTo>
                    <a:cubicBezTo>
                      <a:pt x="13" y="2"/>
                      <a:pt x="0" y="0"/>
                      <a:pt x="0" y="16"/>
                    </a:cubicBezTo>
                    <a:cubicBezTo>
                      <a:pt x="0" y="33"/>
                      <a:pt x="11" y="18"/>
                      <a:pt x="11" y="1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5" name="Freeform 339">
                <a:extLst>
                  <a:ext uri="{FF2B5EF4-FFF2-40B4-BE49-F238E27FC236}">
                    <a16:creationId xmlns:a16="http://schemas.microsoft.com/office/drawing/2014/main" id="{B54A67BE-448F-E145-9E14-85FBE1EDC8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7" y="2439"/>
                <a:ext cx="5" cy="5"/>
              </a:xfrm>
              <a:custGeom>
                <a:avLst/>
                <a:gdLst>
                  <a:gd name="T0" fmla="*/ 10 w 18"/>
                  <a:gd name="T1" fmla="*/ 20 h 20"/>
                  <a:gd name="T2" fmla="*/ 18 w 18"/>
                  <a:gd name="T3" fmla="*/ 3 h 20"/>
                  <a:gd name="T4" fmla="*/ 2 w 18"/>
                  <a:gd name="T5" fmla="*/ 10 h 20"/>
                  <a:gd name="T6" fmla="*/ 10 w 18"/>
                  <a:gd name="T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0">
                    <a:moveTo>
                      <a:pt x="10" y="20"/>
                    </a:move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0" y="0"/>
                      <a:pt x="2" y="10"/>
                    </a:cubicBezTo>
                    <a:cubicBezTo>
                      <a:pt x="3" y="20"/>
                      <a:pt x="10" y="20"/>
                      <a:pt x="10" y="2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6" name="Freeform 340">
                <a:extLst>
                  <a:ext uri="{FF2B5EF4-FFF2-40B4-BE49-F238E27FC236}">
                    <a16:creationId xmlns:a16="http://schemas.microsoft.com/office/drawing/2014/main" id="{D9220A0F-54C4-5846-829E-9DBCAEB85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6" y="2428"/>
                <a:ext cx="7" cy="6"/>
              </a:xfrm>
              <a:custGeom>
                <a:avLst/>
                <a:gdLst>
                  <a:gd name="T0" fmla="*/ 7 w 31"/>
                  <a:gd name="T1" fmla="*/ 0 h 25"/>
                  <a:gd name="T2" fmla="*/ 0 w 31"/>
                  <a:gd name="T3" fmla="*/ 8 h 25"/>
                  <a:gd name="T4" fmla="*/ 21 w 31"/>
                  <a:gd name="T5" fmla="*/ 15 h 25"/>
                  <a:gd name="T6" fmla="*/ 16 w 31"/>
                  <a:gd name="T7" fmla="*/ 0 h 25"/>
                  <a:gd name="T8" fmla="*/ 7 w 31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5">
                    <a:moveTo>
                      <a:pt x="7" y="0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1" y="25"/>
                      <a:pt x="21" y="15"/>
                    </a:cubicBezTo>
                    <a:cubicBezTo>
                      <a:pt x="31" y="5"/>
                      <a:pt x="16" y="0"/>
                      <a:pt x="16" y="0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7" name="Freeform 341">
                <a:extLst>
                  <a:ext uri="{FF2B5EF4-FFF2-40B4-BE49-F238E27FC236}">
                    <a16:creationId xmlns:a16="http://schemas.microsoft.com/office/drawing/2014/main" id="{E0858A6F-8EA5-6747-B12F-1643DFF174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9" y="2421"/>
                <a:ext cx="5" cy="5"/>
              </a:xfrm>
              <a:custGeom>
                <a:avLst/>
                <a:gdLst>
                  <a:gd name="T0" fmla="*/ 19 w 19"/>
                  <a:gd name="T1" fmla="*/ 8 h 21"/>
                  <a:gd name="T2" fmla="*/ 15 w 19"/>
                  <a:gd name="T3" fmla="*/ 0 h 21"/>
                  <a:gd name="T4" fmla="*/ 2 w 19"/>
                  <a:gd name="T5" fmla="*/ 6 h 21"/>
                  <a:gd name="T6" fmla="*/ 10 w 19"/>
                  <a:gd name="T7" fmla="*/ 21 h 21"/>
                  <a:gd name="T8" fmla="*/ 19 w 19"/>
                  <a:gd name="T9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1">
                    <a:moveTo>
                      <a:pt x="19" y="8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0" y="21"/>
                      <a:pt x="10" y="21"/>
                    </a:cubicBezTo>
                    <a:cubicBezTo>
                      <a:pt x="19" y="21"/>
                      <a:pt x="19" y="8"/>
                      <a:pt x="19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8" name="Freeform 342">
                <a:extLst>
                  <a:ext uri="{FF2B5EF4-FFF2-40B4-BE49-F238E27FC236}">
                    <a16:creationId xmlns:a16="http://schemas.microsoft.com/office/drawing/2014/main" id="{717246B4-2547-0147-B35A-30DAC5B29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5" y="2196"/>
                <a:ext cx="117" cy="249"/>
              </a:xfrm>
              <a:custGeom>
                <a:avLst/>
                <a:gdLst>
                  <a:gd name="T0" fmla="*/ 284 w 464"/>
                  <a:gd name="T1" fmla="*/ 87 h 983"/>
                  <a:gd name="T2" fmla="*/ 283 w 464"/>
                  <a:gd name="T3" fmla="*/ 33 h 983"/>
                  <a:gd name="T4" fmla="*/ 209 w 464"/>
                  <a:gd name="T5" fmla="*/ 11 h 983"/>
                  <a:gd name="T6" fmla="*/ 169 w 464"/>
                  <a:gd name="T7" fmla="*/ 32 h 983"/>
                  <a:gd name="T8" fmla="*/ 108 w 464"/>
                  <a:gd name="T9" fmla="*/ 52 h 983"/>
                  <a:gd name="T10" fmla="*/ 74 w 464"/>
                  <a:gd name="T11" fmla="*/ 44 h 983"/>
                  <a:gd name="T12" fmla="*/ 41 w 464"/>
                  <a:gd name="T13" fmla="*/ 55 h 983"/>
                  <a:gd name="T14" fmla="*/ 3 w 464"/>
                  <a:gd name="T15" fmla="*/ 59 h 983"/>
                  <a:gd name="T16" fmla="*/ 0 w 464"/>
                  <a:gd name="T17" fmla="*/ 62 h 983"/>
                  <a:gd name="T18" fmla="*/ 39 w 464"/>
                  <a:gd name="T19" fmla="*/ 111 h 983"/>
                  <a:gd name="T20" fmla="*/ 54 w 464"/>
                  <a:gd name="T21" fmla="*/ 155 h 983"/>
                  <a:gd name="T22" fmla="*/ 116 w 464"/>
                  <a:gd name="T23" fmla="*/ 167 h 983"/>
                  <a:gd name="T24" fmla="*/ 150 w 464"/>
                  <a:gd name="T25" fmla="*/ 202 h 983"/>
                  <a:gd name="T26" fmla="*/ 165 w 464"/>
                  <a:gd name="T27" fmla="*/ 238 h 983"/>
                  <a:gd name="T28" fmla="*/ 116 w 464"/>
                  <a:gd name="T29" fmla="*/ 277 h 983"/>
                  <a:gd name="T30" fmla="*/ 192 w 464"/>
                  <a:gd name="T31" fmla="*/ 319 h 983"/>
                  <a:gd name="T32" fmla="*/ 232 w 464"/>
                  <a:gd name="T33" fmla="*/ 386 h 983"/>
                  <a:gd name="T34" fmla="*/ 294 w 464"/>
                  <a:gd name="T35" fmla="*/ 458 h 983"/>
                  <a:gd name="T36" fmla="*/ 335 w 464"/>
                  <a:gd name="T37" fmla="*/ 497 h 983"/>
                  <a:gd name="T38" fmla="*/ 344 w 464"/>
                  <a:gd name="T39" fmla="*/ 535 h 983"/>
                  <a:gd name="T40" fmla="*/ 339 w 464"/>
                  <a:gd name="T41" fmla="*/ 566 h 983"/>
                  <a:gd name="T42" fmla="*/ 340 w 464"/>
                  <a:gd name="T43" fmla="*/ 568 h 983"/>
                  <a:gd name="T44" fmla="*/ 340 w 464"/>
                  <a:gd name="T45" fmla="*/ 569 h 983"/>
                  <a:gd name="T46" fmla="*/ 333 w 464"/>
                  <a:gd name="T47" fmla="*/ 623 h 983"/>
                  <a:gd name="T48" fmla="*/ 334 w 464"/>
                  <a:gd name="T49" fmla="*/ 713 h 983"/>
                  <a:gd name="T50" fmla="*/ 278 w 464"/>
                  <a:gd name="T51" fmla="*/ 754 h 983"/>
                  <a:gd name="T52" fmla="*/ 238 w 464"/>
                  <a:gd name="T53" fmla="*/ 771 h 983"/>
                  <a:gd name="T54" fmla="*/ 258 w 464"/>
                  <a:gd name="T55" fmla="*/ 815 h 983"/>
                  <a:gd name="T56" fmla="*/ 200 w 464"/>
                  <a:gd name="T57" fmla="*/ 819 h 983"/>
                  <a:gd name="T58" fmla="*/ 140 w 464"/>
                  <a:gd name="T59" fmla="*/ 852 h 983"/>
                  <a:gd name="T60" fmla="*/ 184 w 464"/>
                  <a:gd name="T61" fmla="*/ 887 h 983"/>
                  <a:gd name="T62" fmla="*/ 227 w 464"/>
                  <a:gd name="T63" fmla="*/ 936 h 983"/>
                  <a:gd name="T64" fmla="*/ 282 w 464"/>
                  <a:gd name="T65" fmla="*/ 877 h 983"/>
                  <a:gd name="T66" fmla="*/ 321 w 464"/>
                  <a:gd name="T67" fmla="*/ 848 h 983"/>
                  <a:gd name="T68" fmla="*/ 437 w 464"/>
                  <a:gd name="T69" fmla="*/ 785 h 983"/>
                  <a:gd name="T70" fmla="*/ 464 w 464"/>
                  <a:gd name="T71" fmla="*/ 694 h 983"/>
                  <a:gd name="T72" fmla="*/ 432 w 464"/>
                  <a:gd name="T73" fmla="*/ 547 h 983"/>
                  <a:gd name="T74" fmla="*/ 359 w 464"/>
                  <a:gd name="T75" fmla="*/ 460 h 983"/>
                  <a:gd name="T76" fmla="*/ 269 w 464"/>
                  <a:gd name="T77" fmla="*/ 358 h 983"/>
                  <a:gd name="T78" fmla="*/ 229 w 464"/>
                  <a:gd name="T79" fmla="*/ 282 h 983"/>
                  <a:gd name="T80" fmla="*/ 280 w 464"/>
                  <a:gd name="T81" fmla="*/ 200 h 983"/>
                  <a:gd name="T82" fmla="*/ 352 w 464"/>
                  <a:gd name="T83" fmla="*/ 136 h 983"/>
                  <a:gd name="T84" fmla="*/ 333 w 464"/>
                  <a:gd name="T85" fmla="*/ 121 h 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64" h="983">
                    <a:moveTo>
                      <a:pt x="333" y="121"/>
                    </a:moveTo>
                    <a:cubicBezTo>
                      <a:pt x="321" y="121"/>
                      <a:pt x="311" y="114"/>
                      <a:pt x="307" y="110"/>
                    </a:cubicBezTo>
                    <a:cubicBezTo>
                      <a:pt x="304" y="107"/>
                      <a:pt x="289" y="91"/>
                      <a:pt x="284" y="87"/>
                    </a:cubicBezTo>
                    <a:cubicBezTo>
                      <a:pt x="280" y="83"/>
                      <a:pt x="279" y="70"/>
                      <a:pt x="279" y="64"/>
                    </a:cubicBezTo>
                    <a:cubicBezTo>
                      <a:pt x="279" y="57"/>
                      <a:pt x="283" y="56"/>
                      <a:pt x="288" y="53"/>
                    </a:cubicBezTo>
                    <a:cubicBezTo>
                      <a:pt x="293" y="50"/>
                      <a:pt x="288" y="39"/>
                      <a:pt x="283" y="33"/>
                    </a:cubicBezTo>
                    <a:cubicBezTo>
                      <a:pt x="278" y="27"/>
                      <a:pt x="259" y="31"/>
                      <a:pt x="248" y="30"/>
                    </a:cubicBezTo>
                    <a:cubicBezTo>
                      <a:pt x="238" y="30"/>
                      <a:pt x="233" y="26"/>
                      <a:pt x="226" y="24"/>
                    </a:cubicBezTo>
                    <a:cubicBezTo>
                      <a:pt x="218" y="22"/>
                      <a:pt x="213" y="18"/>
                      <a:pt x="209" y="11"/>
                    </a:cubicBezTo>
                    <a:cubicBezTo>
                      <a:pt x="206" y="4"/>
                      <a:pt x="201" y="0"/>
                      <a:pt x="194" y="0"/>
                    </a:cubicBezTo>
                    <a:cubicBezTo>
                      <a:pt x="187" y="0"/>
                      <a:pt x="185" y="9"/>
                      <a:pt x="178" y="10"/>
                    </a:cubicBezTo>
                    <a:cubicBezTo>
                      <a:pt x="170" y="11"/>
                      <a:pt x="175" y="16"/>
                      <a:pt x="169" y="32"/>
                    </a:cubicBezTo>
                    <a:cubicBezTo>
                      <a:pt x="162" y="47"/>
                      <a:pt x="151" y="38"/>
                      <a:pt x="141" y="38"/>
                    </a:cubicBezTo>
                    <a:cubicBezTo>
                      <a:pt x="132" y="38"/>
                      <a:pt x="131" y="40"/>
                      <a:pt x="123" y="42"/>
                    </a:cubicBezTo>
                    <a:cubicBezTo>
                      <a:pt x="114" y="43"/>
                      <a:pt x="114" y="52"/>
                      <a:pt x="108" y="52"/>
                    </a:cubicBezTo>
                    <a:cubicBezTo>
                      <a:pt x="103" y="53"/>
                      <a:pt x="101" y="49"/>
                      <a:pt x="99" y="45"/>
                    </a:cubicBezTo>
                    <a:cubicBezTo>
                      <a:pt x="97" y="42"/>
                      <a:pt x="91" y="42"/>
                      <a:pt x="89" y="47"/>
                    </a:cubicBezTo>
                    <a:cubicBezTo>
                      <a:pt x="86" y="51"/>
                      <a:pt x="78" y="47"/>
                      <a:pt x="74" y="44"/>
                    </a:cubicBezTo>
                    <a:cubicBezTo>
                      <a:pt x="70" y="42"/>
                      <a:pt x="65" y="50"/>
                      <a:pt x="63" y="53"/>
                    </a:cubicBezTo>
                    <a:cubicBezTo>
                      <a:pt x="60" y="56"/>
                      <a:pt x="58" y="62"/>
                      <a:pt x="52" y="62"/>
                    </a:cubicBezTo>
                    <a:cubicBezTo>
                      <a:pt x="47" y="62"/>
                      <a:pt x="42" y="61"/>
                      <a:pt x="41" y="55"/>
                    </a:cubicBezTo>
                    <a:cubicBezTo>
                      <a:pt x="39" y="49"/>
                      <a:pt x="30" y="46"/>
                      <a:pt x="25" y="44"/>
                    </a:cubicBezTo>
                    <a:cubicBezTo>
                      <a:pt x="20" y="42"/>
                      <a:pt x="9" y="52"/>
                      <a:pt x="5" y="58"/>
                    </a:cubicBezTo>
                    <a:cubicBezTo>
                      <a:pt x="4" y="58"/>
                      <a:pt x="4" y="59"/>
                      <a:pt x="3" y="59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1" y="61"/>
                      <a:pt x="1" y="61"/>
                      <a:pt x="0" y="62"/>
                    </a:cubicBezTo>
                    <a:cubicBezTo>
                      <a:pt x="0" y="69"/>
                      <a:pt x="1" y="81"/>
                      <a:pt x="8" y="83"/>
                    </a:cubicBezTo>
                    <a:cubicBezTo>
                      <a:pt x="18" y="85"/>
                      <a:pt x="26" y="93"/>
                      <a:pt x="29" y="102"/>
                    </a:cubicBezTo>
                    <a:cubicBezTo>
                      <a:pt x="32" y="111"/>
                      <a:pt x="30" y="110"/>
                      <a:pt x="39" y="111"/>
                    </a:cubicBezTo>
                    <a:cubicBezTo>
                      <a:pt x="48" y="111"/>
                      <a:pt x="53" y="116"/>
                      <a:pt x="53" y="121"/>
                    </a:cubicBezTo>
                    <a:cubicBezTo>
                      <a:pt x="53" y="125"/>
                      <a:pt x="49" y="138"/>
                      <a:pt x="43" y="139"/>
                    </a:cubicBezTo>
                    <a:cubicBezTo>
                      <a:pt x="37" y="141"/>
                      <a:pt x="45" y="147"/>
                      <a:pt x="54" y="155"/>
                    </a:cubicBezTo>
                    <a:cubicBezTo>
                      <a:pt x="62" y="163"/>
                      <a:pt x="60" y="175"/>
                      <a:pt x="72" y="177"/>
                    </a:cubicBezTo>
                    <a:cubicBezTo>
                      <a:pt x="83" y="178"/>
                      <a:pt x="99" y="185"/>
                      <a:pt x="101" y="178"/>
                    </a:cubicBezTo>
                    <a:cubicBezTo>
                      <a:pt x="103" y="171"/>
                      <a:pt x="108" y="170"/>
                      <a:pt x="116" y="167"/>
                    </a:cubicBezTo>
                    <a:cubicBezTo>
                      <a:pt x="124" y="165"/>
                      <a:pt x="134" y="165"/>
                      <a:pt x="138" y="171"/>
                    </a:cubicBezTo>
                    <a:cubicBezTo>
                      <a:pt x="142" y="177"/>
                      <a:pt x="150" y="183"/>
                      <a:pt x="148" y="189"/>
                    </a:cubicBezTo>
                    <a:cubicBezTo>
                      <a:pt x="147" y="195"/>
                      <a:pt x="143" y="199"/>
                      <a:pt x="150" y="202"/>
                    </a:cubicBezTo>
                    <a:cubicBezTo>
                      <a:pt x="158" y="205"/>
                      <a:pt x="158" y="213"/>
                      <a:pt x="168" y="213"/>
                    </a:cubicBezTo>
                    <a:cubicBezTo>
                      <a:pt x="178" y="212"/>
                      <a:pt x="180" y="221"/>
                      <a:pt x="178" y="226"/>
                    </a:cubicBezTo>
                    <a:cubicBezTo>
                      <a:pt x="176" y="231"/>
                      <a:pt x="165" y="231"/>
                      <a:pt x="165" y="238"/>
                    </a:cubicBezTo>
                    <a:cubicBezTo>
                      <a:pt x="165" y="245"/>
                      <a:pt x="158" y="254"/>
                      <a:pt x="151" y="254"/>
                    </a:cubicBezTo>
                    <a:cubicBezTo>
                      <a:pt x="144" y="254"/>
                      <a:pt x="119" y="249"/>
                      <a:pt x="118" y="255"/>
                    </a:cubicBezTo>
                    <a:cubicBezTo>
                      <a:pt x="118" y="261"/>
                      <a:pt x="97" y="270"/>
                      <a:pt x="116" y="277"/>
                    </a:cubicBezTo>
                    <a:cubicBezTo>
                      <a:pt x="134" y="285"/>
                      <a:pt x="135" y="291"/>
                      <a:pt x="146" y="298"/>
                    </a:cubicBezTo>
                    <a:cubicBezTo>
                      <a:pt x="158" y="305"/>
                      <a:pt x="163" y="311"/>
                      <a:pt x="172" y="312"/>
                    </a:cubicBezTo>
                    <a:cubicBezTo>
                      <a:pt x="180" y="313"/>
                      <a:pt x="192" y="312"/>
                      <a:pt x="192" y="319"/>
                    </a:cubicBezTo>
                    <a:cubicBezTo>
                      <a:pt x="192" y="327"/>
                      <a:pt x="187" y="339"/>
                      <a:pt x="199" y="346"/>
                    </a:cubicBezTo>
                    <a:cubicBezTo>
                      <a:pt x="211" y="353"/>
                      <a:pt x="218" y="353"/>
                      <a:pt x="218" y="363"/>
                    </a:cubicBezTo>
                    <a:cubicBezTo>
                      <a:pt x="218" y="373"/>
                      <a:pt x="223" y="380"/>
                      <a:pt x="232" y="386"/>
                    </a:cubicBezTo>
                    <a:cubicBezTo>
                      <a:pt x="242" y="392"/>
                      <a:pt x="261" y="409"/>
                      <a:pt x="268" y="415"/>
                    </a:cubicBezTo>
                    <a:cubicBezTo>
                      <a:pt x="274" y="421"/>
                      <a:pt x="277" y="428"/>
                      <a:pt x="280" y="439"/>
                    </a:cubicBezTo>
                    <a:cubicBezTo>
                      <a:pt x="282" y="449"/>
                      <a:pt x="283" y="455"/>
                      <a:pt x="294" y="458"/>
                    </a:cubicBezTo>
                    <a:cubicBezTo>
                      <a:pt x="306" y="461"/>
                      <a:pt x="303" y="468"/>
                      <a:pt x="313" y="472"/>
                    </a:cubicBezTo>
                    <a:cubicBezTo>
                      <a:pt x="323" y="476"/>
                      <a:pt x="323" y="481"/>
                      <a:pt x="327" y="483"/>
                    </a:cubicBezTo>
                    <a:cubicBezTo>
                      <a:pt x="331" y="485"/>
                      <a:pt x="340" y="495"/>
                      <a:pt x="335" y="497"/>
                    </a:cubicBezTo>
                    <a:cubicBezTo>
                      <a:pt x="330" y="500"/>
                      <a:pt x="319" y="499"/>
                      <a:pt x="319" y="505"/>
                    </a:cubicBezTo>
                    <a:cubicBezTo>
                      <a:pt x="319" y="510"/>
                      <a:pt x="315" y="517"/>
                      <a:pt x="324" y="520"/>
                    </a:cubicBezTo>
                    <a:cubicBezTo>
                      <a:pt x="332" y="523"/>
                      <a:pt x="338" y="528"/>
                      <a:pt x="344" y="535"/>
                    </a:cubicBezTo>
                    <a:cubicBezTo>
                      <a:pt x="350" y="541"/>
                      <a:pt x="356" y="550"/>
                      <a:pt x="346" y="553"/>
                    </a:cubicBezTo>
                    <a:cubicBezTo>
                      <a:pt x="336" y="557"/>
                      <a:pt x="338" y="562"/>
                      <a:pt x="339" y="565"/>
                    </a:cubicBezTo>
                    <a:cubicBezTo>
                      <a:pt x="339" y="566"/>
                      <a:pt x="339" y="566"/>
                      <a:pt x="339" y="566"/>
                    </a:cubicBezTo>
                    <a:cubicBezTo>
                      <a:pt x="339" y="566"/>
                      <a:pt x="339" y="566"/>
                      <a:pt x="339" y="567"/>
                    </a:cubicBezTo>
                    <a:cubicBezTo>
                      <a:pt x="339" y="567"/>
                      <a:pt x="339" y="567"/>
                      <a:pt x="340" y="567"/>
                    </a:cubicBezTo>
                    <a:cubicBezTo>
                      <a:pt x="340" y="567"/>
                      <a:pt x="340" y="567"/>
                      <a:pt x="340" y="568"/>
                    </a:cubicBezTo>
                    <a:cubicBezTo>
                      <a:pt x="340" y="568"/>
                      <a:pt x="340" y="568"/>
                      <a:pt x="340" y="568"/>
                    </a:cubicBezTo>
                    <a:cubicBezTo>
                      <a:pt x="340" y="568"/>
                      <a:pt x="340" y="569"/>
                      <a:pt x="340" y="569"/>
                    </a:cubicBezTo>
                    <a:cubicBezTo>
                      <a:pt x="340" y="569"/>
                      <a:pt x="340" y="569"/>
                      <a:pt x="340" y="569"/>
                    </a:cubicBezTo>
                    <a:cubicBezTo>
                      <a:pt x="340" y="573"/>
                      <a:pt x="339" y="580"/>
                      <a:pt x="332" y="582"/>
                    </a:cubicBezTo>
                    <a:cubicBezTo>
                      <a:pt x="333" y="588"/>
                      <a:pt x="331" y="594"/>
                      <a:pt x="329" y="601"/>
                    </a:cubicBezTo>
                    <a:cubicBezTo>
                      <a:pt x="326" y="614"/>
                      <a:pt x="325" y="620"/>
                      <a:pt x="333" y="623"/>
                    </a:cubicBezTo>
                    <a:cubicBezTo>
                      <a:pt x="341" y="625"/>
                      <a:pt x="338" y="643"/>
                      <a:pt x="343" y="644"/>
                    </a:cubicBezTo>
                    <a:cubicBezTo>
                      <a:pt x="348" y="645"/>
                      <a:pt x="350" y="672"/>
                      <a:pt x="348" y="685"/>
                    </a:cubicBezTo>
                    <a:cubicBezTo>
                      <a:pt x="347" y="699"/>
                      <a:pt x="343" y="705"/>
                      <a:pt x="334" y="713"/>
                    </a:cubicBezTo>
                    <a:cubicBezTo>
                      <a:pt x="324" y="721"/>
                      <a:pt x="317" y="728"/>
                      <a:pt x="312" y="737"/>
                    </a:cubicBezTo>
                    <a:cubicBezTo>
                      <a:pt x="308" y="745"/>
                      <a:pt x="307" y="745"/>
                      <a:pt x="298" y="745"/>
                    </a:cubicBezTo>
                    <a:cubicBezTo>
                      <a:pt x="288" y="746"/>
                      <a:pt x="286" y="754"/>
                      <a:pt x="278" y="754"/>
                    </a:cubicBezTo>
                    <a:cubicBezTo>
                      <a:pt x="270" y="754"/>
                      <a:pt x="276" y="773"/>
                      <a:pt x="266" y="773"/>
                    </a:cubicBezTo>
                    <a:cubicBezTo>
                      <a:pt x="257" y="773"/>
                      <a:pt x="256" y="768"/>
                      <a:pt x="251" y="763"/>
                    </a:cubicBezTo>
                    <a:cubicBezTo>
                      <a:pt x="246" y="759"/>
                      <a:pt x="246" y="768"/>
                      <a:pt x="238" y="771"/>
                    </a:cubicBezTo>
                    <a:cubicBezTo>
                      <a:pt x="230" y="775"/>
                      <a:pt x="230" y="776"/>
                      <a:pt x="229" y="785"/>
                    </a:cubicBezTo>
                    <a:cubicBezTo>
                      <a:pt x="228" y="795"/>
                      <a:pt x="238" y="792"/>
                      <a:pt x="238" y="803"/>
                    </a:cubicBezTo>
                    <a:cubicBezTo>
                      <a:pt x="239" y="813"/>
                      <a:pt x="250" y="809"/>
                      <a:pt x="258" y="815"/>
                    </a:cubicBezTo>
                    <a:cubicBezTo>
                      <a:pt x="265" y="820"/>
                      <a:pt x="258" y="826"/>
                      <a:pt x="252" y="832"/>
                    </a:cubicBezTo>
                    <a:cubicBezTo>
                      <a:pt x="246" y="838"/>
                      <a:pt x="239" y="831"/>
                      <a:pt x="234" y="823"/>
                    </a:cubicBezTo>
                    <a:cubicBezTo>
                      <a:pt x="230" y="815"/>
                      <a:pt x="225" y="819"/>
                      <a:pt x="200" y="819"/>
                    </a:cubicBezTo>
                    <a:cubicBezTo>
                      <a:pt x="174" y="819"/>
                      <a:pt x="182" y="829"/>
                      <a:pt x="182" y="838"/>
                    </a:cubicBezTo>
                    <a:cubicBezTo>
                      <a:pt x="182" y="847"/>
                      <a:pt x="178" y="850"/>
                      <a:pt x="157" y="848"/>
                    </a:cubicBezTo>
                    <a:cubicBezTo>
                      <a:pt x="148" y="847"/>
                      <a:pt x="143" y="849"/>
                      <a:pt x="140" y="852"/>
                    </a:cubicBezTo>
                    <a:cubicBezTo>
                      <a:pt x="144" y="855"/>
                      <a:pt x="149" y="858"/>
                      <a:pt x="153" y="858"/>
                    </a:cubicBezTo>
                    <a:cubicBezTo>
                      <a:pt x="164" y="860"/>
                      <a:pt x="174" y="864"/>
                      <a:pt x="180" y="873"/>
                    </a:cubicBezTo>
                    <a:cubicBezTo>
                      <a:pt x="186" y="881"/>
                      <a:pt x="193" y="883"/>
                      <a:pt x="184" y="887"/>
                    </a:cubicBezTo>
                    <a:cubicBezTo>
                      <a:pt x="176" y="891"/>
                      <a:pt x="179" y="940"/>
                      <a:pt x="173" y="962"/>
                    </a:cubicBezTo>
                    <a:cubicBezTo>
                      <a:pt x="167" y="983"/>
                      <a:pt x="193" y="967"/>
                      <a:pt x="200" y="954"/>
                    </a:cubicBezTo>
                    <a:cubicBezTo>
                      <a:pt x="207" y="941"/>
                      <a:pt x="219" y="936"/>
                      <a:pt x="227" y="936"/>
                    </a:cubicBezTo>
                    <a:cubicBezTo>
                      <a:pt x="236" y="936"/>
                      <a:pt x="245" y="926"/>
                      <a:pt x="252" y="910"/>
                    </a:cubicBezTo>
                    <a:cubicBezTo>
                      <a:pt x="259" y="894"/>
                      <a:pt x="263" y="910"/>
                      <a:pt x="276" y="910"/>
                    </a:cubicBezTo>
                    <a:cubicBezTo>
                      <a:pt x="289" y="910"/>
                      <a:pt x="276" y="880"/>
                      <a:pt x="282" y="877"/>
                    </a:cubicBezTo>
                    <a:cubicBezTo>
                      <a:pt x="288" y="874"/>
                      <a:pt x="296" y="871"/>
                      <a:pt x="292" y="867"/>
                    </a:cubicBezTo>
                    <a:cubicBezTo>
                      <a:pt x="288" y="863"/>
                      <a:pt x="289" y="850"/>
                      <a:pt x="289" y="843"/>
                    </a:cubicBezTo>
                    <a:cubicBezTo>
                      <a:pt x="289" y="835"/>
                      <a:pt x="306" y="844"/>
                      <a:pt x="321" y="848"/>
                    </a:cubicBezTo>
                    <a:cubicBezTo>
                      <a:pt x="335" y="853"/>
                      <a:pt x="351" y="845"/>
                      <a:pt x="362" y="840"/>
                    </a:cubicBezTo>
                    <a:cubicBezTo>
                      <a:pt x="374" y="834"/>
                      <a:pt x="379" y="823"/>
                      <a:pt x="401" y="812"/>
                    </a:cubicBezTo>
                    <a:cubicBezTo>
                      <a:pt x="422" y="802"/>
                      <a:pt x="424" y="791"/>
                      <a:pt x="437" y="785"/>
                    </a:cubicBezTo>
                    <a:cubicBezTo>
                      <a:pt x="450" y="780"/>
                      <a:pt x="445" y="751"/>
                      <a:pt x="445" y="737"/>
                    </a:cubicBezTo>
                    <a:cubicBezTo>
                      <a:pt x="445" y="722"/>
                      <a:pt x="448" y="714"/>
                      <a:pt x="454" y="714"/>
                    </a:cubicBezTo>
                    <a:cubicBezTo>
                      <a:pt x="460" y="714"/>
                      <a:pt x="464" y="705"/>
                      <a:pt x="464" y="694"/>
                    </a:cubicBezTo>
                    <a:cubicBezTo>
                      <a:pt x="464" y="682"/>
                      <a:pt x="455" y="681"/>
                      <a:pt x="455" y="675"/>
                    </a:cubicBezTo>
                    <a:cubicBezTo>
                      <a:pt x="455" y="669"/>
                      <a:pt x="458" y="628"/>
                      <a:pt x="458" y="606"/>
                    </a:cubicBezTo>
                    <a:cubicBezTo>
                      <a:pt x="458" y="585"/>
                      <a:pt x="437" y="565"/>
                      <a:pt x="432" y="547"/>
                    </a:cubicBezTo>
                    <a:cubicBezTo>
                      <a:pt x="428" y="530"/>
                      <a:pt x="424" y="527"/>
                      <a:pt x="409" y="516"/>
                    </a:cubicBezTo>
                    <a:cubicBezTo>
                      <a:pt x="395" y="504"/>
                      <a:pt x="392" y="503"/>
                      <a:pt x="391" y="490"/>
                    </a:cubicBezTo>
                    <a:cubicBezTo>
                      <a:pt x="389" y="477"/>
                      <a:pt x="375" y="471"/>
                      <a:pt x="359" y="460"/>
                    </a:cubicBezTo>
                    <a:cubicBezTo>
                      <a:pt x="344" y="448"/>
                      <a:pt x="325" y="443"/>
                      <a:pt x="315" y="421"/>
                    </a:cubicBezTo>
                    <a:cubicBezTo>
                      <a:pt x="305" y="400"/>
                      <a:pt x="293" y="398"/>
                      <a:pt x="276" y="387"/>
                    </a:cubicBezTo>
                    <a:cubicBezTo>
                      <a:pt x="259" y="375"/>
                      <a:pt x="269" y="370"/>
                      <a:pt x="269" y="358"/>
                    </a:cubicBezTo>
                    <a:cubicBezTo>
                      <a:pt x="269" y="347"/>
                      <a:pt x="258" y="341"/>
                      <a:pt x="248" y="335"/>
                    </a:cubicBezTo>
                    <a:cubicBezTo>
                      <a:pt x="237" y="329"/>
                      <a:pt x="232" y="314"/>
                      <a:pt x="226" y="309"/>
                    </a:cubicBezTo>
                    <a:cubicBezTo>
                      <a:pt x="220" y="305"/>
                      <a:pt x="225" y="284"/>
                      <a:pt x="229" y="282"/>
                    </a:cubicBezTo>
                    <a:cubicBezTo>
                      <a:pt x="233" y="281"/>
                      <a:pt x="233" y="262"/>
                      <a:pt x="233" y="251"/>
                    </a:cubicBezTo>
                    <a:cubicBezTo>
                      <a:pt x="233" y="239"/>
                      <a:pt x="242" y="231"/>
                      <a:pt x="255" y="226"/>
                    </a:cubicBezTo>
                    <a:cubicBezTo>
                      <a:pt x="268" y="222"/>
                      <a:pt x="270" y="213"/>
                      <a:pt x="280" y="200"/>
                    </a:cubicBezTo>
                    <a:cubicBezTo>
                      <a:pt x="291" y="188"/>
                      <a:pt x="286" y="180"/>
                      <a:pt x="288" y="166"/>
                    </a:cubicBezTo>
                    <a:cubicBezTo>
                      <a:pt x="289" y="152"/>
                      <a:pt x="313" y="160"/>
                      <a:pt x="331" y="160"/>
                    </a:cubicBezTo>
                    <a:cubicBezTo>
                      <a:pt x="348" y="160"/>
                      <a:pt x="339" y="139"/>
                      <a:pt x="352" y="136"/>
                    </a:cubicBezTo>
                    <a:cubicBezTo>
                      <a:pt x="363" y="134"/>
                      <a:pt x="363" y="131"/>
                      <a:pt x="372" y="124"/>
                    </a:cubicBezTo>
                    <a:cubicBezTo>
                      <a:pt x="367" y="122"/>
                      <a:pt x="363" y="122"/>
                      <a:pt x="358" y="119"/>
                    </a:cubicBezTo>
                    <a:cubicBezTo>
                      <a:pt x="351" y="115"/>
                      <a:pt x="344" y="121"/>
                      <a:pt x="333" y="12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89" name="Freeform 343">
                <a:extLst>
                  <a:ext uri="{FF2B5EF4-FFF2-40B4-BE49-F238E27FC236}">
                    <a16:creationId xmlns:a16="http://schemas.microsoft.com/office/drawing/2014/main" id="{96EF2122-8FD9-8549-B1AA-740E5792F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7" y="2247"/>
                <a:ext cx="136" cy="244"/>
              </a:xfrm>
              <a:custGeom>
                <a:avLst/>
                <a:gdLst>
                  <a:gd name="T0" fmla="*/ 324 w 534"/>
                  <a:gd name="T1" fmla="*/ 452 h 962"/>
                  <a:gd name="T2" fmla="*/ 397 w 534"/>
                  <a:gd name="T3" fmla="*/ 391 h 962"/>
                  <a:gd name="T4" fmla="*/ 465 w 534"/>
                  <a:gd name="T5" fmla="*/ 391 h 962"/>
                  <a:gd name="T6" fmla="*/ 486 w 534"/>
                  <a:gd name="T7" fmla="*/ 399 h 962"/>
                  <a:gd name="T8" fmla="*/ 490 w 534"/>
                  <a:gd name="T9" fmla="*/ 401 h 962"/>
                  <a:gd name="T10" fmla="*/ 493 w 534"/>
                  <a:gd name="T11" fmla="*/ 402 h 962"/>
                  <a:gd name="T12" fmla="*/ 503 w 534"/>
                  <a:gd name="T13" fmla="*/ 402 h 962"/>
                  <a:gd name="T14" fmla="*/ 504 w 534"/>
                  <a:gd name="T15" fmla="*/ 401 h 962"/>
                  <a:gd name="T16" fmla="*/ 505 w 534"/>
                  <a:gd name="T17" fmla="*/ 399 h 962"/>
                  <a:gd name="T18" fmla="*/ 513 w 534"/>
                  <a:gd name="T19" fmla="*/ 351 h 962"/>
                  <a:gd name="T20" fmla="*/ 523 w 534"/>
                  <a:gd name="T21" fmla="*/ 302 h 962"/>
                  <a:gd name="T22" fmla="*/ 471 w 534"/>
                  <a:gd name="T23" fmla="*/ 246 h 962"/>
                  <a:gd name="T24" fmla="*/ 456 w 534"/>
                  <a:gd name="T25" fmla="*/ 183 h 962"/>
                  <a:gd name="T26" fmla="*/ 376 w 534"/>
                  <a:gd name="T27" fmla="*/ 135 h 962"/>
                  <a:gd name="T28" fmla="*/ 328 w 534"/>
                  <a:gd name="T29" fmla="*/ 159 h 962"/>
                  <a:gd name="T30" fmla="*/ 270 w 534"/>
                  <a:gd name="T31" fmla="*/ 171 h 962"/>
                  <a:gd name="T32" fmla="*/ 227 w 534"/>
                  <a:gd name="T33" fmla="*/ 189 h 962"/>
                  <a:gd name="T34" fmla="*/ 243 w 534"/>
                  <a:gd name="T35" fmla="*/ 155 h 962"/>
                  <a:gd name="T36" fmla="*/ 247 w 534"/>
                  <a:gd name="T37" fmla="*/ 113 h 962"/>
                  <a:gd name="T38" fmla="*/ 241 w 534"/>
                  <a:gd name="T39" fmla="*/ 57 h 962"/>
                  <a:gd name="T40" fmla="*/ 211 w 534"/>
                  <a:gd name="T41" fmla="*/ 62 h 962"/>
                  <a:gd name="T42" fmla="*/ 204 w 534"/>
                  <a:gd name="T43" fmla="*/ 27 h 962"/>
                  <a:gd name="T44" fmla="*/ 173 w 534"/>
                  <a:gd name="T45" fmla="*/ 0 h 962"/>
                  <a:gd name="T46" fmla="*/ 169 w 534"/>
                  <a:gd name="T47" fmla="*/ 2 h 962"/>
                  <a:gd name="T48" fmla="*/ 154 w 534"/>
                  <a:gd name="T49" fmla="*/ 3 h 962"/>
                  <a:gd name="T50" fmla="*/ 124 w 534"/>
                  <a:gd name="T51" fmla="*/ 19 h 962"/>
                  <a:gd name="T52" fmla="*/ 40 w 534"/>
                  <a:gd name="T53" fmla="*/ 46 h 962"/>
                  <a:gd name="T54" fmla="*/ 14 w 534"/>
                  <a:gd name="T55" fmla="*/ 137 h 962"/>
                  <a:gd name="T56" fmla="*/ 68 w 534"/>
                  <a:gd name="T57" fmla="*/ 229 h 962"/>
                  <a:gd name="T58" fmla="*/ 80 w 534"/>
                  <a:gd name="T59" fmla="*/ 287 h 962"/>
                  <a:gd name="T60" fmla="*/ 56 w 534"/>
                  <a:gd name="T61" fmla="*/ 361 h 962"/>
                  <a:gd name="T62" fmla="*/ 115 w 534"/>
                  <a:gd name="T63" fmla="*/ 434 h 962"/>
                  <a:gd name="T64" fmla="*/ 137 w 534"/>
                  <a:gd name="T65" fmla="*/ 542 h 962"/>
                  <a:gd name="T66" fmla="*/ 100 w 534"/>
                  <a:gd name="T67" fmla="*/ 622 h 962"/>
                  <a:gd name="T68" fmla="*/ 70 w 534"/>
                  <a:gd name="T69" fmla="*/ 715 h 962"/>
                  <a:gd name="T70" fmla="*/ 61 w 534"/>
                  <a:gd name="T71" fmla="*/ 817 h 962"/>
                  <a:gd name="T72" fmla="*/ 75 w 534"/>
                  <a:gd name="T73" fmla="*/ 789 h 962"/>
                  <a:gd name="T74" fmla="*/ 135 w 534"/>
                  <a:gd name="T75" fmla="*/ 838 h 962"/>
                  <a:gd name="T76" fmla="*/ 178 w 534"/>
                  <a:gd name="T77" fmla="*/ 897 h 962"/>
                  <a:gd name="T78" fmla="*/ 228 w 534"/>
                  <a:gd name="T79" fmla="*/ 917 h 962"/>
                  <a:gd name="T80" fmla="*/ 240 w 534"/>
                  <a:gd name="T81" fmla="*/ 960 h 962"/>
                  <a:gd name="T82" fmla="*/ 277 w 534"/>
                  <a:gd name="T83" fmla="*/ 952 h 962"/>
                  <a:gd name="T84" fmla="*/ 303 w 534"/>
                  <a:gd name="T85" fmla="*/ 920 h 962"/>
                  <a:gd name="T86" fmla="*/ 190 w 534"/>
                  <a:gd name="T87" fmla="*/ 848 h 962"/>
                  <a:gd name="T88" fmla="*/ 176 w 534"/>
                  <a:gd name="T89" fmla="*/ 774 h 962"/>
                  <a:gd name="T90" fmla="*/ 133 w 534"/>
                  <a:gd name="T91" fmla="*/ 724 h 962"/>
                  <a:gd name="T92" fmla="*/ 122 w 534"/>
                  <a:gd name="T93" fmla="*/ 652 h 962"/>
                  <a:gd name="T94" fmla="*/ 170 w 534"/>
                  <a:gd name="T95" fmla="*/ 537 h 962"/>
                  <a:gd name="T96" fmla="*/ 172 w 534"/>
                  <a:gd name="T97" fmla="*/ 470 h 962"/>
                  <a:gd name="T98" fmla="*/ 226 w 534"/>
                  <a:gd name="T99" fmla="*/ 496 h 962"/>
                  <a:gd name="T100" fmla="*/ 349 w 534"/>
                  <a:gd name="T101" fmla="*/ 562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34" h="962">
                    <a:moveTo>
                      <a:pt x="331" y="507"/>
                    </a:moveTo>
                    <a:cubicBezTo>
                      <a:pt x="325" y="497"/>
                      <a:pt x="331" y="491"/>
                      <a:pt x="320" y="477"/>
                    </a:cubicBezTo>
                    <a:cubicBezTo>
                      <a:pt x="309" y="464"/>
                      <a:pt x="316" y="457"/>
                      <a:pt x="324" y="452"/>
                    </a:cubicBezTo>
                    <a:cubicBezTo>
                      <a:pt x="332" y="447"/>
                      <a:pt x="353" y="419"/>
                      <a:pt x="356" y="409"/>
                    </a:cubicBezTo>
                    <a:cubicBezTo>
                      <a:pt x="359" y="400"/>
                      <a:pt x="367" y="397"/>
                      <a:pt x="373" y="397"/>
                    </a:cubicBezTo>
                    <a:cubicBezTo>
                      <a:pt x="379" y="397"/>
                      <a:pt x="392" y="399"/>
                      <a:pt x="397" y="391"/>
                    </a:cubicBezTo>
                    <a:cubicBezTo>
                      <a:pt x="403" y="384"/>
                      <a:pt x="410" y="399"/>
                      <a:pt x="418" y="397"/>
                    </a:cubicBezTo>
                    <a:cubicBezTo>
                      <a:pt x="426" y="394"/>
                      <a:pt x="443" y="395"/>
                      <a:pt x="446" y="397"/>
                    </a:cubicBezTo>
                    <a:cubicBezTo>
                      <a:pt x="449" y="399"/>
                      <a:pt x="463" y="396"/>
                      <a:pt x="465" y="391"/>
                    </a:cubicBezTo>
                    <a:cubicBezTo>
                      <a:pt x="468" y="385"/>
                      <a:pt x="477" y="391"/>
                      <a:pt x="483" y="397"/>
                    </a:cubicBezTo>
                    <a:cubicBezTo>
                      <a:pt x="484" y="398"/>
                      <a:pt x="485" y="399"/>
                      <a:pt x="485" y="399"/>
                    </a:cubicBezTo>
                    <a:cubicBezTo>
                      <a:pt x="485" y="399"/>
                      <a:pt x="486" y="399"/>
                      <a:pt x="486" y="399"/>
                    </a:cubicBezTo>
                    <a:cubicBezTo>
                      <a:pt x="486" y="400"/>
                      <a:pt x="487" y="400"/>
                      <a:pt x="488" y="401"/>
                    </a:cubicBezTo>
                    <a:cubicBezTo>
                      <a:pt x="488" y="401"/>
                      <a:pt x="488" y="401"/>
                      <a:pt x="488" y="401"/>
                    </a:cubicBezTo>
                    <a:cubicBezTo>
                      <a:pt x="489" y="401"/>
                      <a:pt x="490" y="401"/>
                      <a:pt x="490" y="401"/>
                    </a:cubicBezTo>
                    <a:cubicBezTo>
                      <a:pt x="490" y="402"/>
                      <a:pt x="491" y="402"/>
                      <a:pt x="491" y="402"/>
                    </a:cubicBezTo>
                    <a:cubicBezTo>
                      <a:pt x="492" y="402"/>
                      <a:pt x="492" y="402"/>
                      <a:pt x="493" y="402"/>
                    </a:cubicBezTo>
                    <a:cubicBezTo>
                      <a:pt x="493" y="402"/>
                      <a:pt x="493" y="402"/>
                      <a:pt x="493" y="402"/>
                    </a:cubicBezTo>
                    <a:cubicBezTo>
                      <a:pt x="494" y="402"/>
                      <a:pt x="495" y="403"/>
                      <a:pt x="496" y="403"/>
                    </a:cubicBezTo>
                    <a:cubicBezTo>
                      <a:pt x="496" y="403"/>
                      <a:pt x="496" y="403"/>
                      <a:pt x="496" y="403"/>
                    </a:cubicBezTo>
                    <a:cubicBezTo>
                      <a:pt x="499" y="403"/>
                      <a:pt x="501" y="403"/>
                      <a:pt x="503" y="402"/>
                    </a:cubicBezTo>
                    <a:cubicBezTo>
                      <a:pt x="503" y="402"/>
                      <a:pt x="503" y="402"/>
                      <a:pt x="504" y="401"/>
                    </a:cubicBezTo>
                    <a:cubicBezTo>
                      <a:pt x="504" y="401"/>
                      <a:pt x="504" y="401"/>
                      <a:pt x="504" y="401"/>
                    </a:cubicBezTo>
                    <a:cubicBezTo>
                      <a:pt x="504" y="401"/>
                      <a:pt x="504" y="401"/>
                      <a:pt x="504" y="401"/>
                    </a:cubicBezTo>
                    <a:cubicBezTo>
                      <a:pt x="505" y="401"/>
                      <a:pt x="505" y="401"/>
                      <a:pt x="505" y="401"/>
                    </a:cubicBezTo>
                    <a:cubicBezTo>
                      <a:pt x="505" y="400"/>
                      <a:pt x="505" y="400"/>
                      <a:pt x="505" y="400"/>
                    </a:cubicBezTo>
                    <a:cubicBezTo>
                      <a:pt x="505" y="400"/>
                      <a:pt x="505" y="400"/>
                      <a:pt x="505" y="399"/>
                    </a:cubicBezTo>
                    <a:cubicBezTo>
                      <a:pt x="507" y="395"/>
                      <a:pt x="515" y="388"/>
                      <a:pt x="519" y="386"/>
                    </a:cubicBezTo>
                    <a:cubicBezTo>
                      <a:pt x="522" y="384"/>
                      <a:pt x="521" y="373"/>
                      <a:pt x="521" y="369"/>
                    </a:cubicBezTo>
                    <a:cubicBezTo>
                      <a:pt x="521" y="364"/>
                      <a:pt x="521" y="358"/>
                      <a:pt x="513" y="351"/>
                    </a:cubicBezTo>
                    <a:cubicBezTo>
                      <a:pt x="506" y="343"/>
                      <a:pt x="519" y="343"/>
                      <a:pt x="519" y="338"/>
                    </a:cubicBezTo>
                    <a:cubicBezTo>
                      <a:pt x="520" y="333"/>
                      <a:pt x="525" y="330"/>
                      <a:pt x="529" y="325"/>
                    </a:cubicBezTo>
                    <a:cubicBezTo>
                      <a:pt x="534" y="321"/>
                      <a:pt x="525" y="311"/>
                      <a:pt x="523" y="302"/>
                    </a:cubicBezTo>
                    <a:cubicBezTo>
                      <a:pt x="520" y="293"/>
                      <a:pt x="506" y="289"/>
                      <a:pt x="500" y="285"/>
                    </a:cubicBezTo>
                    <a:cubicBezTo>
                      <a:pt x="494" y="282"/>
                      <a:pt x="490" y="275"/>
                      <a:pt x="477" y="268"/>
                    </a:cubicBezTo>
                    <a:cubicBezTo>
                      <a:pt x="465" y="261"/>
                      <a:pt x="471" y="253"/>
                      <a:pt x="471" y="246"/>
                    </a:cubicBezTo>
                    <a:cubicBezTo>
                      <a:pt x="471" y="239"/>
                      <a:pt x="471" y="233"/>
                      <a:pt x="471" y="225"/>
                    </a:cubicBezTo>
                    <a:cubicBezTo>
                      <a:pt x="470" y="218"/>
                      <a:pt x="477" y="211"/>
                      <a:pt x="475" y="204"/>
                    </a:cubicBezTo>
                    <a:cubicBezTo>
                      <a:pt x="473" y="197"/>
                      <a:pt x="465" y="189"/>
                      <a:pt x="456" y="183"/>
                    </a:cubicBezTo>
                    <a:cubicBezTo>
                      <a:pt x="447" y="178"/>
                      <a:pt x="437" y="164"/>
                      <a:pt x="431" y="155"/>
                    </a:cubicBezTo>
                    <a:cubicBezTo>
                      <a:pt x="426" y="145"/>
                      <a:pt x="418" y="143"/>
                      <a:pt x="412" y="137"/>
                    </a:cubicBezTo>
                    <a:cubicBezTo>
                      <a:pt x="406" y="131"/>
                      <a:pt x="384" y="132"/>
                      <a:pt x="376" y="135"/>
                    </a:cubicBezTo>
                    <a:cubicBezTo>
                      <a:pt x="368" y="137"/>
                      <a:pt x="371" y="156"/>
                      <a:pt x="359" y="158"/>
                    </a:cubicBezTo>
                    <a:cubicBezTo>
                      <a:pt x="346" y="160"/>
                      <a:pt x="351" y="161"/>
                      <a:pt x="345" y="168"/>
                    </a:cubicBezTo>
                    <a:cubicBezTo>
                      <a:pt x="339" y="175"/>
                      <a:pt x="333" y="161"/>
                      <a:pt x="328" y="159"/>
                    </a:cubicBezTo>
                    <a:cubicBezTo>
                      <a:pt x="323" y="157"/>
                      <a:pt x="323" y="161"/>
                      <a:pt x="312" y="148"/>
                    </a:cubicBezTo>
                    <a:cubicBezTo>
                      <a:pt x="301" y="135"/>
                      <a:pt x="295" y="151"/>
                      <a:pt x="283" y="155"/>
                    </a:cubicBezTo>
                    <a:cubicBezTo>
                      <a:pt x="271" y="159"/>
                      <a:pt x="280" y="167"/>
                      <a:pt x="270" y="171"/>
                    </a:cubicBezTo>
                    <a:cubicBezTo>
                      <a:pt x="260" y="175"/>
                      <a:pt x="255" y="183"/>
                      <a:pt x="252" y="190"/>
                    </a:cubicBezTo>
                    <a:cubicBezTo>
                      <a:pt x="249" y="197"/>
                      <a:pt x="244" y="196"/>
                      <a:pt x="235" y="196"/>
                    </a:cubicBezTo>
                    <a:cubicBezTo>
                      <a:pt x="225" y="196"/>
                      <a:pt x="233" y="193"/>
                      <a:pt x="227" y="189"/>
                    </a:cubicBezTo>
                    <a:cubicBezTo>
                      <a:pt x="221" y="186"/>
                      <a:pt x="219" y="183"/>
                      <a:pt x="222" y="179"/>
                    </a:cubicBezTo>
                    <a:cubicBezTo>
                      <a:pt x="225" y="175"/>
                      <a:pt x="232" y="171"/>
                      <a:pt x="232" y="167"/>
                    </a:cubicBezTo>
                    <a:cubicBezTo>
                      <a:pt x="232" y="163"/>
                      <a:pt x="239" y="159"/>
                      <a:pt x="243" y="155"/>
                    </a:cubicBezTo>
                    <a:cubicBezTo>
                      <a:pt x="246" y="150"/>
                      <a:pt x="245" y="144"/>
                      <a:pt x="241" y="141"/>
                    </a:cubicBezTo>
                    <a:cubicBezTo>
                      <a:pt x="237" y="139"/>
                      <a:pt x="238" y="129"/>
                      <a:pt x="237" y="124"/>
                    </a:cubicBezTo>
                    <a:cubicBezTo>
                      <a:pt x="237" y="119"/>
                      <a:pt x="241" y="115"/>
                      <a:pt x="247" y="113"/>
                    </a:cubicBezTo>
                    <a:cubicBezTo>
                      <a:pt x="252" y="110"/>
                      <a:pt x="249" y="94"/>
                      <a:pt x="249" y="87"/>
                    </a:cubicBezTo>
                    <a:cubicBezTo>
                      <a:pt x="249" y="81"/>
                      <a:pt x="250" y="72"/>
                      <a:pt x="248" y="71"/>
                    </a:cubicBezTo>
                    <a:cubicBezTo>
                      <a:pt x="246" y="69"/>
                      <a:pt x="241" y="63"/>
                      <a:pt x="241" y="57"/>
                    </a:cubicBezTo>
                    <a:cubicBezTo>
                      <a:pt x="241" y="51"/>
                      <a:pt x="237" y="50"/>
                      <a:pt x="232" y="50"/>
                    </a:cubicBezTo>
                    <a:cubicBezTo>
                      <a:pt x="227" y="50"/>
                      <a:pt x="223" y="51"/>
                      <a:pt x="223" y="57"/>
                    </a:cubicBezTo>
                    <a:cubicBezTo>
                      <a:pt x="223" y="62"/>
                      <a:pt x="220" y="61"/>
                      <a:pt x="211" y="62"/>
                    </a:cubicBezTo>
                    <a:cubicBezTo>
                      <a:pt x="203" y="63"/>
                      <a:pt x="203" y="57"/>
                      <a:pt x="195" y="51"/>
                    </a:cubicBezTo>
                    <a:cubicBezTo>
                      <a:pt x="186" y="44"/>
                      <a:pt x="196" y="44"/>
                      <a:pt x="196" y="39"/>
                    </a:cubicBezTo>
                    <a:cubicBezTo>
                      <a:pt x="196" y="35"/>
                      <a:pt x="196" y="35"/>
                      <a:pt x="204" y="27"/>
                    </a:cubicBezTo>
                    <a:cubicBezTo>
                      <a:pt x="212" y="19"/>
                      <a:pt x="203" y="19"/>
                      <a:pt x="201" y="17"/>
                    </a:cubicBezTo>
                    <a:cubicBezTo>
                      <a:pt x="199" y="14"/>
                      <a:pt x="198" y="4"/>
                      <a:pt x="184" y="5"/>
                    </a:cubicBezTo>
                    <a:cubicBezTo>
                      <a:pt x="178" y="6"/>
                      <a:pt x="175" y="3"/>
                      <a:pt x="173" y="0"/>
                    </a:cubicBezTo>
                    <a:cubicBezTo>
                      <a:pt x="173" y="0"/>
                      <a:pt x="172" y="1"/>
                      <a:pt x="171" y="1"/>
                    </a:cubicBezTo>
                    <a:cubicBezTo>
                      <a:pt x="171" y="1"/>
                      <a:pt x="171" y="1"/>
                      <a:pt x="171" y="1"/>
                    </a:cubicBezTo>
                    <a:cubicBezTo>
                      <a:pt x="170" y="1"/>
                      <a:pt x="170" y="1"/>
                      <a:pt x="169" y="2"/>
                    </a:cubicBezTo>
                    <a:cubicBezTo>
                      <a:pt x="169" y="2"/>
                      <a:pt x="169" y="2"/>
                      <a:pt x="169" y="2"/>
                    </a:cubicBezTo>
                    <a:cubicBezTo>
                      <a:pt x="165" y="2"/>
                      <a:pt x="161" y="2"/>
                      <a:pt x="156" y="3"/>
                    </a:cubicBezTo>
                    <a:cubicBezTo>
                      <a:pt x="155" y="3"/>
                      <a:pt x="155" y="3"/>
                      <a:pt x="154" y="3"/>
                    </a:cubicBezTo>
                    <a:cubicBezTo>
                      <a:pt x="154" y="3"/>
                      <a:pt x="153" y="3"/>
                      <a:pt x="153" y="3"/>
                    </a:cubicBezTo>
                    <a:cubicBezTo>
                      <a:pt x="152" y="3"/>
                      <a:pt x="150" y="3"/>
                      <a:pt x="149" y="3"/>
                    </a:cubicBezTo>
                    <a:cubicBezTo>
                      <a:pt x="133" y="4"/>
                      <a:pt x="133" y="18"/>
                      <a:pt x="124" y="19"/>
                    </a:cubicBezTo>
                    <a:cubicBezTo>
                      <a:pt x="116" y="20"/>
                      <a:pt x="109" y="24"/>
                      <a:pt x="101" y="35"/>
                    </a:cubicBezTo>
                    <a:cubicBezTo>
                      <a:pt x="93" y="46"/>
                      <a:pt x="84" y="47"/>
                      <a:pt x="70" y="43"/>
                    </a:cubicBezTo>
                    <a:cubicBezTo>
                      <a:pt x="56" y="39"/>
                      <a:pt x="53" y="40"/>
                      <a:pt x="40" y="46"/>
                    </a:cubicBezTo>
                    <a:cubicBezTo>
                      <a:pt x="27" y="53"/>
                      <a:pt x="27" y="89"/>
                      <a:pt x="27" y="106"/>
                    </a:cubicBezTo>
                    <a:cubicBezTo>
                      <a:pt x="27" y="123"/>
                      <a:pt x="20" y="119"/>
                      <a:pt x="10" y="121"/>
                    </a:cubicBezTo>
                    <a:cubicBezTo>
                      <a:pt x="0" y="123"/>
                      <a:pt x="7" y="132"/>
                      <a:pt x="14" y="137"/>
                    </a:cubicBezTo>
                    <a:cubicBezTo>
                      <a:pt x="21" y="141"/>
                      <a:pt x="21" y="156"/>
                      <a:pt x="21" y="168"/>
                    </a:cubicBezTo>
                    <a:cubicBezTo>
                      <a:pt x="21" y="180"/>
                      <a:pt x="36" y="192"/>
                      <a:pt x="49" y="203"/>
                    </a:cubicBezTo>
                    <a:cubicBezTo>
                      <a:pt x="62" y="213"/>
                      <a:pt x="65" y="220"/>
                      <a:pt x="68" y="229"/>
                    </a:cubicBezTo>
                    <a:cubicBezTo>
                      <a:pt x="70" y="237"/>
                      <a:pt x="78" y="252"/>
                      <a:pt x="85" y="259"/>
                    </a:cubicBezTo>
                    <a:cubicBezTo>
                      <a:pt x="92" y="265"/>
                      <a:pt x="96" y="264"/>
                      <a:pt x="96" y="274"/>
                    </a:cubicBezTo>
                    <a:cubicBezTo>
                      <a:pt x="96" y="285"/>
                      <a:pt x="89" y="283"/>
                      <a:pt x="80" y="287"/>
                    </a:cubicBezTo>
                    <a:cubicBezTo>
                      <a:pt x="71" y="291"/>
                      <a:pt x="78" y="302"/>
                      <a:pt x="78" y="316"/>
                    </a:cubicBezTo>
                    <a:cubicBezTo>
                      <a:pt x="79" y="331"/>
                      <a:pt x="71" y="337"/>
                      <a:pt x="59" y="339"/>
                    </a:cubicBezTo>
                    <a:cubicBezTo>
                      <a:pt x="47" y="341"/>
                      <a:pt x="51" y="357"/>
                      <a:pt x="56" y="361"/>
                    </a:cubicBezTo>
                    <a:cubicBezTo>
                      <a:pt x="60" y="364"/>
                      <a:pt x="63" y="373"/>
                      <a:pt x="66" y="380"/>
                    </a:cubicBezTo>
                    <a:cubicBezTo>
                      <a:pt x="69" y="387"/>
                      <a:pt x="83" y="405"/>
                      <a:pt x="90" y="410"/>
                    </a:cubicBezTo>
                    <a:cubicBezTo>
                      <a:pt x="96" y="414"/>
                      <a:pt x="109" y="426"/>
                      <a:pt x="115" y="434"/>
                    </a:cubicBezTo>
                    <a:cubicBezTo>
                      <a:pt x="121" y="443"/>
                      <a:pt x="119" y="470"/>
                      <a:pt x="116" y="486"/>
                    </a:cubicBezTo>
                    <a:cubicBezTo>
                      <a:pt x="113" y="502"/>
                      <a:pt x="117" y="502"/>
                      <a:pt x="128" y="508"/>
                    </a:cubicBezTo>
                    <a:cubicBezTo>
                      <a:pt x="138" y="513"/>
                      <a:pt x="130" y="537"/>
                      <a:pt x="137" y="542"/>
                    </a:cubicBezTo>
                    <a:cubicBezTo>
                      <a:pt x="144" y="547"/>
                      <a:pt x="140" y="556"/>
                      <a:pt x="141" y="572"/>
                    </a:cubicBezTo>
                    <a:cubicBezTo>
                      <a:pt x="142" y="587"/>
                      <a:pt x="133" y="579"/>
                      <a:pt x="127" y="593"/>
                    </a:cubicBezTo>
                    <a:cubicBezTo>
                      <a:pt x="122" y="608"/>
                      <a:pt x="111" y="614"/>
                      <a:pt x="100" y="622"/>
                    </a:cubicBezTo>
                    <a:cubicBezTo>
                      <a:pt x="89" y="630"/>
                      <a:pt x="87" y="644"/>
                      <a:pt x="87" y="659"/>
                    </a:cubicBezTo>
                    <a:cubicBezTo>
                      <a:pt x="87" y="670"/>
                      <a:pt x="79" y="674"/>
                      <a:pt x="75" y="676"/>
                    </a:cubicBezTo>
                    <a:cubicBezTo>
                      <a:pt x="75" y="698"/>
                      <a:pt x="71" y="699"/>
                      <a:pt x="70" y="715"/>
                    </a:cubicBezTo>
                    <a:cubicBezTo>
                      <a:pt x="69" y="732"/>
                      <a:pt x="70" y="732"/>
                      <a:pt x="61" y="744"/>
                    </a:cubicBezTo>
                    <a:cubicBezTo>
                      <a:pt x="53" y="755"/>
                      <a:pt x="54" y="754"/>
                      <a:pt x="54" y="767"/>
                    </a:cubicBezTo>
                    <a:cubicBezTo>
                      <a:pt x="54" y="780"/>
                      <a:pt x="56" y="811"/>
                      <a:pt x="61" y="817"/>
                    </a:cubicBezTo>
                    <a:cubicBezTo>
                      <a:pt x="67" y="823"/>
                      <a:pt x="71" y="804"/>
                      <a:pt x="74" y="794"/>
                    </a:cubicBezTo>
                    <a:cubicBezTo>
                      <a:pt x="75" y="791"/>
                      <a:pt x="75" y="789"/>
                      <a:pt x="75" y="789"/>
                    </a:cubicBezTo>
                    <a:cubicBezTo>
                      <a:pt x="74" y="789"/>
                      <a:pt x="74" y="788"/>
                      <a:pt x="75" y="789"/>
                    </a:cubicBezTo>
                    <a:cubicBezTo>
                      <a:pt x="75" y="789"/>
                      <a:pt x="77" y="788"/>
                      <a:pt x="79" y="787"/>
                    </a:cubicBezTo>
                    <a:cubicBezTo>
                      <a:pt x="87" y="781"/>
                      <a:pt x="100" y="797"/>
                      <a:pt x="107" y="810"/>
                    </a:cubicBezTo>
                    <a:cubicBezTo>
                      <a:pt x="114" y="823"/>
                      <a:pt x="120" y="833"/>
                      <a:pt x="135" y="838"/>
                    </a:cubicBezTo>
                    <a:cubicBezTo>
                      <a:pt x="149" y="844"/>
                      <a:pt x="155" y="886"/>
                      <a:pt x="172" y="900"/>
                    </a:cubicBezTo>
                    <a:cubicBezTo>
                      <a:pt x="173" y="901"/>
                      <a:pt x="173" y="901"/>
                      <a:pt x="174" y="902"/>
                    </a:cubicBezTo>
                    <a:cubicBezTo>
                      <a:pt x="176" y="901"/>
                      <a:pt x="178" y="899"/>
                      <a:pt x="178" y="897"/>
                    </a:cubicBezTo>
                    <a:cubicBezTo>
                      <a:pt x="181" y="890"/>
                      <a:pt x="189" y="889"/>
                      <a:pt x="191" y="895"/>
                    </a:cubicBezTo>
                    <a:cubicBezTo>
                      <a:pt x="192" y="900"/>
                      <a:pt x="194" y="904"/>
                      <a:pt x="202" y="905"/>
                    </a:cubicBezTo>
                    <a:cubicBezTo>
                      <a:pt x="211" y="907"/>
                      <a:pt x="220" y="910"/>
                      <a:pt x="228" y="917"/>
                    </a:cubicBezTo>
                    <a:cubicBezTo>
                      <a:pt x="236" y="924"/>
                      <a:pt x="245" y="929"/>
                      <a:pt x="240" y="934"/>
                    </a:cubicBezTo>
                    <a:cubicBezTo>
                      <a:pt x="235" y="938"/>
                      <a:pt x="234" y="943"/>
                      <a:pt x="234" y="949"/>
                    </a:cubicBezTo>
                    <a:cubicBezTo>
                      <a:pt x="234" y="955"/>
                      <a:pt x="235" y="958"/>
                      <a:pt x="240" y="960"/>
                    </a:cubicBezTo>
                    <a:cubicBezTo>
                      <a:pt x="244" y="961"/>
                      <a:pt x="252" y="962"/>
                      <a:pt x="252" y="955"/>
                    </a:cubicBezTo>
                    <a:cubicBezTo>
                      <a:pt x="252" y="948"/>
                      <a:pt x="256" y="943"/>
                      <a:pt x="262" y="943"/>
                    </a:cubicBezTo>
                    <a:cubicBezTo>
                      <a:pt x="269" y="943"/>
                      <a:pt x="265" y="953"/>
                      <a:pt x="277" y="952"/>
                    </a:cubicBezTo>
                    <a:cubicBezTo>
                      <a:pt x="288" y="951"/>
                      <a:pt x="289" y="948"/>
                      <a:pt x="289" y="943"/>
                    </a:cubicBezTo>
                    <a:cubicBezTo>
                      <a:pt x="289" y="937"/>
                      <a:pt x="294" y="940"/>
                      <a:pt x="297" y="933"/>
                    </a:cubicBezTo>
                    <a:cubicBezTo>
                      <a:pt x="298" y="928"/>
                      <a:pt x="300" y="924"/>
                      <a:pt x="303" y="920"/>
                    </a:cubicBezTo>
                    <a:cubicBezTo>
                      <a:pt x="294" y="912"/>
                      <a:pt x="285" y="900"/>
                      <a:pt x="278" y="886"/>
                    </a:cubicBezTo>
                    <a:cubicBezTo>
                      <a:pt x="268" y="866"/>
                      <a:pt x="246" y="880"/>
                      <a:pt x="232" y="879"/>
                    </a:cubicBezTo>
                    <a:cubicBezTo>
                      <a:pt x="218" y="877"/>
                      <a:pt x="200" y="856"/>
                      <a:pt x="190" y="848"/>
                    </a:cubicBezTo>
                    <a:cubicBezTo>
                      <a:pt x="180" y="841"/>
                      <a:pt x="188" y="833"/>
                      <a:pt x="192" y="828"/>
                    </a:cubicBezTo>
                    <a:cubicBezTo>
                      <a:pt x="196" y="824"/>
                      <a:pt x="188" y="807"/>
                      <a:pt x="188" y="791"/>
                    </a:cubicBezTo>
                    <a:cubicBezTo>
                      <a:pt x="188" y="775"/>
                      <a:pt x="176" y="774"/>
                      <a:pt x="176" y="774"/>
                    </a:cubicBezTo>
                    <a:cubicBezTo>
                      <a:pt x="176" y="774"/>
                      <a:pt x="172" y="761"/>
                      <a:pt x="170" y="751"/>
                    </a:cubicBezTo>
                    <a:cubicBezTo>
                      <a:pt x="169" y="741"/>
                      <a:pt x="165" y="738"/>
                      <a:pt x="162" y="729"/>
                    </a:cubicBezTo>
                    <a:cubicBezTo>
                      <a:pt x="159" y="721"/>
                      <a:pt x="146" y="722"/>
                      <a:pt x="133" y="724"/>
                    </a:cubicBezTo>
                    <a:cubicBezTo>
                      <a:pt x="120" y="725"/>
                      <a:pt x="126" y="719"/>
                      <a:pt x="122" y="709"/>
                    </a:cubicBezTo>
                    <a:cubicBezTo>
                      <a:pt x="117" y="699"/>
                      <a:pt x="114" y="695"/>
                      <a:pt x="114" y="684"/>
                    </a:cubicBezTo>
                    <a:cubicBezTo>
                      <a:pt x="114" y="672"/>
                      <a:pt x="117" y="662"/>
                      <a:pt x="122" y="652"/>
                    </a:cubicBezTo>
                    <a:cubicBezTo>
                      <a:pt x="126" y="642"/>
                      <a:pt x="142" y="616"/>
                      <a:pt x="143" y="605"/>
                    </a:cubicBezTo>
                    <a:cubicBezTo>
                      <a:pt x="145" y="593"/>
                      <a:pt x="153" y="582"/>
                      <a:pt x="155" y="566"/>
                    </a:cubicBezTo>
                    <a:cubicBezTo>
                      <a:pt x="156" y="550"/>
                      <a:pt x="165" y="549"/>
                      <a:pt x="170" y="537"/>
                    </a:cubicBezTo>
                    <a:cubicBezTo>
                      <a:pt x="176" y="526"/>
                      <a:pt x="173" y="513"/>
                      <a:pt x="168" y="509"/>
                    </a:cubicBezTo>
                    <a:cubicBezTo>
                      <a:pt x="162" y="504"/>
                      <a:pt x="166" y="496"/>
                      <a:pt x="172" y="492"/>
                    </a:cubicBezTo>
                    <a:cubicBezTo>
                      <a:pt x="178" y="487"/>
                      <a:pt x="179" y="481"/>
                      <a:pt x="172" y="470"/>
                    </a:cubicBezTo>
                    <a:cubicBezTo>
                      <a:pt x="165" y="459"/>
                      <a:pt x="183" y="454"/>
                      <a:pt x="186" y="449"/>
                    </a:cubicBezTo>
                    <a:cubicBezTo>
                      <a:pt x="189" y="443"/>
                      <a:pt x="213" y="444"/>
                      <a:pt x="228" y="450"/>
                    </a:cubicBezTo>
                    <a:cubicBezTo>
                      <a:pt x="242" y="456"/>
                      <a:pt x="226" y="477"/>
                      <a:pt x="226" y="496"/>
                    </a:cubicBezTo>
                    <a:cubicBezTo>
                      <a:pt x="226" y="514"/>
                      <a:pt x="252" y="509"/>
                      <a:pt x="269" y="509"/>
                    </a:cubicBezTo>
                    <a:cubicBezTo>
                      <a:pt x="286" y="509"/>
                      <a:pt x="292" y="510"/>
                      <a:pt x="308" y="522"/>
                    </a:cubicBezTo>
                    <a:cubicBezTo>
                      <a:pt x="318" y="529"/>
                      <a:pt x="335" y="546"/>
                      <a:pt x="349" y="562"/>
                    </a:cubicBezTo>
                    <a:cubicBezTo>
                      <a:pt x="349" y="551"/>
                      <a:pt x="347" y="539"/>
                      <a:pt x="345" y="533"/>
                    </a:cubicBezTo>
                    <a:cubicBezTo>
                      <a:pt x="343" y="526"/>
                      <a:pt x="337" y="518"/>
                      <a:pt x="331" y="50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0" name="Freeform 344">
                <a:extLst>
                  <a:ext uri="{FF2B5EF4-FFF2-40B4-BE49-F238E27FC236}">
                    <a16:creationId xmlns:a16="http://schemas.microsoft.com/office/drawing/2014/main" id="{B93B4093-1BC3-6F49-A950-48EF46D304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" y="2028"/>
                <a:ext cx="492" cy="314"/>
              </a:xfrm>
              <a:custGeom>
                <a:avLst/>
                <a:gdLst>
                  <a:gd name="T0" fmla="*/ 1143 w 1949"/>
                  <a:gd name="T1" fmla="*/ 433 h 1242"/>
                  <a:gd name="T2" fmla="*/ 1091 w 1949"/>
                  <a:gd name="T3" fmla="*/ 337 h 1242"/>
                  <a:gd name="T4" fmla="*/ 953 w 1949"/>
                  <a:gd name="T5" fmla="*/ 211 h 1242"/>
                  <a:gd name="T6" fmla="*/ 792 w 1949"/>
                  <a:gd name="T7" fmla="*/ 192 h 1242"/>
                  <a:gd name="T8" fmla="*/ 695 w 1949"/>
                  <a:gd name="T9" fmla="*/ 86 h 1242"/>
                  <a:gd name="T10" fmla="*/ 387 w 1949"/>
                  <a:gd name="T11" fmla="*/ 111 h 1242"/>
                  <a:gd name="T12" fmla="*/ 46 w 1949"/>
                  <a:gd name="T13" fmla="*/ 21 h 1242"/>
                  <a:gd name="T14" fmla="*/ 43 w 1949"/>
                  <a:gd name="T15" fmla="*/ 103 h 1242"/>
                  <a:gd name="T16" fmla="*/ 129 w 1949"/>
                  <a:gd name="T17" fmla="*/ 240 h 1242"/>
                  <a:gd name="T18" fmla="*/ 186 w 1949"/>
                  <a:gd name="T19" fmla="*/ 346 h 1242"/>
                  <a:gd name="T20" fmla="*/ 222 w 1949"/>
                  <a:gd name="T21" fmla="*/ 420 h 1242"/>
                  <a:gd name="T22" fmla="*/ 326 w 1949"/>
                  <a:gd name="T23" fmla="*/ 493 h 1242"/>
                  <a:gd name="T24" fmla="*/ 379 w 1949"/>
                  <a:gd name="T25" fmla="*/ 598 h 1242"/>
                  <a:gd name="T26" fmla="*/ 484 w 1949"/>
                  <a:gd name="T27" fmla="*/ 676 h 1242"/>
                  <a:gd name="T28" fmla="*/ 443 w 1949"/>
                  <a:gd name="T29" fmla="*/ 590 h 1242"/>
                  <a:gd name="T30" fmla="*/ 404 w 1949"/>
                  <a:gd name="T31" fmla="*/ 515 h 1242"/>
                  <a:gd name="T32" fmla="*/ 353 w 1949"/>
                  <a:gd name="T33" fmla="*/ 420 h 1242"/>
                  <a:gd name="T34" fmla="*/ 245 w 1949"/>
                  <a:gd name="T35" fmla="*/ 276 h 1242"/>
                  <a:gd name="T36" fmla="*/ 215 w 1949"/>
                  <a:gd name="T37" fmla="*/ 234 h 1242"/>
                  <a:gd name="T38" fmla="*/ 165 w 1949"/>
                  <a:gd name="T39" fmla="*/ 78 h 1242"/>
                  <a:gd name="T40" fmla="*/ 259 w 1949"/>
                  <a:gd name="T41" fmla="*/ 128 h 1242"/>
                  <a:gd name="T42" fmla="*/ 304 w 1949"/>
                  <a:gd name="T43" fmla="*/ 249 h 1242"/>
                  <a:gd name="T44" fmla="*/ 367 w 1949"/>
                  <a:gd name="T45" fmla="*/ 321 h 1242"/>
                  <a:gd name="T46" fmla="*/ 463 w 1949"/>
                  <a:gd name="T47" fmla="*/ 411 h 1242"/>
                  <a:gd name="T48" fmla="*/ 501 w 1949"/>
                  <a:gd name="T49" fmla="*/ 491 h 1242"/>
                  <a:gd name="T50" fmla="*/ 672 w 1949"/>
                  <a:gd name="T51" fmla="*/ 640 h 1242"/>
                  <a:gd name="T52" fmla="*/ 748 w 1949"/>
                  <a:gd name="T53" fmla="*/ 824 h 1242"/>
                  <a:gd name="T54" fmla="*/ 791 w 1949"/>
                  <a:gd name="T55" fmla="*/ 930 h 1242"/>
                  <a:gd name="T56" fmla="*/ 994 w 1949"/>
                  <a:gd name="T57" fmla="*/ 1023 h 1242"/>
                  <a:gd name="T58" fmla="*/ 1191 w 1949"/>
                  <a:gd name="T59" fmla="*/ 1116 h 1242"/>
                  <a:gd name="T60" fmla="*/ 1400 w 1949"/>
                  <a:gd name="T61" fmla="*/ 1137 h 1242"/>
                  <a:gd name="T62" fmla="*/ 1571 w 1949"/>
                  <a:gd name="T63" fmla="*/ 1217 h 1242"/>
                  <a:gd name="T64" fmla="*/ 1649 w 1949"/>
                  <a:gd name="T65" fmla="*/ 1137 h 1242"/>
                  <a:gd name="T66" fmla="*/ 1658 w 1949"/>
                  <a:gd name="T67" fmla="*/ 1058 h 1242"/>
                  <a:gd name="T68" fmla="*/ 1802 w 1949"/>
                  <a:gd name="T69" fmla="*/ 1013 h 1242"/>
                  <a:gd name="T70" fmla="*/ 1874 w 1949"/>
                  <a:gd name="T71" fmla="*/ 1005 h 1242"/>
                  <a:gd name="T72" fmla="*/ 1896 w 1949"/>
                  <a:gd name="T73" fmla="*/ 886 h 1242"/>
                  <a:gd name="T74" fmla="*/ 1941 w 1949"/>
                  <a:gd name="T75" fmla="*/ 840 h 1242"/>
                  <a:gd name="T76" fmla="*/ 1906 w 1949"/>
                  <a:gd name="T77" fmla="*/ 772 h 1242"/>
                  <a:gd name="T78" fmla="*/ 1733 w 1949"/>
                  <a:gd name="T79" fmla="*/ 794 h 1242"/>
                  <a:gd name="T80" fmla="*/ 1666 w 1949"/>
                  <a:gd name="T81" fmla="*/ 931 h 1242"/>
                  <a:gd name="T82" fmla="*/ 1616 w 1949"/>
                  <a:gd name="T83" fmla="*/ 968 h 1242"/>
                  <a:gd name="T84" fmla="*/ 1485 w 1949"/>
                  <a:gd name="T85" fmla="*/ 985 h 1242"/>
                  <a:gd name="T86" fmla="*/ 1409 w 1949"/>
                  <a:gd name="T87" fmla="*/ 958 h 1242"/>
                  <a:gd name="T88" fmla="*/ 1323 w 1949"/>
                  <a:gd name="T89" fmla="*/ 875 h 1242"/>
                  <a:gd name="T90" fmla="*/ 1266 w 1949"/>
                  <a:gd name="T91" fmla="*/ 779 h 1242"/>
                  <a:gd name="T92" fmla="*/ 1245 w 1949"/>
                  <a:gd name="T93" fmla="*/ 679 h 1242"/>
                  <a:gd name="T94" fmla="*/ 1285 w 1949"/>
                  <a:gd name="T95" fmla="*/ 486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49" h="1242">
                    <a:moveTo>
                      <a:pt x="1234" y="478"/>
                    </a:moveTo>
                    <a:cubicBezTo>
                      <a:pt x="1222" y="475"/>
                      <a:pt x="1204" y="472"/>
                      <a:pt x="1195" y="464"/>
                    </a:cubicBezTo>
                    <a:cubicBezTo>
                      <a:pt x="1186" y="456"/>
                      <a:pt x="1174" y="452"/>
                      <a:pt x="1160" y="451"/>
                    </a:cubicBezTo>
                    <a:cubicBezTo>
                      <a:pt x="1146" y="450"/>
                      <a:pt x="1143" y="443"/>
                      <a:pt x="1143" y="433"/>
                    </a:cubicBezTo>
                    <a:cubicBezTo>
                      <a:pt x="1143" y="423"/>
                      <a:pt x="1138" y="416"/>
                      <a:pt x="1133" y="412"/>
                    </a:cubicBezTo>
                    <a:cubicBezTo>
                      <a:pt x="1128" y="408"/>
                      <a:pt x="1128" y="397"/>
                      <a:pt x="1128" y="386"/>
                    </a:cubicBezTo>
                    <a:cubicBezTo>
                      <a:pt x="1128" y="375"/>
                      <a:pt x="1127" y="367"/>
                      <a:pt x="1121" y="365"/>
                    </a:cubicBezTo>
                    <a:cubicBezTo>
                      <a:pt x="1115" y="363"/>
                      <a:pt x="1103" y="349"/>
                      <a:pt x="1091" y="337"/>
                    </a:cubicBezTo>
                    <a:cubicBezTo>
                      <a:pt x="1079" y="325"/>
                      <a:pt x="1069" y="301"/>
                      <a:pt x="1062" y="288"/>
                    </a:cubicBezTo>
                    <a:cubicBezTo>
                      <a:pt x="1055" y="275"/>
                      <a:pt x="1051" y="250"/>
                      <a:pt x="1038" y="250"/>
                    </a:cubicBezTo>
                    <a:cubicBezTo>
                      <a:pt x="1025" y="250"/>
                      <a:pt x="1025" y="240"/>
                      <a:pt x="1014" y="226"/>
                    </a:cubicBezTo>
                    <a:cubicBezTo>
                      <a:pt x="1003" y="212"/>
                      <a:pt x="977" y="214"/>
                      <a:pt x="953" y="211"/>
                    </a:cubicBezTo>
                    <a:cubicBezTo>
                      <a:pt x="929" y="208"/>
                      <a:pt x="928" y="216"/>
                      <a:pt x="912" y="252"/>
                    </a:cubicBezTo>
                    <a:cubicBezTo>
                      <a:pt x="896" y="288"/>
                      <a:pt x="864" y="261"/>
                      <a:pt x="850" y="253"/>
                    </a:cubicBezTo>
                    <a:cubicBezTo>
                      <a:pt x="836" y="245"/>
                      <a:pt x="821" y="233"/>
                      <a:pt x="811" y="230"/>
                    </a:cubicBezTo>
                    <a:cubicBezTo>
                      <a:pt x="801" y="227"/>
                      <a:pt x="793" y="205"/>
                      <a:pt x="792" y="192"/>
                    </a:cubicBezTo>
                    <a:cubicBezTo>
                      <a:pt x="791" y="179"/>
                      <a:pt x="782" y="173"/>
                      <a:pt x="781" y="164"/>
                    </a:cubicBezTo>
                    <a:cubicBezTo>
                      <a:pt x="780" y="155"/>
                      <a:pt x="776" y="149"/>
                      <a:pt x="765" y="147"/>
                    </a:cubicBezTo>
                    <a:cubicBezTo>
                      <a:pt x="754" y="145"/>
                      <a:pt x="747" y="138"/>
                      <a:pt x="740" y="132"/>
                    </a:cubicBezTo>
                    <a:cubicBezTo>
                      <a:pt x="733" y="126"/>
                      <a:pt x="707" y="105"/>
                      <a:pt x="695" y="86"/>
                    </a:cubicBezTo>
                    <a:cubicBezTo>
                      <a:pt x="683" y="67"/>
                      <a:pt x="620" y="75"/>
                      <a:pt x="592" y="76"/>
                    </a:cubicBezTo>
                    <a:cubicBezTo>
                      <a:pt x="564" y="77"/>
                      <a:pt x="570" y="88"/>
                      <a:pt x="569" y="101"/>
                    </a:cubicBezTo>
                    <a:cubicBezTo>
                      <a:pt x="568" y="114"/>
                      <a:pt x="559" y="112"/>
                      <a:pt x="559" y="112"/>
                    </a:cubicBezTo>
                    <a:cubicBezTo>
                      <a:pt x="559" y="112"/>
                      <a:pt x="430" y="111"/>
                      <a:pt x="387" y="111"/>
                    </a:cubicBezTo>
                    <a:cubicBezTo>
                      <a:pt x="366" y="105"/>
                      <a:pt x="307" y="76"/>
                      <a:pt x="279" y="66"/>
                    </a:cubicBezTo>
                    <a:cubicBezTo>
                      <a:pt x="251" y="56"/>
                      <a:pt x="210" y="46"/>
                      <a:pt x="191" y="39"/>
                    </a:cubicBezTo>
                    <a:cubicBezTo>
                      <a:pt x="172" y="32"/>
                      <a:pt x="169" y="30"/>
                      <a:pt x="151" y="15"/>
                    </a:cubicBezTo>
                    <a:cubicBezTo>
                      <a:pt x="133" y="0"/>
                      <a:pt x="71" y="21"/>
                      <a:pt x="46" y="21"/>
                    </a:cubicBezTo>
                    <a:cubicBezTo>
                      <a:pt x="32" y="21"/>
                      <a:pt x="13" y="24"/>
                      <a:pt x="0" y="26"/>
                    </a:cubicBezTo>
                    <a:cubicBezTo>
                      <a:pt x="1" y="29"/>
                      <a:pt x="3" y="31"/>
                      <a:pt x="6" y="33"/>
                    </a:cubicBezTo>
                    <a:cubicBezTo>
                      <a:pt x="18" y="45"/>
                      <a:pt x="24" y="47"/>
                      <a:pt x="28" y="62"/>
                    </a:cubicBezTo>
                    <a:cubicBezTo>
                      <a:pt x="32" y="77"/>
                      <a:pt x="33" y="91"/>
                      <a:pt x="43" y="103"/>
                    </a:cubicBezTo>
                    <a:cubicBezTo>
                      <a:pt x="54" y="115"/>
                      <a:pt x="50" y="124"/>
                      <a:pt x="61" y="136"/>
                    </a:cubicBezTo>
                    <a:cubicBezTo>
                      <a:pt x="72" y="148"/>
                      <a:pt x="80" y="154"/>
                      <a:pt x="84" y="169"/>
                    </a:cubicBezTo>
                    <a:cubicBezTo>
                      <a:pt x="89" y="183"/>
                      <a:pt x="87" y="212"/>
                      <a:pt x="100" y="220"/>
                    </a:cubicBezTo>
                    <a:cubicBezTo>
                      <a:pt x="112" y="227"/>
                      <a:pt x="113" y="235"/>
                      <a:pt x="129" y="240"/>
                    </a:cubicBezTo>
                    <a:cubicBezTo>
                      <a:pt x="144" y="246"/>
                      <a:pt x="148" y="250"/>
                      <a:pt x="151" y="260"/>
                    </a:cubicBezTo>
                    <a:cubicBezTo>
                      <a:pt x="155" y="269"/>
                      <a:pt x="163" y="270"/>
                      <a:pt x="173" y="279"/>
                    </a:cubicBezTo>
                    <a:cubicBezTo>
                      <a:pt x="183" y="289"/>
                      <a:pt x="198" y="296"/>
                      <a:pt x="198" y="311"/>
                    </a:cubicBezTo>
                    <a:cubicBezTo>
                      <a:pt x="198" y="327"/>
                      <a:pt x="198" y="346"/>
                      <a:pt x="186" y="346"/>
                    </a:cubicBezTo>
                    <a:cubicBezTo>
                      <a:pt x="175" y="346"/>
                      <a:pt x="154" y="345"/>
                      <a:pt x="148" y="346"/>
                    </a:cubicBezTo>
                    <a:cubicBezTo>
                      <a:pt x="143" y="347"/>
                      <a:pt x="130" y="354"/>
                      <a:pt x="142" y="359"/>
                    </a:cubicBezTo>
                    <a:cubicBezTo>
                      <a:pt x="154" y="365"/>
                      <a:pt x="162" y="387"/>
                      <a:pt x="178" y="392"/>
                    </a:cubicBezTo>
                    <a:cubicBezTo>
                      <a:pt x="195" y="396"/>
                      <a:pt x="210" y="412"/>
                      <a:pt x="222" y="420"/>
                    </a:cubicBezTo>
                    <a:cubicBezTo>
                      <a:pt x="235" y="428"/>
                      <a:pt x="244" y="412"/>
                      <a:pt x="259" y="426"/>
                    </a:cubicBezTo>
                    <a:cubicBezTo>
                      <a:pt x="273" y="440"/>
                      <a:pt x="280" y="453"/>
                      <a:pt x="291" y="457"/>
                    </a:cubicBezTo>
                    <a:cubicBezTo>
                      <a:pt x="302" y="462"/>
                      <a:pt x="314" y="464"/>
                      <a:pt x="318" y="471"/>
                    </a:cubicBezTo>
                    <a:cubicBezTo>
                      <a:pt x="321" y="479"/>
                      <a:pt x="328" y="484"/>
                      <a:pt x="326" y="493"/>
                    </a:cubicBezTo>
                    <a:cubicBezTo>
                      <a:pt x="325" y="502"/>
                      <a:pt x="327" y="522"/>
                      <a:pt x="323" y="528"/>
                    </a:cubicBezTo>
                    <a:cubicBezTo>
                      <a:pt x="319" y="535"/>
                      <a:pt x="307" y="549"/>
                      <a:pt x="317" y="556"/>
                    </a:cubicBezTo>
                    <a:cubicBezTo>
                      <a:pt x="327" y="564"/>
                      <a:pt x="335" y="573"/>
                      <a:pt x="348" y="576"/>
                    </a:cubicBezTo>
                    <a:cubicBezTo>
                      <a:pt x="362" y="579"/>
                      <a:pt x="372" y="590"/>
                      <a:pt x="379" y="598"/>
                    </a:cubicBezTo>
                    <a:cubicBezTo>
                      <a:pt x="386" y="605"/>
                      <a:pt x="405" y="613"/>
                      <a:pt x="414" y="622"/>
                    </a:cubicBezTo>
                    <a:cubicBezTo>
                      <a:pt x="423" y="632"/>
                      <a:pt x="440" y="636"/>
                      <a:pt x="450" y="656"/>
                    </a:cubicBezTo>
                    <a:cubicBezTo>
                      <a:pt x="461" y="677"/>
                      <a:pt x="454" y="687"/>
                      <a:pt x="467" y="689"/>
                    </a:cubicBezTo>
                    <a:cubicBezTo>
                      <a:pt x="480" y="691"/>
                      <a:pt x="479" y="684"/>
                      <a:pt x="484" y="676"/>
                    </a:cubicBezTo>
                    <a:cubicBezTo>
                      <a:pt x="490" y="669"/>
                      <a:pt x="499" y="659"/>
                      <a:pt x="499" y="650"/>
                    </a:cubicBezTo>
                    <a:cubicBezTo>
                      <a:pt x="499" y="641"/>
                      <a:pt x="490" y="629"/>
                      <a:pt x="484" y="626"/>
                    </a:cubicBezTo>
                    <a:cubicBezTo>
                      <a:pt x="478" y="622"/>
                      <a:pt x="481" y="605"/>
                      <a:pt x="469" y="600"/>
                    </a:cubicBezTo>
                    <a:cubicBezTo>
                      <a:pt x="457" y="594"/>
                      <a:pt x="448" y="587"/>
                      <a:pt x="443" y="590"/>
                    </a:cubicBezTo>
                    <a:cubicBezTo>
                      <a:pt x="439" y="593"/>
                      <a:pt x="428" y="597"/>
                      <a:pt x="423" y="589"/>
                    </a:cubicBezTo>
                    <a:cubicBezTo>
                      <a:pt x="417" y="581"/>
                      <a:pt x="410" y="569"/>
                      <a:pt x="415" y="557"/>
                    </a:cubicBezTo>
                    <a:cubicBezTo>
                      <a:pt x="421" y="545"/>
                      <a:pt x="433" y="536"/>
                      <a:pt x="422" y="531"/>
                    </a:cubicBezTo>
                    <a:cubicBezTo>
                      <a:pt x="411" y="526"/>
                      <a:pt x="409" y="529"/>
                      <a:pt x="404" y="515"/>
                    </a:cubicBezTo>
                    <a:cubicBezTo>
                      <a:pt x="399" y="502"/>
                      <a:pt x="374" y="496"/>
                      <a:pt x="384" y="485"/>
                    </a:cubicBezTo>
                    <a:cubicBezTo>
                      <a:pt x="393" y="475"/>
                      <a:pt x="391" y="466"/>
                      <a:pt x="384" y="465"/>
                    </a:cubicBezTo>
                    <a:cubicBezTo>
                      <a:pt x="377" y="464"/>
                      <a:pt x="374" y="463"/>
                      <a:pt x="372" y="449"/>
                    </a:cubicBezTo>
                    <a:cubicBezTo>
                      <a:pt x="370" y="435"/>
                      <a:pt x="365" y="433"/>
                      <a:pt x="353" y="420"/>
                    </a:cubicBezTo>
                    <a:cubicBezTo>
                      <a:pt x="341" y="407"/>
                      <a:pt x="322" y="375"/>
                      <a:pt x="312" y="369"/>
                    </a:cubicBezTo>
                    <a:cubicBezTo>
                      <a:pt x="301" y="362"/>
                      <a:pt x="298" y="359"/>
                      <a:pt x="294" y="343"/>
                    </a:cubicBezTo>
                    <a:cubicBezTo>
                      <a:pt x="291" y="327"/>
                      <a:pt x="295" y="328"/>
                      <a:pt x="281" y="313"/>
                    </a:cubicBezTo>
                    <a:cubicBezTo>
                      <a:pt x="267" y="299"/>
                      <a:pt x="255" y="289"/>
                      <a:pt x="245" y="276"/>
                    </a:cubicBezTo>
                    <a:cubicBezTo>
                      <a:pt x="235" y="263"/>
                      <a:pt x="235" y="253"/>
                      <a:pt x="247" y="261"/>
                    </a:cubicBezTo>
                    <a:cubicBezTo>
                      <a:pt x="258" y="268"/>
                      <a:pt x="268" y="260"/>
                      <a:pt x="260" y="249"/>
                    </a:cubicBezTo>
                    <a:cubicBezTo>
                      <a:pt x="252" y="237"/>
                      <a:pt x="242" y="226"/>
                      <a:pt x="236" y="231"/>
                    </a:cubicBezTo>
                    <a:cubicBezTo>
                      <a:pt x="230" y="236"/>
                      <a:pt x="226" y="243"/>
                      <a:pt x="215" y="234"/>
                    </a:cubicBezTo>
                    <a:cubicBezTo>
                      <a:pt x="205" y="224"/>
                      <a:pt x="169" y="212"/>
                      <a:pt x="167" y="193"/>
                    </a:cubicBezTo>
                    <a:cubicBezTo>
                      <a:pt x="165" y="174"/>
                      <a:pt x="173" y="154"/>
                      <a:pt x="163" y="139"/>
                    </a:cubicBezTo>
                    <a:cubicBezTo>
                      <a:pt x="154" y="124"/>
                      <a:pt x="149" y="124"/>
                      <a:pt x="150" y="106"/>
                    </a:cubicBezTo>
                    <a:cubicBezTo>
                      <a:pt x="151" y="88"/>
                      <a:pt x="159" y="74"/>
                      <a:pt x="165" y="78"/>
                    </a:cubicBezTo>
                    <a:cubicBezTo>
                      <a:pt x="171" y="83"/>
                      <a:pt x="173" y="90"/>
                      <a:pt x="186" y="90"/>
                    </a:cubicBezTo>
                    <a:cubicBezTo>
                      <a:pt x="198" y="89"/>
                      <a:pt x="209" y="85"/>
                      <a:pt x="214" y="89"/>
                    </a:cubicBezTo>
                    <a:cubicBezTo>
                      <a:pt x="218" y="93"/>
                      <a:pt x="221" y="110"/>
                      <a:pt x="235" y="110"/>
                    </a:cubicBezTo>
                    <a:cubicBezTo>
                      <a:pt x="249" y="110"/>
                      <a:pt x="259" y="109"/>
                      <a:pt x="259" y="128"/>
                    </a:cubicBezTo>
                    <a:cubicBezTo>
                      <a:pt x="259" y="147"/>
                      <a:pt x="256" y="153"/>
                      <a:pt x="268" y="163"/>
                    </a:cubicBezTo>
                    <a:cubicBezTo>
                      <a:pt x="279" y="174"/>
                      <a:pt x="279" y="178"/>
                      <a:pt x="283" y="193"/>
                    </a:cubicBezTo>
                    <a:cubicBezTo>
                      <a:pt x="287" y="209"/>
                      <a:pt x="286" y="219"/>
                      <a:pt x="298" y="227"/>
                    </a:cubicBezTo>
                    <a:cubicBezTo>
                      <a:pt x="310" y="236"/>
                      <a:pt x="309" y="244"/>
                      <a:pt x="304" y="249"/>
                    </a:cubicBezTo>
                    <a:cubicBezTo>
                      <a:pt x="299" y="255"/>
                      <a:pt x="290" y="268"/>
                      <a:pt x="297" y="276"/>
                    </a:cubicBezTo>
                    <a:cubicBezTo>
                      <a:pt x="305" y="284"/>
                      <a:pt x="314" y="290"/>
                      <a:pt x="316" y="282"/>
                    </a:cubicBezTo>
                    <a:cubicBezTo>
                      <a:pt x="318" y="275"/>
                      <a:pt x="329" y="263"/>
                      <a:pt x="337" y="282"/>
                    </a:cubicBezTo>
                    <a:cubicBezTo>
                      <a:pt x="346" y="301"/>
                      <a:pt x="355" y="316"/>
                      <a:pt x="367" y="321"/>
                    </a:cubicBezTo>
                    <a:cubicBezTo>
                      <a:pt x="379" y="326"/>
                      <a:pt x="377" y="353"/>
                      <a:pt x="396" y="350"/>
                    </a:cubicBezTo>
                    <a:cubicBezTo>
                      <a:pt x="415" y="348"/>
                      <a:pt x="416" y="350"/>
                      <a:pt x="419" y="365"/>
                    </a:cubicBezTo>
                    <a:cubicBezTo>
                      <a:pt x="421" y="380"/>
                      <a:pt x="425" y="388"/>
                      <a:pt x="438" y="392"/>
                    </a:cubicBezTo>
                    <a:cubicBezTo>
                      <a:pt x="452" y="397"/>
                      <a:pt x="460" y="398"/>
                      <a:pt x="463" y="411"/>
                    </a:cubicBezTo>
                    <a:cubicBezTo>
                      <a:pt x="465" y="423"/>
                      <a:pt x="468" y="426"/>
                      <a:pt x="483" y="427"/>
                    </a:cubicBezTo>
                    <a:cubicBezTo>
                      <a:pt x="497" y="428"/>
                      <a:pt x="507" y="436"/>
                      <a:pt x="504" y="449"/>
                    </a:cubicBezTo>
                    <a:cubicBezTo>
                      <a:pt x="501" y="461"/>
                      <a:pt x="500" y="466"/>
                      <a:pt x="494" y="471"/>
                    </a:cubicBezTo>
                    <a:cubicBezTo>
                      <a:pt x="488" y="475"/>
                      <a:pt x="485" y="483"/>
                      <a:pt x="501" y="491"/>
                    </a:cubicBezTo>
                    <a:cubicBezTo>
                      <a:pt x="517" y="499"/>
                      <a:pt x="528" y="514"/>
                      <a:pt x="537" y="514"/>
                    </a:cubicBezTo>
                    <a:cubicBezTo>
                      <a:pt x="546" y="513"/>
                      <a:pt x="569" y="512"/>
                      <a:pt x="574" y="530"/>
                    </a:cubicBezTo>
                    <a:cubicBezTo>
                      <a:pt x="579" y="548"/>
                      <a:pt x="562" y="552"/>
                      <a:pt x="591" y="566"/>
                    </a:cubicBezTo>
                    <a:cubicBezTo>
                      <a:pt x="621" y="580"/>
                      <a:pt x="657" y="617"/>
                      <a:pt x="672" y="640"/>
                    </a:cubicBezTo>
                    <a:cubicBezTo>
                      <a:pt x="687" y="662"/>
                      <a:pt x="695" y="680"/>
                      <a:pt x="715" y="689"/>
                    </a:cubicBezTo>
                    <a:cubicBezTo>
                      <a:pt x="735" y="698"/>
                      <a:pt x="760" y="730"/>
                      <a:pt x="760" y="753"/>
                    </a:cubicBezTo>
                    <a:cubicBezTo>
                      <a:pt x="760" y="776"/>
                      <a:pt x="767" y="798"/>
                      <a:pt x="761" y="806"/>
                    </a:cubicBezTo>
                    <a:cubicBezTo>
                      <a:pt x="756" y="814"/>
                      <a:pt x="744" y="817"/>
                      <a:pt x="748" y="824"/>
                    </a:cubicBezTo>
                    <a:cubicBezTo>
                      <a:pt x="751" y="831"/>
                      <a:pt x="756" y="835"/>
                      <a:pt x="747" y="841"/>
                    </a:cubicBezTo>
                    <a:cubicBezTo>
                      <a:pt x="738" y="846"/>
                      <a:pt x="733" y="856"/>
                      <a:pt x="738" y="862"/>
                    </a:cubicBezTo>
                    <a:cubicBezTo>
                      <a:pt x="744" y="868"/>
                      <a:pt x="739" y="871"/>
                      <a:pt x="752" y="887"/>
                    </a:cubicBezTo>
                    <a:cubicBezTo>
                      <a:pt x="765" y="902"/>
                      <a:pt x="772" y="925"/>
                      <a:pt x="791" y="930"/>
                    </a:cubicBezTo>
                    <a:cubicBezTo>
                      <a:pt x="810" y="936"/>
                      <a:pt x="833" y="939"/>
                      <a:pt x="848" y="954"/>
                    </a:cubicBezTo>
                    <a:cubicBezTo>
                      <a:pt x="863" y="969"/>
                      <a:pt x="889" y="995"/>
                      <a:pt x="907" y="1002"/>
                    </a:cubicBezTo>
                    <a:cubicBezTo>
                      <a:pt x="924" y="1009"/>
                      <a:pt x="929" y="1011"/>
                      <a:pt x="952" y="1011"/>
                    </a:cubicBezTo>
                    <a:cubicBezTo>
                      <a:pt x="975" y="1011"/>
                      <a:pt x="982" y="1009"/>
                      <a:pt x="994" y="1023"/>
                    </a:cubicBezTo>
                    <a:cubicBezTo>
                      <a:pt x="1007" y="1038"/>
                      <a:pt x="1028" y="1058"/>
                      <a:pt x="1044" y="1063"/>
                    </a:cubicBezTo>
                    <a:cubicBezTo>
                      <a:pt x="1060" y="1067"/>
                      <a:pt x="1080" y="1076"/>
                      <a:pt x="1095" y="1081"/>
                    </a:cubicBezTo>
                    <a:cubicBezTo>
                      <a:pt x="1109" y="1086"/>
                      <a:pt x="1122" y="1096"/>
                      <a:pt x="1143" y="1099"/>
                    </a:cubicBezTo>
                    <a:cubicBezTo>
                      <a:pt x="1164" y="1102"/>
                      <a:pt x="1178" y="1107"/>
                      <a:pt x="1191" y="1116"/>
                    </a:cubicBezTo>
                    <a:cubicBezTo>
                      <a:pt x="1205" y="1126"/>
                      <a:pt x="1226" y="1144"/>
                      <a:pt x="1249" y="1145"/>
                    </a:cubicBezTo>
                    <a:cubicBezTo>
                      <a:pt x="1272" y="1146"/>
                      <a:pt x="1276" y="1146"/>
                      <a:pt x="1288" y="1155"/>
                    </a:cubicBezTo>
                    <a:cubicBezTo>
                      <a:pt x="1299" y="1164"/>
                      <a:pt x="1339" y="1165"/>
                      <a:pt x="1352" y="1159"/>
                    </a:cubicBezTo>
                    <a:cubicBezTo>
                      <a:pt x="1365" y="1154"/>
                      <a:pt x="1380" y="1144"/>
                      <a:pt x="1400" y="1137"/>
                    </a:cubicBezTo>
                    <a:cubicBezTo>
                      <a:pt x="1419" y="1131"/>
                      <a:pt x="1419" y="1121"/>
                      <a:pt x="1443" y="1124"/>
                    </a:cubicBezTo>
                    <a:cubicBezTo>
                      <a:pt x="1466" y="1128"/>
                      <a:pt x="1477" y="1129"/>
                      <a:pt x="1495" y="1146"/>
                    </a:cubicBezTo>
                    <a:cubicBezTo>
                      <a:pt x="1513" y="1164"/>
                      <a:pt x="1532" y="1179"/>
                      <a:pt x="1543" y="1188"/>
                    </a:cubicBezTo>
                    <a:cubicBezTo>
                      <a:pt x="1554" y="1197"/>
                      <a:pt x="1563" y="1201"/>
                      <a:pt x="1571" y="1217"/>
                    </a:cubicBezTo>
                    <a:cubicBezTo>
                      <a:pt x="1577" y="1231"/>
                      <a:pt x="1581" y="1238"/>
                      <a:pt x="1588" y="1242"/>
                    </a:cubicBezTo>
                    <a:cubicBezTo>
                      <a:pt x="1590" y="1233"/>
                      <a:pt x="1593" y="1220"/>
                      <a:pt x="1599" y="1208"/>
                    </a:cubicBezTo>
                    <a:cubicBezTo>
                      <a:pt x="1608" y="1191"/>
                      <a:pt x="1628" y="1173"/>
                      <a:pt x="1628" y="1162"/>
                    </a:cubicBezTo>
                    <a:cubicBezTo>
                      <a:pt x="1628" y="1152"/>
                      <a:pt x="1621" y="1137"/>
                      <a:pt x="1649" y="1137"/>
                    </a:cubicBezTo>
                    <a:cubicBezTo>
                      <a:pt x="1676" y="1137"/>
                      <a:pt x="1705" y="1146"/>
                      <a:pt x="1705" y="1133"/>
                    </a:cubicBezTo>
                    <a:cubicBezTo>
                      <a:pt x="1705" y="1120"/>
                      <a:pt x="1711" y="1121"/>
                      <a:pt x="1695" y="1108"/>
                    </a:cubicBezTo>
                    <a:cubicBezTo>
                      <a:pt x="1678" y="1095"/>
                      <a:pt x="1672" y="1083"/>
                      <a:pt x="1658" y="1074"/>
                    </a:cubicBezTo>
                    <a:cubicBezTo>
                      <a:pt x="1644" y="1064"/>
                      <a:pt x="1633" y="1058"/>
                      <a:pt x="1658" y="1058"/>
                    </a:cubicBezTo>
                    <a:cubicBezTo>
                      <a:pt x="1683" y="1058"/>
                      <a:pt x="1672" y="1050"/>
                      <a:pt x="1672" y="1040"/>
                    </a:cubicBezTo>
                    <a:cubicBezTo>
                      <a:pt x="1672" y="1031"/>
                      <a:pt x="1675" y="1020"/>
                      <a:pt x="1698" y="1023"/>
                    </a:cubicBezTo>
                    <a:cubicBezTo>
                      <a:pt x="1722" y="1025"/>
                      <a:pt x="1782" y="1033"/>
                      <a:pt x="1788" y="1024"/>
                    </a:cubicBezTo>
                    <a:cubicBezTo>
                      <a:pt x="1794" y="1014"/>
                      <a:pt x="1790" y="1010"/>
                      <a:pt x="1802" y="1013"/>
                    </a:cubicBezTo>
                    <a:cubicBezTo>
                      <a:pt x="1814" y="1017"/>
                      <a:pt x="1819" y="1021"/>
                      <a:pt x="1825" y="1000"/>
                    </a:cubicBezTo>
                    <a:cubicBezTo>
                      <a:pt x="1831" y="979"/>
                      <a:pt x="1843" y="979"/>
                      <a:pt x="1850" y="981"/>
                    </a:cubicBezTo>
                    <a:cubicBezTo>
                      <a:pt x="1857" y="984"/>
                      <a:pt x="1859" y="987"/>
                      <a:pt x="1860" y="993"/>
                    </a:cubicBezTo>
                    <a:cubicBezTo>
                      <a:pt x="1861" y="997"/>
                      <a:pt x="1867" y="1002"/>
                      <a:pt x="1874" y="1005"/>
                    </a:cubicBezTo>
                    <a:cubicBezTo>
                      <a:pt x="1881" y="1001"/>
                      <a:pt x="1886" y="996"/>
                      <a:pt x="1886" y="988"/>
                    </a:cubicBezTo>
                    <a:cubicBezTo>
                      <a:pt x="1887" y="971"/>
                      <a:pt x="1880" y="974"/>
                      <a:pt x="1888" y="963"/>
                    </a:cubicBezTo>
                    <a:cubicBezTo>
                      <a:pt x="1896" y="951"/>
                      <a:pt x="1899" y="942"/>
                      <a:pt x="1897" y="927"/>
                    </a:cubicBezTo>
                    <a:cubicBezTo>
                      <a:pt x="1894" y="913"/>
                      <a:pt x="1888" y="898"/>
                      <a:pt x="1896" y="886"/>
                    </a:cubicBezTo>
                    <a:cubicBezTo>
                      <a:pt x="1904" y="873"/>
                      <a:pt x="1902" y="858"/>
                      <a:pt x="1910" y="850"/>
                    </a:cubicBezTo>
                    <a:cubicBezTo>
                      <a:pt x="1918" y="843"/>
                      <a:pt x="1924" y="841"/>
                      <a:pt x="1925" y="850"/>
                    </a:cubicBezTo>
                    <a:cubicBezTo>
                      <a:pt x="1925" y="858"/>
                      <a:pt x="1931" y="865"/>
                      <a:pt x="1934" y="858"/>
                    </a:cubicBezTo>
                    <a:cubicBezTo>
                      <a:pt x="1937" y="850"/>
                      <a:pt x="1949" y="842"/>
                      <a:pt x="1941" y="840"/>
                    </a:cubicBezTo>
                    <a:cubicBezTo>
                      <a:pt x="1933" y="839"/>
                      <a:pt x="1929" y="835"/>
                      <a:pt x="1933" y="826"/>
                    </a:cubicBezTo>
                    <a:cubicBezTo>
                      <a:pt x="1938" y="817"/>
                      <a:pt x="1945" y="824"/>
                      <a:pt x="1942" y="804"/>
                    </a:cubicBezTo>
                    <a:cubicBezTo>
                      <a:pt x="1939" y="784"/>
                      <a:pt x="1948" y="782"/>
                      <a:pt x="1938" y="774"/>
                    </a:cubicBezTo>
                    <a:cubicBezTo>
                      <a:pt x="1928" y="767"/>
                      <a:pt x="1917" y="764"/>
                      <a:pt x="1906" y="772"/>
                    </a:cubicBezTo>
                    <a:cubicBezTo>
                      <a:pt x="1895" y="779"/>
                      <a:pt x="1879" y="777"/>
                      <a:pt x="1872" y="770"/>
                    </a:cubicBezTo>
                    <a:cubicBezTo>
                      <a:pt x="1866" y="764"/>
                      <a:pt x="1851" y="765"/>
                      <a:pt x="1839" y="768"/>
                    </a:cubicBezTo>
                    <a:cubicBezTo>
                      <a:pt x="1826" y="771"/>
                      <a:pt x="1828" y="773"/>
                      <a:pt x="1809" y="778"/>
                    </a:cubicBezTo>
                    <a:cubicBezTo>
                      <a:pt x="1789" y="783"/>
                      <a:pt x="1740" y="782"/>
                      <a:pt x="1733" y="794"/>
                    </a:cubicBezTo>
                    <a:cubicBezTo>
                      <a:pt x="1726" y="805"/>
                      <a:pt x="1710" y="797"/>
                      <a:pt x="1710" y="815"/>
                    </a:cubicBezTo>
                    <a:cubicBezTo>
                      <a:pt x="1709" y="832"/>
                      <a:pt x="1705" y="863"/>
                      <a:pt x="1702" y="875"/>
                    </a:cubicBezTo>
                    <a:cubicBezTo>
                      <a:pt x="1700" y="887"/>
                      <a:pt x="1691" y="885"/>
                      <a:pt x="1688" y="899"/>
                    </a:cubicBezTo>
                    <a:cubicBezTo>
                      <a:pt x="1685" y="913"/>
                      <a:pt x="1681" y="926"/>
                      <a:pt x="1666" y="931"/>
                    </a:cubicBezTo>
                    <a:cubicBezTo>
                      <a:pt x="1651" y="937"/>
                      <a:pt x="1627" y="956"/>
                      <a:pt x="1634" y="961"/>
                    </a:cubicBezTo>
                    <a:cubicBezTo>
                      <a:pt x="1642" y="966"/>
                      <a:pt x="1653" y="960"/>
                      <a:pt x="1649" y="969"/>
                    </a:cubicBezTo>
                    <a:cubicBezTo>
                      <a:pt x="1646" y="977"/>
                      <a:pt x="1642" y="982"/>
                      <a:pt x="1631" y="982"/>
                    </a:cubicBezTo>
                    <a:cubicBezTo>
                      <a:pt x="1620" y="982"/>
                      <a:pt x="1617" y="972"/>
                      <a:pt x="1616" y="968"/>
                    </a:cubicBezTo>
                    <a:cubicBezTo>
                      <a:pt x="1616" y="964"/>
                      <a:pt x="1608" y="956"/>
                      <a:pt x="1596" y="958"/>
                    </a:cubicBezTo>
                    <a:cubicBezTo>
                      <a:pt x="1584" y="959"/>
                      <a:pt x="1569" y="963"/>
                      <a:pt x="1561" y="970"/>
                    </a:cubicBezTo>
                    <a:cubicBezTo>
                      <a:pt x="1552" y="977"/>
                      <a:pt x="1530" y="977"/>
                      <a:pt x="1517" y="979"/>
                    </a:cubicBezTo>
                    <a:cubicBezTo>
                      <a:pt x="1504" y="980"/>
                      <a:pt x="1494" y="979"/>
                      <a:pt x="1485" y="985"/>
                    </a:cubicBezTo>
                    <a:cubicBezTo>
                      <a:pt x="1477" y="992"/>
                      <a:pt x="1468" y="999"/>
                      <a:pt x="1458" y="996"/>
                    </a:cubicBezTo>
                    <a:cubicBezTo>
                      <a:pt x="1448" y="993"/>
                      <a:pt x="1447" y="992"/>
                      <a:pt x="1446" y="987"/>
                    </a:cubicBezTo>
                    <a:cubicBezTo>
                      <a:pt x="1445" y="981"/>
                      <a:pt x="1433" y="974"/>
                      <a:pt x="1427" y="974"/>
                    </a:cubicBezTo>
                    <a:cubicBezTo>
                      <a:pt x="1420" y="973"/>
                      <a:pt x="1422" y="957"/>
                      <a:pt x="1409" y="958"/>
                    </a:cubicBezTo>
                    <a:cubicBezTo>
                      <a:pt x="1396" y="959"/>
                      <a:pt x="1361" y="958"/>
                      <a:pt x="1359" y="949"/>
                    </a:cubicBezTo>
                    <a:cubicBezTo>
                      <a:pt x="1358" y="941"/>
                      <a:pt x="1351" y="936"/>
                      <a:pt x="1344" y="926"/>
                    </a:cubicBezTo>
                    <a:cubicBezTo>
                      <a:pt x="1338" y="915"/>
                      <a:pt x="1333" y="910"/>
                      <a:pt x="1332" y="898"/>
                    </a:cubicBezTo>
                    <a:cubicBezTo>
                      <a:pt x="1331" y="887"/>
                      <a:pt x="1335" y="886"/>
                      <a:pt x="1323" y="875"/>
                    </a:cubicBezTo>
                    <a:cubicBezTo>
                      <a:pt x="1312" y="865"/>
                      <a:pt x="1315" y="857"/>
                      <a:pt x="1300" y="848"/>
                    </a:cubicBezTo>
                    <a:cubicBezTo>
                      <a:pt x="1286" y="838"/>
                      <a:pt x="1284" y="829"/>
                      <a:pt x="1282" y="822"/>
                    </a:cubicBezTo>
                    <a:cubicBezTo>
                      <a:pt x="1280" y="816"/>
                      <a:pt x="1277" y="810"/>
                      <a:pt x="1269" y="801"/>
                    </a:cubicBezTo>
                    <a:cubicBezTo>
                      <a:pt x="1261" y="792"/>
                      <a:pt x="1258" y="786"/>
                      <a:pt x="1266" y="779"/>
                    </a:cubicBezTo>
                    <a:cubicBezTo>
                      <a:pt x="1274" y="773"/>
                      <a:pt x="1270" y="772"/>
                      <a:pt x="1262" y="766"/>
                    </a:cubicBezTo>
                    <a:cubicBezTo>
                      <a:pt x="1254" y="760"/>
                      <a:pt x="1254" y="758"/>
                      <a:pt x="1248" y="743"/>
                    </a:cubicBezTo>
                    <a:cubicBezTo>
                      <a:pt x="1242" y="728"/>
                      <a:pt x="1241" y="726"/>
                      <a:pt x="1241" y="710"/>
                    </a:cubicBezTo>
                    <a:cubicBezTo>
                      <a:pt x="1241" y="693"/>
                      <a:pt x="1240" y="688"/>
                      <a:pt x="1245" y="679"/>
                    </a:cubicBezTo>
                    <a:cubicBezTo>
                      <a:pt x="1251" y="671"/>
                      <a:pt x="1253" y="663"/>
                      <a:pt x="1250" y="638"/>
                    </a:cubicBezTo>
                    <a:cubicBezTo>
                      <a:pt x="1247" y="614"/>
                      <a:pt x="1242" y="590"/>
                      <a:pt x="1250" y="574"/>
                    </a:cubicBezTo>
                    <a:cubicBezTo>
                      <a:pt x="1257" y="557"/>
                      <a:pt x="1256" y="540"/>
                      <a:pt x="1264" y="530"/>
                    </a:cubicBezTo>
                    <a:cubicBezTo>
                      <a:pt x="1272" y="520"/>
                      <a:pt x="1285" y="499"/>
                      <a:pt x="1285" y="486"/>
                    </a:cubicBezTo>
                    <a:cubicBezTo>
                      <a:pt x="1285" y="481"/>
                      <a:pt x="1285" y="477"/>
                      <a:pt x="1284" y="473"/>
                    </a:cubicBezTo>
                    <a:cubicBezTo>
                      <a:pt x="1277" y="475"/>
                      <a:pt x="1272" y="478"/>
                      <a:pt x="1264" y="481"/>
                    </a:cubicBezTo>
                    <a:cubicBezTo>
                      <a:pt x="1251" y="485"/>
                      <a:pt x="1246" y="481"/>
                      <a:pt x="1234" y="47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1" name="Freeform 345">
                <a:extLst>
                  <a:ext uri="{FF2B5EF4-FFF2-40B4-BE49-F238E27FC236}">
                    <a16:creationId xmlns:a16="http://schemas.microsoft.com/office/drawing/2014/main" id="{B4DFE3B9-5407-9843-90A4-3FD25775D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" y="1460"/>
                <a:ext cx="34" cy="19"/>
              </a:xfrm>
              <a:custGeom>
                <a:avLst/>
                <a:gdLst>
                  <a:gd name="T0" fmla="*/ 28 w 134"/>
                  <a:gd name="T1" fmla="*/ 46 h 73"/>
                  <a:gd name="T2" fmla="*/ 42 w 134"/>
                  <a:gd name="T3" fmla="*/ 67 h 73"/>
                  <a:gd name="T4" fmla="*/ 65 w 134"/>
                  <a:gd name="T5" fmla="*/ 67 h 73"/>
                  <a:gd name="T6" fmla="*/ 86 w 134"/>
                  <a:gd name="T7" fmla="*/ 60 h 73"/>
                  <a:gd name="T8" fmla="*/ 107 w 134"/>
                  <a:gd name="T9" fmla="*/ 70 h 73"/>
                  <a:gd name="T10" fmla="*/ 125 w 134"/>
                  <a:gd name="T11" fmla="*/ 52 h 73"/>
                  <a:gd name="T12" fmla="*/ 124 w 134"/>
                  <a:gd name="T13" fmla="*/ 22 h 73"/>
                  <a:gd name="T14" fmla="*/ 96 w 134"/>
                  <a:gd name="T15" fmla="*/ 0 h 73"/>
                  <a:gd name="T16" fmla="*/ 64 w 134"/>
                  <a:gd name="T17" fmla="*/ 5 h 73"/>
                  <a:gd name="T18" fmla="*/ 41 w 134"/>
                  <a:gd name="T19" fmla="*/ 15 h 73"/>
                  <a:gd name="T20" fmla="*/ 16 w 134"/>
                  <a:gd name="T21" fmla="*/ 19 h 73"/>
                  <a:gd name="T22" fmla="*/ 8 w 134"/>
                  <a:gd name="T23" fmla="*/ 37 h 73"/>
                  <a:gd name="T24" fmla="*/ 28 w 134"/>
                  <a:gd name="T25" fmla="*/ 4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4" h="73">
                    <a:moveTo>
                      <a:pt x="28" y="46"/>
                    </a:moveTo>
                    <a:cubicBezTo>
                      <a:pt x="32" y="52"/>
                      <a:pt x="32" y="62"/>
                      <a:pt x="42" y="67"/>
                    </a:cubicBezTo>
                    <a:cubicBezTo>
                      <a:pt x="53" y="72"/>
                      <a:pt x="62" y="73"/>
                      <a:pt x="65" y="67"/>
                    </a:cubicBezTo>
                    <a:cubicBezTo>
                      <a:pt x="67" y="61"/>
                      <a:pt x="78" y="57"/>
                      <a:pt x="86" y="60"/>
                    </a:cubicBezTo>
                    <a:cubicBezTo>
                      <a:pt x="94" y="63"/>
                      <a:pt x="99" y="71"/>
                      <a:pt x="107" y="70"/>
                    </a:cubicBezTo>
                    <a:cubicBezTo>
                      <a:pt x="115" y="70"/>
                      <a:pt x="124" y="66"/>
                      <a:pt x="125" y="52"/>
                    </a:cubicBezTo>
                    <a:cubicBezTo>
                      <a:pt x="126" y="38"/>
                      <a:pt x="134" y="28"/>
                      <a:pt x="124" y="22"/>
                    </a:cubicBezTo>
                    <a:cubicBezTo>
                      <a:pt x="115" y="16"/>
                      <a:pt x="114" y="0"/>
                      <a:pt x="96" y="0"/>
                    </a:cubicBezTo>
                    <a:cubicBezTo>
                      <a:pt x="96" y="0"/>
                      <a:pt x="72" y="1"/>
                      <a:pt x="64" y="5"/>
                    </a:cubicBezTo>
                    <a:cubicBezTo>
                      <a:pt x="56" y="8"/>
                      <a:pt x="58" y="15"/>
                      <a:pt x="41" y="15"/>
                    </a:cubicBezTo>
                    <a:cubicBezTo>
                      <a:pt x="24" y="15"/>
                      <a:pt x="21" y="13"/>
                      <a:pt x="16" y="19"/>
                    </a:cubicBezTo>
                    <a:cubicBezTo>
                      <a:pt x="10" y="25"/>
                      <a:pt x="0" y="30"/>
                      <a:pt x="8" y="37"/>
                    </a:cubicBezTo>
                    <a:cubicBezTo>
                      <a:pt x="16" y="44"/>
                      <a:pt x="24" y="40"/>
                      <a:pt x="28" y="4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2" name="Freeform 346">
                <a:extLst>
                  <a:ext uri="{FF2B5EF4-FFF2-40B4-BE49-F238E27FC236}">
                    <a16:creationId xmlns:a16="http://schemas.microsoft.com/office/drawing/2014/main" id="{FA897B98-25C8-9043-900C-5C381036E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" y="1606"/>
                <a:ext cx="27" cy="22"/>
              </a:xfrm>
              <a:custGeom>
                <a:avLst/>
                <a:gdLst>
                  <a:gd name="T0" fmla="*/ 81 w 106"/>
                  <a:gd name="T1" fmla="*/ 16 h 87"/>
                  <a:gd name="T2" fmla="*/ 43 w 106"/>
                  <a:gd name="T3" fmla="*/ 17 h 87"/>
                  <a:gd name="T4" fmla="*/ 39 w 106"/>
                  <a:gd name="T5" fmla="*/ 44 h 87"/>
                  <a:gd name="T6" fmla="*/ 28 w 106"/>
                  <a:gd name="T7" fmla="*/ 60 h 87"/>
                  <a:gd name="T8" fmla="*/ 1 w 106"/>
                  <a:gd name="T9" fmla="*/ 81 h 87"/>
                  <a:gd name="T10" fmla="*/ 22 w 106"/>
                  <a:gd name="T11" fmla="*/ 76 h 87"/>
                  <a:gd name="T12" fmla="*/ 54 w 106"/>
                  <a:gd name="T13" fmla="*/ 61 h 87"/>
                  <a:gd name="T14" fmla="*/ 76 w 106"/>
                  <a:gd name="T15" fmla="*/ 51 h 87"/>
                  <a:gd name="T16" fmla="*/ 100 w 106"/>
                  <a:gd name="T17" fmla="*/ 31 h 87"/>
                  <a:gd name="T18" fmla="*/ 81 w 106"/>
                  <a:gd name="T19" fmla="*/ 1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6" h="87">
                    <a:moveTo>
                      <a:pt x="81" y="16"/>
                    </a:moveTo>
                    <a:cubicBezTo>
                      <a:pt x="71" y="15"/>
                      <a:pt x="46" y="0"/>
                      <a:pt x="43" y="17"/>
                    </a:cubicBezTo>
                    <a:cubicBezTo>
                      <a:pt x="43" y="17"/>
                      <a:pt x="35" y="36"/>
                      <a:pt x="39" y="44"/>
                    </a:cubicBezTo>
                    <a:cubicBezTo>
                      <a:pt x="43" y="52"/>
                      <a:pt x="39" y="57"/>
                      <a:pt x="28" y="60"/>
                    </a:cubicBezTo>
                    <a:cubicBezTo>
                      <a:pt x="18" y="63"/>
                      <a:pt x="0" y="75"/>
                      <a:pt x="1" y="81"/>
                    </a:cubicBezTo>
                    <a:cubicBezTo>
                      <a:pt x="2" y="87"/>
                      <a:pt x="13" y="82"/>
                      <a:pt x="22" y="76"/>
                    </a:cubicBezTo>
                    <a:cubicBezTo>
                      <a:pt x="31" y="70"/>
                      <a:pt x="42" y="64"/>
                      <a:pt x="54" y="61"/>
                    </a:cubicBezTo>
                    <a:cubicBezTo>
                      <a:pt x="66" y="58"/>
                      <a:pt x="71" y="63"/>
                      <a:pt x="76" y="51"/>
                    </a:cubicBezTo>
                    <a:cubicBezTo>
                      <a:pt x="81" y="39"/>
                      <a:pt x="106" y="41"/>
                      <a:pt x="100" y="31"/>
                    </a:cubicBezTo>
                    <a:cubicBezTo>
                      <a:pt x="94" y="21"/>
                      <a:pt x="91" y="17"/>
                      <a:pt x="81" y="1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3" name="Freeform 347">
                <a:extLst>
                  <a:ext uri="{FF2B5EF4-FFF2-40B4-BE49-F238E27FC236}">
                    <a16:creationId xmlns:a16="http://schemas.microsoft.com/office/drawing/2014/main" id="{DB996BA5-1AEE-F645-99A2-A4410A328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1603"/>
                <a:ext cx="10" cy="7"/>
              </a:xfrm>
              <a:custGeom>
                <a:avLst/>
                <a:gdLst>
                  <a:gd name="T0" fmla="*/ 29 w 41"/>
                  <a:gd name="T1" fmla="*/ 2 h 31"/>
                  <a:gd name="T2" fmla="*/ 1 w 41"/>
                  <a:gd name="T3" fmla="*/ 18 h 31"/>
                  <a:gd name="T4" fmla="*/ 18 w 41"/>
                  <a:gd name="T5" fmla="*/ 25 h 31"/>
                  <a:gd name="T6" fmla="*/ 41 w 41"/>
                  <a:gd name="T7" fmla="*/ 11 h 31"/>
                  <a:gd name="T8" fmla="*/ 29 w 41"/>
                  <a:gd name="T9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1">
                    <a:moveTo>
                      <a:pt x="29" y="2"/>
                    </a:moveTo>
                    <a:cubicBezTo>
                      <a:pt x="29" y="2"/>
                      <a:pt x="0" y="7"/>
                      <a:pt x="1" y="18"/>
                    </a:cubicBezTo>
                    <a:cubicBezTo>
                      <a:pt x="2" y="30"/>
                      <a:pt x="15" y="31"/>
                      <a:pt x="18" y="25"/>
                    </a:cubicBezTo>
                    <a:cubicBezTo>
                      <a:pt x="21" y="20"/>
                      <a:pt x="41" y="17"/>
                      <a:pt x="41" y="11"/>
                    </a:cubicBezTo>
                    <a:cubicBezTo>
                      <a:pt x="41" y="5"/>
                      <a:pt x="39" y="0"/>
                      <a:pt x="29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4" name="Freeform 348">
                <a:extLst>
                  <a:ext uri="{FF2B5EF4-FFF2-40B4-BE49-F238E27FC236}">
                    <a16:creationId xmlns:a16="http://schemas.microsoft.com/office/drawing/2014/main" id="{58CB9981-6C05-AB4F-B473-727253E8A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" y="1582"/>
                <a:ext cx="37" cy="21"/>
              </a:xfrm>
              <a:custGeom>
                <a:avLst/>
                <a:gdLst>
                  <a:gd name="T0" fmla="*/ 144 w 146"/>
                  <a:gd name="T1" fmla="*/ 22 h 81"/>
                  <a:gd name="T2" fmla="*/ 122 w 146"/>
                  <a:gd name="T3" fmla="*/ 1 h 81"/>
                  <a:gd name="T4" fmla="*/ 95 w 146"/>
                  <a:gd name="T5" fmla="*/ 16 h 81"/>
                  <a:gd name="T6" fmla="*/ 70 w 146"/>
                  <a:gd name="T7" fmla="*/ 14 h 81"/>
                  <a:gd name="T8" fmla="*/ 46 w 146"/>
                  <a:gd name="T9" fmla="*/ 29 h 81"/>
                  <a:gd name="T10" fmla="*/ 23 w 146"/>
                  <a:gd name="T11" fmla="*/ 40 h 81"/>
                  <a:gd name="T12" fmla="*/ 6 w 146"/>
                  <a:gd name="T13" fmla="*/ 64 h 81"/>
                  <a:gd name="T14" fmla="*/ 37 w 146"/>
                  <a:gd name="T15" fmla="*/ 71 h 81"/>
                  <a:gd name="T16" fmla="*/ 64 w 146"/>
                  <a:gd name="T17" fmla="*/ 55 h 81"/>
                  <a:gd name="T18" fmla="*/ 113 w 146"/>
                  <a:gd name="T19" fmla="*/ 46 h 81"/>
                  <a:gd name="T20" fmla="*/ 115 w 146"/>
                  <a:gd name="T21" fmla="*/ 26 h 81"/>
                  <a:gd name="T22" fmla="*/ 144 w 146"/>
                  <a:gd name="T23" fmla="*/ 22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6" h="81">
                    <a:moveTo>
                      <a:pt x="144" y="22"/>
                    </a:moveTo>
                    <a:cubicBezTo>
                      <a:pt x="142" y="12"/>
                      <a:pt x="141" y="0"/>
                      <a:pt x="122" y="1"/>
                    </a:cubicBezTo>
                    <a:cubicBezTo>
                      <a:pt x="103" y="2"/>
                      <a:pt x="112" y="26"/>
                      <a:pt x="95" y="16"/>
                    </a:cubicBezTo>
                    <a:cubicBezTo>
                      <a:pt x="78" y="5"/>
                      <a:pt x="78" y="5"/>
                      <a:pt x="70" y="14"/>
                    </a:cubicBezTo>
                    <a:cubicBezTo>
                      <a:pt x="62" y="22"/>
                      <a:pt x="73" y="23"/>
                      <a:pt x="46" y="29"/>
                    </a:cubicBezTo>
                    <a:cubicBezTo>
                      <a:pt x="46" y="29"/>
                      <a:pt x="25" y="30"/>
                      <a:pt x="23" y="40"/>
                    </a:cubicBezTo>
                    <a:cubicBezTo>
                      <a:pt x="21" y="50"/>
                      <a:pt x="0" y="55"/>
                      <a:pt x="6" y="64"/>
                    </a:cubicBezTo>
                    <a:cubicBezTo>
                      <a:pt x="12" y="73"/>
                      <a:pt x="33" y="81"/>
                      <a:pt x="37" y="71"/>
                    </a:cubicBezTo>
                    <a:cubicBezTo>
                      <a:pt x="41" y="61"/>
                      <a:pt x="50" y="55"/>
                      <a:pt x="64" y="55"/>
                    </a:cubicBezTo>
                    <a:cubicBezTo>
                      <a:pt x="77" y="55"/>
                      <a:pt x="113" y="46"/>
                      <a:pt x="113" y="46"/>
                    </a:cubicBezTo>
                    <a:cubicBezTo>
                      <a:pt x="113" y="46"/>
                      <a:pt x="106" y="30"/>
                      <a:pt x="115" y="26"/>
                    </a:cubicBezTo>
                    <a:cubicBezTo>
                      <a:pt x="124" y="22"/>
                      <a:pt x="146" y="32"/>
                      <a:pt x="144" y="2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5" name="Freeform 349">
                <a:extLst>
                  <a:ext uri="{FF2B5EF4-FFF2-40B4-BE49-F238E27FC236}">
                    <a16:creationId xmlns:a16="http://schemas.microsoft.com/office/drawing/2014/main" id="{360EF13F-50BC-E640-8633-6A4038BFA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" y="1502"/>
                <a:ext cx="49" cy="47"/>
              </a:xfrm>
              <a:custGeom>
                <a:avLst/>
                <a:gdLst>
                  <a:gd name="T0" fmla="*/ 180 w 194"/>
                  <a:gd name="T1" fmla="*/ 36 h 187"/>
                  <a:gd name="T2" fmla="*/ 150 w 194"/>
                  <a:gd name="T3" fmla="*/ 21 h 187"/>
                  <a:gd name="T4" fmla="*/ 148 w 194"/>
                  <a:gd name="T5" fmla="*/ 2 h 187"/>
                  <a:gd name="T6" fmla="*/ 131 w 194"/>
                  <a:gd name="T7" fmla="*/ 22 h 187"/>
                  <a:gd name="T8" fmla="*/ 122 w 194"/>
                  <a:gd name="T9" fmla="*/ 32 h 187"/>
                  <a:gd name="T10" fmla="*/ 101 w 194"/>
                  <a:gd name="T11" fmla="*/ 51 h 187"/>
                  <a:gd name="T12" fmla="*/ 97 w 194"/>
                  <a:gd name="T13" fmla="*/ 69 h 187"/>
                  <a:gd name="T14" fmla="*/ 100 w 194"/>
                  <a:gd name="T15" fmla="*/ 85 h 187"/>
                  <a:gd name="T16" fmla="*/ 82 w 194"/>
                  <a:gd name="T17" fmla="*/ 84 h 187"/>
                  <a:gd name="T18" fmla="*/ 67 w 194"/>
                  <a:gd name="T19" fmla="*/ 73 h 187"/>
                  <a:gd name="T20" fmla="*/ 59 w 194"/>
                  <a:gd name="T21" fmla="*/ 88 h 187"/>
                  <a:gd name="T22" fmla="*/ 71 w 194"/>
                  <a:gd name="T23" fmla="*/ 107 h 187"/>
                  <a:gd name="T24" fmla="*/ 57 w 194"/>
                  <a:gd name="T25" fmla="*/ 112 h 187"/>
                  <a:gd name="T26" fmla="*/ 37 w 194"/>
                  <a:gd name="T27" fmla="*/ 88 h 187"/>
                  <a:gd name="T28" fmla="*/ 22 w 194"/>
                  <a:gd name="T29" fmla="*/ 106 h 187"/>
                  <a:gd name="T30" fmla="*/ 7 w 194"/>
                  <a:gd name="T31" fmla="*/ 130 h 187"/>
                  <a:gd name="T32" fmla="*/ 29 w 194"/>
                  <a:gd name="T33" fmla="*/ 158 h 187"/>
                  <a:gd name="T34" fmla="*/ 47 w 194"/>
                  <a:gd name="T35" fmla="*/ 170 h 187"/>
                  <a:gd name="T36" fmla="*/ 64 w 194"/>
                  <a:gd name="T37" fmla="*/ 175 h 187"/>
                  <a:gd name="T38" fmla="*/ 78 w 194"/>
                  <a:gd name="T39" fmla="*/ 152 h 187"/>
                  <a:gd name="T40" fmla="*/ 94 w 194"/>
                  <a:gd name="T41" fmla="*/ 148 h 187"/>
                  <a:gd name="T42" fmla="*/ 116 w 194"/>
                  <a:gd name="T43" fmla="*/ 144 h 187"/>
                  <a:gd name="T44" fmla="*/ 127 w 194"/>
                  <a:gd name="T45" fmla="*/ 128 h 187"/>
                  <a:gd name="T46" fmla="*/ 143 w 194"/>
                  <a:gd name="T47" fmla="*/ 117 h 187"/>
                  <a:gd name="T48" fmla="*/ 161 w 194"/>
                  <a:gd name="T49" fmla="*/ 108 h 187"/>
                  <a:gd name="T50" fmla="*/ 152 w 194"/>
                  <a:gd name="T51" fmla="*/ 86 h 187"/>
                  <a:gd name="T52" fmla="*/ 137 w 194"/>
                  <a:gd name="T53" fmla="*/ 70 h 187"/>
                  <a:gd name="T54" fmla="*/ 124 w 194"/>
                  <a:gd name="T55" fmla="*/ 63 h 187"/>
                  <a:gd name="T56" fmla="*/ 158 w 194"/>
                  <a:gd name="T57" fmla="*/ 48 h 187"/>
                  <a:gd name="T58" fmla="*/ 174 w 194"/>
                  <a:gd name="T59" fmla="*/ 45 h 187"/>
                  <a:gd name="T60" fmla="*/ 180 w 194"/>
                  <a:gd name="T61" fmla="*/ 36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4" h="187">
                    <a:moveTo>
                      <a:pt x="180" y="36"/>
                    </a:moveTo>
                    <a:cubicBezTo>
                      <a:pt x="167" y="25"/>
                      <a:pt x="147" y="31"/>
                      <a:pt x="150" y="21"/>
                    </a:cubicBezTo>
                    <a:cubicBezTo>
                      <a:pt x="154" y="10"/>
                      <a:pt x="157" y="0"/>
                      <a:pt x="148" y="2"/>
                    </a:cubicBezTo>
                    <a:cubicBezTo>
                      <a:pt x="138" y="4"/>
                      <a:pt x="137" y="16"/>
                      <a:pt x="131" y="22"/>
                    </a:cubicBezTo>
                    <a:cubicBezTo>
                      <a:pt x="124" y="29"/>
                      <a:pt x="140" y="20"/>
                      <a:pt x="122" y="32"/>
                    </a:cubicBezTo>
                    <a:cubicBezTo>
                      <a:pt x="122" y="32"/>
                      <a:pt x="108" y="44"/>
                      <a:pt x="101" y="51"/>
                    </a:cubicBezTo>
                    <a:cubicBezTo>
                      <a:pt x="95" y="58"/>
                      <a:pt x="90" y="64"/>
                      <a:pt x="97" y="69"/>
                    </a:cubicBezTo>
                    <a:cubicBezTo>
                      <a:pt x="104" y="74"/>
                      <a:pt x="111" y="77"/>
                      <a:pt x="100" y="85"/>
                    </a:cubicBezTo>
                    <a:cubicBezTo>
                      <a:pt x="89" y="92"/>
                      <a:pt x="87" y="93"/>
                      <a:pt x="82" y="84"/>
                    </a:cubicBezTo>
                    <a:cubicBezTo>
                      <a:pt x="77" y="74"/>
                      <a:pt x="74" y="69"/>
                      <a:pt x="67" y="73"/>
                    </a:cubicBezTo>
                    <a:cubicBezTo>
                      <a:pt x="60" y="76"/>
                      <a:pt x="52" y="82"/>
                      <a:pt x="59" y="88"/>
                    </a:cubicBezTo>
                    <a:cubicBezTo>
                      <a:pt x="67" y="94"/>
                      <a:pt x="71" y="101"/>
                      <a:pt x="71" y="107"/>
                    </a:cubicBezTo>
                    <a:cubicBezTo>
                      <a:pt x="71" y="114"/>
                      <a:pt x="66" y="122"/>
                      <a:pt x="57" y="112"/>
                    </a:cubicBezTo>
                    <a:cubicBezTo>
                      <a:pt x="49" y="101"/>
                      <a:pt x="46" y="84"/>
                      <a:pt x="37" y="88"/>
                    </a:cubicBezTo>
                    <a:cubicBezTo>
                      <a:pt x="29" y="92"/>
                      <a:pt x="36" y="102"/>
                      <a:pt x="22" y="106"/>
                    </a:cubicBezTo>
                    <a:cubicBezTo>
                      <a:pt x="9" y="109"/>
                      <a:pt x="0" y="125"/>
                      <a:pt x="7" y="130"/>
                    </a:cubicBezTo>
                    <a:cubicBezTo>
                      <a:pt x="14" y="135"/>
                      <a:pt x="16" y="158"/>
                      <a:pt x="29" y="158"/>
                    </a:cubicBezTo>
                    <a:cubicBezTo>
                      <a:pt x="41" y="158"/>
                      <a:pt x="46" y="162"/>
                      <a:pt x="47" y="170"/>
                    </a:cubicBezTo>
                    <a:cubicBezTo>
                      <a:pt x="47" y="177"/>
                      <a:pt x="58" y="187"/>
                      <a:pt x="64" y="175"/>
                    </a:cubicBezTo>
                    <a:cubicBezTo>
                      <a:pt x="70" y="162"/>
                      <a:pt x="68" y="150"/>
                      <a:pt x="78" y="152"/>
                    </a:cubicBezTo>
                    <a:cubicBezTo>
                      <a:pt x="87" y="154"/>
                      <a:pt x="88" y="133"/>
                      <a:pt x="94" y="148"/>
                    </a:cubicBezTo>
                    <a:cubicBezTo>
                      <a:pt x="100" y="162"/>
                      <a:pt x="112" y="155"/>
                      <a:pt x="116" y="144"/>
                    </a:cubicBezTo>
                    <a:cubicBezTo>
                      <a:pt x="121" y="133"/>
                      <a:pt x="137" y="139"/>
                      <a:pt x="127" y="128"/>
                    </a:cubicBezTo>
                    <a:cubicBezTo>
                      <a:pt x="116" y="117"/>
                      <a:pt x="132" y="112"/>
                      <a:pt x="143" y="117"/>
                    </a:cubicBezTo>
                    <a:cubicBezTo>
                      <a:pt x="154" y="122"/>
                      <a:pt x="161" y="117"/>
                      <a:pt x="161" y="108"/>
                    </a:cubicBezTo>
                    <a:cubicBezTo>
                      <a:pt x="161" y="99"/>
                      <a:pt x="159" y="93"/>
                      <a:pt x="152" y="86"/>
                    </a:cubicBezTo>
                    <a:cubicBezTo>
                      <a:pt x="144" y="80"/>
                      <a:pt x="146" y="69"/>
                      <a:pt x="137" y="70"/>
                    </a:cubicBezTo>
                    <a:cubicBezTo>
                      <a:pt x="129" y="71"/>
                      <a:pt x="109" y="71"/>
                      <a:pt x="124" y="63"/>
                    </a:cubicBezTo>
                    <a:cubicBezTo>
                      <a:pt x="139" y="54"/>
                      <a:pt x="156" y="53"/>
                      <a:pt x="158" y="48"/>
                    </a:cubicBezTo>
                    <a:cubicBezTo>
                      <a:pt x="159" y="42"/>
                      <a:pt x="169" y="36"/>
                      <a:pt x="174" y="45"/>
                    </a:cubicBezTo>
                    <a:cubicBezTo>
                      <a:pt x="179" y="54"/>
                      <a:pt x="194" y="47"/>
                      <a:pt x="180" y="3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6" name="Freeform 350">
                <a:extLst>
                  <a:ext uri="{FF2B5EF4-FFF2-40B4-BE49-F238E27FC236}">
                    <a16:creationId xmlns:a16="http://schemas.microsoft.com/office/drawing/2014/main" id="{3B5BE83B-D3E3-D447-B315-4F3FFE840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" y="1456"/>
                <a:ext cx="9" cy="16"/>
              </a:xfrm>
              <a:custGeom>
                <a:avLst/>
                <a:gdLst>
                  <a:gd name="T0" fmla="*/ 22 w 38"/>
                  <a:gd name="T1" fmla="*/ 38 h 63"/>
                  <a:gd name="T2" fmla="*/ 33 w 38"/>
                  <a:gd name="T3" fmla="*/ 29 h 63"/>
                  <a:gd name="T4" fmla="*/ 36 w 38"/>
                  <a:gd name="T5" fmla="*/ 15 h 63"/>
                  <a:gd name="T6" fmla="*/ 26 w 38"/>
                  <a:gd name="T7" fmla="*/ 7 h 63"/>
                  <a:gd name="T8" fmla="*/ 16 w 38"/>
                  <a:gd name="T9" fmla="*/ 19 h 63"/>
                  <a:gd name="T10" fmla="*/ 12 w 38"/>
                  <a:gd name="T11" fmla="*/ 30 h 63"/>
                  <a:gd name="T12" fmla="*/ 2 w 38"/>
                  <a:gd name="T13" fmla="*/ 47 h 63"/>
                  <a:gd name="T14" fmla="*/ 8 w 38"/>
                  <a:gd name="T15" fmla="*/ 56 h 63"/>
                  <a:gd name="T16" fmla="*/ 22 w 38"/>
                  <a:gd name="T17" fmla="*/ 38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63">
                    <a:moveTo>
                      <a:pt x="22" y="38"/>
                    </a:moveTo>
                    <a:cubicBezTo>
                      <a:pt x="28" y="37"/>
                      <a:pt x="28" y="30"/>
                      <a:pt x="33" y="29"/>
                    </a:cubicBezTo>
                    <a:cubicBezTo>
                      <a:pt x="38" y="29"/>
                      <a:pt x="36" y="23"/>
                      <a:pt x="36" y="15"/>
                    </a:cubicBezTo>
                    <a:cubicBezTo>
                      <a:pt x="36" y="7"/>
                      <a:pt x="31" y="0"/>
                      <a:pt x="26" y="7"/>
                    </a:cubicBezTo>
                    <a:cubicBezTo>
                      <a:pt x="26" y="7"/>
                      <a:pt x="19" y="17"/>
                      <a:pt x="16" y="19"/>
                    </a:cubicBezTo>
                    <a:cubicBezTo>
                      <a:pt x="13" y="21"/>
                      <a:pt x="22" y="28"/>
                      <a:pt x="12" y="30"/>
                    </a:cubicBezTo>
                    <a:cubicBezTo>
                      <a:pt x="3" y="33"/>
                      <a:pt x="3" y="40"/>
                      <a:pt x="2" y="47"/>
                    </a:cubicBezTo>
                    <a:cubicBezTo>
                      <a:pt x="0" y="54"/>
                      <a:pt x="4" y="63"/>
                      <a:pt x="8" y="56"/>
                    </a:cubicBezTo>
                    <a:cubicBezTo>
                      <a:pt x="12" y="48"/>
                      <a:pt x="16" y="39"/>
                      <a:pt x="22" y="3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7" name="Freeform 351">
                <a:extLst>
                  <a:ext uri="{FF2B5EF4-FFF2-40B4-BE49-F238E27FC236}">
                    <a16:creationId xmlns:a16="http://schemas.microsoft.com/office/drawing/2014/main" id="{B75797C6-C748-6246-81A5-DE8A5BC4F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" y="1461"/>
                <a:ext cx="15" cy="16"/>
              </a:xfrm>
              <a:custGeom>
                <a:avLst/>
                <a:gdLst>
                  <a:gd name="T0" fmla="*/ 55 w 61"/>
                  <a:gd name="T1" fmla="*/ 3 h 66"/>
                  <a:gd name="T2" fmla="*/ 45 w 61"/>
                  <a:gd name="T3" fmla="*/ 5 h 66"/>
                  <a:gd name="T4" fmla="*/ 35 w 61"/>
                  <a:gd name="T5" fmla="*/ 19 h 66"/>
                  <a:gd name="T6" fmla="*/ 20 w 61"/>
                  <a:gd name="T7" fmla="*/ 32 h 66"/>
                  <a:gd name="T8" fmla="*/ 6 w 61"/>
                  <a:gd name="T9" fmla="*/ 40 h 66"/>
                  <a:gd name="T10" fmla="*/ 2 w 61"/>
                  <a:gd name="T11" fmla="*/ 60 h 66"/>
                  <a:gd name="T12" fmla="*/ 18 w 61"/>
                  <a:gd name="T13" fmla="*/ 62 h 66"/>
                  <a:gd name="T14" fmla="*/ 36 w 61"/>
                  <a:gd name="T15" fmla="*/ 44 h 66"/>
                  <a:gd name="T16" fmla="*/ 49 w 61"/>
                  <a:gd name="T17" fmla="*/ 26 h 66"/>
                  <a:gd name="T18" fmla="*/ 59 w 61"/>
                  <a:gd name="T19" fmla="*/ 15 h 66"/>
                  <a:gd name="T20" fmla="*/ 55 w 61"/>
                  <a:gd name="T21" fmla="*/ 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6">
                    <a:moveTo>
                      <a:pt x="55" y="3"/>
                    </a:moveTo>
                    <a:cubicBezTo>
                      <a:pt x="49" y="4"/>
                      <a:pt x="48" y="0"/>
                      <a:pt x="45" y="5"/>
                    </a:cubicBezTo>
                    <a:cubicBezTo>
                      <a:pt x="45" y="5"/>
                      <a:pt x="42" y="14"/>
                      <a:pt x="35" y="19"/>
                    </a:cubicBezTo>
                    <a:cubicBezTo>
                      <a:pt x="27" y="24"/>
                      <a:pt x="22" y="28"/>
                      <a:pt x="20" y="32"/>
                    </a:cubicBezTo>
                    <a:cubicBezTo>
                      <a:pt x="17" y="35"/>
                      <a:pt x="10" y="37"/>
                      <a:pt x="6" y="40"/>
                    </a:cubicBezTo>
                    <a:cubicBezTo>
                      <a:pt x="2" y="43"/>
                      <a:pt x="0" y="55"/>
                      <a:pt x="2" y="60"/>
                    </a:cubicBezTo>
                    <a:cubicBezTo>
                      <a:pt x="5" y="64"/>
                      <a:pt x="8" y="66"/>
                      <a:pt x="18" y="62"/>
                    </a:cubicBezTo>
                    <a:cubicBezTo>
                      <a:pt x="28" y="59"/>
                      <a:pt x="31" y="55"/>
                      <a:pt x="36" y="44"/>
                    </a:cubicBezTo>
                    <a:cubicBezTo>
                      <a:pt x="41" y="33"/>
                      <a:pt x="42" y="30"/>
                      <a:pt x="49" y="26"/>
                    </a:cubicBezTo>
                    <a:cubicBezTo>
                      <a:pt x="56" y="22"/>
                      <a:pt x="58" y="20"/>
                      <a:pt x="59" y="15"/>
                    </a:cubicBezTo>
                    <a:cubicBezTo>
                      <a:pt x="61" y="10"/>
                      <a:pt x="61" y="2"/>
                      <a:pt x="55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8" name="Freeform 352">
                <a:extLst>
                  <a:ext uri="{FF2B5EF4-FFF2-40B4-BE49-F238E27FC236}">
                    <a16:creationId xmlns:a16="http://schemas.microsoft.com/office/drawing/2014/main" id="{A681BCFA-97FE-0F45-9308-C1CE42638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1164"/>
                <a:ext cx="612" cy="427"/>
              </a:xfrm>
              <a:custGeom>
                <a:avLst/>
                <a:gdLst>
                  <a:gd name="T0" fmla="*/ 2136 w 2418"/>
                  <a:gd name="T1" fmla="*/ 1302 h 1686"/>
                  <a:gd name="T2" fmla="*/ 1962 w 2418"/>
                  <a:gd name="T3" fmla="*/ 1303 h 1686"/>
                  <a:gd name="T4" fmla="*/ 1784 w 2418"/>
                  <a:gd name="T5" fmla="*/ 1189 h 1686"/>
                  <a:gd name="T6" fmla="*/ 1653 w 2418"/>
                  <a:gd name="T7" fmla="*/ 186 h 1686"/>
                  <a:gd name="T8" fmla="*/ 1287 w 2418"/>
                  <a:gd name="T9" fmla="*/ 137 h 1686"/>
                  <a:gd name="T10" fmla="*/ 1084 w 2418"/>
                  <a:gd name="T11" fmla="*/ 116 h 1686"/>
                  <a:gd name="T12" fmla="*/ 903 w 2418"/>
                  <a:gd name="T13" fmla="*/ 59 h 1686"/>
                  <a:gd name="T14" fmla="*/ 790 w 2418"/>
                  <a:gd name="T15" fmla="*/ 43 h 1686"/>
                  <a:gd name="T16" fmla="*/ 644 w 2418"/>
                  <a:gd name="T17" fmla="*/ 65 h 1686"/>
                  <a:gd name="T18" fmla="*/ 555 w 2418"/>
                  <a:gd name="T19" fmla="*/ 113 h 1686"/>
                  <a:gd name="T20" fmla="*/ 425 w 2418"/>
                  <a:gd name="T21" fmla="*/ 138 h 1686"/>
                  <a:gd name="T22" fmla="*/ 257 w 2418"/>
                  <a:gd name="T23" fmla="*/ 278 h 1686"/>
                  <a:gd name="T24" fmla="*/ 81 w 2418"/>
                  <a:gd name="T25" fmla="*/ 359 h 1686"/>
                  <a:gd name="T26" fmla="*/ 312 w 2418"/>
                  <a:gd name="T27" fmla="*/ 500 h 1686"/>
                  <a:gd name="T28" fmla="*/ 380 w 2418"/>
                  <a:gd name="T29" fmla="*/ 523 h 1686"/>
                  <a:gd name="T30" fmla="*/ 380 w 2418"/>
                  <a:gd name="T31" fmla="*/ 535 h 1686"/>
                  <a:gd name="T32" fmla="*/ 474 w 2418"/>
                  <a:gd name="T33" fmla="*/ 567 h 1686"/>
                  <a:gd name="T34" fmla="*/ 329 w 2418"/>
                  <a:gd name="T35" fmla="*/ 601 h 1686"/>
                  <a:gd name="T36" fmla="*/ 194 w 2418"/>
                  <a:gd name="T37" fmla="*/ 556 h 1686"/>
                  <a:gd name="T38" fmla="*/ 23 w 2418"/>
                  <a:gd name="T39" fmla="*/ 634 h 1686"/>
                  <a:gd name="T40" fmla="*/ 69 w 2418"/>
                  <a:gd name="T41" fmla="*/ 701 h 1686"/>
                  <a:gd name="T42" fmla="*/ 284 w 2418"/>
                  <a:gd name="T43" fmla="*/ 759 h 1686"/>
                  <a:gd name="T44" fmla="*/ 401 w 2418"/>
                  <a:gd name="T45" fmla="*/ 732 h 1686"/>
                  <a:gd name="T46" fmla="*/ 447 w 2418"/>
                  <a:gd name="T47" fmla="*/ 800 h 1686"/>
                  <a:gd name="T48" fmla="*/ 350 w 2418"/>
                  <a:gd name="T49" fmla="*/ 852 h 1686"/>
                  <a:gd name="T50" fmla="*/ 227 w 2418"/>
                  <a:gd name="T51" fmla="*/ 897 h 1686"/>
                  <a:gd name="T52" fmla="*/ 144 w 2418"/>
                  <a:gd name="T53" fmla="*/ 1018 h 1686"/>
                  <a:gd name="T54" fmla="*/ 186 w 2418"/>
                  <a:gd name="T55" fmla="*/ 1093 h 1686"/>
                  <a:gd name="T56" fmla="*/ 267 w 2418"/>
                  <a:gd name="T57" fmla="*/ 1149 h 1686"/>
                  <a:gd name="T58" fmla="*/ 195 w 2418"/>
                  <a:gd name="T59" fmla="*/ 1182 h 1686"/>
                  <a:gd name="T60" fmla="*/ 348 w 2418"/>
                  <a:gd name="T61" fmla="*/ 1174 h 1686"/>
                  <a:gd name="T62" fmla="*/ 381 w 2418"/>
                  <a:gd name="T63" fmla="*/ 1227 h 1686"/>
                  <a:gd name="T64" fmla="*/ 399 w 2418"/>
                  <a:gd name="T65" fmla="*/ 1346 h 1686"/>
                  <a:gd name="T66" fmla="*/ 482 w 2418"/>
                  <a:gd name="T67" fmla="*/ 1302 h 1686"/>
                  <a:gd name="T68" fmla="*/ 589 w 2418"/>
                  <a:gd name="T69" fmla="*/ 1326 h 1686"/>
                  <a:gd name="T70" fmla="*/ 680 w 2418"/>
                  <a:gd name="T71" fmla="*/ 1343 h 1686"/>
                  <a:gd name="T72" fmla="*/ 582 w 2418"/>
                  <a:gd name="T73" fmla="*/ 1505 h 1686"/>
                  <a:gd name="T74" fmla="*/ 461 w 2418"/>
                  <a:gd name="T75" fmla="*/ 1601 h 1686"/>
                  <a:gd name="T76" fmla="*/ 334 w 2418"/>
                  <a:gd name="T77" fmla="*/ 1647 h 1686"/>
                  <a:gd name="T78" fmla="*/ 444 w 2418"/>
                  <a:gd name="T79" fmla="*/ 1634 h 1686"/>
                  <a:gd name="T80" fmla="*/ 505 w 2418"/>
                  <a:gd name="T81" fmla="*/ 1608 h 1686"/>
                  <a:gd name="T82" fmla="*/ 617 w 2418"/>
                  <a:gd name="T83" fmla="*/ 1574 h 1686"/>
                  <a:gd name="T84" fmla="*/ 756 w 2418"/>
                  <a:gd name="T85" fmla="*/ 1449 h 1686"/>
                  <a:gd name="T86" fmla="*/ 922 w 2418"/>
                  <a:gd name="T87" fmla="*/ 1303 h 1686"/>
                  <a:gd name="T88" fmla="*/ 995 w 2418"/>
                  <a:gd name="T89" fmla="*/ 1174 h 1686"/>
                  <a:gd name="T90" fmla="*/ 1111 w 2418"/>
                  <a:gd name="T91" fmla="*/ 1107 h 1686"/>
                  <a:gd name="T92" fmla="*/ 1051 w 2418"/>
                  <a:gd name="T93" fmla="*/ 1252 h 1686"/>
                  <a:gd name="T94" fmla="*/ 1159 w 2418"/>
                  <a:gd name="T95" fmla="*/ 1235 h 1686"/>
                  <a:gd name="T96" fmla="*/ 1239 w 2418"/>
                  <a:gd name="T97" fmla="*/ 1142 h 1686"/>
                  <a:gd name="T98" fmla="*/ 1374 w 2418"/>
                  <a:gd name="T99" fmla="*/ 1139 h 1686"/>
                  <a:gd name="T100" fmla="*/ 1416 w 2418"/>
                  <a:gd name="T101" fmla="*/ 1167 h 1686"/>
                  <a:gd name="T102" fmla="*/ 1579 w 2418"/>
                  <a:gd name="T103" fmla="*/ 1207 h 1686"/>
                  <a:gd name="T104" fmla="*/ 1737 w 2418"/>
                  <a:gd name="T105" fmla="*/ 1239 h 1686"/>
                  <a:gd name="T106" fmla="*/ 1846 w 2418"/>
                  <a:gd name="T107" fmla="*/ 1283 h 1686"/>
                  <a:gd name="T108" fmla="*/ 2025 w 2418"/>
                  <a:gd name="T109" fmla="*/ 1343 h 1686"/>
                  <a:gd name="T110" fmla="*/ 2092 w 2418"/>
                  <a:gd name="T111" fmla="*/ 1338 h 1686"/>
                  <a:gd name="T112" fmla="*/ 2119 w 2418"/>
                  <a:gd name="T113" fmla="*/ 1425 h 1686"/>
                  <a:gd name="T114" fmla="*/ 2167 w 2418"/>
                  <a:gd name="T115" fmla="*/ 1392 h 1686"/>
                  <a:gd name="T116" fmla="*/ 2276 w 2418"/>
                  <a:gd name="T117" fmla="*/ 1536 h 1686"/>
                  <a:gd name="T118" fmla="*/ 2321 w 2418"/>
                  <a:gd name="T119" fmla="*/ 1626 h 1686"/>
                  <a:gd name="T120" fmla="*/ 2346 w 2418"/>
                  <a:gd name="T121" fmla="*/ 1643 h 1686"/>
                  <a:gd name="T122" fmla="*/ 2417 w 2418"/>
                  <a:gd name="T123" fmla="*/ 1596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18" h="1686">
                    <a:moveTo>
                      <a:pt x="2372" y="1552"/>
                    </a:moveTo>
                    <a:cubicBezTo>
                      <a:pt x="2354" y="1544"/>
                      <a:pt x="2327" y="1536"/>
                      <a:pt x="2314" y="1528"/>
                    </a:cubicBezTo>
                    <a:cubicBezTo>
                      <a:pt x="2300" y="1520"/>
                      <a:pt x="2280" y="1493"/>
                      <a:pt x="2278" y="1477"/>
                    </a:cubicBezTo>
                    <a:cubicBezTo>
                      <a:pt x="2276" y="1461"/>
                      <a:pt x="2268" y="1451"/>
                      <a:pt x="2256" y="1440"/>
                    </a:cubicBezTo>
                    <a:cubicBezTo>
                      <a:pt x="2244" y="1430"/>
                      <a:pt x="2222" y="1389"/>
                      <a:pt x="2212" y="1372"/>
                    </a:cubicBezTo>
                    <a:cubicBezTo>
                      <a:pt x="2203" y="1354"/>
                      <a:pt x="2186" y="1332"/>
                      <a:pt x="2170" y="1328"/>
                    </a:cubicBezTo>
                    <a:cubicBezTo>
                      <a:pt x="2155" y="1324"/>
                      <a:pt x="2138" y="1316"/>
                      <a:pt x="2136" y="1302"/>
                    </a:cubicBezTo>
                    <a:cubicBezTo>
                      <a:pt x="2135" y="1288"/>
                      <a:pt x="2116" y="1282"/>
                      <a:pt x="2108" y="1278"/>
                    </a:cubicBezTo>
                    <a:cubicBezTo>
                      <a:pt x="2099" y="1274"/>
                      <a:pt x="2098" y="1260"/>
                      <a:pt x="2092" y="1244"/>
                    </a:cubicBezTo>
                    <a:cubicBezTo>
                      <a:pt x="2086" y="1229"/>
                      <a:pt x="2061" y="1230"/>
                      <a:pt x="2055" y="1234"/>
                    </a:cubicBezTo>
                    <a:cubicBezTo>
                      <a:pt x="2049" y="1239"/>
                      <a:pt x="2042" y="1242"/>
                      <a:pt x="2026" y="1244"/>
                    </a:cubicBezTo>
                    <a:cubicBezTo>
                      <a:pt x="2010" y="1245"/>
                      <a:pt x="2010" y="1267"/>
                      <a:pt x="2010" y="1275"/>
                    </a:cubicBezTo>
                    <a:cubicBezTo>
                      <a:pt x="2010" y="1283"/>
                      <a:pt x="1992" y="1290"/>
                      <a:pt x="1981" y="1291"/>
                    </a:cubicBezTo>
                    <a:cubicBezTo>
                      <a:pt x="1970" y="1292"/>
                      <a:pt x="1965" y="1297"/>
                      <a:pt x="1962" y="1303"/>
                    </a:cubicBezTo>
                    <a:cubicBezTo>
                      <a:pt x="1958" y="1309"/>
                      <a:pt x="1956" y="1312"/>
                      <a:pt x="1950" y="1310"/>
                    </a:cubicBezTo>
                    <a:cubicBezTo>
                      <a:pt x="1944" y="1309"/>
                      <a:pt x="1938" y="1294"/>
                      <a:pt x="1930" y="1278"/>
                    </a:cubicBezTo>
                    <a:cubicBezTo>
                      <a:pt x="1922" y="1263"/>
                      <a:pt x="1897" y="1251"/>
                      <a:pt x="1885" y="1243"/>
                    </a:cubicBezTo>
                    <a:cubicBezTo>
                      <a:pt x="1874" y="1235"/>
                      <a:pt x="1863" y="1217"/>
                      <a:pt x="1851" y="1217"/>
                    </a:cubicBezTo>
                    <a:cubicBezTo>
                      <a:pt x="1839" y="1216"/>
                      <a:pt x="1834" y="1203"/>
                      <a:pt x="1834" y="1189"/>
                    </a:cubicBezTo>
                    <a:cubicBezTo>
                      <a:pt x="1834" y="1175"/>
                      <a:pt x="1826" y="1178"/>
                      <a:pt x="1809" y="1177"/>
                    </a:cubicBezTo>
                    <a:cubicBezTo>
                      <a:pt x="1792" y="1175"/>
                      <a:pt x="1791" y="1186"/>
                      <a:pt x="1784" y="1189"/>
                    </a:cubicBezTo>
                    <a:cubicBezTo>
                      <a:pt x="1776" y="1192"/>
                      <a:pt x="1769" y="1189"/>
                      <a:pt x="1761" y="1182"/>
                    </a:cubicBezTo>
                    <a:cubicBezTo>
                      <a:pt x="1753" y="1175"/>
                      <a:pt x="1744" y="1189"/>
                      <a:pt x="1738" y="1189"/>
                    </a:cubicBezTo>
                    <a:cubicBezTo>
                      <a:pt x="1733" y="1189"/>
                      <a:pt x="1726" y="1186"/>
                      <a:pt x="1723" y="1180"/>
                    </a:cubicBezTo>
                    <a:cubicBezTo>
                      <a:pt x="1720" y="1174"/>
                      <a:pt x="1714" y="1168"/>
                      <a:pt x="1714" y="1168"/>
                    </a:cubicBezTo>
                    <a:cubicBezTo>
                      <a:pt x="1712" y="204"/>
                      <a:pt x="1712" y="204"/>
                      <a:pt x="1712" y="204"/>
                    </a:cubicBezTo>
                    <a:cubicBezTo>
                      <a:pt x="1701" y="203"/>
                      <a:pt x="1694" y="206"/>
                      <a:pt x="1684" y="199"/>
                    </a:cubicBezTo>
                    <a:cubicBezTo>
                      <a:pt x="1674" y="192"/>
                      <a:pt x="1670" y="185"/>
                      <a:pt x="1653" y="186"/>
                    </a:cubicBezTo>
                    <a:cubicBezTo>
                      <a:pt x="1637" y="187"/>
                      <a:pt x="1618" y="157"/>
                      <a:pt x="1599" y="158"/>
                    </a:cubicBezTo>
                    <a:cubicBezTo>
                      <a:pt x="1579" y="159"/>
                      <a:pt x="1583" y="146"/>
                      <a:pt x="1563" y="150"/>
                    </a:cubicBezTo>
                    <a:cubicBezTo>
                      <a:pt x="1544" y="153"/>
                      <a:pt x="1534" y="160"/>
                      <a:pt x="1515" y="160"/>
                    </a:cubicBezTo>
                    <a:cubicBezTo>
                      <a:pt x="1495" y="160"/>
                      <a:pt x="1495" y="165"/>
                      <a:pt x="1485" y="169"/>
                    </a:cubicBezTo>
                    <a:cubicBezTo>
                      <a:pt x="1474" y="173"/>
                      <a:pt x="1460" y="174"/>
                      <a:pt x="1443" y="167"/>
                    </a:cubicBezTo>
                    <a:cubicBezTo>
                      <a:pt x="1426" y="159"/>
                      <a:pt x="1403" y="148"/>
                      <a:pt x="1385" y="145"/>
                    </a:cubicBezTo>
                    <a:cubicBezTo>
                      <a:pt x="1366" y="143"/>
                      <a:pt x="1293" y="142"/>
                      <a:pt x="1287" y="137"/>
                    </a:cubicBezTo>
                    <a:cubicBezTo>
                      <a:pt x="1280" y="131"/>
                      <a:pt x="1272" y="127"/>
                      <a:pt x="1257" y="127"/>
                    </a:cubicBezTo>
                    <a:cubicBezTo>
                      <a:pt x="1242" y="127"/>
                      <a:pt x="1225" y="123"/>
                      <a:pt x="1219" y="115"/>
                    </a:cubicBezTo>
                    <a:cubicBezTo>
                      <a:pt x="1214" y="108"/>
                      <a:pt x="1194" y="109"/>
                      <a:pt x="1176" y="110"/>
                    </a:cubicBezTo>
                    <a:cubicBezTo>
                      <a:pt x="1158" y="111"/>
                      <a:pt x="1151" y="103"/>
                      <a:pt x="1145" y="114"/>
                    </a:cubicBezTo>
                    <a:cubicBezTo>
                      <a:pt x="1139" y="125"/>
                      <a:pt x="1119" y="123"/>
                      <a:pt x="1117" y="118"/>
                    </a:cubicBezTo>
                    <a:cubicBezTo>
                      <a:pt x="1115" y="114"/>
                      <a:pt x="1112" y="110"/>
                      <a:pt x="1099" y="110"/>
                    </a:cubicBezTo>
                    <a:cubicBezTo>
                      <a:pt x="1086" y="110"/>
                      <a:pt x="1088" y="107"/>
                      <a:pt x="1084" y="116"/>
                    </a:cubicBezTo>
                    <a:cubicBezTo>
                      <a:pt x="1079" y="126"/>
                      <a:pt x="1069" y="122"/>
                      <a:pt x="1054" y="122"/>
                    </a:cubicBezTo>
                    <a:cubicBezTo>
                      <a:pt x="1039" y="122"/>
                      <a:pt x="1031" y="122"/>
                      <a:pt x="1028" y="114"/>
                    </a:cubicBezTo>
                    <a:cubicBezTo>
                      <a:pt x="1025" y="107"/>
                      <a:pt x="1025" y="102"/>
                      <a:pt x="1013" y="102"/>
                    </a:cubicBezTo>
                    <a:cubicBezTo>
                      <a:pt x="1001" y="102"/>
                      <a:pt x="987" y="100"/>
                      <a:pt x="988" y="91"/>
                    </a:cubicBezTo>
                    <a:cubicBezTo>
                      <a:pt x="989" y="81"/>
                      <a:pt x="1002" y="66"/>
                      <a:pt x="989" y="66"/>
                    </a:cubicBezTo>
                    <a:cubicBezTo>
                      <a:pt x="976" y="66"/>
                      <a:pt x="967" y="73"/>
                      <a:pt x="958" y="66"/>
                    </a:cubicBezTo>
                    <a:cubicBezTo>
                      <a:pt x="949" y="58"/>
                      <a:pt x="920" y="58"/>
                      <a:pt x="903" y="59"/>
                    </a:cubicBezTo>
                    <a:cubicBezTo>
                      <a:pt x="886" y="60"/>
                      <a:pt x="898" y="74"/>
                      <a:pt x="881" y="74"/>
                    </a:cubicBezTo>
                    <a:cubicBezTo>
                      <a:pt x="863" y="74"/>
                      <a:pt x="852" y="68"/>
                      <a:pt x="849" y="56"/>
                    </a:cubicBezTo>
                    <a:cubicBezTo>
                      <a:pt x="847" y="44"/>
                      <a:pt x="836" y="42"/>
                      <a:pt x="827" y="42"/>
                    </a:cubicBezTo>
                    <a:cubicBezTo>
                      <a:pt x="817" y="42"/>
                      <a:pt x="811" y="32"/>
                      <a:pt x="804" y="46"/>
                    </a:cubicBezTo>
                    <a:cubicBezTo>
                      <a:pt x="798" y="60"/>
                      <a:pt x="791" y="77"/>
                      <a:pt x="781" y="77"/>
                    </a:cubicBezTo>
                    <a:cubicBezTo>
                      <a:pt x="770" y="77"/>
                      <a:pt x="748" y="59"/>
                      <a:pt x="762" y="57"/>
                    </a:cubicBezTo>
                    <a:cubicBezTo>
                      <a:pt x="776" y="55"/>
                      <a:pt x="791" y="50"/>
                      <a:pt x="790" y="43"/>
                    </a:cubicBezTo>
                    <a:cubicBezTo>
                      <a:pt x="789" y="37"/>
                      <a:pt x="789" y="30"/>
                      <a:pt x="773" y="30"/>
                    </a:cubicBezTo>
                    <a:cubicBezTo>
                      <a:pt x="757" y="30"/>
                      <a:pt x="760" y="25"/>
                      <a:pt x="753" y="22"/>
                    </a:cubicBezTo>
                    <a:cubicBezTo>
                      <a:pt x="745" y="19"/>
                      <a:pt x="733" y="23"/>
                      <a:pt x="733" y="13"/>
                    </a:cubicBezTo>
                    <a:cubicBezTo>
                      <a:pt x="733" y="3"/>
                      <a:pt x="724" y="0"/>
                      <a:pt x="717" y="8"/>
                    </a:cubicBezTo>
                    <a:cubicBezTo>
                      <a:pt x="711" y="15"/>
                      <a:pt x="703" y="26"/>
                      <a:pt x="696" y="32"/>
                    </a:cubicBezTo>
                    <a:cubicBezTo>
                      <a:pt x="688" y="39"/>
                      <a:pt x="672" y="41"/>
                      <a:pt x="666" y="54"/>
                    </a:cubicBezTo>
                    <a:cubicBezTo>
                      <a:pt x="659" y="67"/>
                      <a:pt x="655" y="57"/>
                      <a:pt x="644" y="65"/>
                    </a:cubicBezTo>
                    <a:cubicBezTo>
                      <a:pt x="633" y="72"/>
                      <a:pt x="623" y="79"/>
                      <a:pt x="606" y="79"/>
                    </a:cubicBezTo>
                    <a:cubicBezTo>
                      <a:pt x="590" y="79"/>
                      <a:pt x="561" y="80"/>
                      <a:pt x="558" y="74"/>
                    </a:cubicBezTo>
                    <a:cubicBezTo>
                      <a:pt x="555" y="69"/>
                      <a:pt x="548" y="65"/>
                      <a:pt x="535" y="68"/>
                    </a:cubicBezTo>
                    <a:cubicBezTo>
                      <a:pt x="523" y="71"/>
                      <a:pt x="524" y="80"/>
                      <a:pt x="514" y="87"/>
                    </a:cubicBezTo>
                    <a:cubicBezTo>
                      <a:pt x="504" y="95"/>
                      <a:pt x="508" y="103"/>
                      <a:pt x="519" y="106"/>
                    </a:cubicBezTo>
                    <a:cubicBezTo>
                      <a:pt x="531" y="108"/>
                      <a:pt x="537" y="107"/>
                      <a:pt x="546" y="107"/>
                    </a:cubicBezTo>
                    <a:cubicBezTo>
                      <a:pt x="556" y="107"/>
                      <a:pt x="568" y="111"/>
                      <a:pt x="555" y="113"/>
                    </a:cubicBezTo>
                    <a:cubicBezTo>
                      <a:pt x="542" y="115"/>
                      <a:pt x="519" y="113"/>
                      <a:pt x="519" y="118"/>
                    </a:cubicBezTo>
                    <a:cubicBezTo>
                      <a:pt x="519" y="124"/>
                      <a:pt x="517" y="157"/>
                      <a:pt x="515" y="145"/>
                    </a:cubicBezTo>
                    <a:cubicBezTo>
                      <a:pt x="513" y="134"/>
                      <a:pt x="513" y="136"/>
                      <a:pt x="504" y="136"/>
                    </a:cubicBezTo>
                    <a:cubicBezTo>
                      <a:pt x="496" y="136"/>
                      <a:pt x="497" y="130"/>
                      <a:pt x="497" y="121"/>
                    </a:cubicBezTo>
                    <a:cubicBezTo>
                      <a:pt x="497" y="111"/>
                      <a:pt x="492" y="98"/>
                      <a:pt x="484" y="107"/>
                    </a:cubicBezTo>
                    <a:cubicBezTo>
                      <a:pt x="475" y="115"/>
                      <a:pt x="459" y="118"/>
                      <a:pt x="455" y="128"/>
                    </a:cubicBezTo>
                    <a:cubicBezTo>
                      <a:pt x="451" y="138"/>
                      <a:pt x="438" y="137"/>
                      <a:pt x="425" y="138"/>
                    </a:cubicBezTo>
                    <a:cubicBezTo>
                      <a:pt x="412" y="139"/>
                      <a:pt x="399" y="129"/>
                      <a:pt x="389" y="137"/>
                    </a:cubicBezTo>
                    <a:cubicBezTo>
                      <a:pt x="380" y="144"/>
                      <a:pt x="381" y="146"/>
                      <a:pt x="368" y="144"/>
                    </a:cubicBezTo>
                    <a:cubicBezTo>
                      <a:pt x="355" y="142"/>
                      <a:pt x="351" y="149"/>
                      <a:pt x="344" y="160"/>
                    </a:cubicBezTo>
                    <a:cubicBezTo>
                      <a:pt x="338" y="172"/>
                      <a:pt x="327" y="175"/>
                      <a:pt x="320" y="183"/>
                    </a:cubicBezTo>
                    <a:cubicBezTo>
                      <a:pt x="314" y="191"/>
                      <a:pt x="306" y="202"/>
                      <a:pt x="305" y="222"/>
                    </a:cubicBezTo>
                    <a:cubicBezTo>
                      <a:pt x="304" y="241"/>
                      <a:pt x="298" y="249"/>
                      <a:pt x="289" y="255"/>
                    </a:cubicBezTo>
                    <a:cubicBezTo>
                      <a:pt x="281" y="261"/>
                      <a:pt x="267" y="275"/>
                      <a:pt x="257" y="278"/>
                    </a:cubicBezTo>
                    <a:cubicBezTo>
                      <a:pt x="247" y="280"/>
                      <a:pt x="234" y="292"/>
                      <a:pt x="209" y="292"/>
                    </a:cubicBezTo>
                    <a:cubicBezTo>
                      <a:pt x="183" y="292"/>
                      <a:pt x="184" y="289"/>
                      <a:pt x="164" y="293"/>
                    </a:cubicBezTo>
                    <a:cubicBezTo>
                      <a:pt x="143" y="296"/>
                      <a:pt x="111" y="290"/>
                      <a:pt x="110" y="299"/>
                    </a:cubicBezTo>
                    <a:cubicBezTo>
                      <a:pt x="109" y="308"/>
                      <a:pt x="115" y="331"/>
                      <a:pt x="108" y="336"/>
                    </a:cubicBezTo>
                    <a:cubicBezTo>
                      <a:pt x="100" y="340"/>
                      <a:pt x="100" y="344"/>
                      <a:pt x="99" y="350"/>
                    </a:cubicBezTo>
                    <a:cubicBezTo>
                      <a:pt x="98" y="355"/>
                      <a:pt x="88" y="349"/>
                      <a:pt x="78" y="350"/>
                    </a:cubicBezTo>
                    <a:cubicBezTo>
                      <a:pt x="67" y="351"/>
                      <a:pt x="64" y="357"/>
                      <a:pt x="81" y="359"/>
                    </a:cubicBezTo>
                    <a:cubicBezTo>
                      <a:pt x="98" y="361"/>
                      <a:pt x="109" y="369"/>
                      <a:pt x="114" y="375"/>
                    </a:cubicBezTo>
                    <a:cubicBezTo>
                      <a:pt x="119" y="382"/>
                      <a:pt x="138" y="388"/>
                      <a:pt x="148" y="388"/>
                    </a:cubicBezTo>
                    <a:cubicBezTo>
                      <a:pt x="159" y="388"/>
                      <a:pt x="180" y="393"/>
                      <a:pt x="187" y="406"/>
                    </a:cubicBezTo>
                    <a:cubicBezTo>
                      <a:pt x="195" y="418"/>
                      <a:pt x="198" y="415"/>
                      <a:pt x="215" y="423"/>
                    </a:cubicBezTo>
                    <a:cubicBezTo>
                      <a:pt x="232" y="430"/>
                      <a:pt x="255" y="439"/>
                      <a:pt x="258" y="454"/>
                    </a:cubicBezTo>
                    <a:cubicBezTo>
                      <a:pt x="261" y="469"/>
                      <a:pt x="266" y="494"/>
                      <a:pt x="280" y="495"/>
                    </a:cubicBezTo>
                    <a:cubicBezTo>
                      <a:pt x="294" y="496"/>
                      <a:pt x="308" y="496"/>
                      <a:pt x="312" y="500"/>
                    </a:cubicBezTo>
                    <a:cubicBezTo>
                      <a:pt x="316" y="504"/>
                      <a:pt x="328" y="503"/>
                      <a:pt x="331" y="503"/>
                    </a:cubicBezTo>
                    <a:cubicBezTo>
                      <a:pt x="334" y="503"/>
                      <a:pt x="343" y="505"/>
                      <a:pt x="344" y="498"/>
                    </a:cubicBezTo>
                    <a:cubicBezTo>
                      <a:pt x="345" y="490"/>
                      <a:pt x="355" y="487"/>
                      <a:pt x="359" y="495"/>
                    </a:cubicBezTo>
                    <a:cubicBezTo>
                      <a:pt x="363" y="502"/>
                      <a:pt x="368" y="501"/>
                      <a:pt x="377" y="502"/>
                    </a:cubicBezTo>
                    <a:cubicBezTo>
                      <a:pt x="387" y="503"/>
                      <a:pt x="410" y="498"/>
                      <a:pt x="410" y="502"/>
                    </a:cubicBezTo>
                    <a:cubicBezTo>
                      <a:pt x="410" y="507"/>
                      <a:pt x="401" y="508"/>
                      <a:pt x="398" y="513"/>
                    </a:cubicBezTo>
                    <a:cubicBezTo>
                      <a:pt x="395" y="518"/>
                      <a:pt x="385" y="525"/>
                      <a:pt x="380" y="523"/>
                    </a:cubicBezTo>
                    <a:cubicBezTo>
                      <a:pt x="374" y="521"/>
                      <a:pt x="373" y="520"/>
                      <a:pt x="365" y="515"/>
                    </a:cubicBezTo>
                    <a:cubicBezTo>
                      <a:pt x="358" y="510"/>
                      <a:pt x="352" y="506"/>
                      <a:pt x="347" y="511"/>
                    </a:cubicBezTo>
                    <a:cubicBezTo>
                      <a:pt x="343" y="517"/>
                      <a:pt x="338" y="529"/>
                      <a:pt x="354" y="533"/>
                    </a:cubicBezTo>
                    <a:cubicBezTo>
                      <a:pt x="370" y="537"/>
                      <a:pt x="379" y="540"/>
                      <a:pt x="381" y="550"/>
                    </a:cubicBezTo>
                    <a:cubicBezTo>
                      <a:pt x="383" y="559"/>
                      <a:pt x="384" y="572"/>
                      <a:pt x="394" y="570"/>
                    </a:cubicBezTo>
                    <a:cubicBezTo>
                      <a:pt x="404" y="568"/>
                      <a:pt x="404" y="562"/>
                      <a:pt x="396" y="555"/>
                    </a:cubicBezTo>
                    <a:cubicBezTo>
                      <a:pt x="388" y="549"/>
                      <a:pt x="378" y="537"/>
                      <a:pt x="380" y="535"/>
                    </a:cubicBezTo>
                    <a:cubicBezTo>
                      <a:pt x="382" y="532"/>
                      <a:pt x="396" y="531"/>
                      <a:pt x="400" y="539"/>
                    </a:cubicBezTo>
                    <a:cubicBezTo>
                      <a:pt x="404" y="547"/>
                      <a:pt x="409" y="552"/>
                      <a:pt x="419" y="551"/>
                    </a:cubicBezTo>
                    <a:cubicBezTo>
                      <a:pt x="430" y="550"/>
                      <a:pt x="431" y="543"/>
                      <a:pt x="439" y="543"/>
                    </a:cubicBezTo>
                    <a:cubicBezTo>
                      <a:pt x="447" y="544"/>
                      <a:pt x="447" y="536"/>
                      <a:pt x="456" y="540"/>
                    </a:cubicBezTo>
                    <a:cubicBezTo>
                      <a:pt x="466" y="544"/>
                      <a:pt x="473" y="542"/>
                      <a:pt x="482" y="543"/>
                    </a:cubicBezTo>
                    <a:cubicBezTo>
                      <a:pt x="491" y="544"/>
                      <a:pt x="495" y="547"/>
                      <a:pt x="494" y="555"/>
                    </a:cubicBezTo>
                    <a:cubicBezTo>
                      <a:pt x="492" y="564"/>
                      <a:pt x="486" y="569"/>
                      <a:pt x="474" y="567"/>
                    </a:cubicBezTo>
                    <a:cubicBezTo>
                      <a:pt x="461" y="565"/>
                      <a:pt x="456" y="566"/>
                      <a:pt x="447" y="561"/>
                    </a:cubicBezTo>
                    <a:cubicBezTo>
                      <a:pt x="438" y="556"/>
                      <a:pt x="432" y="558"/>
                      <a:pt x="429" y="561"/>
                    </a:cubicBezTo>
                    <a:cubicBezTo>
                      <a:pt x="425" y="564"/>
                      <a:pt x="425" y="568"/>
                      <a:pt x="430" y="571"/>
                    </a:cubicBezTo>
                    <a:cubicBezTo>
                      <a:pt x="434" y="574"/>
                      <a:pt x="435" y="586"/>
                      <a:pt x="425" y="586"/>
                    </a:cubicBezTo>
                    <a:cubicBezTo>
                      <a:pt x="414" y="586"/>
                      <a:pt x="403" y="579"/>
                      <a:pt x="401" y="587"/>
                    </a:cubicBezTo>
                    <a:cubicBezTo>
                      <a:pt x="398" y="595"/>
                      <a:pt x="376" y="602"/>
                      <a:pt x="366" y="602"/>
                    </a:cubicBezTo>
                    <a:cubicBezTo>
                      <a:pt x="356" y="602"/>
                      <a:pt x="340" y="600"/>
                      <a:pt x="329" y="601"/>
                    </a:cubicBezTo>
                    <a:cubicBezTo>
                      <a:pt x="318" y="603"/>
                      <a:pt x="274" y="604"/>
                      <a:pt x="270" y="597"/>
                    </a:cubicBezTo>
                    <a:cubicBezTo>
                      <a:pt x="266" y="590"/>
                      <a:pt x="259" y="588"/>
                      <a:pt x="252" y="588"/>
                    </a:cubicBezTo>
                    <a:cubicBezTo>
                      <a:pt x="246" y="588"/>
                      <a:pt x="248" y="583"/>
                      <a:pt x="255" y="576"/>
                    </a:cubicBezTo>
                    <a:cubicBezTo>
                      <a:pt x="262" y="570"/>
                      <a:pt x="269" y="563"/>
                      <a:pt x="269" y="554"/>
                    </a:cubicBezTo>
                    <a:cubicBezTo>
                      <a:pt x="269" y="545"/>
                      <a:pt x="263" y="542"/>
                      <a:pt x="254" y="542"/>
                    </a:cubicBezTo>
                    <a:cubicBezTo>
                      <a:pt x="244" y="542"/>
                      <a:pt x="222" y="541"/>
                      <a:pt x="216" y="546"/>
                    </a:cubicBezTo>
                    <a:cubicBezTo>
                      <a:pt x="210" y="552"/>
                      <a:pt x="208" y="555"/>
                      <a:pt x="194" y="556"/>
                    </a:cubicBezTo>
                    <a:cubicBezTo>
                      <a:pt x="181" y="557"/>
                      <a:pt x="174" y="559"/>
                      <a:pt x="166" y="564"/>
                    </a:cubicBezTo>
                    <a:cubicBezTo>
                      <a:pt x="158" y="568"/>
                      <a:pt x="146" y="564"/>
                      <a:pt x="146" y="571"/>
                    </a:cubicBezTo>
                    <a:cubicBezTo>
                      <a:pt x="145" y="577"/>
                      <a:pt x="152" y="601"/>
                      <a:pt x="138" y="601"/>
                    </a:cubicBezTo>
                    <a:cubicBezTo>
                      <a:pt x="124" y="601"/>
                      <a:pt x="121" y="586"/>
                      <a:pt x="108" y="588"/>
                    </a:cubicBezTo>
                    <a:cubicBezTo>
                      <a:pt x="96" y="590"/>
                      <a:pt x="89" y="598"/>
                      <a:pt x="81" y="604"/>
                    </a:cubicBezTo>
                    <a:cubicBezTo>
                      <a:pt x="72" y="609"/>
                      <a:pt x="72" y="622"/>
                      <a:pt x="54" y="623"/>
                    </a:cubicBezTo>
                    <a:cubicBezTo>
                      <a:pt x="37" y="623"/>
                      <a:pt x="32" y="634"/>
                      <a:pt x="23" y="634"/>
                    </a:cubicBezTo>
                    <a:cubicBezTo>
                      <a:pt x="13" y="635"/>
                      <a:pt x="0" y="638"/>
                      <a:pt x="0" y="646"/>
                    </a:cubicBezTo>
                    <a:cubicBezTo>
                      <a:pt x="0" y="655"/>
                      <a:pt x="0" y="658"/>
                      <a:pt x="16" y="661"/>
                    </a:cubicBezTo>
                    <a:cubicBezTo>
                      <a:pt x="31" y="665"/>
                      <a:pt x="35" y="673"/>
                      <a:pt x="45" y="673"/>
                    </a:cubicBezTo>
                    <a:cubicBezTo>
                      <a:pt x="56" y="673"/>
                      <a:pt x="72" y="677"/>
                      <a:pt x="82" y="676"/>
                    </a:cubicBezTo>
                    <a:cubicBezTo>
                      <a:pt x="91" y="675"/>
                      <a:pt x="98" y="676"/>
                      <a:pt x="105" y="681"/>
                    </a:cubicBezTo>
                    <a:cubicBezTo>
                      <a:pt x="112" y="686"/>
                      <a:pt x="110" y="698"/>
                      <a:pt x="95" y="696"/>
                    </a:cubicBezTo>
                    <a:cubicBezTo>
                      <a:pt x="79" y="693"/>
                      <a:pt x="58" y="691"/>
                      <a:pt x="69" y="701"/>
                    </a:cubicBezTo>
                    <a:cubicBezTo>
                      <a:pt x="80" y="711"/>
                      <a:pt x="93" y="718"/>
                      <a:pt x="94" y="733"/>
                    </a:cubicBezTo>
                    <a:cubicBezTo>
                      <a:pt x="95" y="747"/>
                      <a:pt x="103" y="758"/>
                      <a:pt x="118" y="759"/>
                    </a:cubicBezTo>
                    <a:cubicBezTo>
                      <a:pt x="133" y="760"/>
                      <a:pt x="137" y="760"/>
                      <a:pt x="144" y="766"/>
                    </a:cubicBezTo>
                    <a:cubicBezTo>
                      <a:pt x="152" y="772"/>
                      <a:pt x="160" y="773"/>
                      <a:pt x="179" y="772"/>
                    </a:cubicBezTo>
                    <a:cubicBezTo>
                      <a:pt x="198" y="770"/>
                      <a:pt x="215" y="774"/>
                      <a:pt x="218" y="768"/>
                    </a:cubicBezTo>
                    <a:cubicBezTo>
                      <a:pt x="221" y="761"/>
                      <a:pt x="219" y="758"/>
                      <a:pt x="240" y="758"/>
                    </a:cubicBezTo>
                    <a:cubicBezTo>
                      <a:pt x="260" y="758"/>
                      <a:pt x="277" y="752"/>
                      <a:pt x="284" y="759"/>
                    </a:cubicBezTo>
                    <a:cubicBezTo>
                      <a:pt x="290" y="767"/>
                      <a:pt x="295" y="768"/>
                      <a:pt x="304" y="772"/>
                    </a:cubicBezTo>
                    <a:cubicBezTo>
                      <a:pt x="313" y="776"/>
                      <a:pt x="320" y="774"/>
                      <a:pt x="313" y="766"/>
                    </a:cubicBezTo>
                    <a:cubicBezTo>
                      <a:pt x="307" y="758"/>
                      <a:pt x="315" y="755"/>
                      <a:pt x="324" y="765"/>
                    </a:cubicBezTo>
                    <a:cubicBezTo>
                      <a:pt x="334" y="774"/>
                      <a:pt x="339" y="779"/>
                      <a:pt x="343" y="769"/>
                    </a:cubicBezTo>
                    <a:cubicBezTo>
                      <a:pt x="346" y="760"/>
                      <a:pt x="349" y="760"/>
                      <a:pt x="357" y="759"/>
                    </a:cubicBezTo>
                    <a:cubicBezTo>
                      <a:pt x="365" y="757"/>
                      <a:pt x="365" y="750"/>
                      <a:pt x="377" y="748"/>
                    </a:cubicBezTo>
                    <a:cubicBezTo>
                      <a:pt x="389" y="746"/>
                      <a:pt x="389" y="732"/>
                      <a:pt x="401" y="732"/>
                    </a:cubicBezTo>
                    <a:cubicBezTo>
                      <a:pt x="413" y="732"/>
                      <a:pt x="426" y="736"/>
                      <a:pt x="428" y="731"/>
                    </a:cubicBezTo>
                    <a:cubicBezTo>
                      <a:pt x="430" y="726"/>
                      <a:pt x="437" y="718"/>
                      <a:pt x="442" y="724"/>
                    </a:cubicBezTo>
                    <a:cubicBezTo>
                      <a:pt x="447" y="729"/>
                      <a:pt x="445" y="734"/>
                      <a:pt x="453" y="738"/>
                    </a:cubicBezTo>
                    <a:cubicBezTo>
                      <a:pt x="461" y="743"/>
                      <a:pt x="460" y="754"/>
                      <a:pt x="451" y="755"/>
                    </a:cubicBezTo>
                    <a:cubicBezTo>
                      <a:pt x="441" y="756"/>
                      <a:pt x="442" y="762"/>
                      <a:pt x="433" y="761"/>
                    </a:cubicBezTo>
                    <a:cubicBezTo>
                      <a:pt x="424" y="760"/>
                      <a:pt x="419" y="764"/>
                      <a:pt x="431" y="775"/>
                    </a:cubicBezTo>
                    <a:cubicBezTo>
                      <a:pt x="442" y="787"/>
                      <a:pt x="441" y="790"/>
                      <a:pt x="447" y="800"/>
                    </a:cubicBezTo>
                    <a:cubicBezTo>
                      <a:pt x="453" y="810"/>
                      <a:pt x="458" y="823"/>
                      <a:pt x="456" y="834"/>
                    </a:cubicBezTo>
                    <a:cubicBezTo>
                      <a:pt x="454" y="845"/>
                      <a:pt x="459" y="843"/>
                      <a:pt x="448" y="852"/>
                    </a:cubicBezTo>
                    <a:cubicBezTo>
                      <a:pt x="438" y="860"/>
                      <a:pt x="436" y="865"/>
                      <a:pt x="426" y="866"/>
                    </a:cubicBezTo>
                    <a:cubicBezTo>
                      <a:pt x="416" y="867"/>
                      <a:pt x="420" y="873"/>
                      <a:pt x="409" y="873"/>
                    </a:cubicBezTo>
                    <a:cubicBezTo>
                      <a:pt x="398" y="873"/>
                      <a:pt x="385" y="873"/>
                      <a:pt x="381" y="868"/>
                    </a:cubicBezTo>
                    <a:cubicBezTo>
                      <a:pt x="377" y="863"/>
                      <a:pt x="375" y="863"/>
                      <a:pt x="370" y="861"/>
                    </a:cubicBezTo>
                    <a:cubicBezTo>
                      <a:pt x="365" y="858"/>
                      <a:pt x="354" y="850"/>
                      <a:pt x="350" y="852"/>
                    </a:cubicBezTo>
                    <a:cubicBezTo>
                      <a:pt x="346" y="854"/>
                      <a:pt x="345" y="855"/>
                      <a:pt x="352" y="861"/>
                    </a:cubicBezTo>
                    <a:cubicBezTo>
                      <a:pt x="360" y="866"/>
                      <a:pt x="360" y="869"/>
                      <a:pt x="357" y="875"/>
                    </a:cubicBezTo>
                    <a:cubicBezTo>
                      <a:pt x="354" y="882"/>
                      <a:pt x="347" y="890"/>
                      <a:pt x="335" y="895"/>
                    </a:cubicBezTo>
                    <a:cubicBezTo>
                      <a:pt x="323" y="899"/>
                      <a:pt x="306" y="917"/>
                      <a:pt x="299" y="912"/>
                    </a:cubicBezTo>
                    <a:cubicBezTo>
                      <a:pt x="292" y="908"/>
                      <a:pt x="281" y="910"/>
                      <a:pt x="275" y="904"/>
                    </a:cubicBezTo>
                    <a:cubicBezTo>
                      <a:pt x="270" y="898"/>
                      <a:pt x="267" y="891"/>
                      <a:pt x="257" y="889"/>
                    </a:cubicBezTo>
                    <a:cubicBezTo>
                      <a:pt x="246" y="887"/>
                      <a:pt x="236" y="893"/>
                      <a:pt x="227" y="897"/>
                    </a:cubicBezTo>
                    <a:cubicBezTo>
                      <a:pt x="218" y="902"/>
                      <a:pt x="225" y="917"/>
                      <a:pt x="210" y="921"/>
                    </a:cubicBezTo>
                    <a:cubicBezTo>
                      <a:pt x="196" y="925"/>
                      <a:pt x="195" y="937"/>
                      <a:pt x="200" y="943"/>
                    </a:cubicBezTo>
                    <a:cubicBezTo>
                      <a:pt x="205" y="949"/>
                      <a:pt x="214" y="948"/>
                      <a:pt x="211" y="956"/>
                    </a:cubicBezTo>
                    <a:cubicBezTo>
                      <a:pt x="209" y="963"/>
                      <a:pt x="205" y="962"/>
                      <a:pt x="196" y="962"/>
                    </a:cubicBezTo>
                    <a:cubicBezTo>
                      <a:pt x="188" y="962"/>
                      <a:pt x="187" y="965"/>
                      <a:pt x="180" y="970"/>
                    </a:cubicBezTo>
                    <a:cubicBezTo>
                      <a:pt x="174" y="975"/>
                      <a:pt x="161" y="992"/>
                      <a:pt x="152" y="998"/>
                    </a:cubicBezTo>
                    <a:cubicBezTo>
                      <a:pt x="142" y="1004"/>
                      <a:pt x="140" y="1012"/>
                      <a:pt x="144" y="1018"/>
                    </a:cubicBezTo>
                    <a:cubicBezTo>
                      <a:pt x="148" y="1025"/>
                      <a:pt x="152" y="1032"/>
                      <a:pt x="142" y="1036"/>
                    </a:cubicBezTo>
                    <a:cubicBezTo>
                      <a:pt x="132" y="1040"/>
                      <a:pt x="113" y="1044"/>
                      <a:pt x="119" y="1051"/>
                    </a:cubicBezTo>
                    <a:cubicBezTo>
                      <a:pt x="126" y="1058"/>
                      <a:pt x="137" y="1074"/>
                      <a:pt x="141" y="1083"/>
                    </a:cubicBezTo>
                    <a:cubicBezTo>
                      <a:pt x="145" y="1093"/>
                      <a:pt x="147" y="1096"/>
                      <a:pt x="153" y="1103"/>
                    </a:cubicBezTo>
                    <a:cubicBezTo>
                      <a:pt x="159" y="1109"/>
                      <a:pt x="165" y="1106"/>
                      <a:pt x="168" y="1099"/>
                    </a:cubicBezTo>
                    <a:cubicBezTo>
                      <a:pt x="171" y="1092"/>
                      <a:pt x="178" y="1091"/>
                      <a:pt x="181" y="1084"/>
                    </a:cubicBezTo>
                    <a:cubicBezTo>
                      <a:pt x="183" y="1078"/>
                      <a:pt x="186" y="1083"/>
                      <a:pt x="186" y="1093"/>
                    </a:cubicBezTo>
                    <a:cubicBezTo>
                      <a:pt x="185" y="1103"/>
                      <a:pt x="186" y="1105"/>
                      <a:pt x="191" y="1110"/>
                    </a:cubicBezTo>
                    <a:cubicBezTo>
                      <a:pt x="197" y="1115"/>
                      <a:pt x="192" y="1125"/>
                      <a:pt x="204" y="1125"/>
                    </a:cubicBezTo>
                    <a:cubicBezTo>
                      <a:pt x="217" y="1125"/>
                      <a:pt x="221" y="1125"/>
                      <a:pt x="230" y="1127"/>
                    </a:cubicBezTo>
                    <a:cubicBezTo>
                      <a:pt x="239" y="1130"/>
                      <a:pt x="245" y="1133"/>
                      <a:pt x="251" y="1126"/>
                    </a:cubicBezTo>
                    <a:cubicBezTo>
                      <a:pt x="257" y="1120"/>
                      <a:pt x="269" y="1112"/>
                      <a:pt x="273" y="1120"/>
                    </a:cubicBezTo>
                    <a:cubicBezTo>
                      <a:pt x="277" y="1128"/>
                      <a:pt x="285" y="1137"/>
                      <a:pt x="283" y="1145"/>
                    </a:cubicBezTo>
                    <a:cubicBezTo>
                      <a:pt x="281" y="1153"/>
                      <a:pt x="273" y="1158"/>
                      <a:pt x="267" y="1149"/>
                    </a:cubicBezTo>
                    <a:cubicBezTo>
                      <a:pt x="261" y="1141"/>
                      <a:pt x="252" y="1134"/>
                      <a:pt x="249" y="1139"/>
                    </a:cubicBezTo>
                    <a:cubicBezTo>
                      <a:pt x="246" y="1145"/>
                      <a:pt x="237" y="1159"/>
                      <a:pt x="233" y="1152"/>
                    </a:cubicBezTo>
                    <a:cubicBezTo>
                      <a:pt x="230" y="1145"/>
                      <a:pt x="232" y="1142"/>
                      <a:pt x="222" y="1137"/>
                    </a:cubicBezTo>
                    <a:cubicBezTo>
                      <a:pt x="212" y="1132"/>
                      <a:pt x="200" y="1131"/>
                      <a:pt x="194" y="1134"/>
                    </a:cubicBezTo>
                    <a:cubicBezTo>
                      <a:pt x="187" y="1138"/>
                      <a:pt x="186" y="1140"/>
                      <a:pt x="179" y="1146"/>
                    </a:cubicBezTo>
                    <a:cubicBezTo>
                      <a:pt x="172" y="1151"/>
                      <a:pt x="166" y="1164"/>
                      <a:pt x="179" y="1164"/>
                    </a:cubicBezTo>
                    <a:cubicBezTo>
                      <a:pt x="191" y="1165"/>
                      <a:pt x="183" y="1181"/>
                      <a:pt x="195" y="1182"/>
                    </a:cubicBezTo>
                    <a:cubicBezTo>
                      <a:pt x="207" y="1184"/>
                      <a:pt x="222" y="1188"/>
                      <a:pt x="231" y="1198"/>
                    </a:cubicBezTo>
                    <a:cubicBezTo>
                      <a:pt x="240" y="1209"/>
                      <a:pt x="241" y="1211"/>
                      <a:pt x="244" y="1219"/>
                    </a:cubicBezTo>
                    <a:cubicBezTo>
                      <a:pt x="246" y="1226"/>
                      <a:pt x="244" y="1232"/>
                      <a:pt x="259" y="1232"/>
                    </a:cubicBezTo>
                    <a:cubicBezTo>
                      <a:pt x="275" y="1232"/>
                      <a:pt x="304" y="1240"/>
                      <a:pt x="309" y="1230"/>
                    </a:cubicBezTo>
                    <a:cubicBezTo>
                      <a:pt x="314" y="1220"/>
                      <a:pt x="325" y="1230"/>
                      <a:pt x="330" y="1219"/>
                    </a:cubicBezTo>
                    <a:cubicBezTo>
                      <a:pt x="335" y="1209"/>
                      <a:pt x="354" y="1218"/>
                      <a:pt x="351" y="1204"/>
                    </a:cubicBezTo>
                    <a:cubicBezTo>
                      <a:pt x="347" y="1190"/>
                      <a:pt x="341" y="1182"/>
                      <a:pt x="348" y="1174"/>
                    </a:cubicBezTo>
                    <a:cubicBezTo>
                      <a:pt x="354" y="1165"/>
                      <a:pt x="367" y="1161"/>
                      <a:pt x="366" y="1152"/>
                    </a:cubicBezTo>
                    <a:cubicBezTo>
                      <a:pt x="365" y="1143"/>
                      <a:pt x="364" y="1137"/>
                      <a:pt x="374" y="1139"/>
                    </a:cubicBezTo>
                    <a:cubicBezTo>
                      <a:pt x="384" y="1142"/>
                      <a:pt x="396" y="1140"/>
                      <a:pt x="385" y="1146"/>
                    </a:cubicBezTo>
                    <a:cubicBezTo>
                      <a:pt x="374" y="1152"/>
                      <a:pt x="373" y="1156"/>
                      <a:pt x="372" y="1162"/>
                    </a:cubicBezTo>
                    <a:cubicBezTo>
                      <a:pt x="372" y="1168"/>
                      <a:pt x="355" y="1171"/>
                      <a:pt x="360" y="1180"/>
                    </a:cubicBezTo>
                    <a:cubicBezTo>
                      <a:pt x="364" y="1189"/>
                      <a:pt x="358" y="1204"/>
                      <a:pt x="366" y="1209"/>
                    </a:cubicBezTo>
                    <a:cubicBezTo>
                      <a:pt x="374" y="1214"/>
                      <a:pt x="377" y="1218"/>
                      <a:pt x="381" y="1227"/>
                    </a:cubicBezTo>
                    <a:cubicBezTo>
                      <a:pt x="384" y="1235"/>
                      <a:pt x="380" y="1243"/>
                      <a:pt x="388" y="1247"/>
                    </a:cubicBezTo>
                    <a:cubicBezTo>
                      <a:pt x="396" y="1250"/>
                      <a:pt x="400" y="1256"/>
                      <a:pt x="394" y="1262"/>
                    </a:cubicBezTo>
                    <a:cubicBezTo>
                      <a:pt x="387" y="1269"/>
                      <a:pt x="379" y="1271"/>
                      <a:pt x="381" y="1281"/>
                    </a:cubicBezTo>
                    <a:cubicBezTo>
                      <a:pt x="383" y="1291"/>
                      <a:pt x="394" y="1290"/>
                      <a:pt x="391" y="1299"/>
                    </a:cubicBezTo>
                    <a:cubicBezTo>
                      <a:pt x="389" y="1309"/>
                      <a:pt x="399" y="1329"/>
                      <a:pt x="390" y="1330"/>
                    </a:cubicBezTo>
                    <a:cubicBezTo>
                      <a:pt x="382" y="1331"/>
                      <a:pt x="365" y="1333"/>
                      <a:pt x="372" y="1338"/>
                    </a:cubicBezTo>
                    <a:cubicBezTo>
                      <a:pt x="379" y="1343"/>
                      <a:pt x="390" y="1343"/>
                      <a:pt x="399" y="1346"/>
                    </a:cubicBezTo>
                    <a:cubicBezTo>
                      <a:pt x="408" y="1348"/>
                      <a:pt x="416" y="1347"/>
                      <a:pt x="420" y="1339"/>
                    </a:cubicBezTo>
                    <a:cubicBezTo>
                      <a:pt x="425" y="1331"/>
                      <a:pt x="429" y="1323"/>
                      <a:pt x="439" y="1321"/>
                    </a:cubicBezTo>
                    <a:cubicBezTo>
                      <a:pt x="450" y="1320"/>
                      <a:pt x="447" y="1322"/>
                      <a:pt x="444" y="1330"/>
                    </a:cubicBezTo>
                    <a:cubicBezTo>
                      <a:pt x="441" y="1338"/>
                      <a:pt x="434" y="1346"/>
                      <a:pt x="443" y="1346"/>
                    </a:cubicBezTo>
                    <a:cubicBezTo>
                      <a:pt x="452" y="1346"/>
                      <a:pt x="456" y="1348"/>
                      <a:pt x="459" y="1338"/>
                    </a:cubicBezTo>
                    <a:cubicBezTo>
                      <a:pt x="462" y="1328"/>
                      <a:pt x="464" y="1323"/>
                      <a:pt x="467" y="1317"/>
                    </a:cubicBezTo>
                    <a:cubicBezTo>
                      <a:pt x="470" y="1310"/>
                      <a:pt x="474" y="1302"/>
                      <a:pt x="482" y="1302"/>
                    </a:cubicBezTo>
                    <a:cubicBezTo>
                      <a:pt x="491" y="1302"/>
                      <a:pt x="494" y="1301"/>
                      <a:pt x="497" y="1310"/>
                    </a:cubicBezTo>
                    <a:cubicBezTo>
                      <a:pt x="500" y="1319"/>
                      <a:pt x="504" y="1327"/>
                      <a:pt x="515" y="1324"/>
                    </a:cubicBezTo>
                    <a:cubicBezTo>
                      <a:pt x="525" y="1321"/>
                      <a:pt x="528" y="1313"/>
                      <a:pt x="537" y="1325"/>
                    </a:cubicBezTo>
                    <a:cubicBezTo>
                      <a:pt x="545" y="1336"/>
                      <a:pt x="555" y="1334"/>
                      <a:pt x="559" y="1346"/>
                    </a:cubicBezTo>
                    <a:cubicBezTo>
                      <a:pt x="563" y="1358"/>
                      <a:pt x="568" y="1359"/>
                      <a:pt x="573" y="1359"/>
                    </a:cubicBezTo>
                    <a:cubicBezTo>
                      <a:pt x="577" y="1359"/>
                      <a:pt x="582" y="1358"/>
                      <a:pt x="582" y="1347"/>
                    </a:cubicBezTo>
                    <a:cubicBezTo>
                      <a:pt x="582" y="1336"/>
                      <a:pt x="584" y="1329"/>
                      <a:pt x="589" y="1326"/>
                    </a:cubicBezTo>
                    <a:cubicBezTo>
                      <a:pt x="594" y="1322"/>
                      <a:pt x="590" y="1315"/>
                      <a:pt x="600" y="1314"/>
                    </a:cubicBezTo>
                    <a:cubicBezTo>
                      <a:pt x="610" y="1314"/>
                      <a:pt x="601" y="1326"/>
                      <a:pt x="611" y="1331"/>
                    </a:cubicBezTo>
                    <a:cubicBezTo>
                      <a:pt x="621" y="1335"/>
                      <a:pt x="630" y="1349"/>
                      <a:pt x="636" y="1341"/>
                    </a:cubicBezTo>
                    <a:cubicBezTo>
                      <a:pt x="642" y="1334"/>
                      <a:pt x="648" y="1327"/>
                      <a:pt x="657" y="1327"/>
                    </a:cubicBezTo>
                    <a:cubicBezTo>
                      <a:pt x="667" y="1327"/>
                      <a:pt x="682" y="1330"/>
                      <a:pt x="686" y="1322"/>
                    </a:cubicBezTo>
                    <a:cubicBezTo>
                      <a:pt x="690" y="1315"/>
                      <a:pt x="700" y="1319"/>
                      <a:pt x="695" y="1327"/>
                    </a:cubicBezTo>
                    <a:cubicBezTo>
                      <a:pt x="689" y="1335"/>
                      <a:pt x="686" y="1340"/>
                      <a:pt x="680" y="1343"/>
                    </a:cubicBezTo>
                    <a:cubicBezTo>
                      <a:pt x="673" y="1347"/>
                      <a:pt x="663" y="1351"/>
                      <a:pt x="666" y="1362"/>
                    </a:cubicBezTo>
                    <a:cubicBezTo>
                      <a:pt x="668" y="1372"/>
                      <a:pt x="674" y="1391"/>
                      <a:pt x="666" y="1397"/>
                    </a:cubicBezTo>
                    <a:cubicBezTo>
                      <a:pt x="657" y="1403"/>
                      <a:pt x="653" y="1407"/>
                      <a:pt x="656" y="1417"/>
                    </a:cubicBezTo>
                    <a:cubicBezTo>
                      <a:pt x="659" y="1427"/>
                      <a:pt x="666" y="1436"/>
                      <a:pt x="653" y="1440"/>
                    </a:cubicBezTo>
                    <a:cubicBezTo>
                      <a:pt x="641" y="1443"/>
                      <a:pt x="632" y="1451"/>
                      <a:pt x="621" y="1457"/>
                    </a:cubicBezTo>
                    <a:cubicBezTo>
                      <a:pt x="611" y="1462"/>
                      <a:pt x="599" y="1468"/>
                      <a:pt x="596" y="1479"/>
                    </a:cubicBezTo>
                    <a:cubicBezTo>
                      <a:pt x="592" y="1491"/>
                      <a:pt x="595" y="1503"/>
                      <a:pt x="582" y="1505"/>
                    </a:cubicBezTo>
                    <a:cubicBezTo>
                      <a:pt x="569" y="1507"/>
                      <a:pt x="561" y="1512"/>
                      <a:pt x="551" y="1519"/>
                    </a:cubicBezTo>
                    <a:cubicBezTo>
                      <a:pt x="540" y="1527"/>
                      <a:pt x="530" y="1524"/>
                      <a:pt x="521" y="1530"/>
                    </a:cubicBezTo>
                    <a:cubicBezTo>
                      <a:pt x="512" y="1536"/>
                      <a:pt x="510" y="1539"/>
                      <a:pt x="500" y="1548"/>
                    </a:cubicBezTo>
                    <a:cubicBezTo>
                      <a:pt x="490" y="1557"/>
                      <a:pt x="484" y="1561"/>
                      <a:pt x="480" y="1567"/>
                    </a:cubicBezTo>
                    <a:cubicBezTo>
                      <a:pt x="475" y="1572"/>
                      <a:pt x="472" y="1577"/>
                      <a:pt x="473" y="1585"/>
                    </a:cubicBezTo>
                    <a:cubicBezTo>
                      <a:pt x="474" y="1592"/>
                      <a:pt x="480" y="1588"/>
                      <a:pt x="483" y="1597"/>
                    </a:cubicBezTo>
                    <a:cubicBezTo>
                      <a:pt x="486" y="1606"/>
                      <a:pt x="468" y="1604"/>
                      <a:pt x="461" y="1601"/>
                    </a:cubicBezTo>
                    <a:cubicBezTo>
                      <a:pt x="454" y="1598"/>
                      <a:pt x="451" y="1598"/>
                      <a:pt x="451" y="1590"/>
                    </a:cubicBezTo>
                    <a:cubicBezTo>
                      <a:pt x="451" y="1582"/>
                      <a:pt x="449" y="1579"/>
                      <a:pt x="437" y="1580"/>
                    </a:cubicBezTo>
                    <a:cubicBezTo>
                      <a:pt x="425" y="1582"/>
                      <a:pt x="420" y="1582"/>
                      <a:pt x="409" y="1587"/>
                    </a:cubicBezTo>
                    <a:cubicBezTo>
                      <a:pt x="398" y="1593"/>
                      <a:pt x="396" y="1586"/>
                      <a:pt x="390" y="1594"/>
                    </a:cubicBezTo>
                    <a:cubicBezTo>
                      <a:pt x="383" y="1601"/>
                      <a:pt x="377" y="1595"/>
                      <a:pt x="367" y="1605"/>
                    </a:cubicBezTo>
                    <a:cubicBezTo>
                      <a:pt x="357" y="1614"/>
                      <a:pt x="362" y="1623"/>
                      <a:pt x="348" y="1632"/>
                    </a:cubicBezTo>
                    <a:cubicBezTo>
                      <a:pt x="333" y="1641"/>
                      <a:pt x="324" y="1641"/>
                      <a:pt x="334" y="1647"/>
                    </a:cubicBezTo>
                    <a:cubicBezTo>
                      <a:pt x="344" y="1652"/>
                      <a:pt x="345" y="1660"/>
                      <a:pt x="349" y="1666"/>
                    </a:cubicBezTo>
                    <a:cubicBezTo>
                      <a:pt x="353" y="1672"/>
                      <a:pt x="361" y="1671"/>
                      <a:pt x="363" y="1664"/>
                    </a:cubicBezTo>
                    <a:cubicBezTo>
                      <a:pt x="365" y="1656"/>
                      <a:pt x="382" y="1664"/>
                      <a:pt x="387" y="1653"/>
                    </a:cubicBezTo>
                    <a:cubicBezTo>
                      <a:pt x="392" y="1642"/>
                      <a:pt x="398" y="1640"/>
                      <a:pt x="402" y="1631"/>
                    </a:cubicBezTo>
                    <a:cubicBezTo>
                      <a:pt x="405" y="1622"/>
                      <a:pt x="410" y="1615"/>
                      <a:pt x="413" y="1625"/>
                    </a:cubicBezTo>
                    <a:cubicBezTo>
                      <a:pt x="417" y="1635"/>
                      <a:pt x="415" y="1642"/>
                      <a:pt x="423" y="1640"/>
                    </a:cubicBezTo>
                    <a:cubicBezTo>
                      <a:pt x="432" y="1639"/>
                      <a:pt x="440" y="1629"/>
                      <a:pt x="444" y="1634"/>
                    </a:cubicBezTo>
                    <a:cubicBezTo>
                      <a:pt x="447" y="1638"/>
                      <a:pt x="453" y="1632"/>
                      <a:pt x="454" y="1639"/>
                    </a:cubicBezTo>
                    <a:cubicBezTo>
                      <a:pt x="455" y="1646"/>
                      <a:pt x="459" y="1653"/>
                      <a:pt x="467" y="1652"/>
                    </a:cubicBezTo>
                    <a:cubicBezTo>
                      <a:pt x="476" y="1651"/>
                      <a:pt x="478" y="1650"/>
                      <a:pt x="480" y="1644"/>
                    </a:cubicBezTo>
                    <a:cubicBezTo>
                      <a:pt x="481" y="1639"/>
                      <a:pt x="495" y="1641"/>
                      <a:pt x="484" y="1637"/>
                    </a:cubicBezTo>
                    <a:cubicBezTo>
                      <a:pt x="474" y="1634"/>
                      <a:pt x="465" y="1636"/>
                      <a:pt x="469" y="1630"/>
                    </a:cubicBezTo>
                    <a:cubicBezTo>
                      <a:pt x="473" y="1624"/>
                      <a:pt x="481" y="1630"/>
                      <a:pt x="483" y="1621"/>
                    </a:cubicBezTo>
                    <a:cubicBezTo>
                      <a:pt x="484" y="1612"/>
                      <a:pt x="504" y="1615"/>
                      <a:pt x="505" y="1608"/>
                    </a:cubicBezTo>
                    <a:cubicBezTo>
                      <a:pt x="505" y="1601"/>
                      <a:pt x="520" y="1597"/>
                      <a:pt x="520" y="1608"/>
                    </a:cubicBezTo>
                    <a:cubicBezTo>
                      <a:pt x="520" y="1619"/>
                      <a:pt x="527" y="1620"/>
                      <a:pt x="532" y="1618"/>
                    </a:cubicBezTo>
                    <a:cubicBezTo>
                      <a:pt x="536" y="1615"/>
                      <a:pt x="541" y="1612"/>
                      <a:pt x="544" y="1605"/>
                    </a:cubicBezTo>
                    <a:cubicBezTo>
                      <a:pt x="546" y="1599"/>
                      <a:pt x="552" y="1594"/>
                      <a:pt x="563" y="1594"/>
                    </a:cubicBezTo>
                    <a:cubicBezTo>
                      <a:pt x="575" y="1594"/>
                      <a:pt x="576" y="1593"/>
                      <a:pt x="578" y="1589"/>
                    </a:cubicBezTo>
                    <a:cubicBezTo>
                      <a:pt x="581" y="1585"/>
                      <a:pt x="591" y="1586"/>
                      <a:pt x="601" y="1583"/>
                    </a:cubicBezTo>
                    <a:cubicBezTo>
                      <a:pt x="611" y="1580"/>
                      <a:pt x="614" y="1582"/>
                      <a:pt x="617" y="1574"/>
                    </a:cubicBezTo>
                    <a:cubicBezTo>
                      <a:pt x="619" y="1566"/>
                      <a:pt x="628" y="1562"/>
                      <a:pt x="621" y="1558"/>
                    </a:cubicBezTo>
                    <a:cubicBezTo>
                      <a:pt x="613" y="1554"/>
                      <a:pt x="611" y="1555"/>
                      <a:pt x="612" y="1548"/>
                    </a:cubicBezTo>
                    <a:cubicBezTo>
                      <a:pt x="612" y="1541"/>
                      <a:pt x="614" y="1539"/>
                      <a:pt x="627" y="1535"/>
                    </a:cubicBezTo>
                    <a:cubicBezTo>
                      <a:pt x="640" y="1531"/>
                      <a:pt x="658" y="1524"/>
                      <a:pt x="667" y="1515"/>
                    </a:cubicBezTo>
                    <a:cubicBezTo>
                      <a:pt x="675" y="1506"/>
                      <a:pt x="697" y="1513"/>
                      <a:pt x="704" y="1501"/>
                    </a:cubicBezTo>
                    <a:cubicBezTo>
                      <a:pt x="712" y="1489"/>
                      <a:pt x="734" y="1500"/>
                      <a:pt x="736" y="1479"/>
                    </a:cubicBezTo>
                    <a:cubicBezTo>
                      <a:pt x="738" y="1458"/>
                      <a:pt x="738" y="1455"/>
                      <a:pt x="756" y="1449"/>
                    </a:cubicBezTo>
                    <a:cubicBezTo>
                      <a:pt x="775" y="1443"/>
                      <a:pt x="783" y="1438"/>
                      <a:pt x="793" y="1427"/>
                    </a:cubicBezTo>
                    <a:cubicBezTo>
                      <a:pt x="803" y="1415"/>
                      <a:pt x="819" y="1421"/>
                      <a:pt x="825" y="1410"/>
                    </a:cubicBezTo>
                    <a:cubicBezTo>
                      <a:pt x="832" y="1398"/>
                      <a:pt x="831" y="1398"/>
                      <a:pt x="849" y="1396"/>
                    </a:cubicBezTo>
                    <a:cubicBezTo>
                      <a:pt x="868" y="1394"/>
                      <a:pt x="879" y="1399"/>
                      <a:pt x="882" y="1378"/>
                    </a:cubicBezTo>
                    <a:cubicBezTo>
                      <a:pt x="884" y="1357"/>
                      <a:pt x="884" y="1347"/>
                      <a:pt x="893" y="1342"/>
                    </a:cubicBezTo>
                    <a:cubicBezTo>
                      <a:pt x="903" y="1337"/>
                      <a:pt x="928" y="1339"/>
                      <a:pt x="929" y="1325"/>
                    </a:cubicBezTo>
                    <a:cubicBezTo>
                      <a:pt x="931" y="1311"/>
                      <a:pt x="933" y="1305"/>
                      <a:pt x="922" y="1303"/>
                    </a:cubicBezTo>
                    <a:cubicBezTo>
                      <a:pt x="911" y="1300"/>
                      <a:pt x="906" y="1291"/>
                      <a:pt x="898" y="1293"/>
                    </a:cubicBezTo>
                    <a:cubicBezTo>
                      <a:pt x="891" y="1296"/>
                      <a:pt x="875" y="1296"/>
                      <a:pt x="878" y="1285"/>
                    </a:cubicBezTo>
                    <a:cubicBezTo>
                      <a:pt x="882" y="1274"/>
                      <a:pt x="898" y="1275"/>
                      <a:pt x="898" y="1263"/>
                    </a:cubicBezTo>
                    <a:cubicBezTo>
                      <a:pt x="899" y="1252"/>
                      <a:pt x="910" y="1245"/>
                      <a:pt x="925" y="1242"/>
                    </a:cubicBezTo>
                    <a:cubicBezTo>
                      <a:pt x="941" y="1239"/>
                      <a:pt x="958" y="1242"/>
                      <a:pt x="962" y="1228"/>
                    </a:cubicBezTo>
                    <a:cubicBezTo>
                      <a:pt x="965" y="1213"/>
                      <a:pt x="972" y="1218"/>
                      <a:pt x="978" y="1203"/>
                    </a:cubicBezTo>
                    <a:cubicBezTo>
                      <a:pt x="983" y="1188"/>
                      <a:pt x="989" y="1188"/>
                      <a:pt x="995" y="1174"/>
                    </a:cubicBezTo>
                    <a:cubicBezTo>
                      <a:pt x="1001" y="1160"/>
                      <a:pt x="1011" y="1152"/>
                      <a:pt x="1021" y="1144"/>
                    </a:cubicBezTo>
                    <a:cubicBezTo>
                      <a:pt x="1031" y="1136"/>
                      <a:pt x="1034" y="1135"/>
                      <a:pt x="1041" y="1124"/>
                    </a:cubicBezTo>
                    <a:cubicBezTo>
                      <a:pt x="1048" y="1112"/>
                      <a:pt x="1071" y="1117"/>
                      <a:pt x="1076" y="1105"/>
                    </a:cubicBezTo>
                    <a:cubicBezTo>
                      <a:pt x="1082" y="1094"/>
                      <a:pt x="1090" y="1103"/>
                      <a:pt x="1096" y="1094"/>
                    </a:cubicBezTo>
                    <a:cubicBezTo>
                      <a:pt x="1101" y="1084"/>
                      <a:pt x="1107" y="1081"/>
                      <a:pt x="1120" y="1084"/>
                    </a:cubicBezTo>
                    <a:cubicBezTo>
                      <a:pt x="1133" y="1088"/>
                      <a:pt x="1137" y="1091"/>
                      <a:pt x="1135" y="1098"/>
                    </a:cubicBezTo>
                    <a:cubicBezTo>
                      <a:pt x="1133" y="1106"/>
                      <a:pt x="1122" y="1109"/>
                      <a:pt x="1111" y="1107"/>
                    </a:cubicBezTo>
                    <a:cubicBezTo>
                      <a:pt x="1099" y="1106"/>
                      <a:pt x="1109" y="1114"/>
                      <a:pt x="1095" y="1121"/>
                    </a:cubicBezTo>
                    <a:cubicBezTo>
                      <a:pt x="1081" y="1128"/>
                      <a:pt x="1085" y="1132"/>
                      <a:pt x="1070" y="1134"/>
                    </a:cubicBezTo>
                    <a:cubicBezTo>
                      <a:pt x="1055" y="1136"/>
                      <a:pt x="1059" y="1141"/>
                      <a:pt x="1057" y="1155"/>
                    </a:cubicBezTo>
                    <a:cubicBezTo>
                      <a:pt x="1055" y="1169"/>
                      <a:pt x="1062" y="1181"/>
                      <a:pt x="1051" y="1189"/>
                    </a:cubicBezTo>
                    <a:cubicBezTo>
                      <a:pt x="1041" y="1196"/>
                      <a:pt x="1045" y="1212"/>
                      <a:pt x="1033" y="1218"/>
                    </a:cubicBezTo>
                    <a:cubicBezTo>
                      <a:pt x="1020" y="1224"/>
                      <a:pt x="1021" y="1231"/>
                      <a:pt x="1033" y="1236"/>
                    </a:cubicBezTo>
                    <a:cubicBezTo>
                      <a:pt x="1044" y="1242"/>
                      <a:pt x="1054" y="1247"/>
                      <a:pt x="1051" y="1252"/>
                    </a:cubicBezTo>
                    <a:cubicBezTo>
                      <a:pt x="1048" y="1257"/>
                      <a:pt x="1025" y="1258"/>
                      <a:pt x="1022" y="1265"/>
                    </a:cubicBezTo>
                    <a:cubicBezTo>
                      <a:pt x="1019" y="1272"/>
                      <a:pt x="1014" y="1284"/>
                      <a:pt x="1025" y="1287"/>
                    </a:cubicBezTo>
                    <a:cubicBezTo>
                      <a:pt x="1035" y="1290"/>
                      <a:pt x="1047" y="1290"/>
                      <a:pt x="1051" y="1284"/>
                    </a:cubicBezTo>
                    <a:cubicBezTo>
                      <a:pt x="1055" y="1277"/>
                      <a:pt x="1067" y="1274"/>
                      <a:pt x="1076" y="1277"/>
                    </a:cubicBezTo>
                    <a:cubicBezTo>
                      <a:pt x="1085" y="1279"/>
                      <a:pt x="1093" y="1281"/>
                      <a:pt x="1103" y="1267"/>
                    </a:cubicBezTo>
                    <a:cubicBezTo>
                      <a:pt x="1113" y="1252"/>
                      <a:pt x="1115" y="1241"/>
                      <a:pt x="1129" y="1241"/>
                    </a:cubicBezTo>
                    <a:cubicBezTo>
                      <a:pt x="1143" y="1241"/>
                      <a:pt x="1155" y="1243"/>
                      <a:pt x="1159" y="1235"/>
                    </a:cubicBezTo>
                    <a:cubicBezTo>
                      <a:pt x="1163" y="1227"/>
                      <a:pt x="1173" y="1211"/>
                      <a:pt x="1185" y="1210"/>
                    </a:cubicBezTo>
                    <a:cubicBezTo>
                      <a:pt x="1197" y="1209"/>
                      <a:pt x="1230" y="1216"/>
                      <a:pt x="1236" y="1208"/>
                    </a:cubicBezTo>
                    <a:cubicBezTo>
                      <a:pt x="1242" y="1200"/>
                      <a:pt x="1253" y="1209"/>
                      <a:pt x="1258" y="1197"/>
                    </a:cubicBezTo>
                    <a:cubicBezTo>
                      <a:pt x="1263" y="1185"/>
                      <a:pt x="1258" y="1180"/>
                      <a:pt x="1267" y="1174"/>
                    </a:cubicBezTo>
                    <a:cubicBezTo>
                      <a:pt x="1276" y="1168"/>
                      <a:pt x="1274" y="1159"/>
                      <a:pt x="1265" y="1155"/>
                    </a:cubicBezTo>
                    <a:cubicBezTo>
                      <a:pt x="1257" y="1151"/>
                      <a:pt x="1260" y="1138"/>
                      <a:pt x="1251" y="1145"/>
                    </a:cubicBezTo>
                    <a:cubicBezTo>
                      <a:pt x="1243" y="1152"/>
                      <a:pt x="1236" y="1151"/>
                      <a:pt x="1239" y="1142"/>
                    </a:cubicBezTo>
                    <a:cubicBezTo>
                      <a:pt x="1242" y="1133"/>
                      <a:pt x="1256" y="1133"/>
                      <a:pt x="1256" y="1125"/>
                    </a:cubicBezTo>
                    <a:cubicBezTo>
                      <a:pt x="1257" y="1117"/>
                      <a:pt x="1263" y="1108"/>
                      <a:pt x="1270" y="1114"/>
                    </a:cubicBezTo>
                    <a:cubicBezTo>
                      <a:pt x="1277" y="1121"/>
                      <a:pt x="1295" y="1122"/>
                      <a:pt x="1299" y="1116"/>
                    </a:cubicBezTo>
                    <a:cubicBezTo>
                      <a:pt x="1304" y="1110"/>
                      <a:pt x="1311" y="1112"/>
                      <a:pt x="1324" y="1112"/>
                    </a:cubicBezTo>
                    <a:cubicBezTo>
                      <a:pt x="1337" y="1111"/>
                      <a:pt x="1354" y="1111"/>
                      <a:pt x="1354" y="1118"/>
                    </a:cubicBezTo>
                    <a:cubicBezTo>
                      <a:pt x="1354" y="1126"/>
                      <a:pt x="1365" y="1123"/>
                      <a:pt x="1364" y="1132"/>
                    </a:cubicBezTo>
                    <a:cubicBezTo>
                      <a:pt x="1363" y="1141"/>
                      <a:pt x="1366" y="1141"/>
                      <a:pt x="1374" y="1139"/>
                    </a:cubicBezTo>
                    <a:cubicBezTo>
                      <a:pt x="1381" y="1137"/>
                      <a:pt x="1392" y="1134"/>
                      <a:pt x="1393" y="1139"/>
                    </a:cubicBezTo>
                    <a:cubicBezTo>
                      <a:pt x="1394" y="1144"/>
                      <a:pt x="1408" y="1157"/>
                      <a:pt x="1393" y="1159"/>
                    </a:cubicBezTo>
                    <a:cubicBezTo>
                      <a:pt x="1378" y="1160"/>
                      <a:pt x="1368" y="1160"/>
                      <a:pt x="1364" y="1162"/>
                    </a:cubicBezTo>
                    <a:cubicBezTo>
                      <a:pt x="1359" y="1164"/>
                      <a:pt x="1352" y="1169"/>
                      <a:pt x="1360" y="1175"/>
                    </a:cubicBezTo>
                    <a:cubicBezTo>
                      <a:pt x="1368" y="1180"/>
                      <a:pt x="1374" y="1188"/>
                      <a:pt x="1379" y="1178"/>
                    </a:cubicBezTo>
                    <a:cubicBezTo>
                      <a:pt x="1385" y="1168"/>
                      <a:pt x="1383" y="1167"/>
                      <a:pt x="1393" y="1167"/>
                    </a:cubicBezTo>
                    <a:cubicBezTo>
                      <a:pt x="1402" y="1167"/>
                      <a:pt x="1413" y="1157"/>
                      <a:pt x="1416" y="1167"/>
                    </a:cubicBezTo>
                    <a:cubicBezTo>
                      <a:pt x="1420" y="1176"/>
                      <a:pt x="1431" y="1177"/>
                      <a:pt x="1443" y="1173"/>
                    </a:cubicBezTo>
                    <a:cubicBezTo>
                      <a:pt x="1454" y="1169"/>
                      <a:pt x="1456" y="1169"/>
                      <a:pt x="1464" y="1163"/>
                    </a:cubicBezTo>
                    <a:cubicBezTo>
                      <a:pt x="1472" y="1157"/>
                      <a:pt x="1472" y="1163"/>
                      <a:pt x="1472" y="1174"/>
                    </a:cubicBezTo>
                    <a:cubicBezTo>
                      <a:pt x="1472" y="1185"/>
                      <a:pt x="1469" y="1186"/>
                      <a:pt x="1481" y="1185"/>
                    </a:cubicBezTo>
                    <a:cubicBezTo>
                      <a:pt x="1494" y="1185"/>
                      <a:pt x="1485" y="1198"/>
                      <a:pt x="1500" y="1198"/>
                    </a:cubicBezTo>
                    <a:cubicBezTo>
                      <a:pt x="1515" y="1198"/>
                      <a:pt x="1510" y="1214"/>
                      <a:pt x="1529" y="1210"/>
                    </a:cubicBezTo>
                    <a:cubicBezTo>
                      <a:pt x="1548" y="1205"/>
                      <a:pt x="1557" y="1207"/>
                      <a:pt x="1579" y="1207"/>
                    </a:cubicBezTo>
                    <a:cubicBezTo>
                      <a:pt x="1602" y="1208"/>
                      <a:pt x="1611" y="1201"/>
                      <a:pt x="1616" y="1208"/>
                    </a:cubicBezTo>
                    <a:cubicBezTo>
                      <a:pt x="1622" y="1215"/>
                      <a:pt x="1623" y="1210"/>
                      <a:pt x="1633" y="1206"/>
                    </a:cubicBezTo>
                    <a:cubicBezTo>
                      <a:pt x="1642" y="1202"/>
                      <a:pt x="1649" y="1201"/>
                      <a:pt x="1660" y="1209"/>
                    </a:cubicBezTo>
                    <a:cubicBezTo>
                      <a:pt x="1671" y="1216"/>
                      <a:pt x="1682" y="1218"/>
                      <a:pt x="1686" y="1215"/>
                    </a:cubicBezTo>
                    <a:cubicBezTo>
                      <a:pt x="1690" y="1212"/>
                      <a:pt x="1700" y="1213"/>
                      <a:pt x="1700" y="1221"/>
                    </a:cubicBezTo>
                    <a:cubicBezTo>
                      <a:pt x="1700" y="1229"/>
                      <a:pt x="1708" y="1233"/>
                      <a:pt x="1716" y="1231"/>
                    </a:cubicBezTo>
                    <a:cubicBezTo>
                      <a:pt x="1724" y="1230"/>
                      <a:pt x="1722" y="1238"/>
                      <a:pt x="1737" y="1239"/>
                    </a:cubicBezTo>
                    <a:cubicBezTo>
                      <a:pt x="1751" y="1240"/>
                      <a:pt x="1771" y="1241"/>
                      <a:pt x="1777" y="1236"/>
                    </a:cubicBezTo>
                    <a:cubicBezTo>
                      <a:pt x="1784" y="1232"/>
                      <a:pt x="1789" y="1238"/>
                      <a:pt x="1793" y="1229"/>
                    </a:cubicBezTo>
                    <a:cubicBezTo>
                      <a:pt x="1796" y="1220"/>
                      <a:pt x="1799" y="1219"/>
                      <a:pt x="1806" y="1221"/>
                    </a:cubicBezTo>
                    <a:cubicBezTo>
                      <a:pt x="1812" y="1224"/>
                      <a:pt x="1816" y="1232"/>
                      <a:pt x="1809" y="1239"/>
                    </a:cubicBezTo>
                    <a:cubicBezTo>
                      <a:pt x="1801" y="1245"/>
                      <a:pt x="1784" y="1253"/>
                      <a:pt x="1794" y="1256"/>
                    </a:cubicBezTo>
                    <a:cubicBezTo>
                      <a:pt x="1805" y="1260"/>
                      <a:pt x="1807" y="1264"/>
                      <a:pt x="1817" y="1267"/>
                    </a:cubicBezTo>
                    <a:cubicBezTo>
                      <a:pt x="1827" y="1269"/>
                      <a:pt x="1834" y="1273"/>
                      <a:pt x="1846" y="1283"/>
                    </a:cubicBezTo>
                    <a:cubicBezTo>
                      <a:pt x="1858" y="1293"/>
                      <a:pt x="1863" y="1296"/>
                      <a:pt x="1875" y="1296"/>
                    </a:cubicBezTo>
                    <a:cubicBezTo>
                      <a:pt x="1888" y="1296"/>
                      <a:pt x="1897" y="1298"/>
                      <a:pt x="1907" y="1311"/>
                    </a:cubicBezTo>
                    <a:cubicBezTo>
                      <a:pt x="1917" y="1325"/>
                      <a:pt x="1922" y="1334"/>
                      <a:pt x="1936" y="1342"/>
                    </a:cubicBezTo>
                    <a:cubicBezTo>
                      <a:pt x="1950" y="1350"/>
                      <a:pt x="1963" y="1350"/>
                      <a:pt x="1972" y="1359"/>
                    </a:cubicBezTo>
                    <a:cubicBezTo>
                      <a:pt x="1980" y="1367"/>
                      <a:pt x="1994" y="1378"/>
                      <a:pt x="2001" y="1371"/>
                    </a:cubicBezTo>
                    <a:cubicBezTo>
                      <a:pt x="2008" y="1364"/>
                      <a:pt x="2010" y="1370"/>
                      <a:pt x="2014" y="1360"/>
                    </a:cubicBezTo>
                    <a:cubicBezTo>
                      <a:pt x="2017" y="1349"/>
                      <a:pt x="2030" y="1353"/>
                      <a:pt x="2025" y="1343"/>
                    </a:cubicBezTo>
                    <a:cubicBezTo>
                      <a:pt x="2020" y="1333"/>
                      <a:pt x="2015" y="1323"/>
                      <a:pt x="2024" y="1321"/>
                    </a:cubicBezTo>
                    <a:cubicBezTo>
                      <a:pt x="2032" y="1319"/>
                      <a:pt x="2037" y="1320"/>
                      <a:pt x="2038" y="1329"/>
                    </a:cubicBezTo>
                    <a:cubicBezTo>
                      <a:pt x="2038" y="1338"/>
                      <a:pt x="2040" y="1347"/>
                      <a:pt x="2048" y="1350"/>
                    </a:cubicBezTo>
                    <a:cubicBezTo>
                      <a:pt x="2056" y="1353"/>
                      <a:pt x="2055" y="1361"/>
                      <a:pt x="2066" y="1360"/>
                    </a:cubicBezTo>
                    <a:cubicBezTo>
                      <a:pt x="2076" y="1359"/>
                      <a:pt x="2078" y="1374"/>
                      <a:pt x="2089" y="1372"/>
                    </a:cubicBezTo>
                    <a:cubicBezTo>
                      <a:pt x="2100" y="1370"/>
                      <a:pt x="2102" y="1371"/>
                      <a:pt x="2100" y="1362"/>
                    </a:cubicBezTo>
                    <a:cubicBezTo>
                      <a:pt x="2098" y="1352"/>
                      <a:pt x="2101" y="1345"/>
                      <a:pt x="2092" y="1338"/>
                    </a:cubicBezTo>
                    <a:cubicBezTo>
                      <a:pt x="2083" y="1331"/>
                      <a:pt x="2089" y="1327"/>
                      <a:pt x="2083" y="1317"/>
                    </a:cubicBezTo>
                    <a:cubicBezTo>
                      <a:pt x="2076" y="1306"/>
                      <a:pt x="2081" y="1306"/>
                      <a:pt x="2076" y="1296"/>
                    </a:cubicBezTo>
                    <a:cubicBezTo>
                      <a:pt x="2071" y="1286"/>
                      <a:pt x="2087" y="1290"/>
                      <a:pt x="2092" y="1305"/>
                    </a:cubicBezTo>
                    <a:cubicBezTo>
                      <a:pt x="2097" y="1319"/>
                      <a:pt x="2097" y="1336"/>
                      <a:pt x="2107" y="1341"/>
                    </a:cubicBezTo>
                    <a:cubicBezTo>
                      <a:pt x="2116" y="1346"/>
                      <a:pt x="2117" y="1358"/>
                      <a:pt x="2115" y="1368"/>
                    </a:cubicBezTo>
                    <a:cubicBezTo>
                      <a:pt x="2112" y="1378"/>
                      <a:pt x="2115" y="1377"/>
                      <a:pt x="2115" y="1392"/>
                    </a:cubicBezTo>
                    <a:cubicBezTo>
                      <a:pt x="2115" y="1406"/>
                      <a:pt x="2113" y="1421"/>
                      <a:pt x="2119" y="1425"/>
                    </a:cubicBezTo>
                    <a:cubicBezTo>
                      <a:pt x="2126" y="1429"/>
                      <a:pt x="2125" y="1429"/>
                      <a:pt x="2127" y="1440"/>
                    </a:cubicBezTo>
                    <a:cubicBezTo>
                      <a:pt x="2129" y="1450"/>
                      <a:pt x="2122" y="1472"/>
                      <a:pt x="2133" y="1474"/>
                    </a:cubicBezTo>
                    <a:cubicBezTo>
                      <a:pt x="2145" y="1475"/>
                      <a:pt x="2149" y="1477"/>
                      <a:pt x="2152" y="1468"/>
                    </a:cubicBezTo>
                    <a:cubicBezTo>
                      <a:pt x="2155" y="1458"/>
                      <a:pt x="2168" y="1460"/>
                      <a:pt x="2168" y="1450"/>
                    </a:cubicBezTo>
                    <a:cubicBezTo>
                      <a:pt x="2169" y="1441"/>
                      <a:pt x="2179" y="1436"/>
                      <a:pt x="2172" y="1428"/>
                    </a:cubicBezTo>
                    <a:cubicBezTo>
                      <a:pt x="2165" y="1419"/>
                      <a:pt x="2153" y="1411"/>
                      <a:pt x="2153" y="1399"/>
                    </a:cubicBezTo>
                    <a:cubicBezTo>
                      <a:pt x="2153" y="1388"/>
                      <a:pt x="2161" y="1383"/>
                      <a:pt x="2167" y="1392"/>
                    </a:cubicBezTo>
                    <a:cubicBezTo>
                      <a:pt x="2174" y="1402"/>
                      <a:pt x="2175" y="1411"/>
                      <a:pt x="2183" y="1411"/>
                    </a:cubicBezTo>
                    <a:cubicBezTo>
                      <a:pt x="2192" y="1411"/>
                      <a:pt x="2186" y="1429"/>
                      <a:pt x="2193" y="1432"/>
                    </a:cubicBezTo>
                    <a:cubicBezTo>
                      <a:pt x="2201" y="1434"/>
                      <a:pt x="2204" y="1442"/>
                      <a:pt x="2204" y="1453"/>
                    </a:cubicBezTo>
                    <a:cubicBezTo>
                      <a:pt x="2204" y="1463"/>
                      <a:pt x="2201" y="1476"/>
                      <a:pt x="2211" y="1480"/>
                    </a:cubicBezTo>
                    <a:cubicBezTo>
                      <a:pt x="2221" y="1484"/>
                      <a:pt x="2240" y="1483"/>
                      <a:pt x="2245" y="1495"/>
                    </a:cubicBezTo>
                    <a:cubicBezTo>
                      <a:pt x="2249" y="1507"/>
                      <a:pt x="2254" y="1516"/>
                      <a:pt x="2264" y="1518"/>
                    </a:cubicBezTo>
                    <a:cubicBezTo>
                      <a:pt x="2273" y="1520"/>
                      <a:pt x="2274" y="1526"/>
                      <a:pt x="2276" y="1536"/>
                    </a:cubicBezTo>
                    <a:cubicBezTo>
                      <a:pt x="2279" y="1547"/>
                      <a:pt x="2284" y="1547"/>
                      <a:pt x="2290" y="1550"/>
                    </a:cubicBezTo>
                    <a:cubicBezTo>
                      <a:pt x="2295" y="1554"/>
                      <a:pt x="2298" y="1562"/>
                      <a:pt x="2303" y="1562"/>
                    </a:cubicBezTo>
                    <a:cubicBezTo>
                      <a:pt x="2308" y="1562"/>
                      <a:pt x="2305" y="1571"/>
                      <a:pt x="2295" y="1579"/>
                    </a:cubicBezTo>
                    <a:cubicBezTo>
                      <a:pt x="2284" y="1588"/>
                      <a:pt x="2275" y="1604"/>
                      <a:pt x="2286" y="1610"/>
                    </a:cubicBezTo>
                    <a:cubicBezTo>
                      <a:pt x="2297" y="1615"/>
                      <a:pt x="2297" y="1619"/>
                      <a:pt x="2303" y="1610"/>
                    </a:cubicBezTo>
                    <a:cubicBezTo>
                      <a:pt x="2308" y="1601"/>
                      <a:pt x="2310" y="1596"/>
                      <a:pt x="2318" y="1591"/>
                    </a:cubicBezTo>
                    <a:cubicBezTo>
                      <a:pt x="2327" y="1585"/>
                      <a:pt x="2307" y="1625"/>
                      <a:pt x="2321" y="1626"/>
                    </a:cubicBezTo>
                    <a:cubicBezTo>
                      <a:pt x="2334" y="1627"/>
                      <a:pt x="2316" y="1635"/>
                      <a:pt x="2308" y="1637"/>
                    </a:cubicBezTo>
                    <a:cubicBezTo>
                      <a:pt x="2300" y="1640"/>
                      <a:pt x="2297" y="1643"/>
                      <a:pt x="2305" y="1648"/>
                    </a:cubicBezTo>
                    <a:cubicBezTo>
                      <a:pt x="2314" y="1652"/>
                      <a:pt x="2319" y="1655"/>
                      <a:pt x="2319" y="1661"/>
                    </a:cubicBezTo>
                    <a:cubicBezTo>
                      <a:pt x="2319" y="1667"/>
                      <a:pt x="2320" y="1670"/>
                      <a:pt x="2329" y="1670"/>
                    </a:cubicBezTo>
                    <a:cubicBezTo>
                      <a:pt x="2337" y="1671"/>
                      <a:pt x="2348" y="1682"/>
                      <a:pt x="2343" y="1670"/>
                    </a:cubicBezTo>
                    <a:cubicBezTo>
                      <a:pt x="2337" y="1658"/>
                      <a:pt x="2335" y="1657"/>
                      <a:pt x="2336" y="1649"/>
                    </a:cubicBezTo>
                    <a:cubicBezTo>
                      <a:pt x="2337" y="1640"/>
                      <a:pt x="2339" y="1639"/>
                      <a:pt x="2346" y="1643"/>
                    </a:cubicBezTo>
                    <a:cubicBezTo>
                      <a:pt x="2354" y="1647"/>
                      <a:pt x="2360" y="1644"/>
                      <a:pt x="2359" y="1655"/>
                    </a:cubicBezTo>
                    <a:cubicBezTo>
                      <a:pt x="2359" y="1666"/>
                      <a:pt x="2358" y="1684"/>
                      <a:pt x="2370" y="1685"/>
                    </a:cubicBezTo>
                    <a:cubicBezTo>
                      <a:pt x="2383" y="1686"/>
                      <a:pt x="2388" y="1683"/>
                      <a:pt x="2398" y="1672"/>
                    </a:cubicBezTo>
                    <a:cubicBezTo>
                      <a:pt x="2408" y="1661"/>
                      <a:pt x="2415" y="1660"/>
                      <a:pt x="2413" y="1648"/>
                    </a:cubicBezTo>
                    <a:cubicBezTo>
                      <a:pt x="2412" y="1635"/>
                      <a:pt x="2407" y="1619"/>
                      <a:pt x="2412" y="1619"/>
                    </a:cubicBezTo>
                    <a:cubicBezTo>
                      <a:pt x="2413" y="1619"/>
                      <a:pt x="2414" y="1619"/>
                      <a:pt x="2415" y="1620"/>
                    </a:cubicBezTo>
                    <a:cubicBezTo>
                      <a:pt x="2415" y="1616"/>
                      <a:pt x="2416" y="1610"/>
                      <a:pt x="2417" y="1596"/>
                    </a:cubicBezTo>
                    <a:cubicBezTo>
                      <a:pt x="2418" y="1567"/>
                      <a:pt x="2390" y="1560"/>
                      <a:pt x="2372" y="155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599" name="Freeform 353">
                <a:extLst>
                  <a:ext uri="{FF2B5EF4-FFF2-40B4-BE49-F238E27FC236}">
                    <a16:creationId xmlns:a16="http://schemas.microsoft.com/office/drawing/2014/main" id="{80AD43CE-E976-EC41-93FC-FEC43A37C1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" y="1511"/>
                <a:ext cx="33" cy="46"/>
              </a:xfrm>
              <a:custGeom>
                <a:avLst/>
                <a:gdLst>
                  <a:gd name="T0" fmla="*/ 116 w 130"/>
                  <a:gd name="T1" fmla="*/ 103 h 183"/>
                  <a:gd name="T2" fmla="*/ 107 w 130"/>
                  <a:gd name="T3" fmla="*/ 86 h 183"/>
                  <a:gd name="T4" fmla="*/ 105 w 130"/>
                  <a:gd name="T5" fmla="*/ 69 h 183"/>
                  <a:gd name="T6" fmla="*/ 115 w 130"/>
                  <a:gd name="T7" fmla="*/ 62 h 183"/>
                  <a:gd name="T8" fmla="*/ 109 w 130"/>
                  <a:gd name="T9" fmla="*/ 51 h 183"/>
                  <a:gd name="T10" fmla="*/ 101 w 130"/>
                  <a:gd name="T11" fmla="*/ 41 h 183"/>
                  <a:gd name="T12" fmla="*/ 99 w 130"/>
                  <a:gd name="T13" fmla="*/ 17 h 183"/>
                  <a:gd name="T14" fmla="*/ 78 w 130"/>
                  <a:gd name="T15" fmla="*/ 15 h 183"/>
                  <a:gd name="T16" fmla="*/ 57 w 130"/>
                  <a:gd name="T17" fmla="*/ 2 h 183"/>
                  <a:gd name="T18" fmla="*/ 38 w 130"/>
                  <a:gd name="T19" fmla="*/ 2 h 183"/>
                  <a:gd name="T20" fmla="*/ 27 w 130"/>
                  <a:gd name="T21" fmla="*/ 5 h 183"/>
                  <a:gd name="T22" fmla="*/ 14 w 130"/>
                  <a:gd name="T23" fmla="*/ 10 h 183"/>
                  <a:gd name="T24" fmla="*/ 2 w 130"/>
                  <a:gd name="T25" fmla="*/ 15 h 183"/>
                  <a:gd name="T26" fmla="*/ 10 w 130"/>
                  <a:gd name="T27" fmla="*/ 31 h 183"/>
                  <a:gd name="T28" fmla="*/ 18 w 130"/>
                  <a:gd name="T29" fmla="*/ 52 h 183"/>
                  <a:gd name="T30" fmla="*/ 33 w 130"/>
                  <a:gd name="T31" fmla="*/ 70 h 183"/>
                  <a:gd name="T32" fmla="*/ 45 w 130"/>
                  <a:gd name="T33" fmla="*/ 83 h 183"/>
                  <a:gd name="T34" fmla="*/ 49 w 130"/>
                  <a:gd name="T35" fmla="*/ 118 h 183"/>
                  <a:gd name="T36" fmla="*/ 62 w 130"/>
                  <a:gd name="T37" fmla="*/ 114 h 183"/>
                  <a:gd name="T38" fmla="*/ 69 w 130"/>
                  <a:gd name="T39" fmla="*/ 85 h 183"/>
                  <a:gd name="T40" fmla="*/ 75 w 130"/>
                  <a:gd name="T41" fmla="*/ 102 h 183"/>
                  <a:gd name="T42" fmla="*/ 80 w 130"/>
                  <a:gd name="T43" fmla="*/ 113 h 183"/>
                  <a:gd name="T44" fmla="*/ 71 w 130"/>
                  <a:gd name="T45" fmla="*/ 128 h 183"/>
                  <a:gd name="T46" fmla="*/ 87 w 130"/>
                  <a:gd name="T47" fmla="*/ 147 h 183"/>
                  <a:gd name="T48" fmla="*/ 98 w 130"/>
                  <a:gd name="T49" fmla="*/ 162 h 183"/>
                  <a:gd name="T50" fmla="*/ 111 w 130"/>
                  <a:gd name="T51" fmla="*/ 181 h 183"/>
                  <a:gd name="T52" fmla="*/ 124 w 130"/>
                  <a:gd name="T53" fmla="*/ 176 h 183"/>
                  <a:gd name="T54" fmla="*/ 129 w 130"/>
                  <a:gd name="T55" fmla="*/ 154 h 183"/>
                  <a:gd name="T56" fmla="*/ 124 w 130"/>
                  <a:gd name="T57" fmla="*/ 125 h 183"/>
                  <a:gd name="T58" fmla="*/ 116 w 130"/>
                  <a:gd name="T59" fmla="*/ 10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0" h="183">
                    <a:moveTo>
                      <a:pt x="116" y="103"/>
                    </a:moveTo>
                    <a:cubicBezTo>
                      <a:pt x="113" y="99"/>
                      <a:pt x="113" y="88"/>
                      <a:pt x="107" y="86"/>
                    </a:cubicBezTo>
                    <a:cubicBezTo>
                      <a:pt x="102" y="83"/>
                      <a:pt x="99" y="68"/>
                      <a:pt x="105" y="69"/>
                    </a:cubicBezTo>
                    <a:cubicBezTo>
                      <a:pt x="112" y="70"/>
                      <a:pt x="114" y="68"/>
                      <a:pt x="115" y="62"/>
                    </a:cubicBezTo>
                    <a:cubicBezTo>
                      <a:pt x="115" y="57"/>
                      <a:pt x="117" y="53"/>
                      <a:pt x="109" y="51"/>
                    </a:cubicBezTo>
                    <a:cubicBezTo>
                      <a:pt x="101" y="49"/>
                      <a:pt x="101" y="52"/>
                      <a:pt x="101" y="41"/>
                    </a:cubicBezTo>
                    <a:cubicBezTo>
                      <a:pt x="101" y="30"/>
                      <a:pt x="108" y="19"/>
                      <a:pt x="99" y="17"/>
                    </a:cubicBezTo>
                    <a:cubicBezTo>
                      <a:pt x="90" y="15"/>
                      <a:pt x="85" y="15"/>
                      <a:pt x="78" y="15"/>
                    </a:cubicBezTo>
                    <a:cubicBezTo>
                      <a:pt x="72" y="16"/>
                      <a:pt x="68" y="1"/>
                      <a:pt x="57" y="2"/>
                    </a:cubicBezTo>
                    <a:cubicBezTo>
                      <a:pt x="57" y="2"/>
                      <a:pt x="40" y="0"/>
                      <a:pt x="38" y="2"/>
                    </a:cubicBezTo>
                    <a:cubicBezTo>
                      <a:pt x="35" y="4"/>
                      <a:pt x="32" y="5"/>
                      <a:pt x="27" y="5"/>
                    </a:cubicBezTo>
                    <a:cubicBezTo>
                      <a:pt x="22" y="6"/>
                      <a:pt x="15" y="6"/>
                      <a:pt x="14" y="10"/>
                    </a:cubicBezTo>
                    <a:cubicBezTo>
                      <a:pt x="13" y="15"/>
                      <a:pt x="0" y="10"/>
                      <a:pt x="2" y="15"/>
                    </a:cubicBezTo>
                    <a:cubicBezTo>
                      <a:pt x="4" y="20"/>
                      <a:pt x="10" y="23"/>
                      <a:pt x="10" y="31"/>
                    </a:cubicBezTo>
                    <a:cubicBezTo>
                      <a:pt x="10" y="39"/>
                      <a:pt x="12" y="50"/>
                      <a:pt x="18" y="52"/>
                    </a:cubicBezTo>
                    <a:cubicBezTo>
                      <a:pt x="23" y="55"/>
                      <a:pt x="28" y="65"/>
                      <a:pt x="33" y="70"/>
                    </a:cubicBezTo>
                    <a:cubicBezTo>
                      <a:pt x="38" y="76"/>
                      <a:pt x="43" y="76"/>
                      <a:pt x="45" y="83"/>
                    </a:cubicBezTo>
                    <a:cubicBezTo>
                      <a:pt x="47" y="90"/>
                      <a:pt x="44" y="117"/>
                      <a:pt x="49" y="118"/>
                    </a:cubicBezTo>
                    <a:cubicBezTo>
                      <a:pt x="54" y="119"/>
                      <a:pt x="62" y="120"/>
                      <a:pt x="62" y="114"/>
                    </a:cubicBezTo>
                    <a:cubicBezTo>
                      <a:pt x="61" y="107"/>
                      <a:pt x="62" y="86"/>
                      <a:pt x="69" y="85"/>
                    </a:cubicBezTo>
                    <a:cubicBezTo>
                      <a:pt x="77" y="84"/>
                      <a:pt x="68" y="101"/>
                      <a:pt x="75" y="102"/>
                    </a:cubicBezTo>
                    <a:cubicBezTo>
                      <a:pt x="82" y="102"/>
                      <a:pt x="81" y="110"/>
                      <a:pt x="80" y="113"/>
                    </a:cubicBezTo>
                    <a:cubicBezTo>
                      <a:pt x="79" y="116"/>
                      <a:pt x="69" y="124"/>
                      <a:pt x="71" y="128"/>
                    </a:cubicBezTo>
                    <a:cubicBezTo>
                      <a:pt x="74" y="132"/>
                      <a:pt x="82" y="139"/>
                      <a:pt x="87" y="147"/>
                    </a:cubicBezTo>
                    <a:cubicBezTo>
                      <a:pt x="92" y="155"/>
                      <a:pt x="96" y="151"/>
                      <a:pt x="98" y="162"/>
                    </a:cubicBezTo>
                    <a:cubicBezTo>
                      <a:pt x="100" y="174"/>
                      <a:pt x="102" y="179"/>
                      <a:pt x="111" y="181"/>
                    </a:cubicBezTo>
                    <a:cubicBezTo>
                      <a:pt x="120" y="183"/>
                      <a:pt x="119" y="178"/>
                      <a:pt x="124" y="176"/>
                    </a:cubicBezTo>
                    <a:cubicBezTo>
                      <a:pt x="129" y="175"/>
                      <a:pt x="128" y="164"/>
                      <a:pt x="129" y="154"/>
                    </a:cubicBezTo>
                    <a:cubicBezTo>
                      <a:pt x="129" y="144"/>
                      <a:pt x="130" y="131"/>
                      <a:pt x="124" y="125"/>
                    </a:cubicBezTo>
                    <a:cubicBezTo>
                      <a:pt x="119" y="120"/>
                      <a:pt x="120" y="107"/>
                      <a:pt x="116" y="10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0" name="Freeform 354">
                <a:extLst>
                  <a:ext uri="{FF2B5EF4-FFF2-40B4-BE49-F238E27FC236}">
                    <a16:creationId xmlns:a16="http://schemas.microsoft.com/office/drawing/2014/main" id="{9EF4BC0C-032E-7A49-B444-99FD5609E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1538"/>
                <a:ext cx="18" cy="28"/>
              </a:xfrm>
              <a:custGeom>
                <a:avLst/>
                <a:gdLst>
                  <a:gd name="T0" fmla="*/ 35 w 70"/>
                  <a:gd name="T1" fmla="*/ 94 h 111"/>
                  <a:gd name="T2" fmla="*/ 36 w 70"/>
                  <a:gd name="T3" fmla="*/ 70 h 111"/>
                  <a:gd name="T4" fmla="*/ 46 w 70"/>
                  <a:gd name="T5" fmla="*/ 64 h 111"/>
                  <a:gd name="T6" fmla="*/ 49 w 70"/>
                  <a:gd name="T7" fmla="*/ 48 h 111"/>
                  <a:gd name="T8" fmla="*/ 66 w 70"/>
                  <a:gd name="T9" fmla="*/ 41 h 111"/>
                  <a:gd name="T10" fmla="*/ 62 w 70"/>
                  <a:gd name="T11" fmla="*/ 21 h 111"/>
                  <a:gd name="T12" fmla="*/ 48 w 70"/>
                  <a:gd name="T13" fmla="*/ 12 h 111"/>
                  <a:gd name="T14" fmla="*/ 30 w 70"/>
                  <a:gd name="T15" fmla="*/ 6 h 111"/>
                  <a:gd name="T16" fmla="*/ 14 w 70"/>
                  <a:gd name="T17" fmla="*/ 3 h 111"/>
                  <a:gd name="T18" fmla="*/ 3 w 70"/>
                  <a:gd name="T19" fmla="*/ 12 h 111"/>
                  <a:gd name="T20" fmla="*/ 9 w 70"/>
                  <a:gd name="T21" fmla="*/ 25 h 111"/>
                  <a:gd name="T22" fmla="*/ 23 w 70"/>
                  <a:gd name="T23" fmla="*/ 40 h 111"/>
                  <a:gd name="T24" fmla="*/ 23 w 70"/>
                  <a:gd name="T25" fmla="*/ 60 h 111"/>
                  <a:gd name="T26" fmla="*/ 18 w 70"/>
                  <a:gd name="T27" fmla="*/ 78 h 111"/>
                  <a:gd name="T28" fmla="*/ 19 w 70"/>
                  <a:gd name="T29" fmla="*/ 93 h 111"/>
                  <a:gd name="T30" fmla="*/ 12 w 70"/>
                  <a:gd name="T31" fmla="*/ 111 h 111"/>
                  <a:gd name="T32" fmla="*/ 27 w 70"/>
                  <a:gd name="T33" fmla="*/ 106 h 111"/>
                  <a:gd name="T34" fmla="*/ 35 w 70"/>
                  <a:gd name="T35" fmla="*/ 9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0" h="111">
                    <a:moveTo>
                      <a:pt x="35" y="94"/>
                    </a:moveTo>
                    <a:cubicBezTo>
                      <a:pt x="36" y="84"/>
                      <a:pt x="31" y="71"/>
                      <a:pt x="36" y="70"/>
                    </a:cubicBezTo>
                    <a:cubicBezTo>
                      <a:pt x="41" y="69"/>
                      <a:pt x="46" y="73"/>
                      <a:pt x="46" y="64"/>
                    </a:cubicBezTo>
                    <a:cubicBezTo>
                      <a:pt x="46" y="55"/>
                      <a:pt x="41" y="51"/>
                      <a:pt x="49" y="48"/>
                    </a:cubicBezTo>
                    <a:cubicBezTo>
                      <a:pt x="57" y="46"/>
                      <a:pt x="65" y="51"/>
                      <a:pt x="66" y="41"/>
                    </a:cubicBezTo>
                    <a:cubicBezTo>
                      <a:pt x="67" y="31"/>
                      <a:pt x="70" y="25"/>
                      <a:pt x="62" y="21"/>
                    </a:cubicBezTo>
                    <a:cubicBezTo>
                      <a:pt x="54" y="17"/>
                      <a:pt x="54" y="14"/>
                      <a:pt x="48" y="12"/>
                    </a:cubicBezTo>
                    <a:cubicBezTo>
                      <a:pt x="42" y="10"/>
                      <a:pt x="39" y="8"/>
                      <a:pt x="30" y="6"/>
                    </a:cubicBezTo>
                    <a:cubicBezTo>
                      <a:pt x="30" y="6"/>
                      <a:pt x="26" y="6"/>
                      <a:pt x="14" y="3"/>
                    </a:cubicBezTo>
                    <a:cubicBezTo>
                      <a:pt x="2" y="0"/>
                      <a:pt x="0" y="2"/>
                      <a:pt x="3" y="12"/>
                    </a:cubicBezTo>
                    <a:cubicBezTo>
                      <a:pt x="6" y="22"/>
                      <a:pt x="0" y="22"/>
                      <a:pt x="9" y="25"/>
                    </a:cubicBezTo>
                    <a:cubicBezTo>
                      <a:pt x="17" y="28"/>
                      <a:pt x="21" y="33"/>
                      <a:pt x="23" y="40"/>
                    </a:cubicBezTo>
                    <a:cubicBezTo>
                      <a:pt x="24" y="47"/>
                      <a:pt x="27" y="54"/>
                      <a:pt x="23" y="60"/>
                    </a:cubicBezTo>
                    <a:cubicBezTo>
                      <a:pt x="19" y="65"/>
                      <a:pt x="16" y="71"/>
                      <a:pt x="18" y="78"/>
                    </a:cubicBezTo>
                    <a:cubicBezTo>
                      <a:pt x="20" y="85"/>
                      <a:pt x="23" y="89"/>
                      <a:pt x="19" y="93"/>
                    </a:cubicBezTo>
                    <a:cubicBezTo>
                      <a:pt x="15" y="98"/>
                      <a:pt x="5" y="111"/>
                      <a:pt x="12" y="111"/>
                    </a:cubicBezTo>
                    <a:cubicBezTo>
                      <a:pt x="19" y="111"/>
                      <a:pt x="22" y="109"/>
                      <a:pt x="27" y="106"/>
                    </a:cubicBezTo>
                    <a:cubicBezTo>
                      <a:pt x="32" y="103"/>
                      <a:pt x="35" y="104"/>
                      <a:pt x="35" y="9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1" name="Freeform 355">
                <a:extLst>
                  <a:ext uri="{FF2B5EF4-FFF2-40B4-BE49-F238E27FC236}">
                    <a16:creationId xmlns:a16="http://schemas.microsoft.com/office/drawing/2014/main" id="{1FCC917F-5607-2F45-A472-EF8A4BA33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" y="1557"/>
                <a:ext cx="27" cy="38"/>
              </a:xfrm>
              <a:custGeom>
                <a:avLst/>
                <a:gdLst>
                  <a:gd name="T0" fmla="*/ 36 w 107"/>
                  <a:gd name="T1" fmla="*/ 137 h 152"/>
                  <a:gd name="T2" fmla="*/ 49 w 107"/>
                  <a:gd name="T3" fmla="*/ 148 h 152"/>
                  <a:gd name="T4" fmla="*/ 56 w 107"/>
                  <a:gd name="T5" fmla="*/ 135 h 152"/>
                  <a:gd name="T6" fmla="*/ 46 w 107"/>
                  <a:gd name="T7" fmla="*/ 117 h 152"/>
                  <a:gd name="T8" fmla="*/ 38 w 107"/>
                  <a:gd name="T9" fmla="*/ 102 h 152"/>
                  <a:gd name="T10" fmla="*/ 55 w 107"/>
                  <a:gd name="T11" fmla="*/ 110 h 152"/>
                  <a:gd name="T12" fmla="*/ 64 w 107"/>
                  <a:gd name="T13" fmla="*/ 120 h 152"/>
                  <a:gd name="T14" fmla="*/ 71 w 107"/>
                  <a:gd name="T15" fmla="*/ 133 h 152"/>
                  <a:gd name="T16" fmla="*/ 80 w 107"/>
                  <a:gd name="T17" fmla="*/ 141 h 152"/>
                  <a:gd name="T18" fmla="*/ 96 w 107"/>
                  <a:gd name="T19" fmla="*/ 139 h 152"/>
                  <a:gd name="T20" fmla="*/ 101 w 107"/>
                  <a:gd name="T21" fmla="*/ 125 h 152"/>
                  <a:gd name="T22" fmla="*/ 101 w 107"/>
                  <a:gd name="T23" fmla="*/ 117 h 152"/>
                  <a:gd name="T24" fmla="*/ 94 w 107"/>
                  <a:gd name="T25" fmla="*/ 103 h 152"/>
                  <a:gd name="T26" fmla="*/ 94 w 107"/>
                  <a:gd name="T27" fmla="*/ 88 h 152"/>
                  <a:gd name="T28" fmla="*/ 76 w 107"/>
                  <a:gd name="T29" fmla="*/ 77 h 152"/>
                  <a:gd name="T30" fmla="*/ 65 w 107"/>
                  <a:gd name="T31" fmla="*/ 70 h 152"/>
                  <a:gd name="T32" fmla="*/ 70 w 107"/>
                  <a:gd name="T33" fmla="*/ 50 h 152"/>
                  <a:gd name="T34" fmla="*/ 61 w 107"/>
                  <a:gd name="T35" fmla="*/ 36 h 152"/>
                  <a:gd name="T36" fmla="*/ 47 w 107"/>
                  <a:gd name="T37" fmla="*/ 25 h 152"/>
                  <a:gd name="T38" fmla="*/ 32 w 107"/>
                  <a:gd name="T39" fmla="*/ 13 h 152"/>
                  <a:gd name="T40" fmla="*/ 23 w 107"/>
                  <a:gd name="T41" fmla="*/ 0 h 152"/>
                  <a:gd name="T42" fmla="*/ 15 w 107"/>
                  <a:gd name="T43" fmla="*/ 10 h 152"/>
                  <a:gd name="T44" fmla="*/ 13 w 107"/>
                  <a:gd name="T45" fmla="*/ 35 h 152"/>
                  <a:gd name="T46" fmla="*/ 8 w 107"/>
                  <a:gd name="T47" fmla="*/ 58 h 152"/>
                  <a:gd name="T48" fmla="*/ 21 w 107"/>
                  <a:gd name="T49" fmla="*/ 73 h 152"/>
                  <a:gd name="T50" fmla="*/ 19 w 107"/>
                  <a:gd name="T51" fmla="*/ 86 h 152"/>
                  <a:gd name="T52" fmla="*/ 17 w 107"/>
                  <a:gd name="T53" fmla="*/ 95 h 152"/>
                  <a:gd name="T54" fmla="*/ 16 w 107"/>
                  <a:gd name="T55" fmla="*/ 118 h 152"/>
                  <a:gd name="T56" fmla="*/ 36 w 107"/>
                  <a:gd name="T57" fmla="*/ 137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7" h="152">
                    <a:moveTo>
                      <a:pt x="36" y="137"/>
                    </a:moveTo>
                    <a:cubicBezTo>
                      <a:pt x="39" y="143"/>
                      <a:pt x="41" y="152"/>
                      <a:pt x="49" y="148"/>
                    </a:cubicBezTo>
                    <a:cubicBezTo>
                      <a:pt x="56" y="143"/>
                      <a:pt x="57" y="144"/>
                      <a:pt x="56" y="135"/>
                    </a:cubicBezTo>
                    <a:cubicBezTo>
                      <a:pt x="54" y="125"/>
                      <a:pt x="47" y="125"/>
                      <a:pt x="46" y="117"/>
                    </a:cubicBezTo>
                    <a:cubicBezTo>
                      <a:pt x="45" y="109"/>
                      <a:pt x="32" y="103"/>
                      <a:pt x="38" y="102"/>
                    </a:cubicBezTo>
                    <a:cubicBezTo>
                      <a:pt x="45" y="100"/>
                      <a:pt x="49" y="105"/>
                      <a:pt x="55" y="110"/>
                    </a:cubicBezTo>
                    <a:cubicBezTo>
                      <a:pt x="61" y="114"/>
                      <a:pt x="64" y="113"/>
                      <a:pt x="64" y="120"/>
                    </a:cubicBezTo>
                    <a:cubicBezTo>
                      <a:pt x="64" y="126"/>
                      <a:pt x="71" y="127"/>
                      <a:pt x="71" y="133"/>
                    </a:cubicBezTo>
                    <a:cubicBezTo>
                      <a:pt x="72" y="140"/>
                      <a:pt x="74" y="140"/>
                      <a:pt x="80" y="141"/>
                    </a:cubicBezTo>
                    <a:cubicBezTo>
                      <a:pt x="86" y="142"/>
                      <a:pt x="95" y="145"/>
                      <a:pt x="96" y="139"/>
                    </a:cubicBezTo>
                    <a:cubicBezTo>
                      <a:pt x="97" y="133"/>
                      <a:pt x="97" y="127"/>
                      <a:pt x="101" y="125"/>
                    </a:cubicBezTo>
                    <a:cubicBezTo>
                      <a:pt x="105" y="123"/>
                      <a:pt x="107" y="118"/>
                      <a:pt x="101" y="117"/>
                    </a:cubicBezTo>
                    <a:cubicBezTo>
                      <a:pt x="96" y="116"/>
                      <a:pt x="94" y="110"/>
                      <a:pt x="94" y="103"/>
                    </a:cubicBezTo>
                    <a:cubicBezTo>
                      <a:pt x="94" y="97"/>
                      <a:pt x="101" y="93"/>
                      <a:pt x="94" y="88"/>
                    </a:cubicBezTo>
                    <a:cubicBezTo>
                      <a:pt x="87" y="84"/>
                      <a:pt x="83" y="77"/>
                      <a:pt x="76" y="77"/>
                    </a:cubicBezTo>
                    <a:cubicBezTo>
                      <a:pt x="69" y="77"/>
                      <a:pt x="64" y="76"/>
                      <a:pt x="65" y="70"/>
                    </a:cubicBezTo>
                    <a:cubicBezTo>
                      <a:pt x="67" y="64"/>
                      <a:pt x="72" y="59"/>
                      <a:pt x="70" y="50"/>
                    </a:cubicBezTo>
                    <a:cubicBezTo>
                      <a:pt x="68" y="41"/>
                      <a:pt x="69" y="40"/>
                      <a:pt x="61" y="36"/>
                    </a:cubicBezTo>
                    <a:cubicBezTo>
                      <a:pt x="54" y="31"/>
                      <a:pt x="48" y="28"/>
                      <a:pt x="47" y="25"/>
                    </a:cubicBezTo>
                    <a:cubicBezTo>
                      <a:pt x="46" y="22"/>
                      <a:pt x="32" y="20"/>
                      <a:pt x="32" y="13"/>
                    </a:cubicBezTo>
                    <a:cubicBezTo>
                      <a:pt x="31" y="7"/>
                      <a:pt x="28" y="0"/>
                      <a:pt x="23" y="0"/>
                    </a:cubicBezTo>
                    <a:cubicBezTo>
                      <a:pt x="23" y="0"/>
                      <a:pt x="16" y="2"/>
                      <a:pt x="15" y="10"/>
                    </a:cubicBezTo>
                    <a:cubicBezTo>
                      <a:pt x="15" y="18"/>
                      <a:pt x="16" y="27"/>
                      <a:pt x="13" y="35"/>
                    </a:cubicBezTo>
                    <a:cubicBezTo>
                      <a:pt x="10" y="44"/>
                      <a:pt x="0" y="54"/>
                      <a:pt x="8" y="58"/>
                    </a:cubicBezTo>
                    <a:cubicBezTo>
                      <a:pt x="15" y="63"/>
                      <a:pt x="22" y="65"/>
                      <a:pt x="21" y="73"/>
                    </a:cubicBezTo>
                    <a:cubicBezTo>
                      <a:pt x="20" y="81"/>
                      <a:pt x="15" y="84"/>
                      <a:pt x="19" y="86"/>
                    </a:cubicBezTo>
                    <a:cubicBezTo>
                      <a:pt x="24" y="89"/>
                      <a:pt x="23" y="92"/>
                      <a:pt x="17" y="95"/>
                    </a:cubicBezTo>
                    <a:cubicBezTo>
                      <a:pt x="11" y="97"/>
                      <a:pt x="10" y="111"/>
                      <a:pt x="16" y="118"/>
                    </a:cubicBezTo>
                    <a:cubicBezTo>
                      <a:pt x="23" y="124"/>
                      <a:pt x="32" y="132"/>
                      <a:pt x="36" y="13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2" name="Freeform 356">
                <a:extLst>
                  <a:ext uri="{FF2B5EF4-FFF2-40B4-BE49-F238E27FC236}">
                    <a16:creationId xmlns:a16="http://schemas.microsoft.com/office/drawing/2014/main" id="{8155B938-DCF1-4846-BB17-F43ED7777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" y="1547"/>
                <a:ext cx="15" cy="18"/>
              </a:xfrm>
              <a:custGeom>
                <a:avLst/>
                <a:gdLst>
                  <a:gd name="T0" fmla="*/ 22 w 61"/>
                  <a:gd name="T1" fmla="*/ 18 h 69"/>
                  <a:gd name="T2" fmla="*/ 26 w 61"/>
                  <a:gd name="T3" fmla="*/ 11 h 69"/>
                  <a:gd name="T4" fmla="*/ 12 w 61"/>
                  <a:gd name="T5" fmla="*/ 12 h 69"/>
                  <a:gd name="T6" fmla="*/ 3 w 61"/>
                  <a:gd name="T7" fmla="*/ 26 h 69"/>
                  <a:gd name="T8" fmla="*/ 6 w 61"/>
                  <a:gd name="T9" fmla="*/ 40 h 69"/>
                  <a:gd name="T10" fmla="*/ 19 w 61"/>
                  <a:gd name="T11" fmla="*/ 46 h 69"/>
                  <a:gd name="T12" fmla="*/ 28 w 61"/>
                  <a:gd name="T13" fmla="*/ 56 h 69"/>
                  <a:gd name="T14" fmla="*/ 35 w 61"/>
                  <a:gd name="T15" fmla="*/ 68 h 69"/>
                  <a:gd name="T16" fmla="*/ 51 w 61"/>
                  <a:gd name="T17" fmla="*/ 66 h 69"/>
                  <a:gd name="T18" fmla="*/ 58 w 61"/>
                  <a:gd name="T19" fmla="*/ 61 h 69"/>
                  <a:gd name="T20" fmla="*/ 54 w 61"/>
                  <a:gd name="T21" fmla="*/ 47 h 69"/>
                  <a:gd name="T22" fmla="*/ 41 w 61"/>
                  <a:gd name="T23" fmla="*/ 33 h 69"/>
                  <a:gd name="T24" fmla="*/ 26 w 61"/>
                  <a:gd name="T25" fmla="*/ 26 h 69"/>
                  <a:gd name="T26" fmla="*/ 22 w 61"/>
                  <a:gd name="T27" fmla="*/ 1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69">
                    <a:moveTo>
                      <a:pt x="22" y="18"/>
                    </a:moveTo>
                    <a:cubicBezTo>
                      <a:pt x="27" y="15"/>
                      <a:pt x="28" y="16"/>
                      <a:pt x="26" y="11"/>
                    </a:cubicBezTo>
                    <a:cubicBezTo>
                      <a:pt x="24" y="7"/>
                      <a:pt x="18" y="0"/>
                      <a:pt x="12" y="12"/>
                    </a:cubicBezTo>
                    <a:cubicBezTo>
                      <a:pt x="12" y="12"/>
                      <a:pt x="3" y="20"/>
                      <a:pt x="3" y="26"/>
                    </a:cubicBezTo>
                    <a:cubicBezTo>
                      <a:pt x="4" y="31"/>
                      <a:pt x="0" y="40"/>
                      <a:pt x="6" y="40"/>
                    </a:cubicBezTo>
                    <a:cubicBezTo>
                      <a:pt x="13" y="40"/>
                      <a:pt x="17" y="42"/>
                      <a:pt x="19" y="46"/>
                    </a:cubicBezTo>
                    <a:cubicBezTo>
                      <a:pt x="20" y="50"/>
                      <a:pt x="27" y="50"/>
                      <a:pt x="28" y="56"/>
                    </a:cubicBezTo>
                    <a:cubicBezTo>
                      <a:pt x="29" y="61"/>
                      <a:pt x="30" y="67"/>
                      <a:pt x="35" y="68"/>
                    </a:cubicBezTo>
                    <a:cubicBezTo>
                      <a:pt x="39" y="69"/>
                      <a:pt x="48" y="66"/>
                      <a:pt x="51" y="66"/>
                    </a:cubicBezTo>
                    <a:cubicBezTo>
                      <a:pt x="55" y="66"/>
                      <a:pt x="58" y="68"/>
                      <a:pt x="58" y="61"/>
                    </a:cubicBezTo>
                    <a:cubicBezTo>
                      <a:pt x="58" y="54"/>
                      <a:pt x="61" y="51"/>
                      <a:pt x="54" y="47"/>
                    </a:cubicBezTo>
                    <a:cubicBezTo>
                      <a:pt x="48" y="43"/>
                      <a:pt x="49" y="35"/>
                      <a:pt x="41" y="33"/>
                    </a:cubicBezTo>
                    <a:cubicBezTo>
                      <a:pt x="33" y="31"/>
                      <a:pt x="28" y="28"/>
                      <a:pt x="26" y="26"/>
                    </a:cubicBezTo>
                    <a:cubicBezTo>
                      <a:pt x="24" y="24"/>
                      <a:pt x="18" y="21"/>
                      <a:pt x="22" y="1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3" name="Freeform 357">
                <a:extLst>
                  <a:ext uri="{FF2B5EF4-FFF2-40B4-BE49-F238E27FC236}">
                    <a16:creationId xmlns:a16="http://schemas.microsoft.com/office/drawing/2014/main" id="{7B9AD3A2-4130-E144-89A1-70B7B3923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575"/>
                <a:ext cx="5" cy="7"/>
              </a:xfrm>
              <a:custGeom>
                <a:avLst/>
                <a:gdLst>
                  <a:gd name="T0" fmla="*/ 1 w 18"/>
                  <a:gd name="T1" fmla="*/ 6 h 28"/>
                  <a:gd name="T2" fmla="*/ 2 w 18"/>
                  <a:gd name="T3" fmla="*/ 25 h 28"/>
                  <a:gd name="T4" fmla="*/ 10 w 18"/>
                  <a:gd name="T5" fmla="*/ 19 h 28"/>
                  <a:gd name="T6" fmla="*/ 17 w 18"/>
                  <a:gd name="T7" fmla="*/ 10 h 28"/>
                  <a:gd name="T8" fmla="*/ 1 w 18"/>
                  <a:gd name="T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8">
                    <a:moveTo>
                      <a:pt x="1" y="6"/>
                    </a:moveTo>
                    <a:cubicBezTo>
                      <a:pt x="1" y="6"/>
                      <a:pt x="0" y="21"/>
                      <a:pt x="2" y="25"/>
                    </a:cubicBezTo>
                    <a:cubicBezTo>
                      <a:pt x="5" y="28"/>
                      <a:pt x="8" y="26"/>
                      <a:pt x="10" y="19"/>
                    </a:cubicBezTo>
                    <a:cubicBezTo>
                      <a:pt x="12" y="12"/>
                      <a:pt x="18" y="14"/>
                      <a:pt x="17" y="10"/>
                    </a:cubicBezTo>
                    <a:cubicBezTo>
                      <a:pt x="16" y="6"/>
                      <a:pt x="3" y="0"/>
                      <a:pt x="1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4" name="Freeform 358">
                <a:extLst>
                  <a:ext uri="{FF2B5EF4-FFF2-40B4-BE49-F238E27FC236}">
                    <a16:creationId xmlns:a16="http://schemas.microsoft.com/office/drawing/2014/main" id="{98F5F130-318B-424D-837E-C946317C5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" y="1708"/>
                <a:ext cx="932" cy="455"/>
              </a:xfrm>
              <a:custGeom>
                <a:avLst/>
                <a:gdLst>
                  <a:gd name="T0" fmla="*/ 3575 w 3686"/>
                  <a:gd name="T1" fmla="*/ 174 h 1799"/>
                  <a:gd name="T2" fmla="*/ 3386 w 3686"/>
                  <a:gd name="T3" fmla="*/ 351 h 1799"/>
                  <a:gd name="T4" fmla="*/ 3082 w 3686"/>
                  <a:gd name="T5" fmla="*/ 464 h 1799"/>
                  <a:gd name="T6" fmla="*/ 2918 w 3686"/>
                  <a:gd name="T7" fmla="*/ 508 h 1799"/>
                  <a:gd name="T8" fmla="*/ 2748 w 3686"/>
                  <a:gd name="T9" fmla="*/ 618 h 1799"/>
                  <a:gd name="T10" fmla="*/ 2705 w 3686"/>
                  <a:gd name="T11" fmla="*/ 494 h 1799"/>
                  <a:gd name="T12" fmla="*/ 2633 w 3686"/>
                  <a:gd name="T13" fmla="*/ 447 h 1799"/>
                  <a:gd name="T14" fmla="*/ 2627 w 3686"/>
                  <a:gd name="T15" fmla="*/ 319 h 1799"/>
                  <a:gd name="T16" fmla="*/ 2497 w 3686"/>
                  <a:gd name="T17" fmla="*/ 341 h 1799"/>
                  <a:gd name="T18" fmla="*/ 2450 w 3686"/>
                  <a:gd name="T19" fmla="*/ 481 h 1799"/>
                  <a:gd name="T20" fmla="*/ 2368 w 3686"/>
                  <a:gd name="T21" fmla="*/ 575 h 1799"/>
                  <a:gd name="T22" fmla="*/ 2384 w 3686"/>
                  <a:gd name="T23" fmla="*/ 385 h 1799"/>
                  <a:gd name="T24" fmla="*/ 2393 w 3686"/>
                  <a:gd name="T25" fmla="*/ 315 h 1799"/>
                  <a:gd name="T26" fmla="*/ 2557 w 3686"/>
                  <a:gd name="T27" fmla="*/ 281 h 1799"/>
                  <a:gd name="T28" fmla="*/ 2560 w 3686"/>
                  <a:gd name="T29" fmla="*/ 233 h 1799"/>
                  <a:gd name="T30" fmla="*/ 2394 w 3686"/>
                  <a:gd name="T31" fmla="*/ 223 h 1799"/>
                  <a:gd name="T32" fmla="*/ 2357 w 3686"/>
                  <a:gd name="T33" fmla="*/ 148 h 1799"/>
                  <a:gd name="T34" fmla="*/ 2180 w 3686"/>
                  <a:gd name="T35" fmla="*/ 206 h 1799"/>
                  <a:gd name="T36" fmla="*/ 2113 w 3686"/>
                  <a:gd name="T37" fmla="*/ 196 h 1799"/>
                  <a:gd name="T38" fmla="*/ 2206 w 3686"/>
                  <a:gd name="T39" fmla="*/ 105 h 1799"/>
                  <a:gd name="T40" fmla="*/ 2049 w 3686"/>
                  <a:gd name="T41" fmla="*/ 80 h 1799"/>
                  <a:gd name="T42" fmla="*/ 1892 w 3686"/>
                  <a:gd name="T43" fmla="*/ 1 h 1799"/>
                  <a:gd name="T44" fmla="*/ 131 w 3686"/>
                  <a:gd name="T45" fmla="*/ 47 h 1799"/>
                  <a:gd name="T46" fmla="*/ 112 w 3686"/>
                  <a:gd name="T47" fmla="*/ 97 h 1799"/>
                  <a:gd name="T48" fmla="*/ 57 w 3686"/>
                  <a:gd name="T49" fmla="*/ 96 h 1799"/>
                  <a:gd name="T50" fmla="*/ 46 w 3686"/>
                  <a:gd name="T51" fmla="*/ 199 h 1799"/>
                  <a:gd name="T52" fmla="*/ 33 w 3686"/>
                  <a:gd name="T53" fmla="*/ 482 h 1799"/>
                  <a:gd name="T54" fmla="*/ 29 w 3686"/>
                  <a:gd name="T55" fmla="*/ 691 h 1799"/>
                  <a:gd name="T56" fmla="*/ 156 w 3686"/>
                  <a:gd name="T57" fmla="*/ 909 h 1799"/>
                  <a:gd name="T58" fmla="*/ 265 w 3686"/>
                  <a:gd name="T59" fmla="*/ 1110 h 1799"/>
                  <a:gd name="T60" fmla="*/ 488 w 3686"/>
                  <a:gd name="T61" fmla="*/ 1291 h 1799"/>
                  <a:gd name="T62" fmla="*/ 1057 w 3686"/>
                  <a:gd name="T63" fmla="*/ 1366 h 1799"/>
                  <a:gd name="T64" fmla="*/ 1299 w 3686"/>
                  <a:gd name="T65" fmla="*/ 1495 h 1799"/>
                  <a:gd name="T66" fmla="*/ 1579 w 3686"/>
                  <a:gd name="T67" fmla="*/ 1602 h 1799"/>
                  <a:gd name="T68" fmla="*/ 1722 w 3686"/>
                  <a:gd name="T69" fmla="*/ 1743 h 1799"/>
                  <a:gd name="T70" fmla="*/ 1809 w 3686"/>
                  <a:gd name="T71" fmla="*/ 1569 h 1799"/>
                  <a:gd name="T72" fmla="*/ 1926 w 3686"/>
                  <a:gd name="T73" fmla="*/ 1495 h 1799"/>
                  <a:gd name="T74" fmla="*/ 2146 w 3686"/>
                  <a:gd name="T75" fmla="*/ 1505 h 1799"/>
                  <a:gd name="T76" fmla="*/ 2284 w 3686"/>
                  <a:gd name="T77" fmla="*/ 1519 h 1799"/>
                  <a:gd name="T78" fmla="*/ 2296 w 3686"/>
                  <a:gd name="T79" fmla="*/ 1434 h 1799"/>
                  <a:gd name="T80" fmla="*/ 2454 w 3686"/>
                  <a:gd name="T81" fmla="*/ 1436 h 1799"/>
                  <a:gd name="T82" fmla="*/ 2630 w 3686"/>
                  <a:gd name="T83" fmla="*/ 1473 h 1799"/>
                  <a:gd name="T84" fmla="*/ 2698 w 3686"/>
                  <a:gd name="T85" fmla="*/ 1644 h 1799"/>
                  <a:gd name="T86" fmla="*/ 2822 w 3686"/>
                  <a:gd name="T87" fmla="*/ 1789 h 1799"/>
                  <a:gd name="T88" fmla="*/ 2820 w 3686"/>
                  <a:gd name="T89" fmla="*/ 1548 h 1799"/>
                  <a:gd name="T90" fmla="*/ 2797 w 3686"/>
                  <a:gd name="T91" fmla="*/ 1330 h 1799"/>
                  <a:gd name="T92" fmla="*/ 2999 w 3686"/>
                  <a:gd name="T93" fmla="*/ 1172 h 1799"/>
                  <a:gd name="T94" fmla="*/ 3091 w 3686"/>
                  <a:gd name="T95" fmla="*/ 1080 h 1799"/>
                  <a:gd name="T96" fmla="*/ 3139 w 3686"/>
                  <a:gd name="T97" fmla="*/ 1025 h 1799"/>
                  <a:gd name="T98" fmla="*/ 3089 w 3686"/>
                  <a:gd name="T99" fmla="*/ 912 h 1799"/>
                  <a:gd name="T100" fmla="*/ 3089 w 3686"/>
                  <a:gd name="T101" fmla="*/ 810 h 1799"/>
                  <a:gd name="T102" fmla="*/ 3142 w 3686"/>
                  <a:gd name="T103" fmla="*/ 911 h 1799"/>
                  <a:gd name="T104" fmla="*/ 3158 w 3686"/>
                  <a:gd name="T105" fmla="*/ 790 h 1799"/>
                  <a:gd name="T106" fmla="*/ 3255 w 3686"/>
                  <a:gd name="T107" fmla="*/ 689 h 1799"/>
                  <a:gd name="T108" fmla="*/ 3288 w 3686"/>
                  <a:gd name="T109" fmla="*/ 649 h 1799"/>
                  <a:gd name="T110" fmla="*/ 3448 w 3686"/>
                  <a:gd name="T111" fmla="*/ 628 h 1799"/>
                  <a:gd name="T112" fmla="*/ 3465 w 3686"/>
                  <a:gd name="T113" fmla="*/ 598 h 1799"/>
                  <a:gd name="T114" fmla="*/ 3535 w 3686"/>
                  <a:gd name="T115" fmla="*/ 435 h 1799"/>
                  <a:gd name="T116" fmla="*/ 3667 w 3686"/>
                  <a:gd name="T117" fmla="*/ 384 h 1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86" h="1799">
                    <a:moveTo>
                      <a:pt x="3664" y="334"/>
                    </a:moveTo>
                    <a:cubicBezTo>
                      <a:pt x="3657" y="332"/>
                      <a:pt x="3654" y="328"/>
                      <a:pt x="3654" y="321"/>
                    </a:cubicBezTo>
                    <a:cubicBezTo>
                      <a:pt x="3654" y="314"/>
                      <a:pt x="3647" y="304"/>
                      <a:pt x="3638" y="303"/>
                    </a:cubicBezTo>
                    <a:cubicBezTo>
                      <a:pt x="3629" y="303"/>
                      <a:pt x="3631" y="238"/>
                      <a:pt x="3631" y="222"/>
                    </a:cubicBezTo>
                    <a:cubicBezTo>
                      <a:pt x="3631" y="207"/>
                      <a:pt x="3632" y="196"/>
                      <a:pt x="3627" y="190"/>
                    </a:cubicBezTo>
                    <a:cubicBezTo>
                      <a:pt x="3622" y="183"/>
                      <a:pt x="3626" y="176"/>
                      <a:pt x="3611" y="165"/>
                    </a:cubicBezTo>
                    <a:cubicBezTo>
                      <a:pt x="3596" y="154"/>
                      <a:pt x="3582" y="163"/>
                      <a:pt x="3575" y="174"/>
                    </a:cubicBezTo>
                    <a:cubicBezTo>
                      <a:pt x="3567" y="185"/>
                      <a:pt x="3562" y="183"/>
                      <a:pt x="3553" y="168"/>
                    </a:cubicBezTo>
                    <a:cubicBezTo>
                      <a:pt x="3545" y="153"/>
                      <a:pt x="3537" y="163"/>
                      <a:pt x="3525" y="173"/>
                    </a:cubicBezTo>
                    <a:cubicBezTo>
                      <a:pt x="3514" y="184"/>
                      <a:pt x="3503" y="202"/>
                      <a:pt x="3493" y="215"/>
                    </a:cubicBezTo>
                    <a:cubicBezTo>
                      <a:pt x="3483" y="228"/>
                      <a:pt x="3474" y="241"/>
                      <a:pt x="3473" y="255"/>
                    </a:cubicBezTo>
                    <a:cubicBezTo>
                      <a:pt x="3472" y="269"/>
                      <a:pt x="3468" y="281"/>
                      <a:pt x="3453" y="301"/>
                    </a:cubicBezTo>
                    <a:cubicBezTo>
                      <a:pt x="3439" y="322"/>
                      <a:pt x="3432" y="331"/>
                      <a:pt x="3415" y="332"/>
                    </a:cubicBezTo>
                    <a:cubicBezTo>
                      <a:pt x="3398" y="332"/>
                      <a:pt x="3389" y="351"/>
                      <a:pt x="3386" y="351"/>
                    </a:cubicBezTo>
                    <a:cubicBezTo>
                      <a:pt x="3384" y="351"/>
                      <a:pt x="3252" y="352"/>
                      <a:pt x="3195" y="352"/>
                    </a:cubicBezTo>
                    <a:cubicBezTo>
                      <a:pt x="3139" y="352"/>
                      <a:pt x="3153" y="384"/>
                      <a:pt x="3123" y="392"/>
                    </a:cubicBezTo>
                    <a:cubicBezTo>
                      <a:pt x="3111" y="396"/>
                      <a:pt x="3102" y="403"/>
                      <a:pt x="3095" y="411"/>
                    </a:cubicBezTo>
                    <a:cubicBezTo>
                      <a:pt x="3098" y="412"/>
                      <a:pt x="3100" y="413"/>
                      <a:pt x="3102" y="415"/>
                    </a:cubicBezTo>
                    <a:cubicBezTo>
                      <a:pt x="3108" y="421"/>
                      <a:pt x="3108" y="423"/>
                      <a:pt x="3103" y="427"/>
                    </a:cubicBezTo>
                    <a:cubicBezTo>
                      <a:pt x="3099" y="431"/>
                      <a:pt x="3099" y="437"/>
                      <a:pt x="3097" y="449"/>
                    </a:cubicBezTo>
                    <a:cubicBezTo>
                      <a:pt x="3094" y="461"/>
                      <a:pt x="3089" y="463"/>
                      <a:pt x="3082" y="464"/>
                    </a:cubicBezTo>
                    <a:cubicBezTo>
                      <a:pt x="3075" y="465"/>
                      <a:pt x="3071" y="469"/>
                      <a:pt x="3066" y="478"/>
                    </a:cubicBezTo>
                    <a:cubicBezTo>
                      <a:pt x="3061" y="487"/>
                      <a:pt x="3044" y="483"/>
                      <a:pt x="3027" y="485"/>
                    </a:cubicBezTo>
                    <a:cubicBezTo>
                      <a:pt x="3011" y="487"/>
                      <a:pt x="3000" y="485"/>
                      <a:pt x="2985" y="478"/>
                    </a:cubicBezTo>
                    <a:cubicBezTo>
                      <a:pt x="2969" y="471"/>
                      <a:pt x="2953" y="478"/>
                      <a:pt x="2937" y="477"/>
                    </a:cubicBezTo>
                    <a:cubicBezTo>
                      <a:pt x="2920" y="477"/>
                      <a:pt x="2921" y="479"/>
                      <a:pt x="2916" y="487"/>
                    </a:cubicBezTo>
                    <a:cubicBezTo>
                      <a:pt x="2915" y="490"/>
                      <a:pt x="2913" y="491"/>
                      <a:pt x="2911" y="491"/>
                    </a:cubicBezTo>
                    <a:cubicBezTo>
                      <a:pt x="2913" y="497"/>
                      <a:pt x="2916" y="502"/>
                      <a:pt x="2918" y="508"/>
                    </a:cubicBezTo>
                    <a:cubicBezTo>
                      <a:pt x="2920" y="515"/>
                      <a:pt x="2919" y="520"/>
                      <a:pt x="2916" y="524"/>
                    </a:cubicBezTo>
                    <a:cubicBezTo>
                      <a:pt x="2919" y="527"/>
                      <a:pt x="2919" y="532"/>
                      <a:pt x="2917" y="537"/>
                    </a:cubicBezTo>
                    <a:cubicBezTo>
                      <a:pt x="2912" y="546"/>
                      <a:pt x="2894" y="551"/>
                      <a:pt x="2882" y="557"/>
                    </a:cubicBezTo>
                    <a:cubicBezTo>
                      <a:pt x="2870" y="563"/>
                      <a:pt x="2861" y="569"/>
                      <a:pt x="2846" y="575"/>
                    </a:cubicBezTo>
                    <a:cubicBezTo>
                      <a:pt x="2831" y="580"/>
                      <a:pt x="2825" y="581"/>
                      <a:pt x="2815" y="583"/>
                    </a:cubicBezTo>
                    <a:cubicBezTo>
                      <a:pt x="2806" y="585"/>
                      <a:pt x="2797" y="591"/>
                      <a:pt x="2785" y="595"/>
                    </a:cubicBezTo>
                    <a:cubicBezTo>
                      <a:pt x="2773" y="600"/>
                      <a:pt x="2756" y="611"/>
                      <a:pt x="2748" y="618"/>
                    </a:cubicBezTo>
                    <a:cubicBezTo>
                      <a:pt x="2740" y="625"/>
                      <a:pt x="2722" y="621"/>
                      <a:pt x="2713" y="619"/>
                    </a:cubicBezTo>
                    <a:cubicBezTo>
                      <a:pt x="2703" y="617"/>
                      <a:pt x="2698" y="622"/>
                      <a:pt x="2688" y="625"/>
                    </a:cubicBezTo>
                    <a:cubicBezTo>
                      <a:pt x="2678" y="627"/>
                      <a:pt x="2668" y="617"/>
                      <a:pt x="2659" y="610"/>
                    </a:cubicBezTo>
                    <a:cubicBezTo>
                      <a:pt x="2652" y="604"/>
                      <a:pt x="2651" y="596"/>
                      <a:pt x="2656" y="592"/>
                    </a:cubicBezTo>
                    <a:cubicBezTo>
                      <a:pt x="2650" y="583"/>
                      <a:pt x="2655" y="570"/>
                      <a:pt x="2661" y="565"/>
                    </a:cubicBezTo>
                    <a:cubicBezTo>
                      <a:pt x="2667" y="560"/>
                      <a:pt x="2674" y="548"/>
                      <a:pt x="2689" y="539"/>
                    </a:cubicBezTo>
                    <a:cubicBezTo>
                      <a:pt x="2704" y="530"/>
                      <a:pt x="2705" y="503"/>
                      <a:pt x="2705" y="494"/>
                    </a:cubicBezTo>
                    <a:cubicBezTo>
                      <a:pt x="2705" y="491"/>
                      <a:pt x="2706" y="487"/>
                      <a:pt x="2708" y="483"/>
                    </a:cubicBezTo>
                    <a:cubicBezTo>
                      <a:pt x="2707" y="475"/>
                      <a:pt x="2706" y="476"/>
                      <a:pt x="2698" y="477"/>
                    </a:cubicBezTo>
                    <a:cubicBezTo>
                      <a:pt x="2689" y="477"/>
                      <a:pt x="2692" y="463"/>
                      <a:pt x="2693" y="455"/>
                    </a:cubicBezTo>
                    <a:cubicBezTo>
                      <a:pt x="2693" y="448"/>
                      <a:pt x="2688" y="432"/>
                      <a:pt x="2685" y="426"/>
                    </a:cubicBezTo>
                    <a:cubicBezTo>
                      <a:pt x="2681" y="420"/>
                      <a:pt x="2677" y="422"/>
                      <a:pt x="2665" y="422"/>
                    </a:cubicBezTo>
                    <a:cubicBezTo>
                      <a:pt x="2653" y="422"/>
                      <a:pt x="2657" y="426"/>
                      <a:pt x="2646" y="430"/>
                    </a:cubicBezTo>
                    <a:cubicBezTo>
                      <a:pt x="2635" y="434"/>
                      <a:pt x="2638" y="437"/>
                      <a:pt x="2633" y="447"/>
                    </a:cubicBezTo>
                    <a:cubicBezTo>
                      <a:pt x="2629" y="457"/>
                      <a:pt x="2625" y="461"/>
                      <a:pt x="2614" y="457"/>
                    </a:cubicBezTo>
                    <a:cubicBezTo>
                      <a:pt x="2603" y="453"/>
                      <a:pt x="2609" y="439"/>
                      <a:pt x="2614" y="436"/>
                    </a:cubicBezTo>
                    <a:cubicBezTo>
                      <a:pt x="2619" y="433"/>
                      <a:pt x="2625" y="419"/>
                      <a:pt x="2638" y="411"/>
                    </a:cubicBezTo>
                    <a:cubicBezTo>
                      <a:pt x="2651" y="403"/>
                      <a:pt x="2649" y="391"/>
                      <a:pt x="2650" y="382"/>
                    </a:cubicBezTo>
                    <a:cubicBezTo>
                      <a:pt x="2651" y="373"/>
                      <a:pt x="2650" y="366"/>
                      <a:pt x="2645" y="361"/>
                    </a:cubicBezTo>
                    <a:cubicBezTo>
                      <a:pt x="2641" y="355"/>
                      <a:pt x="2647" y="351"/>
                      <a:pt x="2653" y="347"/>
                    </a:cubicBezTo>
                    <a:cubicBezTo>
                      <a:pt x="2659" y="343"/>
                      <a:pt x="2639" y="323"/>
                      <a:pt x="2627" y="319"/>
                    </a:cubicBezTo>
                    <a:cubicBezTo>
                      <a:pt x="2615" y="315"/>
                      <a:pt x="2611" y="309"/>
                      <a:pt x="2595" y="299"/>
                    </a:cubicBezTo>
                    <a:cubicBezTo>
                      <a:pt x="2579" y="289"/>
                      <a:pt x="2557" y="289"/>
                      <a:pt x="2547" y="289"/>
                    </a:cubicBezTo>
                    <a:cubicBezTo>
                      <a:pt x="2536" y="289"/>
                      <a:pt x="2529" y="291"/>
                      <a:pt x="2529" y="298"/>
                    </a:cubicBezTo>
                    <a:cubicBezTo>
                      <a:pt x="2528" y="305"/>
                      <a:pt x="2528" y="321"/>
                      <a:pt x="2520" y="322"/>
                    </a:cubicBezTo>
                    <a:cubicBezTo>
                      <a:pt x="2512" y="323"/>
                      <a:pt x="2513" y="345"/>
                      <a:pt x="2513" y="354"/>
                    </a:cubicBezTo>
                    <a:cubicBezTo>
                      <a:pt x="2513" y="363"/>
                      <a:pt x="2505" y="367"/>
                      <a:pt x="2502" y="359"/>
                    </a:cubicBezTo>
                    <a:cubicBezTo>
                      <a:pt x="2499" y="352"/>
                      <a:pt x="2498" y="347"/>
                      <a:pt x="2497" y="341"/>
                    </a:cubicBezTo>
                    <a:cubicBezTo>
                      <a:pt x="2497" y="335"/>
                      <a:pt x="2490" y="332"/>
                      <a:pt x="2489" y="338"/>
                    </a:cubicBezTo>
                    <a:cubicBezTo>
                      <a:pt x="2487" y="344"/>
                      <a:pt x="2483" y="344"/>
                      <a:pt x="2473" y="345"/>
                    </a:cubicBezTo>
                    <a:cubicBezTo>
                      <a:pt x="2464" y="347"/>
                      <a:pt x="2466" y="359"/>
                      <a:pt x="2460" y="362"/>
                    </a:cubicBezTo>
                    <a:cubicBezTo>
                      <a:pt x="2454" y="365"/>
                      <a:pt x="2457" y="380"/>
                      <a:pt x="2456" y="389"/>
                    </a:cubicBezTo>
                    <a:cubicBezTo>
                      <a:pt x="2455" y="399"/>
                      <a:pt x="2453" y="405"/>
                      <a:pt x="2443" y="413"/>
                    </a:cubicBezTo>
                    <a:cubicBezTo>
                      <a:pt x="2434" y="420"/>
                      <a:pt x="2439" y="454"/>
                      <a:pt x="2438" y="465"/>
                    </a:cubicBezTo>
                    <a:cubicBezTo>
                      <a:pt x="2437" y="475"/>
                      <a:pt x="2439" y="474"/>
                      <a:pt x="2450" y="481"/>
                    </a:cubicBezTo>
                    <a:cubicBezTo>
                      <a:pt x="2461" y="487"/>
                      <a:pt x="2459" y="511"/>
                      <a:pt x="2458" y="527"/>
                    </a:cubicBezTo>
                    <a:cubicBezTo>
                      <a:pt x="2457" y="543"/>
                      <a:pt x="2458" y="552"/>
                      <a:pt x="2454" y="553"/>
                    </a:cubicBezTo>
                    <a:cubicBezTo>
                      <a:pt x="2450" y="555"/>
                      <a:pt x="2441" y="572"/>
                      <a:pt x="2437" y="581"/>
                    </a:cubicBezTo>
                    <a:cubicBezTo>
                      <a:pt x="2433" y="589"/>
                      <a:pt x="2435" y="591"/>
                      <a:pt x="2421" y="594"/>
                    </a:cubicBezTo>
                    <a:cubicBezTo>
                      <a:pt x="2407" y="597"/>
                      <a:pt x="2404" y="609"/>
                      <a:pt x="2394" y="609"/>
                    </a:cubicBezTo>
                    <a:cubicBezTo>
                      <a:pt x="2384" y="610"/>
                      <a:pt x="2379" y="607"/>
                      <a:pt x="2379" y="599"/>
                    </a:cubicBezTo>
                    <a:cubicBezTo>
                      <a:pt x="2378" y="591"/>
                      <a:pt x="2371" y="583"/>
                      <a:pt x="2368" y="575"/>
                    </a:cubicBezTo>
                    <a:cubicBezTo>
                      <a:pt x="2365" y="567"/>
                      <a:pt x="2362" y="538"/>
                      <a:pt x="2365" y="527"/>
                    </a:cubicBezTo>
                    <a:cubicBezTo>
                      <a:pt x="2367" y="517"/>
                      <a:pt x="2354" y="507"/>
                      <a:pt x="2354" y="498"/>
                    </a:cubicBezTo>
                    <a:cubicBezTo>
                      <a:pt x="2354" y="489"/>
                      <a:pt x="2355" y="479"/>
                      <a:pt x="2360" y="475"/>
                    </a:cubicBezTo>
                    <a:cubicBezTo>
                      <a:pt x="2365" y="470"/>
                      <a:pt x="2361" y="462"/>
                      <a:pt x="2366" y="459"/>
                    </a:cubicBezTo>
                    <a:cubicBezTo>
                      <a:pt x="2371" y="455"/>
                      <a:pt x="2370" y="450"/>
                      <a:pt x="2370" y="442"/>
                    </a:cubicBezTo>
                    <a:cubicBezTo>
                      <a:pt x="2370" y="434"/>
                      <a:pt x="2369" y="429"/>
                      <a:pt x="2378" y="425"/>
                    </a:cubicBezTo>
                    <a:cubicBezTo>
                      <a:pt x="2387" y="421"/>
                      <a:pt x="2382" y="393"/>
                      <a:pt x="2384" y="385"/>
                    </a:cubicBezTo>
                    <a:cubicBezTo>
                      <a:pt x="2386" y="378"/>
                      <a:pt x="2392" y="369"/>
                      <a:pt x="2395" y="362"/>
                    </a:cubicBezTo>
                    <a:cubicBezTo>
                      <a:pt x="2397" y="355"/>
                      <a:pt x="2401" y="355"/>
                      <a:pt x="2404" y="340"/>
                    </a:cubicBezTo>
                    <a:cubicBezTo>
                      <a:pt x="2407" y="325"/>
                      <a:pt x="2397" y="333"/>
                      <a:pt x="2390" y="342"/>
                    </a:cubicBezTo>
                    <a:cubicBezTo>
                      <a:pt x="2383" y="351"/>
                      <a:pt x="2382" y="347"/>
                      <a:pt x="2376" y="358"/>
                    </a:cubicBezTo>
                    <a:cubicBezTo>
                      <a:pt x="2370" y="369"/>
                      <a:pt x="2364" y="364"/>
                      <a:pt x="2361" y="361"/>
                    </a:cubicBezTo>
                    <a:cubicBezTo>
                      <a:pt x="2359" y="359"/>
                      <a:pt x="2366" y="345"/>
                      <a:pt x="2371" y="339"/>
                    </a:cubicBezTo>
                    <a:cubicBezTo>
                      <a:pt x="2377" y="333"/>
                      <a:pt x="2393" y="315"/>
                      <a:pt x="2393" y="315"/>
                    </a:cubicBezTo>
                    <a:cubicBezTo>
                      <a:pt x="2406" y="294"/>
                      <a:pt x="2417" y="297"/>
                      <a:pt x="2421" y="291"/>
                    </a:cubicBezTo>
                    <a:cubicBezTo>
                      <a:pt x="2424" y="286"/>
                      <a:pt x="2429" y="291"/>
                      <a:pt x="2441" y="294"/>
                    </a:cubicBezTo>
                    <a:cubicBezTo>
                      <a:pt x="2453" y="297"/>
                      <a:pt x="2451" y="292"/>
                      <a:pt x="2459" y="284"/>
                    </a:cubicBezTo>
                    <a:cubicBezTo>
                      <a:pt x="2467" y="276"/>
                      <a:pt x="2475" y="283"/>
                      <a:pt x="2490" y="279"/>
                    </a:cubicBezTo>
                    <a:cubicBezTo>
                      <a:pt x="2505" y="276"/>
                      <a:pt x="2501" y="261"/>
                      <a:pt x="2509" y="262"/>
                    </a:cubicBezTo>
                    <a:cubicBezTo>
                      <a:pt x="2518" y="263"/>
                      <a:pt x="2527" y="269"/>
                      <a:pt x="2533" y="277"/>
                    </a:cubicBezTo>
                    <a:cubicBezTo>
                      <a:pt x="2538" y="285"/>
                      <a:pt x="2542" y="281"/>
                      <a:pt x="2557" y="281"/>
                    </a:cubicBezTo>
                    <a:cubicBezTo>
                      <a:pt x="2573" y="282"/>
                      <a:pt x="2589" y="278"/>
                      <a:pt x="2599" y="278"/>
                    </a:cubicBezTo>
                    <a:cubicBezTo>
                      <a:pt x="2609" y="278"/>
                      <a:pt x="2612" y="275"/>
                      <a:pt x="2615" y="271"/>
                    </a:cubicBezTo>
                    <a:cubicBezTo>
                      <a:pt x="2617" y="269"/>
                      <a:pt x="2620" y="266"/>
                      <a:pt x="2624" y="262"/>
                    </a:cubicBezTo>
                    <a:cubicBezTo>
                      <a:pt x="2619" y="260"/>
                      <a:pt x="2612" y="259"/>
                      <a:pt x="2607" y="258"/>
                    </a:cubicBezTo>
                    <a:cubicBezTo>
                      <a:pt x="2595" y="257"/>
                      <a:pt x="2589" y="249"/>
                      <a:pt x="2587" y="238"/>
                    </a:cubicBezTo>
                    <a:cubicBezTo>
                      <a:pt x="2586" y="230"/>
                      <a:pt x="2579" y="229"/>
                      <a:pt x="2570" y="229"/>
                    </a:cubicBezTo>
                    <a:cubicBezTo>
                      <a:pt x="2569" y="232"/>
                      <a:pt x="2566" y="233"/>
                      <a:pt x="2560" y="233"/>
                    </a:cubicBezTo>
                    <a:cubicBezTo>
                      <a:pt x="2550" y="232"/>
                      <a:pt x="2544" y="219"/>
                      <a:pt x="2540" y="214"/>
                    </a:cubicBezTo>
                    <a:cubicBezTo>
                      <a:pt x="2536" y="209"/>
                      <a:pt x="2523" y="202"/>
                      <a:pt x="2517" y="205"/>
                    </a:cubicBezTo>
                    <a:cubicBezTo>
                      <a:pt x="2511" y="209"/>
                      <a:pt x="2497" y="207"/>
                      <a:pt x="2486" y="212"/>
                    </a:cubicBezTo>
                    <a:cubicBezTo>
                      <a:pt x="2475" y="216"/>
                      <a:pt x="2469" y="214"/>
                      <a:pt x="2457" y="215"/>
                    </a:cubicBezTo>
                    <a:cubicBezTo>
                      <a:pt x="2445" y="216"/>
                      <a:pt x="2439" y="223"/>
                      <a:pt x="2438" y="229"/>
                    </a:cubicBezTo>
                    <a:cubicBezTo>
                      <a:pt x="2437" y="234"/>
                      <a:pt x="2427" y="231"/>
                      <a:pt x="2420" y="225"/>
                    </a:cubicBezTo>
                    <a:cubicBezTo>
                      <a:pt x="2414" y="218"/>
                      <a:pt x="2406" y="225"/>
                      <a:pt x="2394" y="223"/>
                    </a:cubicBezTo>
                    <a:cubicBezTo>
                      <a:pt x="2383" y="221"/>
                      <a:pt x="2384" y="217"/>
                      <a:pt x="2379" y="208"/>
                    </a:cubicBezTo>
                    <a:cubicBezTo>
                      <a:pt x="2375" y="200"/>
                      <a:pt x="2368" y="197"/>
                      <a:pt x="2359" y="197"/>
                    </a:cubicBezTo>
                    <a:cubicBezTo>
                      <a:pt x="2351" y="196"/>
                      <a:pt x="2351" y="190"/>
                      <a:pt x="2347" y="190"/>
                    </a:cubicBezTo>
                    <a:cubicBezTo>
                      <a:pt x="2342" y="190"/>
                      <a:pt x="2331" y="190"/>
                      <a:pt x="2331" y="185"/>
                    </a:cubicBezTo>
                    <a:cubicBezTo>
                      <a:pt x="2331" y="180"/>
                      <a:pt x="2340" y="176"/>
                      <a:pt x="2347" y="169"/>
                    </a:cubicBezTo>
                    <a:cubicBezTo>
                      <a:pt x="2353" y="162"/>
                      <a:pt x="2355" y="169"/>
                      <a:pt x="2361" y="161"/>
                    </a:cubicBezTo>
                    <a:cubicBezTo>
                      <a:pt x="2367" y="154"/>
                      <a:pt x="2362" y="148"/>
                      <a:pt x="2357" y="148"/>
                    </a:cubicBezTo>
                    <a:cubicBezTo>
                      <a:pt x="2351" y="148"/>
                      <a:pt x="2342" y="148"/>
                      <a:pt x="2329" y="151"/>
                    </a:cubicBezTo>
                    <a:cubicBezTo>
                      <a:pt x="2317" y="154"/>
                      <a:pt x="2315" y="161"/>
                      <a:pt x="2301" y="170"/>
                    </a:cubicBezTo>
                    <a:cubicBezTo>
                      <a:pt x="2287" y="180"/>
                      <a:pt x="2278" y="187"/>
                      <a:pt x="2270" y="193"/>
                    </a:cubicBezTo>
                    <a:cubicBezTo>
                      <a:pt x="2262" y="198"/>
                      <a:pt x="2246" y="199"/>
                      <a:pt x="2233" y="199"/>
                    </a:cubicBezTo>
                    <a:cubicBezTo>
                      <a:pt x="2220" y="199"/>
                      <a:pt x="2214" y="212"/>
                      <a:pt x="2205" y="212"/>
                    </a:cubicBezTo>
                    <a:cubicBezTo>
                      <a:pt x="2196" y="212"/>
                      <a:pt x="2196" y="220"/>
                      <a:pt x="2187" y="220"/>
                    </a:cubicBezTo>
                    <a:cubicBezTo>
                      <a:pt x="2178" y="219"/>
                      <a:pt x="2180" y="211"/>
                      <a:pt x="2180" y="206"/>
                    </a:cubicBezTo>
                    <a:cubicBezTo>
                      <a:pt x="2180" y="201"/>
                      <a:pt x="2175" y="204"/>
                      <a:pt x="2167" y="204"/>
                    </a:cubicBezTo>
                    <a:cubicBezTo>
                      <a:pt x="2159" y="204"/>
                      <a:pt x="2163" y="199"/>
                      <a:pt x="2162" y="192"/>
                    </a:cubicBezTo>
                    <a:cubicBezTo>
                      <a:pt x="2161" y="185"/>
                      <a:pt x="2157" y="188"/>
                      <a:pt x="2155" y="194"/>
                    </a:cubicBezTo>
                    <a:cubicBezTo>
                      <a:pt x="2153" y="200"/>
                      <a:pt x="2149" y="199"/>
                      <a:pt x="2139" y="200"/>
                    </a:cubicBezTo>
                    <a:cubicBezTo>
                      <a:pt x="2129" y="202"/>
                      <a:pt x="2125" y="209"/>
                      <a:pt x="2119" y="213"/>
                    </a:cubicBezTo>
                    <a:cubicBezTo>
                      <a:pt x="2112" y="218"/>
                      <a:pt x="2103" y="218"/>
                      <a:pt x="2101" y="213"/>
                    </a:cubicBezTo>
                    <a:cubicBezTo>
                      <a:pt x="2099" y="207"/>
                      <a:pt x="2099" y="202"/>
                      <a:pt x="2113" y="196"/>
                    </a:cubicBezTo>
                    <a:cubicBezTo>
                      <a:pt x="2126" y="190"/>
                      <a:pt x="2138" y="171"/>
                      <a:pt x="2138" y="171"/>
                    </a:cubicBezTo>
                    <a:cubicBezTo>
                      <a:pt x="2146" y="161"/>
                      <a:pt x="2153" y="156"/>
                      <a:pt x="2163" y="151"/>
                    </a:cubicBezTo>
                    <a:cubicBezTo>
                      <a:pt x="2173" y="146"/>
                      <a:pt x="2203" y="133"/>
                      <a:pt x="2212" y="127"/>
                    </a:cubicBezTo>
                    <a:cubicBezTo>
                      <a:pt x="2222" y="121"/>
                      <a:pt x="2230" y="122"/>
                      <a:pt x="2249" y="120"/>
                    </a:cubicBezTo>
                    <a:cubicBezTo>
                      <a:pt x="2259" y="119"/>
                      <a:pt x="2261" y="116"/>
                      <a:pt x="2261" y="113"/>
                    </a:cubicBezTo>
                    <a:cubicBezTo>
                      <a:pt x="2251" y="116"/>
                      <a:pt x="2242" y="112"/>
                      <a:pt x="2232" y="111"/>
                    </a:cubicBezTo>
                    <a:cubicBezTo>
                      <a:pt x="2221" y="109"/>
                      <a:pt x="2218" y="112"/>
                      <a:pt x="2206" y="105"/>
                    </a:cubicBezTo>
                    <a:cubicBezTo>
                      <a:pt x="2195" y="97"/>
                      <a:pt x="2182" y="102"/>
                      <a:pt x="2176" y="102"/>
                    </a:cubicBezTo>
                    <a:cubicBezTo>
                      <a:pt x="2170" y="102"/>
                      <a:pt x="2166" y="97"/>
                      <a:pt x="2158" y="95"/>
                    </a:cubicBezTo>
                    <a:cubicBezTo>
                      <a:pt x="2151" y="93"/>
                      <a:pt x="2143" y="101"/>
                      <a:pt x="2139" y="106"/>
                    </a:cubicBezTo>
                    <a:cubicBezTo>
                      <a:pt x="2135" y="111"/>
                      <a:pt x="2127" y="114"/>
                      <a:pt x="2119" y="109"/>
                    </a:cubicBezTo>
                    <a:cubicBezTo>
                      <a:pt x="2110" y="104"/>
                      <a:pt x="2099" y="102"/>
                      <a:pt x="2095" y="94"/>
                    </a:cubicBezTo>
                    <a:cubicBezTo>
                      <a:pt x="2092" y="85"/>
                      <a:pt x="2081" y="84"/>
                      <a:pt x="2077" y="89"/>
                    </a:cubicBezTo>
                    <a:cubicBezTo>
                      <a:pt x="2073" y="95"/>
                      <a:pt x="2053" y="88"/>
                      <a:pt x="2049" y="80"/>
                    </a:cubicBezTo>
                    <a:cubicBezTo>
                      <a:pt x="2045" y="71"/>
                      <a:pt x="2037" y="67"/>
                      <a:pt x="2027" y="64"/>
                    </a:cubicBezTo>
                    <a:cubicBezTo>
                      <a:pt x="2018" y="61"/>
                      <a:pt x="2007" y="60"/>
                      <a:pt x="1997" y="68"/>
                    </a:cubicBezTo>
                    <a:cubicBezTo>
                      <a:pt x="1987" y="76"/>
                      <a:pt x="1973" y="75"/>
                      <a:pt x="1968" y="65"/>
                    </a:cubicBezTo>
                    <a:cubicBezTo>
                      <a:pt x="1963" y="55"/>
                      <a:pt x="1939" y="59"/>
                      <a:pt x="1930" y="56"/>
                    </a:cubicBezTo>
                    <a:cubicBezTo>
                      <a:pt x="1922" y="53"/>
                      <a:pt x="1920" y="48"/>
                      <a:pt x="1917" y="39"/>
                    </a:cubicBezTo>
                    <a:cubicBezTo>
                      <a:pt x="1915" y="31"/>
                      <a:pt x="1909" y="25"/>
                      <a:pt x="1909" y="18"/>
                    </a:cubicBezTo>
                    <a:cubicBezTo>
                      <a:pt x="1909" y="11"/>
                      <a:pt x="1899" y="1"/>
                      <a:pt x="1892" y="1"/>
                    </a:cubicBezTo>
                    <a:cubicBezTo>
                      <a:pt x="1884" y="0"/>
                      <a:pt x="1885" y="11"/>
                      <a:pt x="1885" y="19"/>
                    </a:cubicBezTo>
                    <a:cubicBezTo>
                      <a:pt x="1885" y="27"/>
                      <a:pt x="1867" y="34"/>
                      <a:pt x="1867" y="34"/>
                    </a:cubicBezTo>
                    <a:cubicBezTo>
                      <a:pt x="1867" y="34"/>
                      <a:pt x="146" y="36"/>
                      <a:pt x="118" y="37"/>
                    </a:cubicBezTo>
                    <a:cubicBezTo>
                      <a:pt x="118" y="37"/>
                      <a:pt x="119" y="38"/>
                      <a:pt x="119" y="38"/>
                    </a:cubicBezTo>
                    <a:cubicBezTo>
                      <a:pt x="120" y="40"/>
                      <a:pt x="121" y="41"/>
                      <a:pt x="122" y="42"/>
                    </a:cubicBezTo>
                    <a:cubicBezTo>
                      <a:pt x="123" y="42"/>
                      <a:pt x="123" y="42"/>
                      <a:pt x="124" y="42"/>
                    </a:cubicBezTo>
                    <a:cubicBezTo>
                      <a:pt x="126" y="43"/>
                      <a:pt x="129" y="45"/>
                      <a:pt x="131" y="47"/>
                    </a:cubicBezTo>
                    <a:cubicBezTo>
                      <a:pt x="141" y="54"/>
                      <a:pt x="143" y="64"/>
                      <a:pt x="148" y="67"/>
                    </a:cubicBezTo>
                    <a:cubicBezTo>
                      <a:pt x="153" y="70"/>
                      <a:pt x="149" y="76"/>
                      <a:pt x="145" y="84"/>
                    </a:cubicBezTo>
                    <a:cubicBezTo>
                      <a:pt x="140" y="92"/>
                      <a:pt x="138" y="91"/>
                      <a:pt x="145" y="100"/>
                    </a:cubicBezTo>
                    <a:cubicBezTo>
                      <a:pt x="151" y="108"/>
                      <a:pt x="152" y="107"/>
                      <a:pt x="153" y="125"/>
                    </a:cubicBezTo>
                    <a:cubicBezTo>
                      <a:pt x="155" y="143"/>
                      <a:pt x="139" y="139"/>
                      <a:pt x="134" y="133"/>
                    </a:cubicBezTo>
                    <a:cubicBezTo>
                      <a:pt x="129" y="128"/>
                      <a:pt x="137" y="117"/>
                      <a:pt x="135" y="109"/>
                    </a:cubicBezTo>
                    <a:cubicBezTo>
                      <a:pt x="133" y="102"/>
                      <a:pt x="121" y="99"/>
                      <a:pt x="112" y="97"/>
                    </a:cubicBezTo>
                    <a:cubicBezTo>
                      <a:pt x="103" y="95"/>
                      <a:pt x="111" y="78"/>
                      <a:pt x="107" y="72"/>
                    </a:cubicBezTo>
                    <a:cubicBezTo>
                      <a:pt x="106" y="71"/>
                      <a:pt x="106" y="71"/>
                      <a:pt x="106" y="71"/>
                    </a:cubicBezTo>
                    <a:cubicBezTo>
                      <a:pt x="102" y="68"/>
                      <a:pt x="102" y="67"/>
                      <a:pt x="99" y="66"/>
                    </a:cubicBezTo>
                    <a:cubicBezTo>
                      <a:pt x="97" y="65"/>
                      <a:pt x="96" y="64"/>
                      <a:pt x="94" y="63"/>
                    </a:cubicBezTo>
                    <a:cubicBezTo>
                      <a:pt x="92" y="64"/>
                      <a:pt x="91" y="66"/>
                      <a:pt x="95" y="69"/>
                    </a:cubicBezTo>
                    <a:cubicBezTo>
                      <a:pt x="102" y="75"/>
                      <a:pt x="102" y="80"/>
                      <a:pt x="97" y="90"/>
                    </a:cubicBezTo>
                    <a:cubicBezTo>
                      <a:pt x="92" y="100"/>
                      <a:pt x="67" y="97"/>
                      <a:pt x="57" y="96"/>
                    </a:cubicBezTo>
                    <a:cubicBezTo>
                      <a:pt x="47" y="95"/>
                      <a:pt x="32" y="90"/>
                      <a:pt x="19" y="82"/>
                    </a:cubicBezTo>
                    <a:cubicBezTo>
                      <a:pt x="13" y="78"/>
                      <a:pt x="6" y="77"/>
                      <a:pt x="0" y="76"/>
                    </a:cubicBezTo>
                    <a:cubicBezTo>
                      <a:pt x="0" y="80"/>
                      <a:pt x="0" y="86"/>
                      <a:pt x="0" y="91"/>
                    </a:cubicBezTo>
                    <a:cubicBezTo>
                      <a:pt x="1" y="102"/>
                      <a:pt x="2" y="116"/>
                      <a:pt x="9" y="122"/>
                    </a:cubicBezTo>
                    <a:cubicBezTo>
                      <a:pt x="16" y="128"/>
                      <a:pt x="24" y="136"/>
                      <a:pt x="28" y="149"/>
                    </a:cubicBezTo>
                    <a:cubicBezTo>
                      <a:pt x="32" y="161"/>
                      <a:pt x="35" y="175"/>
                      <a:pt x="43" y="182"/>
                    </a:cubicBezTo>
                    <a:cubicBezTo>
                      <a:pt x="51" y="189"/>
                      <a:pt x="52" y="193"/>
                      <a:pt x="46" y="199"/>
                    </a:cubicBezTo>
                    <a:cubicBezTo>
                      <a:pt x="40" y="204"/>
                      <a:pt x="48" y="206"/>
                      <a:pt x="46" y="221"/>
                    </a:cubicBezTo>
                    <a:cubicBezTo>
                      <a:pt x="44" y="236"/>
                      <a:pt x="43" y="241"/>
                      <a:pt x="48" y="247"/>
                    </a:cubicBezTo>
                    <a:cubicBezTo>
                      <a:pt x="52" y="254"/>
                      <a:pt x="53" y="263"/>
                      <a:pt x="55" y="272"/>
                    </a:cubicBezTo>
                    <a:cubicBezTo>
                      <a:pt x="56" y="281"/>
                      <a:pt x="58" y="304"/>
                      <a:pt x="54" y="320"/>
                    </a:cubicBezTo>
                    <a:cubicBezTo>
                      <a:pt x="50" y="336"/>
                      <a:pt x="47" y="340"/>
                      <a:pt x="46" y="365"/>
                    </a:cubicBezTo>
                    <a:cubicBezTo>
                      <a:pt x="45" y="390"/>
                      <a:pt x="50" y="425"/>
                      <a:pt x="45" y="445"/>
                    </a:cubicBezTo>
                    <a:cubicBezTo>
                      <a:pt x="40" y="465"/>
                      <a:pt x="40" y="473"/>
                      <a:pt x="33" y="482"/>
                    </a:cubicBezTo>
                    <a:cubicBezTo>
                      <a:pt x="26" y="492"/>
                      <a:pt x="16" y="508"/>
                      <a:pt x="18" y="517"/>
                    </a:cubicBezTo>
                    <a:cubicBezTo>
                      <a:pt x="19" y="526"/>
                      <a:pt x="14" y="528"/>
                      <a:pt x="21" y="545"/>
                    </a:cubicBezTo>
                    <a:cubicBezTo>
                      <a:pt x="28" y="562"/>
                      <a:pt x="21" y="561"/>
                      <a:pt x="32" y="580"/>
                    </a:cubicBezTo>
                    <a:cubicBezTo>
                      <a:pt x="43" y="598"/>
                      <a:pt x="46" y="599"/>
                      <a:pt x="45" y="617"/>
                    </a:cubicBezTo>
                    <a:cubicBezTo>
                      <a:pt x="45" y="634"/>
                      <a:pt x="44" y="645"/>
                      <a:pt x="40" y="651"/>
                    </a:cubicBezTo>
                    <a:cubicBezTo>
                      <a:pt x="36" y="656"/>
                      <a:pt x="36" y="660"/>
                      <a:pt x="37" y="668"/>
                    </a:cubicBezTo>
                    <a:cubicBezTo>
                      <a:pt x="39" y="677"/>
                      <a:pt x="36" y="683"/>
                      <a:pt x="29" y="691"/>
                    </a:cubicBezTo>
                    <a:cubicBezTo>
                      <a:pt x="23" y="698"/>
                      <a:pt x="26" y="706"/>
                      <a:pt x="32" y="718"/>
                    </a:cubicBezTo>
                    <a:cubicBezTo>
                      <a:pt x="39" y="731"/>
                      <a:pt x="60" y="745"/>
                      <a:pt x="60" y="764"/>
                    </a:cubicBezTo>
                    <a:cubicBezTo>
                      <a:pt x="60" y="783"/>
                      <a:pt x="65" y="802"/>
                      <a:pt x="71" y="813"/>
                    </a:cubicBezTo>
                    <a:cubicBezTo>
                      <a:pt x="77" y="825"/>
                      <a:pt x="73" y="827"/>
                      <a:pt x="90" y="841"/>
                    </a:cubicBezTo>
                    <a:cubicBezTo>
                      <a:pt x="106" y="854"/>
                      <a:pt x="118" y="866"/>
                      <a:pt x="120" y="879"/>
                    </a:cubicBezTo>
                    <a:cubicBezTo>
                      <a:pt x="121" y="892"/>
                      <a:pt x="124" y="898"/>
                      <a:pt x="137" y="899"/>
                    </a:cubicBezTo>
                    <a:cubicBezTo>
                      <a:pt x="150" y="900"/>
                      <a:pt x="158" y="900"/>
                      <a:pt x="156" y="909"/>
                    </a:cubicBezTo>
                    <a:cubicBezTo>
                      <a:pt x="153" y="918"/>
                      <a:pt x="148" y="929"/>
                      <a:pt x="153" y="939"/>
                    </a:cubicBezTo>
                    <a:cubicBezTo>
                      <a:pt x="158" y="949"/>
                      <a:pt x="155" y="951"/>
                      <a:pt x="170" y="958"/>
                    </a:cubicBezTo>
                    <a:cubicBezTo>
                      <a:pt x="186" y="965"/>
                      <a:pt x="197" y="972"/>
                      <a:pt x="195" y="978"/>
                    </a:cubicBezTo>
                    <a:cubicBezTo>
                      <a:pt x="193" y="985"/>
                      <a:pt x="192" y="985"/>
                      <a:pt x="187" y="992"/>
                    </a:cubicBezTo>
                    <a:cubicBezTo>
                      <a:pt x="182" y="999"/>
                      <a:pt x="179" y="1007"/>
                      <a:pt x="190" y="1015"/>
                    </a:cubicBezTo>
                    <a:cubicBezTo>
                      <a:pt x="201" y="1022"/>
                      <a:pt x="230" y="1060"/>
                      <a:pt x="241" y="1073"/>
                    </a:cubicBezTo>
                    <a:cubicBezTo>
                      <a:pt x="252" y="1086"/>
                      <a:pt x="264" y="1091"/>
                      <a:pt x="265" y="1110"/>
                    </a:cubicBezTo>
                    <a:cubicBezTo>
                      <a:pt x="265" y="1128"/>
                      <a:pt x="262" y="1145"/>
                      <a:pt x="279" y="1145"/>
                    </a:cubicBezTo>
                    <a:cubicBezTo>
                      <a:pt x="297" y="1145"/>
                      <a:pt x="328" y="1145"/>
                      <a:pt x="341" y="1155"/>
                    </a:cubicBezTo>
                    <a:cubicBezTo>
                      <a:pt x="353" y="1166"/>
                      <a:pt x="359" y="1174"/>
                      <a:pt x="378" y="1177"/>
                    </a:cubicBezTo>
                    <a:cubicBezTo>
                      <a:pt x="398" y="1179"/>
                      <a:pt x="413" y="1184"/>
                      <a:pt x="421" y="1194"/>
                    </a:cubicBezTo>
                    <a:cubicBezTo>
                      <a:pt x="429" y="1205"/>
                      <a:pt x="441" y="1205"/>
                      <a:pt x="459" y="1221"/>
                    </a:cubicBezTo>
                    <a:cubicBezTo>
                      <a:pt x="478" y="1236"/>
                      <a:pt x="480" y="1238"/>
                      <a:pt x="484" y="1257"/>
                    </a:cubicBezTo>
                    <a:cubicBezTo>
                      <a:pt x="487" y="1272"/>
                      <a:pt x="484" y="1282"/>
                      <a:pt x="488" y="1291"/>
                    </a:cubicBezTo>
                    <a:cubicBezTo>
                      <a:pt x="501" y="1289"/>
                      <a:pt x="520" y="1286"/>
                      <a:pt x="534" y="1286"/>
                    </a:cubicBezTo>
                    <a:cubicBezTo>
                      <a:pt x="559" y="1286"/>
                      <a:pt x="621" y="1265"/>
                      <a:pt x="639" y="1280"/>
                    </a:cubicBezTo>
                    <a:cubicBezTo>
                      <a:pt x="657" y="1295"/>
                      <a:pt x="660" y="1297"/>
                      <a:pt x="679" y="1304"/>
                    </a:cubicBezTo>
                    <a:cubicBezTo>
                      <a:pt x="698" y="1311"/>
                      <a:pt x="739" y="1321"/>
                      <a:pt x="767" y="1331"/>
                    </a:cubicBezTo>
                    <a:cubicBezTo>
                      <a:pt x="795" y="1341"/>
                      <a:pt x="854" y="1370"/>
                      <a:pt x="875" y="1376"/>
                    </a:cubicBezTo>
                    <a:cubicBezTo>
                      <a:pt x="918" y="1376"/>
                      <a:pt x="1047" y="1377"/>
                      <a:pt x="1047" y="1377"/>
                    </a:cubicBezTo>
                    <a:cubicBezTo>
                      <a:pt x="1047" y="1377"/>
                      <a:pt x="1056" y="1379"/>
                      <a:pt x="1057" y="1366"/>
                    </a:cubicBezTo>
                    <a:cubicBezTo>
                      <a:pt x="1058" y="1353"/>
                      <a:pt x="1052" y="1342"/>
                      <a:pt x="1080" y="1341"/>
                    </a:cubicBezTo>
                    <a:cubicBezTo>
                      <a:pt x="1108" y="1340"/>
                      <a:pt x="1171" y="1332"/>
                      <a:pt x="1183" y="1351"/>
                    </a:cubicBezTo>
                    <a:cubicBezTo>
                      <a:pt x="1195" y="1370"/>
                      <a:pt x="1221" y="1391"/>
                      <a:pt x="1228" y="1397"/>
                    </a:cubicBezTo>
                    <a:cubicBezTo>
                      <a:pt x="1235" y="1403"/>
                      <a:pt x="1242" y="1410"/>
                      <a:pt x="1253" y="1412"/>
                    </a:cubicBezTo>
                    <a:cubicBezTo>
                      <a:pt x="1264" y="1414"/>
                      <a:pt x="1268" y="1420"/>
                      <a:pt x="1269" y="1429"/>
                    </a:cubicBezTo>
                    <a:cubicBezTo>
                      <a:pt x="1270" y="1438"/>
                      <a:pt x="1279" y="1444"/>
                      <a:pt x="1280" y="1457"/>
                    </a:cubicBezTo>
                    <a:cubicBezTo>
                      <a:pt x="1281" y="1470"/>
                      <a:pt x="1289" y="1492"/>
                      <a:pt x="1299" y="1495"/>
                    </a:cubicBezTo>
                    <a:cubicBezTo>
                      <a:pt x="1309" y="1498"/>
                      <a:pt x="1324" y="1510"/>
                      <a:pt x="1338" y="1518"/>
                    </a:cubicBezTo>
                    <a:cubicBezTo>
                      <a:pt x="1352" y="1526"/>
                      <a:pt x="1384" y="1553"/>
                      <a:pt x="1400" y="1517"/>
                    </a:cubicBezTo>
                    <a:cubicBezTo>
                      <a:pt x="1416" y="1481"/>
                      <a:pt x="1417" y="1473"/>
                      <a:pt x="1441" y="1476"/>
                    </a:cubicBezTo>
                    <a:cubicBezTo>
                      <a:pt x="1465" y="1479"/>
                      <a:pt x="1491" y="1477"/>
                      <a:pt x="1502" y="1491"/>
                    </a:cubicBezTo>
                    <a:cubicBezTo>
                      <a:pt x="1513" y="1505"/>
                      <a:pt x="1513" y="1515"/>
                      <a:pt x="1526" y="1515"/>
                    </a:cubicBezTo>
                    <a:cubicBezTo>
                      <a:pt x="1539" y="1515"/>
                      <a:pt x="1543" y="1540"/>
                      <a:pt x="1550" y="1553"/>
                    </a:cubicBezTo>
                    <a:cubicBezTo>
                      <a:pt x="1557" y="1566"/>
                      <a:pt x="1567" y="1590"/>
                      <a:pt x="1579" y="1602"/>
                    </a:cubicBezTo>
                    <a:cubicBezTo>
                      <a:pt x="1591" y="1614"/>
                      <a:pt x="1603" y="1628"/>
                      <a:pt x="1609" y="1630"/>
                    </a:cubicBezTo>
                    <a:cubicBezTo>
                      <a:pt x="1615" y="1632"/>
                      <a:pt x="1616" y="1640"/>
                      <a:pt x="1616" y="1651"/>
                    </a:cubicBezTo>
                    <a:cubicBezTo>
                      <a:pt x="1616" y="1662"/>
                      <a:pt x="1616" y="1673"/>
                      <a:pt x="1621" y="1677"/>
                    </a:cubicBezTo>
                    <a:cubicBezTo>
                      <a:pt x="1626" y="1681"/>
                      <a:pt x="1631" y="1688"/>
                      <a:pt x="1631" y="1698"/>
                    </a:cubicBezTo>
                    <a:cubicBezTo>
                      <a:pt x="1631" y="1708"/>
                      <a:pt x="1634" y="1715"/>
                      <a:pt x="1648" y="1716"/>
                    </a:cubicBezTo>
                    <a:cubicBezTo>
                      <a:pt x="1662" y="1717"/>
                      <a:pt x="1674" y="1721"/>
                      <a:pt x="1683" y="1729"/>
                    </a:cubicBezTo>
                    <a:cubicBezTo>
                      <a:pt x="1692" y="1737"/>
                      <a:pt x="1710" y="1740"/>
                      <a:pt x="1722" y="1743"/>
                    </a:cubicBezTo>
                    <a:cubicBezTo>
                      <a:pt x="1734" y="1746"/>
                      <a:pt x="1739" y="1750"/>
                      <a:pt x="1752" y="1746"/>
                    </a:cubicBezTo>
                    <a:cubicBezTo>
                      <a:pt x="1760" y="1743"/>
                      <a:pt x="1765" y="1740"/>
                      <a:pt x="1772" y="1738"/>
                    </a:cubicBezTo>
                    <a:cubicBezTo>
                      <a:pt x="1772" y="1732"/>
                      <a:pt x="1770" y="1727"/>
                      <a:pt x="1765" y="1718"/>
                    </a:cubicBezTo>
                    <a:cubicBezTo>
                      <a:pt x="1758" y="1705"/>
                      <a:pt x="1756" y="1693"/>
                      <a:pt x="1753" y="1678"/>
                    </a:cubicBezTo>
                    <a:cubicBezTo>
                      <a:pt x="1750" y="1664"/>
                      <a:pt x="1750" y="1652"/>
                      <a:pt x="1758" y="1642"/>
                    </a:cubicBezTo>
                    <a:cubicBezTo>
                      <a:pt x="1766" y="1632"/>
                      <a:pt x="1767" y="1621"/>
                      <a:pt x="1783" y="1608"/>
                    </a:cubicBezTo>
                    <a:cubicBezTo>
                      <a:pt x="1798" y="1595"/>
                      <a:pt x="1811" y="1582"/>
                      <a:pt x="1809" y="1569"/>
                    </a:cubicBezTo>
                    <a:cubicBezTo>
                      <a:pt x="1807" y="1556"/>
                      <a:pt x="1807" y="1551"/>
                      <a:pt x="1819" y="1554"/>
                    </a:cubicBezTo>
                    <a:cubicBezTo>
                      <a:pt x="1830" y="1556"/>
                      <a:pt x="1826" y="1570"/>
                      <a:pt x="1834" y="1567"/>
                    </a:cubicBezTo>
                    <a:cubicBezTo>
                      <a:pt x="1841" y="1564"/>
                      <a:pt x="1856" y="1563"/>
                      <a:pt x="1863" y="1553"/>
                    </a:cubicBezTo>
                    <a:cubicBezTo>
                      <a:pt x="1870" y="1543"/>
                      <a:pt x="1889" y="1547"/>
                      <a:pt x="1896" y="1533"/>
                    </a:cubicBezTo>
                    <a:cubicBezTo>
                      <a:pt x="1903" y="1518"/>
                      <a:pt x="1914" y="1518"/>
                      <a:pt x="1912" y="1507"/>
                    </a:cubicBezTo>
                    <a:cubicBezTo>
                      <a:pt x="1910" y="1496"/>
                      <a:pt x="1901" y="1486"/>
                      <a:pt x="1910" y="1484"/>
                    </a:cubicBezTo>
                    <a:cubicBezTo>
                      <a:pt x="1918" y="1482"/>
                      <a:pt x="1926" y="1488"/>
                      <a:pt x="1926" y="1495"/>
                    </a:cubicBezTo>
                    <a:cubicBezTo>
                      <a:pt x="1926" y="1502"/>
                      <a:pt x="1930" y="1502"/>
                      <a:pt x="1939" y="1497"/>
                    </a:cubicBezTo>
                    <a:cubicBezTo>
                      <a:pt x="1948" y="1492"/>
                      <a:pt x="1961" y="1498"/>
                      <a:pt x="1967" y="1489"/>
                    </a:cubicBezTo>
                    <a:cubicBezTo>
                      <a:pt x="1973" y="1480"/>
                      <a:pt x="1986" y="1476"/>
                      <a:pt x="2005" y="1477"/>
                    </a:cubicBezTo>
                    <a:cubicBezTo>
                      <a:pt x="2023" y="1478"/>
                      <a:pt x="2039" y="1480"/>
                      <a:pt x="2045" y="1488"/>
                    </a:cubicBezTo>
                    <a:cubicBezTo>
                      <a:pt x="2051" y="1497"/>
                      <a:pt x="2064" y="1498"/>
                      <a:pt x="2078" y="1495"/>
                    </a:cubicBezTo>
                    <a:cubicBezTo>
                      <a:pt x="2092" y="1493"/>
                      <a:pt x="2101" y="1473"/>
                      <a:pt x="2124" y="1493"/>
                    </a:cubicBezTo>
                    <a:cubicBezTo>
                      <a:pt x="2147" y="1512"/>
                      <a:pt x="2135" y="1489"/>
                      <a:pt x="2146" y="1505"/>
                    </a:cubicBezTo>
                    <a:cubicBezTo>
                      <a:pt x="2158" y="1521"/>
                      <a:pt x="2168" y="1522"/>
                      <a:pt x="2178" y="1521"/>
                    </a:cubicBezTo>
                    <a:cubicBezTo>
                      <a:pt x="2188" y="1521"/>
                      <a:pt x="2193" y="1509"/>
                      <a:pt x="2202" y="1516"/>
                    </a:cubicBezTo>
                    <a:cubicBezTo>
                      <a:pt x="2211" y="1523"/>
                      <a:pt x="2221" y="1528"/>
                      <a:pt x="2222" y="1521"/>
                    </a:cubicBezTo>
                    <a:cubicBezTo>
                      <a:pt x="2223" y="1514"/>
                      <a:pt x="2223" y="1496"/>
                      <a:pt x="2236" y="1506"/>
                    </a:cubicBezTo>
                    <a:cubicBezTo>
                      <a:pt x="2249" y="1515"/>
                      <a:pt x="2248" y="1521"/>
                      <a:pt x="2254" y="1523"/>
                    </a:cubicBezTo>
                    <a:cubicBezTo>
                      <a:pt x="2259" y="1525"/>
                      <a:pt x="2259" y="1543"/>
                      <a:pt x="2266" y="1536"/>
                    </a:cubicBezTo>
                    <a:cubicBezTo>
                      <a:pt x="2273" y="1530"/>
                      <a:pt x="2288" y="1528"/>
                      <a:pt x="2284" y="1519"/>
                    </a:cubicBezTo>
                    <a:cubicBezTo>
                      <a:pt x="2281" y="1511"/>
                      <a:pt x="2283" y="1503"/>
                      <a:pt x="2271" y="1502"/>
                    </a:cubicBezTo>
                    <a:cubicBezTo>
                      <a:pt x="2260" y="1501"/>
                      <a:pt x="2244" y="1496"/>
                      <a:pt x="2248" y="1488"/>
                    </a:cubicBezTo>
                    <a:cubicBezTo>
                      <a:pt x="2252" y="1479"/>
                      <a:pt x="2264" y="1480"/>
                      <a:pt x="2261" y="1470"/>
                    </a:cubicBezTo>
                    <a:cubicBezTo>
                      <a:pt x="2259" y="1461"/>
                      <a:pt x="2250" y="1460"/>
                      <a:pt x="2245" y="1460"/>
                    </a:cubicBezTo>
                    <a:cubicBezTo>
                      <a:pt x="2240" y="1461"/>
                      <a:pt x="2236" y="1449"/>
                      <a:pt x="2248" y="1448"/>
                    </a:cubicBezTo>
                    <a:cubicBezTo>
                      <a:pt x="2259" y="1447"/>
                      <a:pt x="2257" y="1451"/>
                      <a:pt x="2264" y="1442"/>
                    </a:cubicBezTo>
                    <a:cubicBezTo>
                      <a:pt x="2271" y="1434"/>
                      <a:pt x="2281" y="1432"/>
                      <a:pt x="2296" y="1434"/>
                    </a:cubicBezTo>
                    <a:cubicBezTo>
                      <a:pt x="2311" y="1435"/>
                      <a:pt x="2326" y="1431"/>
                      <a:pt x="2330" y="1436"/>
                    </a:cubicBezTo>
                    <a:cubicBezTo>
                      <a:pt x="2335" y="1441"/>
                      <a:pt x="2340" y="1450"/>
                      <a:pt x="2342" y="1437"/>
                    </a:cubicBezTo>
                    <a:cubicBezTo>
                      <a:pt x="2345" y="1425"/>
                      <a:pt x="2352" y="1424"/>
                      <a:pt x="2355" y="1432"/>
                    </a:cubicBezTo>
                    <a:cubicBezTo>
                      <a:pt x="2357" y="1440"/>
                      <a:pt x="2357" y="1445"/>
                      <a:pt x="2370" y="1445"/>
                    </a:cubicBezTo>
                    <a:cubicBezTo>
                      <a:pt x="2383" y="1445"/>
                      <a:pt x="2385" y="1449"/>
                      <a:pt x="2390" y="1440"/>
                    </a:cubicBezTo>
                    <a:cubicBezTo>
                      <a:pt x="2394" y="1432"/>
                      <a:pt x="2397" y="1434"/>
                      <a:pt x="2404" y="1434"/>
                    </a:cubicBezTo>
                    <a:cubicBezTo>
                      <a:pt x="2411" y="1434"/>
                      <a:pt x="2437" y="1438"/>
                      <a:pt x="2454" y="1436"/>
                    </a:cubicBezTo>
                    <a:cubicBezTo>
                      <a:pt x="2471" y="1434"/>
                      <a:pt x="2468" y="1450"/>
                      <a:pt x="2481" y="1450"/>
                    </a:cubicBezTo>
                    <a:cubicBezTo>
                      <a:pt x="2495" y="1450"/>
                      <a:pt x="2509" y="1453"/>
                      <a:pt x="2513" y="1468"/>
                    </a:cubicBezTo>
                    <a:cubicBezTo>
                      <a:pt x="2517" y="1483"/>
                      <a:pt x="2519" y="1489"/>
                      <a:pt x="2523" y="1493"/>
                    </a:cubicBezTo>
                    <a:cubicBezTo>
                      <a:pt x="2527" y="1498"/>
                      <a:pt x="2536" y="1501"/>
                      <a:pt x="2545" y="1491"/>
                    </a:cubicBezTo>
                    <a:cubicBezTo>
                      <a:pt x="2553" y="1481"/>
                      <a:pt x="2554" y="1483"/>
                      <a:pt x="2562" y="1478"/>
                    </a:cubicBezTo>
                    <a:cubicBezTo>
                      <a:pt x="2570" y="1472"/>
                      <a:pt x="2572" y="1465"/>
                      <a:pt x="2587" y="1463"/>
                    </a:cubicBezTo>
                    <a:cubicBezTo>
                      <a:pt x="2601" y="1461"/>
                      <a:pt x="2629" y="1460"/>
                      <a:pt x="2630" y="1473"/>
                    </a:cubicBezTo>
                    <a:cubicBezTo>
                      <a:pt x="2631" y="1485"/>
                      <a:pt x="2636" y="1487"/>
                      <a:pt x="2647" y="1494"/>
                    </a:cubicBezTo>
                    <a:cubicBezTo>
                      <a:pt x="2658" y="1501"/>
                      <a:pt x="2652" y="1513"/>
                      <a:pt x="2666" y="1516"/>
                    </a:cubicBezTo>
                    <a:cubicBezTo>
                      <a:pt x="2679" y="1518"/>
                      <a:pt x="2686" y="1524"/>
                      <a:pt x="2686" y="1538"/>
                    </a:cubicBezTo>
                    <a:cubicBezTo>
                      <a:pt x="2686" y="1553"/>
                      <a:pt x="2694" y="1568"/>
                      <a:pt x="2686" y="1574"/>
                    </a:cubicBezTo>
                    <a:cubicBezTo>
                      <a:pt x="2679" y="1581"/>
                      <a:pt x="2679" y="1580"/>
                      <a:pt x="2679" y="1596"/>
                    </a:cubicBezTo>
                    <a:cubicBezTo>
                      <a:pt x="2680" y="1612"/>
                      <a:pt x="2685" y="1621"/>
                      <a:pt x="2690" y="1621"/>
                    </a:cubicBezTo>
                    <a:cubicBezTo>
                      <a:pt x="2695" y="1621"/>
                      <a:pt x="2696" y="1629"/>
                      <a:pt x="2698" y="1644"/>
                    </a:cubicBezTo>
                    <a:cubicBezTo>
                      <a:pt x="2699" y="1659"/>
                      <a:pt x="2698" y="1671"/>
                      <a:pt x="2709" y="1673"/>
                    </a:cubicBezTo>
                    <a:cubicBezTo>
                      <a:pt x="2721" y="1675"/>
                      <a:pt x="2720" y="1683"/>
                      <a:pt x="2724" y="1690"/>
                    </a:cubicBezTo>
                    <a:cubicBezTo>
                      <a:pt x="2729" y="1697"/>
                      <a:pt x="2738" y="1691"/>
                      <a:pt x="2741" y="1706"/>
                    </a:cubicBezTo>
                    <a:cubicBezTo>
                      <a:pt x="2744" y="1721"/>
                      <a:pt x="2744" y="1737"/>
                      <a:pt x="2752" y="1740"/>
                    </a:cubicBezTo>
                    <a:cubicBezTo>
                      <a:pt x="2761" y="1743"/>
                      <a:pt x="2774" y="1754"/>
                      <a:pt x="2780" y="1767"/>
                    </a:cubicBezTo>
                    <a:cubicBezTo>
                      <a:pt x="2785" y="1780"/>
                      <a:pt x="2792" y="1791"/>
                      <a:pt x="2801" y="1795"/>
                    </a:cubicBezTo>
                    <a:cubicBezTo>
                      <a:pt x="2810" y="1799"/>
                      <a:pt x="2808" y="1785"/>
                      <a:pt x="2822" y="1789"/>
                    </a:cubicBezTo>
                    <a:cubicBezTo>
                      <a:pt x="2835" y="1794"/>
                      <a:pt x="2835" y="1797"/>
                      <a:pt x="2842" y="1780"/>
                    </a:cubicBezTo>
                    <a:cubicBezTo>
                      <a:pt x="2848" y="1763"/>
                      <a:pt x="2846" y="1753"/>
                      <a:pt x="2853" y="1746"/>
                    </a:cubicBezTo>
                    <a:cubicBezTo>
                      <a:pt x="2861" y="1740"/>
                      <a:pt x="2860" y="1722"/>
                      <a:pt x="2860" y="1706"/>
                    </a:cubicBezTo>
                    <a:cubicBezTo>
                      <a:pt x="2860" y="1690"/>
                      <a:pt x="2864" y="1665"/>
                      <a:pt x="2855" y="1656"/>
                    </a:cubicBezTo>
                    <a:cubicBezTo>
                      <a:pt x="2846" y="1647"/>
                      <a:pt x="2838" y="1630"/>
                      <a:pt x="2836" y="1617"/>
                    </a:cubicBezTo>
                    <a:cubicBezTo>
                      <a:pt x="2834" y="1603"/>
                      <a:pt x="2825" y="1592"/>
                      <a:pt x="2825" y="1577"/>
                    </a:cubicBezTo>
                    <a:cubicBezTo>
                      <a:pt x="2825" y="1563"/>
                      <a:pt x="2829" y="1561"/>
                      <a:pt x="2820" y="1548"/>
                    </a:cubicBezTo>
                    <a:cubicBezTo>
                      <a:pt x="2812" y="1535"/>
                      <a:pt x="2801" y="1514"/>
                      <a:pt x="2797" y="1503"/>
                    </a:cubicBezTo>
                    <a:cubicBezTo>
                      <a:pt x="2792" y="1493"/>
                      <a:pt x="2781" y="1496"/>
                      <a:pt x="2782" y="1480"/>
                    </a:cubicBezTo>
                    <a:cubicBezTo>
                      <a:pt x="2784" y="1463"/>
                      <a:pt x="2777" y="1460"/>
                      <a:pt x="2777" y="1447"/>
                    </a:cubicBezTo>
                    <a:cubicBezTo>
                      <a:pt x="2777" y="1434"/>
                      <a:pt x="2776" y="1436"/>
                      <a:pt x="2771" y="1426"/>
                    </a:cubicBezTo>
                    <a:cubicBezTo>
                      <a:pt x="2766" y="1416"/>
                      <a:pt x="2766" y="1405"/>
                      <a:pt x="2766" y="1397"/>
                    </a:cubicBezTo>
                    <a:cubicBezTo>
                      <a:pt x="2766" y="1388"/>
                      <a:pt x="2782" y="1388"/>
                      <a:pt x="2782" y="1367"/>
                    </a:cubicBezTo>
                    <a:cubicBezTo>
                      <a:pt x="2782" y="1346"/>
                      <a:pt x="2787" y="1338"/>
                      <a:pt x="2797" y="1330"/>
                    </a:cubicBezTo>
                    <a:cubicBezTo>
                      <a:pt x="2808" y="1322"/>
                      <a:pt x="2807" y="1306"/>
                      <a:pt x="2821" y="1301"/>
                    </a:cubicBezTo>
                    <a:cubicBezTo>
                      <a:pt x="2835" y="1297"/>
                      <a:pt x="2832" y="1286"/>
                      <a:pt x="2845" y="1285"/>
                    </a:cubicBezTo>
                    <a:cubicBezTo>
                      <a:pt x="2858" y="1284"/>
                      <a:pt x="2861" y="1278"/>
                      <a:pt x="2863" y="1270"/>
                    </a:cubicBezTo>
                    <a:cubicBezTo>
                      <a:pt x="2866" y="1261"/>
                      <a:pt x="2897" y="1260"/>
                      <a:pt x="2899" y="1249"/>
                    </a:cubicBezTo>
                    <a:cubicBezTo>
                      <a:pt x="2901" y="1238"/>
                      <a:pt x="2905" y="1225"/>
                      <a:pt x="2920" y="1211"/>
                    </a:cubicBezTo>
                    <a:cubicBezTo>
                      <a:pt x="2935" y="1197"/>
                      <a:pt x="2943" y="1189"/>
                      <a:pt x="2960" y="1187"/>
                    </a:cubicBezTo>
                    <a:cubicBezTo>
                      <a:pt x="2977" y="1185"/>
                      <a:pt x="2999" y="1185"/>
                      <a:pt x="2999" y="1172"/>
                    </a:cubicBezTo>
                    <a:cubicBezTo>
                      <a:pt x="2999" y="1159"/>
                      <a:pt x="3012" y="1159"/>
                      <a:pt x="3019" y="1147"/>
                    </a:cubicBezTo>
                    <a:cubicBezTo>
                      <a:pt x="3026" y="1136"/>
                      <a:pt x="3035" y="1131"/>
                      <a:pt x="3053" y="1130"/>
                    </a:cubicBezTo>
                    <a:cubicBezTo>
                      <a:pt x="3070" y="1129"/>
                      <a:pt x="3089" y="1131"/>
                      <a:pt x="3093" y="1123"/>
                    </a:cubicBezTo>
                    <a:cubicBezTo>
                      <a:pt x="3098" y="1114"/>
                      <a:pt x="3098" y="1098"/>
                      <a:pt x="3091" y="1099"/>
                    </a:cubicBezTo>
                    <a:cubicBezTo>
                      <a:pt x="3083" y="1101"/>
                      <a:pt x="3077" y="1104"/>
                      <a:pt x="3075" y="1092"/>
                    </a:cubicBezTo>
                    <a:cubicBezTo>
                      <a:pt x="3073" y="1080"/>
                      <a:pt x="3065" y="1076"/>
                      <a:pt x="3076" y="1071"/>
                    </a:cubicBezTo>
                    <a:cubicBezTo>
                      <a:pt x="3086" y="1067"/>
                      <a:pt x="3078" y="1083"/>
                      <a:pt x="3091" y="1080"/>
                    </a:cubicBezTo>
                    <a:cubicBezTo>
                      <a:pt x="3103" y="1076"/>
                      <a:pt x="3116" y="1079"/>
                      <a:pt x="3121" y="1073"/>
                    </a:cubicBezTo>
                    <a:cubicBezTo>
                      <a:pt x="3125" y="1068"/>
                      <a:pt x="3132" y="1069"/>
                      <a:pt x="3129" y="1058"/>
                    </a:cubicBezTo>
                    <a:cubicBezTo>
                      <a:pt x="3126" y="1046"/>
                      <a:pt x="3130" y="1033"/>
                      <a:pt x="3116" y="1035"/>
                    </a:cubicBezTo>
                    <a:cubicBezTo>
                      <a:pt x="3101" y="1036"/>
                      <a:pt x="3089" y="1043"/>
                      <a:pt x="3094" y="1030"/>
                    </a:cubicBezTo>
                    <a:cubicBezTo>
                      <a:pt x="3099" y="1018"/>
                      <a:pt x="3103" y="1020"/>
                      <a:pt x="3110" y="1020"/>
                    </a:cubicBezTo>
                    <a:cubicBezTo>
                      <a:pt x="3117" y="1020"/>
                      <a:pt x="3124" y="1017"/>
                      <a:pt x="3127" y="1025"/>
                    </a:cubicBezTo>
                    <a:cubicBezTo>
                      <a:pt x="3130" y="1032"/>
                      <a:pt x="3139" y="1030"/>
                      <a:pt x="3139" y="1025"/>
                    </a:cubicBezTo>
                    <a:cubicBezTo>
                      <a:pt x="3140" y="1019"/>
                      <a:pt x="3132" y="1017"/>
                      <a:pt x="3131" y="1007"/>
                    </a:cubicBezTo>
                    <a:cubicBezTo>
                      <a:pt x="3131" y="996"/>
                      <a:pt x="3122" y="993"/>
                      <a:pt x="3122" y="982"/>
                    </a:cubicBezTo>
                    <a:cubicBezTo>
                      <a:pt x="3122" y="972"/>
                      <a:pt x="3119" y="965"/>
                      <a:pt x="3110" y="962"/>
                    </a:cubicBezTo>
                    <a:cubicBezTo>
                      <a:pt x="3101" y="959"/>
                      <a:pt x="3087" y="959"/>
                      <a:pt x="3077" y="954"/>
                    </a:cubicBezTo>
                    <a:cubicBezTo>
                      <a:pt x="3067" y="948"/>
                      <a:pt x="3057" y="938"/>
                      <a:pt x="3071" y="938"/>
                    </a:cubicBezTo>
                    <a:cubicBezTo>
                      <a:pt x="3084" y="938"/>
                      <a:pt x="3092" y="942"/>
                      <a:pt x="3094" y="932"/>
                    </a:cubicBezTo>
                    <a:cubicBezTo>
                      <a:pt x="3096" y="923"/>
                      <a:pt x="3098" y="921"/>
                      <a:pt x="3089" y="912"/>
                    </a:cubicBezTo>
                    <a:cubicBezTo>
                      <a:pt x="3081" y="904"/>
                      <a:pt x="3079" y="899"/>
                      <a:pt x="3070" y="893"/>
                    </a:cubicBezTo>
                    <a:cubicBezTo>
                      <a:pt x="3061" y="886"/>
                      <a:pt x="3050" y="868"/>
                      <a:pt x="3061" y="873"/>
                    </a:cubicBezTo>
                    <a:cubicBezTo>
                      <a:pt x="3073" y="879"/>
                      <a:pt x="3072" y="886"/>
                      <a:pt x="3079" y="891"/>
                    </a:cubicBezTo>
                    <a:cubicBezTo>
                      <a:pt x="3086" y="897"/>
                      <a:pt x="3096" y="902"/>
                      <a:pt x="3096" y="893"/>
                    </a:cubicBezTo>
                    <a:cubicBezTo>
                      <a:pt x="3096" y="885"/>
                      <a:pt x="3084" y="878"/>
                      <a:pt x="3084" y="866"/>
                    </a:cubicBezTo>
                    <a:cubicBezTo>
                      <a:pt x="3084" y="853"/>
                      <a:pt x="3077" y="846"/>
                      <a:pt x="3078" y="830"/>
                    </a:cubicBezTo>
                    <a:cubicBezTo>
                      <a:pt x="3078" y="815"/>
                      <a:pt x="3078" y="811"/>
                      <a:pt x="3089" y="810"/>
                    </a:cubicBezTo>
                    <a:cubicBezTo>
                      <a:pt x="3100" y="810"/>
                      <a:pt x="3101" y="813"/>
                      <a:pt x="3101" y="826"/>
                    </a:cubicBezTo>
                    <a:cubicBezTo>
                      <a:pt x="3100" y="839"/>
                      <a:pt x="3090" y="854"/>
                      <a:pt x="3099" y="858"/>
                    </a:cubicBezTo>
                    <a:cubicBezTo>
                      <a:pt x="3109" y="861"/>
                      <a:pt x="3119" y="864"/>
                      <a:pt x="3118" y="877"/>
                    </a:cubicBezTo>
                    <a:cubicBezTo>
                      <a:pt x="3116" y="890"/>
                      <a:pt x="3127" y="885"/>
                      <a:pt x="3126" y="897"/>
                    </a:cubicBezTo>
                    <a:cubicBezTo>
                      <a:pt x="3124" y="909"/>
                      <a:pt x="3105" y="934"/>
                      <a:pt x="3111" y="941"/>
                    </a:cubicBezTo>
                    <a:cubicBezTo>
                      <a:pt x="3118" y="947"/>
                      <a:pt x="3123" y="951"/>
                      <a:pt x="3126" y="939"/>
                    </a:cubicBezTo>
                    <a:cubicBezTo>
                      <a:pt x="3129" y="926"/>
                      <a:pt x="3138" y="924"/>
                      <a:pt x="3142" y="911"/>
                    </a:cubicBezTo>
                    <a:cubicBezTo>
                      <a:pt x="3147" y="897"/>
                      <a:pt x="3163" y="897"/>
                      <a:pt x="3163" y="883"/>
                    </a:cubicBezTo>
                    <a:cubicBezTo>
                      <a:pt x="3163" y="870"/>
                      <a:pt x="3166" y="871"/>
                      <a:pt x="3174" y="858"/>
                    </a:cubicBezTo>
                    <a:cubicBezTo>
                      <a:pt x="3183" y="844"/>
                      <a:pt x="3187" y="838"/>
                      <a:pt x="3177" y="829"/>
                    </a:cubicBezTo>
                    <a:cubicBezTo>
                      <a:pt x="3166" y="820"/>
                      <a:pt x="3150" y="808"/>
                      <a:pt x="3149" y="797"/>
                    </a:cubicBezTo>
                    <a:cubicBezTo>
                      <a:pt x="3147" y="787"/>
                      <a:pt x="3134" y="777"/>
                      <a:pt x="3141" y="764"/>
                    </a:cubicBezTo>
                    <a:cubicBezTo>
                      <a:pt x="3147" y="752"/>
                      <a:pt x="3155" y="752"/>
                      <a:pt x="3155" y="764"/>
                    </a:cubicBezTo>
                    <a:cubicBezTo>
                      <a:pt x="3155" y="775"/>
                      <a:pt x="3151" y="785"/>
                      <a:pt x="3158" y="790"/>
                    </a:cubicBezTo>
                    <a:cubicBezTo>
                      <a:pt x="3165" y="794"/>
                      <a:pt x="3177" y="794"/>
                      <a:pt x="3181" y="805"/>
                    </a:cubicBezTo>
                    <a:cubicBezTo>
                      <a:pt x="3184" y="815"/>
                      <a:pt x="3197" y="818"/>
                      <a:pt x="3200" y="801"/>
                    </a:cubicBezTo>
                    <a:cubicBezTo>
                      <a:pt x="3202" y="785"/>
                      <a:pt x="3213" y="788"/>
                      <a:pt x="3220" y="780"/>
                    </a:cubicBezTo>
                    <a:cubicBezTo>
                      <a:pt x="3227" y="772"/>
                      <a:pt x="3230" y="767"/>
                      <a:pt x="3233" y="754"/>
                    </a:cubicBezTo>
                    <a:cubicBezTo>
                      <a:pt x="3236" y="742"/>
                      <a:pt x="3242" y="737"/>
                      <a:pt x="3242" y="725"/>
                    </a:cubicBezTo>
                    <a:cubicBezTo>
                      <a:pt x="3242" y="713"/>
                      <a:pt x="3243" y="709"/>
                      <a:pt x="3238" y="702"/>
                    </a:cubicBezTo>
                    <a:cubicBezTo>
                      <a:pt x="3233" y="696"/>
                      <a:pt x="3241" y="688"/>
                      <a:pt x="3255" y="689"/>
                    </a:cubicBezTo>
                    <a:cubicBezTo>
                      <a:pt x="3270" y="691"/>
                      <a:pt x="3283" y="685"/>
                      <a:pt x="3301" y="683"/>
                    </a:cubicBezTo>
                    <a:cubicBezTo>
                      <a:pt x="3319" y="681"/>
                      <a:pt x="3316" y="672"/>
                      <a:pt x="3331" y="671"/>
                    </a:cubicBezTo>
                    <a:cubicBezTo>
                      <a:pt x="3347" y="671"/>
                      <a:pt x="3344" y="666"/>
                      <a:pt x="3355" y="664"/>
                    </a:cubicBezTo>
                    <a:cubicBezTo>
                      <a:pt x="3367" y="662"/>
                      <a:pt x="3383" y="653"/>
                      <a:pt x="3372" y="653"/>
                    </a:cubicBezTo>
                    <a:cubicBezTo>
                      <a:pt x="3362" y="653"/>
                      <a:pt x="3343" y="651"/>
                      <a:pt x="3332" y="655"/>
                    </a:cubicBezTo>
                    <a:cubicBezTo>
                      <a:pt x="3321" y="658"/>
                      <a:pt x="3313" y="662"/>
                      <a:pt x="3298" y="661"/>
                    </a:cubicBezTo>
                    <a:cubicBezTo>
                      <a:pt x="3283" y="661"/>
                      <a:pt x="3276" y="650"/>
                      <a:pt x="3288" y="649"/>
                    </a:cubicBezTo>
                    <a:cubicBezTo>
                      <a:pt x="3300" y="648"/>
                      <a:pt x="3296" y="656"/>
                      <a:pt x="3306" y="645"/>
                    </a:cubicBezTo>
                    <a:cubicBezTo>
                      <a:pt x="3315" y="634"/>
                      <a:pt x="3323" y="638"/>
                      <a:pt x="3338" y="638"/>
                    </a:cubicBezTo>
                    <a:cubicBezTo>
                      <a:pt x="3353" y="637"/>
                      <a:pt x="3367" y="639"/>
                      <a:pt x="3372" y="634"/>
                    </a:cubicBezTo>
                    <a:cubicBezTo>
                      <a:pt x="3377" y="629"/>
                      <a:pt x="3395" y="631"/>
                      <a:pt x="3398" y="629"/>
                    </a:cubicBezTo>
                    <a:cubicBezTo>
                      <a:pt x="3401" y="627"/>
                      <a:pt x="3410" y="613"/>
                      <a:pt x="3416" y="622"/>
                    </a:cubicBezTo>
                    <a:cubicBezTo>
                      <a:pt x="3422" y="630"/>
                      <a:pt x="3430" y="628"/>
                      <a:pt x="3432" y="623"/>
                    </a:cubicBezTo>
                    <a:cubicBezTo>
                      <a:pt x="3435" y="619"/>
                      <a:pt x="3448" y="622"/>
                      <a:pt x="3448" y="628"/>
                    </a:cubicBezTo>
                    <a:cubicBezTo>
                      <a:pt x="3448" y="633"/>
                      <a:pt x="3457" y="638"/>
                      <a:pt x="3461" y="628"/>
                    </a:cubicBezTo>
                    <a:cubicBezTo>
                      <a:pt x="3465" y="619"/>
                      <a:pt x="3470" y="620"/>
                      <a:pt x="3477" y="617"/>
                    </a:cubicBezTo>
                    <a:cubicBezTo>
                      <a:pt x="3484" y="614"/>
                      <a:pt x="3502" y="612"/>
                      <a:pt x="3497" y="600"/>
                    </a:cubicBezTo>
                    <a:cubicBezTo>
                      <a:pt x="3492" y="589"/>
                      <a:pt x="3497" y="585"/>
                      <a:pt x="3490" y="579"/>
                    </a:cubicBezTo>
                    <a:cubicBezTo>
                      <a:pt x="3483" y="572"/>
                      <a:pt x="3460" y="569"/>
                      <a:pt x="3472" y="578"/>
                    </a:cubicBezTo>
                    <a:cubicBezTo>
                      <a:pt x="3484" y="587"/>
                      <a:pt x="3491" y="592"/>
                      <a:pt x="3485" y="599"/>
                    </a:cubicBezTo>
                    <a:cubicBezTo>
                      <a:pt x="3479" y="606"/>
                      <a:pt x="3473" y="613"/>
                      <a:pt x="3465" y="598"/>
                    </a:cubicBezTo>
                    <a:cubicBezTo>
                      <a:pt x="3458" y="584"/>
                      <a:pt x="3461" y="574"/>
                      <a:pt x="3449" y="568"/>
                    </a:cubicBezTo>
                    <a:cubicBezTo>
                      <a:pt x="3437" y="562"/>
                      <a:pt x="3431" y="557"/>
                      <a:pt x="3441" y="548"/>
                    </a:cubicBezTo>
                    <a:cubicBezTo>
                      <a:pt x="3451" y="539"/>
                      <a:pt x="3458" y="539"/>
                      <a:pt x="3448" y="528"/>
                    </a:cubicBezTo>
                    <a:cubicBezTo>
                      <a:pt x="3439" y="517"/>
                      <a:pt x="3442" y="512"/>
                      <a:pt x="3454" y="499"/>
                    </a:cubicBezTo>
                    <a:cubicBezTo>
                      <a:pt x="3466" y="485"/>
                      <a:pt x="3473" y="456"/>
                      <a:pt x="3488" y="456"/>
                    </a:cubicBezTo>
                    <a:cubicBezTo>
                      <a:pt x="3502" y="456"/>
                      <a:pt x="3510" y="456"/>
                      <a:pt x="3516" y="448"/>
                    </a:cubicBezTo>
                    <a:cubicBezTo>
                      <a:pt x="3521" y="440"/>
                      <a:pt x="3525" y="436"/>
                      <a:pt x="3535" y="435"/>
                    </a:cubicBezTo>
                    <a:cubicBezTo>
                      <a:pt x="3545" y="433"/>
                      <a:pt x="3554" y="430"/>
                      <a:pt x="3555" y="420"/>
                    </a:cubicBezTo>
                    <a:cubicBezTo>
                      <a:pt x="3556" y="411"/>
                      <a:pt x="3554" y="392"/>
                      <a:pt x="3564" y="393"/>
                    </a:cubicBezTo>
                    <a:cubicBezTo>
                      <a:pt x="3574" y="395"/>
                      <a:pt x="3565" y="407"/>
                      <a:pt x="3576" y="408"/>
                    </a:cubicBezTo>
                    <a:cubicBezTo>
                      <a:pt x="3587" y="408"/>
                      <a:pt x="3605" y="416"/>
                      <a:pt x="3609" y="404"/>
                    </a:cubicBezTo>
                    <a:cubicBezTo>
                      <a:pt x="3612" y="392"/>
                      <a:pt x="3616" y="393"/>
                      <a:pt x="3625" y="393"/>
                    </a:cubicBezTo>
                    <a:cubicBezTo>
                      <a:pt x="3635" y="393"/>
                      <a:pt x="3646" y="393"/>
                      <a:pt x="3650" y="385"/>
                    </a:cubicBezTo>
                    <a:cubicBezTo>
                      <a:pt x="3655" y="377"/>
                      <a:pt x="3652" y="380"/>
                      <a:pt x="3667" y="384"/>
                    </a:cubicBezTo>
                    <a:cubicBezTo>
                      <a:pt x="3675" y="386"/>
                      <a:pt x="3681" y="386"/>
                      <a:pt x="3686" y="385"/>
                    </a:cubicBezTo>
                    <a:cubicBezTo>
                      <a:pt x="3686" y="368"/>
                      <a:pt x="3680" y="356"/>
                      <a:pt x="3678" y="350"/>
                    </a:cubicBezTo>
                    <a:cubicBezTo>
                      <a:pt x="3677" y="343"/>
                      <a:pt x="3670" y="337"/>
                      <a:pt x="3664" y="33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5" name="Freeform 359">
                <a:extLst>
                  <a:ext uri="{FF2B5EF4-FFF2-40B4-BE49-F238E27FC236}">
                    <a16:creationId xmlns:a16="http://schemas.microsoft.com/office/drawing/2014/main" id="{829B6DCB-B1A2-FC4B-BFCA-D440F8FA9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" y="1580"/>
                <a:ext cx="5" cy="10"/>
              </a:xfrm>
              <a:custGeom>
                <a:avLst/>
                <a:gdLst>
                  <a:gd name="T0" fmla="*/ 12 w 21"/>
                  <a:gd name="T1" fmla="*/ 9 h 40"/>
                  <a:gd name="T2" fmla="*/ 6 w 21"/>
                  <a:gd name="T3" fmla="*/ 20 h 40"/>
                  <a:gd name="T4" fmla="*/ 3 w 21"/>
                  <a:gd name="T5" fmla="*/ 32 h 40"/>
                  <a:gd name="T6" fmla="*/ 12 w 21"/>
                  <a:gd name="T7" fmla="*/ 33 h 40"/>
                  <a:gd name="T8" fmla="*/ 21 w 21"/>
                  <a:gd name="T9" fmla="*/ 16 h 40"/>
                  <a:gd name="T10" fmla="*/ 12 w 21"/>
                  <a:gd name="T11" fmla="*/ 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40">
                    <a:moveTo>
                      <a:pt x="12" y="9"/>
                    </a:moveTo>
                    <a:cubicBezTo>
                      <a:pt x="12" y="9"/>
                      <a:pt x="12" y="17"/>
                      <a:pt x="6" y="20"/>
                    </a:cubicBezTo>
                    <a:cubicBezTo>
                      <a:pt x="0" y="24"/>
                      <a:pt x="2" y="24"/>
                      <a:pt x="3" y="32"/>
                    </a:cubicBezTo>
                    <a:cubicBezTo>
                      <a:pt x="5" y="40"/>
                      <a:pt x="12" y="39"/>
                      <a:pt x="12" y="33"/>
                    </a:cubicBezTo>
                    <a:cubicBezTo>
                      <a:pt x="12" y="27"/>
                      <a:pt x="21" y="27"/>
                      <a:pt x="21" y="16"/>
                    </a:cubicBezTo>
                    <a:cubicBezTo>
                      <a:pt x="21" y="6"/>
                      <a:pt x="11" y="0"/>
                      <a:pt x="12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6" name="Freeform 360">
                <a:extLst>
                  <a:ext uri="{FF2B5EF4-FFF2-40B4-BE49-F238E27FC236}">
                    <a16:creationId xmlns:a16="http://schemas.microsoft.com/office/drawing/2014/main" id="{EBF8A8A3-40EE-FB44-8C98-C43A296F9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" y="1579"/>
                <a:ext cx="2" cy="10"/>
              </a:xfrm>
              <a:custGeom>
                <a:avLst/>
                <a:gdLst>
                  <a:gd name="T0" fmla="*/ 8 w 8"/>
                  <a:gd name="T1" fmla="*/ 28 h 43"/>
                  <a:gd name="T2" fmla="*/ 1 w 8"/>
                  <a:gd name="T3" fmla="*/ 11 h 43"/>
                  <a:gd name="T4" fmla="*/ 0 w 8"/>
                  <a:gd name="T5" fmla="*/ 34 h 43"/>
                  <a:gd name="T6" fmla="*/ 8 w 8"/>
                  <a:gd name="T7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3">
                    <a:moveTo>
                      <a:pt x="8" y="28"/>
                    </a:moveTo>
                    <a:cubicBezTo>
                      <a:pt x="8" y="13"/>
                      <a:pt x="3" y="0"/>
                      <a:pt x="1" y="11"/>
                    </a:cubicBezTo>
                    <a:cubicBezTo>
                      <a:pt x="1" y="13"/>
                      <a:pt x="0" y="25"/>
                      <a:pt x="0" y="34"/>
                    </a:cubicBezTo>
                    <a:cubicBezTo>
                      <a:pt x="0" y="42"/>
                      <a:pt x="8" y="43"/>
                      <a:pt x="8" y="2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7" name="Freeform 361">
                <a:extLst>
                  <a:ext uri="{FF2B5EF4-FFF2-40B4-BE49-F238E27FC236}">
                    <a16:creationId xmlns:a16="http://schemas.microsoft.com/office/drawing/2014/main" id="{1C24A7E8-AE74-8C41-9624-C3B1FB524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" y="1594"/>
                <a:ext cx="9" cy="9"/>
              </a:xfrm>
              <a:custGeom>
                <a:avLst/>
                <a:gdLst>
                  <a:gd name="T0" fmla="*/ 20 w 38"/>
                  <a:gd name="T1" fmla="*/ 17 h 35"/>
                  <a:gd name="T2" fmla="*/ 12 w 38"/>
                  <a:gd name="T3" fmla="*/ 6 h 35"/>
                  <a:gd name="T4" fmla="*/ 0 w 38"/>
                  <a:gd name="T5" fmla="*/ 5 h 35"/>
                  <a:gd name="T6" fmla="*/ 10 w 38"/>
                  <a:gd name="T7" fmla="*/ 17 h 35"/>
                  <a:gd name="T8" fmla="*/ 20 w 38"/>
                  <a:gd name="T9" fmla="*/ 29 h 35"/>
                  <a:gd name="T10" fmla="*/ 35 w 38"/>
                  <a:gd name="T11" fmla="*/ 27 h 35"/>
                  <a:gd name="T12" fmla="*/ 20 w 38"/>
                  <a:gd name="T1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35">
                    <a:moveTo>
                      <a:pt x="20" y="17"/>
                    </a:moveTo>
                    <a:cubicBezTo>
                      <a:pt x="19" y="13"/>
                      <a:pt x="19" y="7"/>
                      <a:pt x="12" y="6"/>
                    </a:cubicBezTo>
                    <a:cubicBezTo>
                      <a:pt x="12" y="6"/>
                      <a:pt x="0" y="0"/>
                      <a:pt x="0" y="5"/>
                    </a:cubicBezTo>
                    <a:cubicBezTo>
                      <a:pt x="1" y="11"/>
                      <a:pt x="10" y="9"/>
                      <a:pt x="10" y="17"/>
                    </a:cubicBezTo>
                    <a:cubicBezTo>
                      <a:pt x="10" y="25"/>
                      <a:pt x="14" y="29"/>
                      <a:pt x="20" y="29"/>
                    </a:cubicBezTo>
                    <a:cubicBezTo>
                      <a:pt x="27" y="29"/>
                      <a:pt x="38" y="35"/>
                      <a:pt x="35" y="27"/>
                    </a:cubicBezTo>
                    <a:cubicBezTo>
                      <a:pt x="31" y="18"/>
                      <a:pt x="22" y="20"/>
                      <a:pt x="20" y="1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8" name="Freeform 362">
                <a:extLst>
                  <a:ext uri="{FF2B5EF4-FFF2-40B4-BE49-F238E27FC236}">
                    <a16:creationId xmlns:a16="http://schemas.microsoft.com/office/drawing/2014/main" id="{19691A54-A9EA-D844-AC39-4CE957192C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" y="1548"/>
                <a:ext cx="7" cy="5"/>
              </a:xfrm>
              <a:custGeom>
                <a:avLst/>
                <a:gdLst>
                  <a:gd name="T0" fmla="*/ 16 w 26"/>
                  <a:gd name="T1" fmla="*/ 5 h 20"/>
                  <a:gd name="T2" fmla="*/ 5 w 26"/>
                  <a:gd name="T3" fmla="*/ 8 h 20"/>
                  <a:gd name="T4" fmla="*/ 7 w 26"/>
                  <a:gd name="T5" fmla="*/ 18 h 20"/>
                  <a:gd name="T6" fmla="*/ 16 w 26"/>
                  <a:gd name="T7" fmla="*/ 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20">
                    <a:moveTo>
                      <a:pt x="16" y="5"/>
                    </a:moveTo>
                    <a:cubicBezTo>
                      <a:pt x="16" y="5"/>
                      <a:pt x="9" y="0"/>
                      <a:pt x="5" y="8"/>
                    </a:cubicBezTo>
                    <a:cubicBezTo>
                      <a:pt x="1" y="16"/>
                      <a:pt x="0" y="17"/>
                      <a:pt x="7" y="18"/>
                    </a:cubicBezTo>
                    <a:cubicBezTo>
                      <a:pt x="15" y="20"/>
                      <a:pt x="26" y="2"/>
                      <a:pt x="16" y="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09" name="Freeform 363">
                <a:extLst>
                  <a:ext uri="{FF2B5EF4-FFF2-40B4-BE49-F238E27FC236}">
                    <a16:creationId xmlns:a16="http://schemas.microsoft.com/office/drawing/2014/main" id="{2E0FA3B2-77F3-4B44-B302-955A3DC35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" y="1563"/>
                <a:ext cx="6" cy="6"/>
              </a:xfrm>
              <a:custGeom>
                <a:avLst/>
                <a:gdLst>
                  <a:gd name="T0" fmla="*/ 11 w 23"/>
                  <a:gd name="T1" fmla="*/ 24 h 25"/>
                  <a:gd name="T2" fmla="*/ 16 w 23"/>
                  <a:gd name="T3" fmla="*/ 17 h 25"/>
                  <a:gd name="T4" fmla="*/ 9 w 23"/>
                  <a:gd name="T5" fmla="*/ 9 h 25"/>
                  <a:gd name="T6" fmla="*/ 11 w 23"/>
                  <a:gd name="T7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5">
                    <a:moveTo>
                      <a:pt x="11" y="24"/>
                    </a:moveTo>
                    <a:cubicBezTo>
                      <a:pt x="23" y="25"/>
                      <a:pt x="17" y="23"/>
                      <a:pt x="16" y="17"/>
                    </a:cubicBezTo>
                    <a:cubicBezTo>
                      <a:pt x="16" y="12"/>
                      <a:pt x="13" y="0"/>
                      <a:pt x="9" y="9"/>
                    </a:cubicBezTo>
                    <a:cubicBezTo>
                      <a:pt x="9" y="9"/>
                      <a:pt x="0" y="23"/>
                      <a:pt x="11" y="2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0" name="Freeform 364">
                <a:extLst>
                  <a:ext uri="{FF2B5EF4-FFF2-40B4-BE49-F238E27FC236}">
                    <a16:creationId xmlns:a16="http://schemas.microsoft.com/office/drawing/2014/main" id="{459F5B83-B7E9-364C-82F9-6004313BB4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" y="1550"/>
                <a:ext cx="7" cy="4"/>
              </a:xfrm>
              <a:custGeom>
                <a:avLst/>
                <a:gdLst>
                  <a:gd name="T0" fmla="*/ 14 w 27"/>
                  <a:gd name="T1" fmla="*/ 0 h 16"/>
                  <a:gd name="T2" fmla="*/ 5 w 27"/>
                  <a:gd name="T3" fmla="*/ 10 h 16"/>
                  <a:gd name="T4" fmla="*/ 14 w 27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16">
                    <a:moveTo>
                      <a:pt x="14" y="0"/>
                    </a:moveTo>
                    <a:cubicBezTo>
                      <a:pt x="14" y="0"/>
                      <a:pt x="0" y="3"/>
                      <a:pt x="5" y="10"/>
                    </a:cubicBezTo>
                    <a:cubicBezTo>
                      <a:pt x="11" y="16"/>
                      <a:pt x="27" y="7"/>
                      <a:pt x="14" y="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1" name="Freeform 365">
                <a:extLst>
                  <a:ext uri="{FF2B5EF4-FFF2-40B4-BE49-F238E27FC236}">
                    <a16:creationId xmlns:a16="http://schemas.microsoft.com/office/drawing/2014/main" id="{BBFF18D9-BE07-1046-A598-E5CB66A58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" y="1548"/>
                <a:ext cx="6" cy="6"/>
              </a:xfrm>
              <a:custGeom>
                <a:avLst/>
                <a:gdLst>
                  <a:gd name="T0" fmla="*/ 13 w 23"/>
                  <a:gd name="T1" fmla="*/ 11 h 23"/>
                  <a:gd name="T2" fmla="*/ 9 w 23"/>
                  <a:gd name="T3" fmla="*/ 3 h 23"/>
                  <a:gd name="T4" fmla="*/ 2 w 23"/>
                  <a:gd name="T5" fmla="*/ 11 h 23"/>
                  <a:gd name="T6" fmla="*/ 10 w 23"/>
                  <a:gd name="T7" fmla="*/ 20 h 23"/>
                  <a:gd name="T8" fmla="*/ 22 w 23"/>
                  <a:gd name="T9" fmla="*/ 19 h 23"/>
                  <a:gd name="T10" fmla="*/ 13 w 23"/>
                  <a:gd name="T11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3">
                    <a:moveTo>
                      <a:pt x="13" y="11"/>
                    </a:moveTo>
                    <a:cubicBezTo>
                      <a:pt x="13" y="6"/>
                      <a:pt x="15" y="0"/>
                      <a:pt x="9" y="3"/>
                    </a:cubicBezTo>
                    <a:cubicBezTo>
                      <a:pt x="9" y="3"/>
                      <a:pt x="0" y="4"/>
                      <a:pt x="2" y="11"/>
                    </a:cubicBezTo>
                    <a:cubicBezTo>
                      <a:pt x="4" y="18"/>
                      <a:pt x="4" y="18"/>
                      <a:pt x="10" y="20"/>
                    </a:cubicBezTo>
                    <a:cubicBezTo>
                      <a:pt x="16" y="21"/>
                      <a:pt x="23" y="23"/>
                      <a:pt x="22" y="19"/>
                    </a:cubicBezTo>
                    <a:cubicBezTo>
                      <a:pt x="22" y="15"/>
                      <a:pt x="14" y="15"/>
                      <a:pt x="13" y="1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2" name="Freeform 366">
                <a:extLst>
                  <a:ext uri="{FF2B5EF4-FFF2-40B4-BE49-F238E27FC236}">
                    <a16:creationId xmlns:a16="http://schemas.microsoft.com/office/drawing/2014/main" id="{E8B048D2-146A-364E-8F3D-7FF90CA8F0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" y="1495"/>
                <a:ext cx="3" cy="2"/>
              </a:xfrm>
              <a:custGeom>
                <a:avLst/>
                <a:gdLst>
                  <a:gd name="T0" fmla="*/ 3 w 12"/>
                  <a:gd name="T1" fmla="*/ 3 h 9"/>
                  <a:gd name="T2" fmla="*/ 4 w 12"/>
                  <a:gd name="T3" fmla="*/ 9 h 9"/>
                  <a:gd name="T4" fmla="*/ 12 w 12"/>
                  <a:gd name="T5" fmla="*/ 5 h 9"/>
                  <a:gd name="T6" fmla="*/ 8 w 12"/>
                  <a:gd name="T7" fmla="*/ 1 h 9"/>
                  <a:gd name="T8" fmla="*/ 3 w 12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3" y="3"/>
                    </a:moveTo>
                    <a:cubicBezTo>
                      <a:pt x="2" y="5"/>
                      <a:pt x="0" y="8"/>
                      <a:pt x="4" y="9"/>
                    </a:cubicBezTo>
                    <a:cubicBezTo>
                      <a:pt x="8" y="9"/>
                      <a:pt x="11" y="8"/>
                      <a:pt x="12" y="5"/>
                    </a:cubicBezTo>
                    <a:cubicBezTo>
                      <a:pt x="12" y="2"/>
                      <a:pt x="11" y="1"/>
                      <a:pt x="8" y="1"/>
                    </a:cubicBezTo>
                    <a:cubicBezTo>
                      <a:pt x="8" y="1"/>
                      <a:pt x="4" y="0"/>
                      <a:pt x="3" y="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3" name="Freeform 367">
                <a:extLst>
                  <a:ext uri="{FF2B5EF4-FFF2-40B4-BE49-F238E27FC236}">
                    <a16:creationId xmlns:a16="http://schemas.microsoft.com/office/drawing/2014/main" id="{C6ED70FA-572B-4447-9CC7-12E9D0E2F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" y="1456"/>
                <a:ext cx="6" cy="8"/>
              </a:xfrm>
              <a:custGeom>
                <a:avLst/>
                <a:gdLst>
                  <a:gd name="T0" fmla="*/ 13 w 26"/>
                  <a:gd name="T1" fmla="*/ 29 h 31"/>
                  <a:gd name="T2" fmla="*/ 20 w 26"/>
                  <a:gd name="T3" fmla="*/ 20 h 31"/>
                  <a:gd name="T4" fmla="*/ 24 w 26"/>
                  <a:gd name="T5" fmla="*/ 11 h 31"/>
                  <a:gd name="T6" fmla="*/ 14 w 26"/>
                  <a:gd name="T7" fmla="*/ 4 h 31"/>
                  <a:gd name="T8" fmla="*/ 11 w 26"/>
                  <a:gd name="T9" fmla="*/ 12 h 31"/>
                  <a:gd name="T10" fmla="*/ 7 w 26"/>
                  <a:gd name="T11" fmla="*/ 21 h 31"/>
                  <a:gd name="T12" fmla="*/ 3 w 26"/>
                  <a:gd name="T13" fmla="*/ 28 h 31"/>
                  <a:gd name="T14" fmla="*/ 13 w 26"/>
                  <a:gd name="T1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1">
                    <a:moveTo>
                      <a:pt x="13" y="29"/>
                    </a:moveTo>
                    <a:cubicBezTo>
                      <a:pt x="17" y="28"/>
                      <a:pt x="20" y="26"/>
                      <a:pt x="20" y="20"/>
                    </a:cubicBezTo>
                    <a:cubicBezTo>
                      <a:pt x="20" y="14"/>
                      <a:pt x="22" y="15"/>
                      <a:pt x="24" y="11"/>
                    </a:cubicBezTo>
                    <a:cubicBezTo>
                      <a:pt x="26" y="8"/>
                      <a:pt x="16" y="0"/>
                      <a:pt x="14" y="4"/>
                    </a:cubicBezTo>
                    <a:cubicBezTo>
                      <a:pt x="14" y="4"/>
                      <a:pt x="11" y="7"/>
                      <a:pt x="11" y="12"/>
                    </a:cubicBezTo>
                    <a:cubicBezTo>
                      <a:pt x="11" y="16"/>
                      <a:pt x="10" y="19"/>
                      <a:pt x="7" y="21"/>
                    </a:cubicBezTo>
                    <a:cubicBezTo>
                      <a:pt x="4" y="23"/>
                      <a:pt x="0" y="26"/>
                      <a:pt x="3" y="28"/>
                    </a:cubicBezTo>
                    <a:cubicBezTo>
                      <a:pt x="5" y="31"/>
                      <a:pt x="8" y="30"/>
                      <a:pt x="13" y="2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4" name="Freeform 368">
                <a:extLst>
                  <a:ext uri="{FF2B5EF4-FFF2-40B4-BE49-F238E27FC236}">
                    <a16:creationId xmlns:a16="http://schemas.microsoft.com/office/drawing/2014/main" id="{D4791450-22C3-3445-B59C-C7F4CFF5A7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" y="2243"/>
                <a:ext cx="21" cy="26"/>
              </a:xfrm>
              <a:custGeom>
                <a:avLst/>
                <a:gdLst>
                  <a:gd name="T0" fmla="*/ 61 w 81"/>
                  <a:gd name="T1" fmla="*/ 41 h 103"/>
                  <a:gd name="T2" fmla="*/ 50 w 81"/>
                  <a:gd name="T3" fmla="*/ 27 h 103"/>
                  <a:gd name="T4" fmla="*/ 21 w 81"/>
                  <a:gd name="T5" fmla="*/ 16 h 103"/>
                  <a:gd name="T6" fmla="*/ 10 w 81"/>
                  <a:gd name="T7" fmla="*/ 34 h 103"/>
                  <a:gd name="T8" fmla="*/ 2 w 81"/>
                  <a:gd name="T9" fmla="*/ 53 h 103"/>
                  <a:gd name="T10" fmla="*/ 5 w 81"/>
                  <a:gd name="T11" fmla="*/ 66 h 103"/>
                  <a:gd name="T12" fmla="*/ 12 w 81"/>
                  <a:gd name="T13" fmla="*/ 81 h 103"/>
                  <a:gd name="T14" fmla="*/ 18 w 81"/>
                  <a:gd name="T15" fmla="*/ 101 h 103"/>
                  <a:gd name="T16" fmla="*/ 33 w 81"/>
                  <a:gd name="T17" fmla="*/ 95 h 103"/>
                  <a:gd name="T18" fmla="*/ 57 w 81"/>
                  <a:gd name="T19" fmla="*/ 80 h 103"/>
                  <a:gd name="T20" fmla="*/ 75 w 81"/>
                  <a:gd name="T21" fmla="*/ 56 h 103"/>
                  <a:gd name="T22" fmla="*/ 61 w 81"/>
                  <a:gd name="T23" fmla="*/ 41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1" h="103">
                    <a:moveTo>
                      <a:pt x="61" y="41"/>
                    </a:moveTo>
                    <a:cubicBezTo>
                      <a:pt x="60" y="33"/>
                      <a:pt x="58" y="29"/>
                      <a:pt x="50" y="27"/>
                    </a:cubicBezTo>
                    <a:cubicBezTo>
                      <a:pt x="43" y="24"/>
                      <a:pt x="21" y="0"/>
                      <a:pt x="21" y="16"/>
                    </a:cubicBezTo>
                    <a:cubicBezTo>
                      <a:pt x="21" y="16"/>
                      <a:pt x="20" y="31"/>
                      <a:pt x="10" y="34"/>
                    </a:cubicBezTo>
                    <a:cubicBezTo>
                      <a:pt x="1" y="36"/>
                      <a:pt x="2" y="44"/>
                      <a:pt x="2" y="53"/>
                    </a:cubicBezTo>
                    <a:cubicBezTo>
                      <a:pt x="2" y="62"/>
                      <a:pt x="0" y="62"/>
                      <a:pt x="5" y="66"/>
                    </a:cubicBezTo>
                    <a:cubicBezTo>
                      <a:pt x="11" y="71"/>
                      <a:pt x="14" y="73"/>
                      <a:pt x="12" y="81"/>
                    </a:cubicBezTo>
                    <a:cubicBezTo>
                      <a:pt x="11" y="88"/>
                      <a:pt x="12" y="99"/>
                      <a:pt x="18" y="101"/>
                    </a:cubicBezTo>
                    <a:cubicBezTo>
                      <a:pt x="24" y="103"/>
                      <a:pt x="28" y="103"/>
                      <a:pt x="33" y="95"/>
                    </a:cubicBezTo>
                    <a:cubicBezTo>
                      <a:pt x="39" y="88"/>
                      <a:pt x="47" y="80"/>
                      <a:pt x="57" y="80"/>
                    </a:cubicBezTo>
                    <a:cubicBezTo>
                      <a:pt x="66" y="80"/>
                      <a:pt x="81" y="70"/>
                      <a:pt x="75" y="56"/>
                    </a:cubicBezTo>
                    <a:cubicBezTo>
                      <a:pt x="69" y="42"/>
                      <a:pt x="63" y="49"/>
                      <a:pt x="61" y="4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5" name="Freeform 369">
                <a:extLst>
                  <a:ext uri="{FF2B5EF4-FFF2-40B4-BE49-F238E27FC236}">
                    <a16:creationId xmlns:a16="http://schemas.microsoft.com/office/drawing/2014/main" id="{5D5B234B-071B-E64D-8E4E-731CFE228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" y="2233"/>
                <a:ext cx="10" cy="9"/>
              </a:xfrm>
              <a:custGeom>
                <a:avLst/>
                <a:gdLst>
                  <a:gd name="T0" fmla="*/ 35 w 42"/>
                  <a:gd name="T1" fmla="*/ 14 h 36"/>
                  <a:gd name="T2" fmla="*/ 19 w 42"/>
                  <a:gd name="T3" fmla="*/ 6 h 36"/>
                  <a:gd name="T4" fmla="*/ 8 w 42"/>
                  <a:gd name="T5" fmla="*/ 10 h 36"/>
                  <a:gd name="T6" fmla="*/ 5 w 42"/>
                  <a:gd name="T7" fmla="*/ 21 h 36"/>
                  <a:gd name="T8" fmla="*/ 17 w 42"/>
                  <a:gd name="T9" fmla="*/ 35 h 36"/>
                  <a:gd name="T10" fmla="*/ 33 w 42"/>
                  <a:gd name="T11" fmla="*/ 30 h 36"/>
                  <a:gd name="T12" fmla="*/ 35 w 42"/>
                  <a:gd name="T13" fmla="*/ 1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36">
                    <a:moveTo>
                      <a:pt x="35" y="14"/>
                    </a:moveTo>
                    <a:cubicBezTo>
                      <a:pt x="29" y="9"/>
                      <a:pt x="28" y="0"/>
                      <a:pt x="19" y="6"/>
                    </a:cubicBezTo>
                    <a:cubicBezTo>
                      <a:pt x="19" y="6"/>
                      <a:pt x="12" y="9"/>
                      <a:pt x="8" y="10"/>
                    </a:cubicBezTo>
                    <a:cubicBezTo>
                      <a:pt x="3" y="12"/>
                      <a:pt x="0" y="16"/>
                      <a:pt x="5" y="21"/>
                    </a:cubicBezTo>
                    <a:cubicBezTo>
                      <a:pt x="10" y="26"/>
                      <a:pt x="10" y="34"/>
                      <a:pt x="17" y="35"/>
                    </a:cubicBezTo>
                    <a:cubicBezTo>
                      <a:pt x="23" y="36"/>
                      <a:pt x="31" y="36"/>
                      <a:pt x="33" y="30"/>
                    </a:cubicBezTo>
                    <a:cubicBezTo>
                      <a:pt x="35" y="24"/>
                      <a:pt x="42" y="19"/>
                      <a:pt x="35" y="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6" name="Freeform 370">
                <a:extLst>
                  <a:ext uri="{FF2B5EF4-FFF2-40B4-BE49-F238E27FC236}">
                    <a16:creationId xmlns:a16="http://schemas.microsoft.com/office/drawing/2014/main" id="{904C6A44-F83F-5E41-AC9C-68FBD3409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" y="2228"/>
                <a:ext cx="10" cy="11"/>
              </a:xfrm>
              <a:custGeom>
                <a:avLst/>
                <a:gdLst>
                  <a:gd name="T0" fmla="*/ 25 w 42"/>
                  <a:gd name="T1" fmla="*/ 8 h 45"/>
                  <a:gd name="T2" fmla="*/ 14 w 42"/>
                  <a:gd name="T3" fmla="*/ 17 h 45"/>
                  <a:gd name="T4" fmla="*/ 8 w 42"/>
                  <a:gd name="T5" fmla="*/ 25 h 45"/>
                  <a:gd name="T6" fmla="*/ 23 w 42"/>
                  <a:gd name="T7" fmla="*/ 29 h 45"/>
                  <a:gd name="T8" fmla="*/ 36 w 42"/>
                  <a:gd name="T9" fmla="*/ 43 h 45"/>
                  <a:gd name="T10" fmla="*/ 41 w 42"/>
                  <a:gd name="T11" fmla="*/ 31 h 45"/>
                  <a:gd name="T12" fmla="*/ 25 w 42"/>
                  <a:gd name="T13" fmla="*/ 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45">
                    <a:moveTo>
                      <a:pt x="25" y="8"/>
                    </a:moveTo>
                    <a:cubicBezTo>
                      <a:pt x="25" y="8"/>
                      <a:pt x="22" y="15"/>
                      <a:pt x="14" y="17"/>
                    </a:cubicBezTo>
                    <a:cubicBezTo>
                      <a:pt x="6" y="18"/>
                      <a:pt x="0" y="24"/>
                      <a:pt x="8" y="25"/>
                    </a:cubicBezTo>
                    <a:cubicBezTo>
                      <a:pt x="16" y="27"/>
                      <a:pt x="20" y="24"/>
                      <a:pt x="23" y="29"/>
                    </a:cubicBezTo>
                    <a:cubicBezTo>
                      <a:pt x="26" y="34"/>
                      <a:pt x="31" y="45"/>
                      <a:pt x="36" y="43"/>
                    </a:cubicBezTo>
                    <a:cubicBezTo>
                      <a:pt x="42" y="42"/>
                      <a:pt x="40" y="42"/>
                      <a:pt x="41" y="31"/>
                    </a:cubicBezTo>
                    <a:cubicBezTo>
                      <a:pt x="42" y="19"/>
                      <a:pt x="42" y="0"/>
                      <a:pt x="25" y="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7" name="Freeform 371">
                <a:extLst>
                  <a:ext uri="{FF2B5EF4-FFF2-40B4-BE49-F238E27FC236}">
                    <a16:creationId xmlns:a16="http://schemas.microsoft.com/office/drawing/2014/main" id="{83361CEF-003F-FE4A-8DDB-5ECC4B71C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" y="2223"/>
                <a:ext cx="10" cy="7"/>
              </a:xfrm>
              <a:custGeom>
                <a:avLst/>
                <a:gdLst>
                  <a:gd name="T0" fmla="*/ 32 w 42"/>
                  <a:gd name="T1" fmla="*/ 9 h 31"/>
                  <a:gd name="T2" fmla="*/ 20 w 42"/>
                  <a:gd name="T3" fmla="*/ 1 h 31"/>
                  <a:gd name="T4" fmla="*/ 8 w 42"/>
                  <a:gd name="T5" fmla="*/ 8 h 31"/>
                  <a:gd name="T6" fmla="*/ 8 w 42"/>
                  <a:gd name="T7" fmla="*/ 21 h 31"/>
                  <a:gd name="T8" fmla="*/ 25 w 42"/>
                  <a:gd name="T9" fmla="*/ 30 h 31"/>
                  <a:gd name="T10" fmla="*/ 40 w 42"/>
                  <a:gd name="T11" fmla="*/ 23 h 31"/>
                  <a:gd name="T12" fmla="*/ 32 w 42"/>
                  <a:gd name="T13" fmla="*/ 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31">
                    <a:moveTo>
                      <a:pt x="32" y="9"/>
                    </a:moveTo>
                    <a:cubicBezTo>
                      <a:pt x="29" y="6"/>
                      <a:pt x="24" y="0"/>
                      <a:pt x="20" y="1"/>
                    </a:cubicBezTo>
                    <a:cubicBezTo>
                      <a:pt x="20" y="1"/>
                      <a:pt x="9" y="3"/>
                      <a:pt x="8" y="8"/>
                    </a:cubicBezTo>
                    <a:cubicBezTo>
                      <a:pt x="6" y="13"/>
                      <a:pt x="0" y="18"/>
                      <a:pt x="8" y="21"/>
                    </a:cubicBezTo>
                    <a:cubicBezTo>
                      <a:pt x="16" y="24"/>
                      <a:pt x="16" y="29"/>
                      <a:pt x="25" y="30"/>
                    </a:cubicBezTo>
                    <a:cubicBezTo>
                      <a:pt x="34" y="31"/>
                      <a:pt x="42" y="30"/>
                      <a:pt x="40" y="23"/>
                    </a:cubicBezTo>
                    <a:cubicBezTo>
                      <a:pt x="37" y="16"/>
                      <a:pt x="35" y="11"/>
                      <a:pt x="32" y="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8" name="Freeform 372">
                <a:extLst>
                  <a:ext uri="{FF2B5EF4-FFF2-40B4-BE49-F238E27FC236}">
                    <a16:creationId xmlns:a16="http://schemas.microsoft.com/office/drawing/2014/main" id="{FA0EF262-8A08-FF41-89E3-93FF7D521B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" y="2211"/>
                <a:ext cx="6" cy="9"/>
              </a:xfrm>
              <a:custGeom>
                <a:avLst/>
                <a:gdLst>
                  <a:gd name="T0" fmla="*/ 4 w 26"/>
                  <a:gd name="T1" fmla="*/ 12 h 37"/>
                  <a:gd name="T2" fmla="*/ 3 w 26"/>
                  <a:gd name="T3" fmla="*/ 28 h 37"/>
                  <a:gd name="T4" fmla="*/ 19 w 26"/>
                  <a:gd name="T5" fmla="*/ 33 h 37"/>
                  <a:gd name="T6" fmla="*/ 25 w 26"/>
                  <a:gd name="T7" fmla="*/ 19 h 37"/>
                  <a:gd name="T8" fmla="*/ 4 w 26"/>
                  <a:gd name="T9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7">
                    <a:moveTo>
                      <a:pt x="4" y="12"/>
                    </a:moveTo>
                    <a:cubicBezTo>
                      <a:pt x="4" y="12"/>
                      <a:pt x="0" y="21"/>
                      <a:pt x="3" y="28"/>
                    </a:cubicBezTo>
                    <a:cubicBezTo>
                      <a:pt x="6" y="35"/>
                      <a:pt x="14" y="37"/>
                      <a:pt x="19" y="33"/>
                    </a:cubicBezTo>
                    <a:cubicBezTo>
                      <a:pt x="23" y="28"/>
                      <a:pt x="26" y="25"/>
                      <a:pt x="25" y="19"/>
                    </a:cubicBezTo>
                    <a:cubicBezTo>
                      <a:pt x="24" y="12"/>
                      <a:pt x="11" y="0"/>
                      <a:pt x="4" y="1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19" name="Freeform 373">
                <a:extLst>
                  <a:ext uri="{FF2B5EF4-FFF2-40B4-BE49-F238E27FC236}">
                    <a16:creationId xmlns:a16="http://schemas.microsoft.com/office/drawing/2014/main" id="{D580E679-0E71-DC40-B734-1A96D0CDC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5" y="2774"/>
                <a:ext cx="120" cy="232"/>
              </a:xfrm>
              <a:custGeom>
                <a:avLst/>
                <a:gdLst>
                  <a:gd name="T0" fmla="*/ 436 w 474"/>
                  <a:gd name="T1" fmla="*/ 108 h 917"/>
                  <a:gd name="T2" fmla="*/ 403 w 474"/>
                  <a:gd name="T3" fmla="*/ 34 h 917"/>
                  <a:gd name="T4" fmla="*/ 375 w 474"/>
                  <a:gd name="T5" fmla="*/ 7 h 917"/>
                  <a:gd name="T6" fmla="*/ 352 w 474"/>
                  <a:gd name="T7" fmla="*/ 34 h 917"/>
                  <a:gd name="T8" fmla="*/ 352 w 474"/>
                  <a:gd name="T9" fmla="*/ 84 h 917"/>
                  <a:gd name="T10" fmla="*/ 324 w 474"/>
                  <a:gd name="T11" fmla="*/ 98 h 917"/>
                  <a:gd name="T12" fmla="*/ 308 w 474"/>
                  <a:gd name="T13" fmla="*/ 105 h 917"/>
                  <a:gd name="T14" fmla="*/ 304 w 474"/>
                  <a:gd name="T15" fmla="*/ 141 h 917"/>
                  <a:gd name="T16" fmla="*/ 300 w 474"/>
                  <a:gd name="T17" fmla="*/ 185 h 917"/>
                  <a:gd name="T18" fmla="*/ 261 w 474"/>
                  <a:gd name="T19" fmla="*/ 188 h 917"/>
                  <a:gd name="T20" fmla="*/ 222 w 474"/>
                  <a:gd name="T21" fmla="*/ 221 h 917"/>
                  <a:gd name="T22" fmla="*/ 174 w 474"/>
                  <a:gd name="T23" fmla="*/ 256 h 917"/>
                  <a:gd name="T24" fmla="*/ 114 w 474"/>
                  <a:gd name="T25" fmla="*/ 267 h 917"/>
                  <a:gd name="T26" fmla="*/ 71 w 474"/>
                  <a:gd name="T27" fmla="*/ 284 h 917"/>
                  <a:gd name="T28" fmla="*/ 43 w 474"/>
                  <a:gd name="T29" fmla="*/ 360 h 917"/>
                  <a:gd name="T30" fmla="*/ 58 w 474"/>
                  <a:gd name="T31" fmla="*/ 441 h 917"/>
                  <a:gd name="T32" fmla="*/ 79 w 474"/>
                  <a:gd name="T33" fmla="*/ 508 h 917"/>
                  <a:gd name="T34" fmla="*/ 52 w 474"/>
                  <a:gd name="T35" fmla="*/ 579 h 917"/>
                  <a:gd name="T36" fmla="*/ 15 w 474"/>
                  <a:gd name="T37" fmla="*/ 631 h 917"/>
                  <a:gd name="T38" fmla="*/ 6 w 474"/>
                  <a:gd name="T39" fmla="*/ 706 h 917"/>
                  <a:gd name="T40" fmla="*/ 32 w 474"/>
                  <a:gd name="T41" fmla="*/ 764 h 917"/>
                  <a:gd name="T42" fmla="*/ 26 w 474"/>
                  <a:gd name="T43" fmla="*/ 819 h 917"/>
                  <a:gd name="T44" fmla="*/ 68 w 474"/>
                  <a:gd name="T45" fmla="*/ 878 h 917"/>
                  <a:gd name="T46" fmla="*/ 156 w 474"/>
                  <a:gd name="T47" fmla="*/ 904 h 917"/>
                  <a:gd name="T48" fmla="*/ 222 w 474"/>
                  <a:gd name="T49" fmla="*/ 876 h 917"/>
                  <a:gd name="T50" fmla="*/ 267 w 474"/>
                  <a:gd name="T51" fmla="*/ 808 h 917"/>
                  <a:gd name="T52" fmla="*/ 321 w 474"/>
                  <a:gd name="T53" fmla="*/ 649 h 917"/>
                  <a:gd name="T54" fmla="*/ 367 w 474"/>
                  <a:gd name="T55" fmla="*/ 501 h 917"/>
                  <a:gd name="T56" fmla="*/ 408 w 474"/>
                  <a:gd name="T57" fmla="*/ 335 h 917"/>
                  <a:gd name="T58" fmla="*/ 410 w 474"/>
                  <a:gd name="T59" fmla="*/ 259 h 917"/>
                  <a:gd name="T60" fmla="*/ 443 w 474"/>
                  <a:gd name="T61" fmla="*/ 258 h 917"/>
                  <a:gd name="T62" fmla="*/ 462 w 474"/>
                  <a:gd name="T63" fmla="*/ 233 h 917"/>
                  <a:gd name="T64" fmla="*/ 443 w 474"/>
                  <a:gd name="T65" fmla="*/ 167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74" h="917">
                    <a:moveTo>
                      <a:pt x="443" y="167"/>
                    </a:moveTo>
                    <a:cubicBezTo>
                      <a:pt x="444" y="148"/>
                      <a:pt x="439" y="130"/>
                      <a:pt x="436" y="108"/>
                    </a:cubicBezTo>
                    <a:cubicBezTo>
                      <a:pt x="433" y="86"/>
                      <a:pt x="430" y="76"/>
                      <a:pt x="421" y="61"/>
                    </a:cubicBezTo>
                    <a:cubicBezTo>
                      <a:pt x="412" y="46"/>
                      <a:pt x="403" y="43"/>
                      <a:pt x="403" y="34"/>
                    </a:cubicBezTo>
                    <a:cubicBezTo>
                      <a:pt x="403" y="25"/>
                      <a:pt x="391" y="21"/>
                      <a:pt x="391" y="14"/>
                    </a:cubicBezTo>
                    <a:cubicBezTo>
                      <a:pt x="391" y="7"/>
                      <a:pt x="375" y="0"/>
                      <a:pt x="375" y="7"/>
                    </a:cubicBezTo>
                    <a:cubicBezTo>
                      <a:pt x="375" y="14"/>
                      <a:pt x="376" y="26"/>
                      <a:pt x="369" y="28"/>
                    </a:cubicBezTo>
                    <a:cubicBezTo>
                      <a:pt x="362" y="30"/>
                      <a:pt x="345" y="25"/>
                      <a:pt x="352" y="34"/>
                    </a:cubicBezTo>
                    <a:cubicBezTo>
                      <a:pt x="359" y="43"/>
                      <a:pt x="359" y="48"/>
                      <a:pt x="359" y="60"/>
                    </a:cubicBezTo>
                    <a:cubicBezTo>
                      <a:pt x="359" y="72"/>
                      <a:pt x="357" y="72"/>
                      <a:pt x="352" y="84"/>
                    </a:cubicBezTo>
                    <a:cubicBezTo>
                      <a:pt x="347" y="96"/>
                      <a:pt x="342" y="97"/>
                      <a:pt x="334" y="92"/>
                    </a:cubicBezTo>
                    <a:cubicBezTo>
                      <a:pt x="326" y="87"/>
                      <a:pt x="318" y="91"/>
                      <a:pt x="324" y="98"/>
                    </a:cubicBezTo>
                    <a:cubicBezTo>
                      <a:pt x="330" y="105"/>
                      <a:pt x="334" y="114"/>
                      <a:pt x="323" y="114"/>
                    </a:cubicBezTo>
                    <a:cubicBezTo>
                      <a:pt x="312" y="114"/>
                      <a:pt x="323" y="104"/>
                      <a:pt x="308" y="105"/>
                    </a:cubicBezTo>
                    <a:cubicBezTo>
                      <a:pt x="293" y="106"/>
                      <a:pt x="285" y="116"/>
                      <a:pt x="293" y="123"/>
                    </a:cubicBezTo>
                    <a:cubicBezTo>
                      <a:pt x="301" y="130"/>
                      <a:pt x="307" y="134"/>
                      <a:pt x="304" y="141"/>
                    </a:cubicBezTo>
                    <a:cubicBezTo>
                      <a:pt x="301" y="148"/>
                      <a:pt x="284" y="143"/>
                      <a:pt x="284" y="154"/>
                    </a:cubicBezTo>
                    <a:cubicBezTo>
                      <a:pt x="284" y="165"/>
                      <a:pt x="315" y="191"/>
                      <a:pt x="300" y="185"/>
                    </a:cubicBezTo>
                    <a:cubicBezTo>
                      <a:pt x="285" y="179"/>
                      <a:pt x="287" y="176"/>
                      <a:pt x="279" y="178"/>
                    </a:cubicBezTo>
                    <a:cubicBezTo>
                      <a:pt x="271" y="180"/>
                      <a:pt x="264" y="175"/>
                      <a:pt x="261" y="188"/>
                    </a:cubicBezTo>
                    <a:cubicBezTo>
                      <a:pt x="258" y="201"/>
                      <a:pt x="260" y="203"/>
                      <a:pt x="248" y="206"/>
                    </a:cubicBezTo>
                    <a:cubicBezTo>
                      <a:pt x="236" y="209"/>
                      <a:pt x="227" y="212"/>
                      <a:pt x="222" y="221"/>
                    </a:cubicBezTo>
                    <a:cubicBezTo>
                      <a:pt x="217" y="230"/>
                      <a:pt x="200" y="222"/>
                      <a:pt x="195" y="235"/>
                    </a:cubicBezTo>
                    <a:cubicBezTo>
                      <a:pt x="190" y="248"/>
                      <a:pt x="196" y="256"/>
                      <a:pt x="174" y="256"/>
                    </a:cubicBezTo>
                    <a:cubicBezTo>
                      <a:pt x="152" y="256"/>
                      <a:pt x="149" y="259"/>
                      <a:pt x="144" y="266"/>
                    </a:cubicBezTo>
                    <a:cubicBezTo>
                      <a:pt x="139" y="273"/>
                      <a:pt x="123" y="256"/>
                      <a:pt x="114" y="267"/>
                    </a:cubicBezTo>
                    <a:cubicBezTo>
                      <a:pt x="105" y="278"/>
                      <a:pt x="107" y="278"/>
                      <a:pt x="95" y="278"/>
                    </a:cubicBezTo>
                    <a:cubicBezTo>
                      <a:pt x="83" y="278"/>
                      <a:pt x="72" y="266"/>
                      <a:pt x="71" y="284"/>
                    </a:cubicBezTo>
                    <a:cubicBezTo>
                      <a:pt x="70" y="302"/>
                      <a:pt x="79" y="314"/>
                      <a:pt x="66" y="327"/>
                    </a:cubicBezTo>
                    <a:cubicBezTo>
                      <a:pt x="53" y="340"/>
                      <a:pt x="43" y="335"/>
                      <a:pt x="43" y="360"/>
                    </a:cubicBezTo>
                    <a:cubicBezTo>
                      <a:pt x="43" y="360"/>
                      <a:pt x="40" y="398"/>
                      <a:pt x="51" y="407"/>
                    </a:cubicBezTo>
                    <a:cubicBezTo>
                      <a:pt x="62" y="416"/>
                      <a:pt x="49" y="435"/>
                      <a:pt x="58" y="441"/>
                    </a:cubicBezTo>
                    <a:cubicBezTo>
                      <a:pt x="67" y="447"/>
                      <a:pt x="58" y="468"/>
                      <a:pt x="68" y="475"/>
                    </a:cubicBezTo>
                    <a:cubicBezTo>
                      <a:pt x="78" y="482"/>
                      <a:pt x="80" y="492"/>
                      <a:pt x="79" y="508"/>
                    </a:cubicBezTo>
                    <a:cubicBezTo>
                      <a:pt x="78" y="524"/>
                      <a:pt x="77" y="537"/>
                      <a:pt x="68" y="549"/>
                    </a:cubicBezTo>
                    <a:cubicBezTo>
                      <a:pt x="59" y="561"/>
                      <a:pt x="56" y="566"/>
                      <a:pt x="52" y="579"/>
                    </a:cubicBezTo>
                    <a:cubicBezTo>
                      <a:pt x="48" y="592"/>
                      <a:pt x="39" y="591"/>
                      <a:pt x="33" y="603"/>
                    </a:cubicBezTo>
                    <a:cubicBezTo>
                      <a:pt x="27" y="615"/>
                      <a:pt x="15" y="619"/>
                      <a:pt x="15" y="631"/>
                    </a:cubicBezTo>
                    <a:cubicBezTo>
                      <a:pt x="15" y="643"/>
                      <a:pt x="8" y="653"/>
                      <a:pt x="4" y="664"/>
                    </a:cubicBezTo>
                    <a:cubicBezTo>
                      <a:pt x="0" y="675"/>
                      <a:pt x="4" y="690"/>
                      <a:pt x="6" y="706"/>
                    </a:cubicBezTo>
                    <a:cubicBezTo>
                      <a:pt x="8" y="722"/>
                      <a:pt x="10" y="726"/>
                      <a:pt x="19" y="736"/>
                    </a:cubicBezTo>
                    <a:cubicBezTo>
                      <a:pt x="28" y="746"/>
                      <a:pt x="42" y="752"/>
                      <a:pt x="32" y="764"/>
                    </a:cubicBezTo>
                    <a:cubicBezTo>
                      <a:pt x="22" y="776"/>
                      <a:pt x="22" y="768"/>
                      <a:pt x="22" y="783"/>
                    </a:cubicBezTo>
                    <a:cubicBezTo>
                      <a:pt x="22" y="798"/>
                      <a:pt x="7" y="804"/>
                      <a:pt x="26" y="819"/>
                    </a:cubicBezTo>
                    <a:cubicBezTo>
                      <a:pt x="45" y="834"/>
                      <a:pt x="43" y="839"/>
                      <a:pt x="47" y="851"/>
                    </a:cubicBezTo>
                    <a:cubicBezTo>
                      <a:pt x="51" y="863"/>
                      <a:pt x="56" y="873"/>
                      <a:pt x="68" y="878"/>
                    </a:cubicBezTo>
                    <a:cubicBezTo>
                      <a:pt x="80" y="883"/>
                      <a:pt x="92" y="886"/>
                      <a:pt x="110" y="898"/>
                    </a:cubicBezTo>
                    <a:cubicBezTo>
                      <a:pt x="128" y="910"/>
                      <a:pt x="151" y="917"/>
                      <a:pt x="156" y="904"/>
                    </a:cubicBezTo>
                    <a:cubicBezTo>
                      <a:pt x="161" y="891"/>
                      <a:pt x="178" y="890"/>
                      <a:pt x="189" y="884"/>
                    </a:cubicBezTo>
                    <a:cubicBezTo>
                      <a:pt x="200" y="878"/>
                      <a:pt x="213" y="876"/>
                      <a:pt x="222" y="876"/>
                    </a:cubicBezTo>
                    <a:cubicBezTo>
                      <a:pt x="231" y="876"/>
                      <a:pt x="243" y="875"/>
                      <a:pt x="250" y="857"/>
                    </a:cubicBezTo>
                    <a:cubicBezTo>
                      <a:pt x="257" y="839"/>
                      <a:pt x="257" y="827"/>
                      <a:pt x="267" y="808"/>
                    </a:cubicBezTo>
                    <a:cubicBezTo>
                      <a:pt x="277" y="789"/>
                      <a:pt x="283" y="769"/>
                      <a:pt x="288" y="753"/>
                    </a:cubicBezTo>
                    <a:cubicBezTo>
                      <a:pt x="293" y="737"/>
                      <a:pt x="319" y="670"/>
                      <a:pt x="321" y="649"/>
                    </a:cubicBezTo>
                    <a:cubicBezTo>
                      <a:pt x="323" y="628"/>
                      <a:pt x="325" y="596"/>
                      <a:pt x="335" y="575"/>
                    </a:cubicBezTo>
                    <a:cubicBezTo>
                      <a:pt x="345" y="554"/>
                      <a:pt x="363" y="519"/>
                      <a:pt x="367" y="501"/>
                    </a:cubicBezTo>
                    <a:cubicBezTo>
                      <a:pt x="371" y="483"/>
                      <a:pt x="392" y="445"/>
                      <a:pt x="393" y="409"/>
                    </a:cubicBezTo>
                    <a:cubicBezTo>
                      <a:pt x="394" y="373"/>
                      <a:pt x="398" y="350"/>
                      <a:pt x="408" y="335"/>
                    </a:cubicBezTo>
                    <a:cubicBezTo>
                      <a:pt x="418" y="320"/>
                      <a:pt x="429" y="305"/>
                      <a:pt x="424" y="293"/>
                    </a:cubicBezTo>
                    <a:cubicBezTo>
                      <a:pt x="419" y="281"/>
                      <a:pt x="410" y="275"/>
                      <a:pt x="410" y="259"/>
                    </a:cubicBezTo>
                    <a:cubicBezTo>
                      <a:pt x="410" y="243"/>
                      <a:pt x="422" y="220"/>
                      <a:pt x="428" y="237"/>
                    </a:cubicBezTo>
                    <a:cubicBezTo>
                      <a:pt x="434" y="254"/>
                      <a:pt x="433" y="258"/>
                      <a:pt x="443" y="258"/>
                    </a:cubicBezTo>
                    <a:cubicBezTo>
                      <a:pt x="453" y="258"/>
                      <a:pt x="459" y="260"/>
                      <a:pt x="456" y="249"/>
                    </a:cubicBezTo>
                    <a:cubicBezTo>
                      <a:pt x="453" y="238"/>
                      <a:pt x="450" y="235"/>
                      <a:pt x="462" y="233"/>
                    </a:cubicBezTo>
                    <a:cubicBezTo>
                      <a:pt x="474" y="231"/>
                      <a:pt x="463" y="214"/>
                      <a:pt x="453" y="201"/>
                    </a:cubicBezTo>
                    <a:cubicBezTo>
                      <a:pt x="443" y="188"/>
                      <a:pt x="442" y="186"/>
                      <a:pt x="443" y="16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0" name="Freeform 374">
                <a:extLst>
                  <a:ext uri="{FF2B5EF4-FFF2-40B4-BE49-F238E27FC236}">
                    <a16:creationId xmlns:a16="http://schemas.microsoft.com/office/drawing/2014/main" id="{101394E4-CBA2-DE4B-BEF4-57C6C5ABB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2855"/>
                <a:ext cx="217" cy="207"/>
              </a:xfrm>
              <a:custGeom>
                <a:avLst/>
                <a:gdLst>
                  <a:gd name="T0" fmla="*/ 357 w 856"/>
                  <a:gd name="T1" fmla="*/ 777 h 821"/>
                  <a:gd name="T2" fmla="*/ 402 w 856"/>
                  <a:gd name="T3" fmla="*/ 813 h 821"/>
                  <a:gd name="T4" fmla="*/ 482 w 856"/>
                  <a:gd name="T5" fmla="*/ 808 h 821"/>
                  <a:gd name="T6" fmla="*/ 524 w 856"/>
                  <a:gd name="T7" fmla="*/ 765 h 821"/>
                  <a:gd name="T8" fmla="*/ 524 w 856"/>
                  <a:gd name="T9" fmla="*/ 763 h 821"/>
                  <a:gd name="T10" fmla="*/ 524 w 856"/>
                  <a:gd name="T11" fmla="*/ 761 h 821"/>
                  <a:gd name="T12" fmla="*/ 524 w 856"/>
                  <a:gd name="T13" fmla="*/ 758 h 821"/>
                  <a:gd name="T14" fmla="*/ 524 w 856"/>
                  <a:gd name="T15" fmla="*/ 754 h 821"/>
                  <a:gd name="T16" fmla="*/ 524 w 856"/>
                  <a:gd name="T17" fmla="*/ 751 h 821"/>
                  <a:gd name="T18" fmla="*/ 524 w 856"/>
                  <a:gd name="T19" fmla="*/ 747 h 821"/>
                  <a:gd name="T20" fmla="*/ 524 w 856"/>
                  <a:gd name="T21" fmla="*/ 742 h 821"/>
                  <a:gd name="T22" fmla="*/ 525 w 856"/>
                  <a:gd name="T23" fmla="*/ 403 h 821"/>
                  <a:gd name="T24" fmla="*/ 525 w 856"/>
                  <a:gd name="T25" fmla="*/ 392 h 821"/>
                  <a:gd name="T26" fmla="*/ 525 w 856"/>
                  <a:gd name="T27" fmla="*/ 385 h 821"/>
                  <a:gd name="T28" fmla="*/ 525 w 856"/>
                  <a:gd name="T29" fmla="*/ 380 h 821"/>
                  <a:gd name="T30" fmla="*/ 525 w 856"/>
                  <a:gd name="T31" fmla="*/ 377 h 821"/>
                  <a:gd name="T32" fmla="*/ 585 w 856"/>
                  <a:gd name="T33" fmla="*/ 338 h 821"/>
                  <a:gd name="T34" fmla="*/ 645 w 856"/>
                  <a:gd name="T35" fmla="*/ 92 h 821"/>
                  <a:gd name="T36" fmla="*/ 740 w 856"/>
                  <a:gd name="T37" fmla="*/ 84 h 821"/>
                  <a:gd name="T38" fmla="*/ 796 w 856"/>
                  <a:gd name="T39" fmla="*/ 80 h 821"/>
                  <a:gd name="T40" fmla="*/ 856 w 856"/>
                  <a:gd name="T41" fmla="*/ 66 h 821"/>
                  <a:gd name="T42" fmla="*/ 766 w 856"/>
                  <a:gd name="T43" fmla="*/ 50 h 821"/>
                  <a:gd name="T44" fmla="*/ 762 w 856"/>
                  <a:gd name="T45" fmla="*/ 53 h 821"/>
                  <a:gd name="T46" fmla="*/ 757 w 856"/>
                  <a:gd name="T47" fmla="*/ 54 h 821"/>
                  <a:gd name="T48" fmla="*/ 752 w 856"/>
                  <a:gd name="T49" fmla="*/ 55 h 821"/>
                  <a:gd name="T50" fmla="*/ 746 w 856"/>
                  <a:gd name="T51" fmla="*/ 56 h 821"/>
                  <a:gd name="T52" fmla="*/ 732 w 856"/>
                  <a:gd name="T53" fmla="*/ 57 h 821"/>
                  <a:gd name="T54" fmla="*/ 720 w 856"/>
                  <a:gd name="T55" fmla="*/ 58 h 821"/>
                  <a:gd name="T56" fmla="*/ 553 w 856"/>
                  <a:gd name="T57" fmla="*/ 70 h 821"/>
                  <a:gd name="T58" fmla="*/ 424 w 856"/>
                  <a:gd name="T59" fmla="*/ 36 h 821"/>
                  <a:gd name="T60" fmla="*/ 113 w 856"/>
                  <a:gd name="T61" fmla="*/ 16 h 821"/>
                  <a:gd name="T62" fmla="*/ 37 w 856"/>
                  <a:gd name="T63" fmla="*/ 28 h 821"/>
                  <a:gd name="T64" fmla="*/ 1 w 856"/>
                  <a:gd name="T65" fmla="*/ 22 h 821"/>
                  <a:gd name="T66" fmla="*/ 60 w 856"/>
                  <a:gd name="T67" fmla="*/ 152 h 821"/>
                  <a:gd name="T68" fmla="*/ 103 w 856"/>
                  <a:gd name="T69" fmla="*/ 256 h 821"/>
                  <a:gd name="T70" fmla="*/ 169 w 856"/>
                  <a:gd name="T71" fmla="*/ 365 h 821"/>
                  <a:gd name="T72" fmla="*/ 183 w 856"/>
                  <a:gd name="T73" fmla="*/ 500 h 821"/>
                  <a:gd name="T74" fmla="*/ 207 w 856"/>
                  <a:gd name="T75" fmla="*/ 633 h 821"/>
                  <a:gd name="T76" fmla="*/ 263 w 856"/>
                  <a:gd name="T77" fmla="*/ 748 h 821"/>
                  <a:gd name="T78" fmla="*/ 314 w 856"/>
                  <a:gd name="T79" fmla="*/ 785 h 8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6" h="821">
                    <a:moveTo>
                      <a:pt x="334" y="758"/>
                    </a:moveTo>
                    <a:cubicBezTo>
                      <a:pt x="354" y="762"/>
                      <a:pt x="354" y="761"/>
                      <a:pt x="357" y="777"/>
                    </a:cubicBezTo>
                    <a:cubicBezTo>
                      <a:pt x="360" y="793"/>
                      <a:pt x="352" y="804"/>
                      <a:pt x="370" y="806"/>
                    </a:cubicBezTo>
                    <a:cubicBezTo>
                      <a:pt x="389" y="809"/>
                      <a:pt x="394" y="805"/>
                      <a:pt x="402" y="813"/>
                    </a:cubicBezTo>
                    <a:cubicBezTo>
                      <a:pt x="410" y="821"/>
                      <a:pt x="430" y="810"/>
                      <a:pt x="445" y="813"/>
                    </a:cubicBezTo>
                    <a:cubicBezTo>
                      <a:pt x="460" y="816"/>
                      <a:pt x="476" y="818"/>
                      <a:pt x="482" y="808"/>
                    </a:cubicBezTo>
                    <a:cubicBezTo>
                      <a:pt x="489" y="797"/>
                      <a:pt x="497" y="786"/>
                      <a:pt x="509" y="788"/>
                    </a:cubicBezTo>
                    <a:cubicBezTo>
                      <a:pt x="521" y="789"/>
                      <a:pt x="522" y="792"/>
                      <a:pt x="524" y="765"/>
                    </a:cubicBezTo>
                    <a:cubicBezTo>
                      <a:pt x="524" y="765"/>
                      <a:pt x="524" y="764"/>
                      <a:pt x="524" y="763"/>
                    </a:cubicBezTo>
                    <a:cubicBezTo>
                      <a:pt x="524" y="763"/>
                      <a:pt x="524" y="763"/>
                      <a:pt x="524" y="763"/>
                    </a:cubicBezTo>
                    <a:cubicBezTo>
                      <a:pt x="524" y="762"/>
                      <a:pt x="524" y="762"/>
                      <a:pt x="524" y="761"/>
                    </a:cubicBezTo>
                    <a:cubicBezTo>
                      <a:pt x="524" y="761"/>
                      <a:pt x="524" y="761"/>
                      <a:pt x="524" y="761"/>
                    </a:cubicBezTo>
                    <a:cubicBezTo>
                      <a:pt x="524" y="760"/>
                      <a:pt x="524" y="759"/>
                      <a:pt x="524" y="759"/>
                    </a:cubicBezTo>
                    <a:cubicBezTo>
                      <a:pt x="524" y="758"/>
                      <a:pt x="524" y="758"/>
                      <a:pt x="524" y="758"/>
                    </a:cubicBezTo>
                    <a:cubicBezTo>
                      <a:pt x="524" y="757"/>
                      <a:pt x="524" y="756"/>
                      <a:pt x="524" y="756"/>
                    </a:cubicBezTo>
                    <a:cubicBezTo>
                      <a:pt x="524" y="755"/>
                      <a:pt x="524" y="755"/>
                      <a:pt x="524" y="754"/>
                    </a:cubicBezTo>
                    <a:cubicBezTo>
                      <a:pt x="524" y="754"/>
                      <a:pt x="524" y="753"/>
                      <a:pt x="524" y="752"/>
                    </a:cubicBezTo>
                    <a:cubicBezTo>
                      <a:pt x="524" y="752"/>
                      <a:pt x="524" y="751"/>
                      <a:pt x="524" y="751"/>
                    </a:cubicBezTo>
                    <a:cubicBezTo>
                      <a:pt x="524" y="750"/>
                      <a:pt x="524" y="749"/>
                      <a:pt x="524" y="748"/>
                    </a:cubicBezTo>
                    <a:cubicBezTo>
                      <a:pt x="524" y="747"/>
                      <a:pt x="524" y="747"/>
                      <a:pt x="524" y="747"/>
                    </a:cubicBezTo>
                    <a:cubicBezTo>
                      <a:pt x="524" y="746"/>
                      <a:pt x="524" y="744"/>
                      <a:pt x="524" y="743"/>
                    </a:cubicBezTo>
                    <a:cubicBezTo>
                      <a:pt x="524" y="743"/>
                      <a:pt x="524" y="743"/>
                      <a:pt x="524" y="742"/>
                    </a:cubicBezTo>
                    <a:cubicBezTo>
                      <a:pt x="525" y="701"/>
                      <a:pt x="525" y="615"/>
                      <a:pt x="525" y="537"/>
                    </a:cubicBezTo>
                    <a:cubicBezTo>
                      <a:pt x="525" y="483"/>
                      <a:pt x="525" y="432"/>
                      <a:pt x="525" y="403"/>
                    </a:cubicBezTo>
                    <a:cubicBezTo>
                      <a:pt x="525" y="402"/>
                      <a:pt x="525" y="400"/>
                      <a:pt x="525" y="399"/>
                    </a:cubicBezTo>
                    <a:cubicBezTo>
                      <a:pt x="525" y="397"/>
                      <a:pt x="525" y="394"/>
                      <a:pt x="525" y="392"/>
                    </a:cubicBezTo>
                    <a:cubicBezTo>
                      <a:pt x="525" y="391"/>
                      <a:pt x="525" y="391"/>
                      <a:pt x="525" y="390"/>
                    </a:cubicBezTo>
                    <a:cubicBezTo>
                      <a:pt x="525" y="388"/>
                      <a:pt x="525" y="387"/>
                      <a:pt x="525" y="385"/>
                    </a:cubicBezTo>
                    <a:cubicBezTo>
                      <a:pt x="525" y="384"/>
                      <a:pt x="525" y="383"/>
                      <a:pt x="525" y="382"/>
                    </a:cubicBezTo>
                    <a:cubicBezTo>
                      <a:pt x="525" y="382"/>
                      <a:pt x="525" y="381"/>
                      <a:pt x="525" y="380"/>
                    </a:cubicBezTo>
                    <a:cubicBezTo>
                      <a:pt x="525" y="380"/>
                      <a:pt x="525" y="379"/>
                      <a:pt x="525" y="378"/>
                    </a:cubicBezTo>
                    <a:cubicBezTo>
                      <a:pt x="525" y="377"/>
                      <a:pt x="525" y="377"/>
                      <a:pt x="525" y="377"/>
                    </a:cubicBezTo>
                    <a:cubicBezTo>
                      <a:pt x="525" y="341"/>
                      <a:pt x="525" y="341"/>
                      <a:pt x="525" y="341"/>
                    </a:cubicBezTo>
                    <a:cubicBezTo>
                      <a:pt x="585" y="338"/>
                      <a:pt x="585" y="338"/>
                      <a:pt x="585" y="338"/>
                    </a:cubicBezTo>
                    <a:cubicBezTo>
                      <a:pt x="588" y="101"/>
                      <a:pt x="588" y="101"/>
                      <a:pt x="588" y="101"/>
                    </a:cubicBezTo>
                    <a:cubicBezTo>
                      <a:pt x="588" y="101"/>
                      <a:pt x="626" y="93"/>
                      <a:pt x="645" y="92"/>
                    </a:cubicBezTo>
                    <a:cubicBezTo>
                      <a:pt x="664" y="90"/>
                      <a:pt x="673" y="84"/>
                      <a:pt x="692" y="84"/>
                    </a:cubicBezTo>
                    <a:cubicBezTo>
                      <a:pt x="710" y="84"/>
                      <a:pt x="734" y="66"/>
                      <a:pt x="740" y="84"/>
                    </a:cubicBezTo>
                    <a:cubicBezTo>
                      <a:pt x="745" y="101"/>
                      <a:pt x="754" y="116"/>
                      <a:pt x="765" y="105"/>
                    </a:cubicBezTo>
                    <a:cubicBezTo>
                      <a:pt x="776" y="94"/>
                      <a:pt x="777" y="86"/>
                      <a:pt x="796" y="80"/>
                    </a:cubicBezTo>
                    <a:cubicBezTo>
                      <a:pt x="814" y="73"/>
                      <a:pt x="826" y="76"/>
                      <a:pt x="834" y="72"/>
                    </a:cubicBezTo>
                    <a:cubicBezTo>
                      <a:pt x="839" y="69"/>
                      <a:pt x="847" y="66"/>
                      <a:pt x="856" y="66"/>
                    </a:cubicBezTo>
                    <a:cubicBezTo>
                      <a:pt x="851" y="60"/>
                      <a:pt x="846" y="55"/>
                      <a:pt x="841" y="52"/>
                    </a:cubicBezTo>
                    <a:cubicBezTo>
                      <a:pt x="829" y="44"/>
                      <a:pt x="776" y="44"/>
                      <a:pt x="766" y="50"/>
                    </a:cubicBezTo>
                    <a:cubicBezTo>
                      <a:pt x="765" y="51"/>
                      <a:pt x="764" y="52"/>
                      <a:pt x="763" y="52"/>
                    </a:cubicBezTo>
                    <a:cubicBezTo>
                      <a:pt x="762" y="53"/>
                      <a:pt x="762" y="53"/>
                      <a:pt x="762" y="53"/>
                    </a:cubicBezTo>
                    <a:cubicBezTo>
                      <a:pt x="761" y="53"/>
                      <a:pt x="760" y="54"/>
                      <a:pt x="759" y="54"/>
                    </a:cubicBezTo>
                    <a:cubicBezTo>
                      <a:pt x="758" y="54"/>
                      <a:pt x="758" y="54"/>
                      <a:pt x="757" y="54"/>
                    </a:cubicBezTo>
                    <a:cubicBezTo>
                      <a:pt x="756" y="55"/>
                      <a:pt x="754" y="55"/>
                      <a:pt x="753" y="55"/>
                    </a:cubicBezTo>
                    <a:cubicBezTo>
                      <a:pt x="753" y="55"/>
                      <a:pt x="753" y="55"/>
                      <a:pt x="752" y="55"/>
                    </a:cubicBezTo>
                    <a:cubicBezTo>
                      <a:pt x="750" y="55"/>
                      <a:pt x="749" y="56"/>
                      <a:pt x="747" y="56"/>
                    </a:cubicBezTo>
                    <a:cubicBezTo>
                      <a:pt x="747" y="56"/>
                      <a:pt x="746" y="56"/>
                      <a:pt x="746" y="56"/>
                    </a:cubicBezTo>
                    <a:cubicBezTo>
                      <a:pt x="742" y="56"/>
                      <a:pt x="737" y="57"/>
                      <a:pt x="732" y="57"/>
                    </a:cubicBezTo>
                    <a:cubicBezTo>
                      <a:pt x="732" y="57"/>
                      <a:pt x="732" y="57"/>
                      <a:pt x="732" y="57"/>
                    </a:cubicBezTo>
                    <a:cubicBezTo>
                      <a:pt x="730" y="57"/>
                      <a:pt x="728" y="57"/>
                      <a:pt x="726" y="58"/>
                    </a:cubicBezTo>
                    <a:cubicBezTo>
                      <a:pt x="724" y="58"/>
                      <a:pt x="722" y="58"/>
                      <a:pt x="720" y="58"/>
                    </a:cubicBezTo>
                    <a:cubicBezTo>
                      <a:pt x="701" y="61"/>
                      <a:pt x="652" y="70"/>
                      <a:pt x="644" y="76"/>
                    </a:cubicBezTo>
                    <a:cubicBezTo>
                      <a:pt x="636" y="81"/>
                      <a:pt x="568" y="76"/>
                      <a:pt x="553" y="70"/>
                    </a:cubicBezTo>
                    <a:cubicBezTo>
                      <a:pt x="538" y="65"/>
                      <a:pt x="452" y="68"/>
                      <a:pt x="452" y="68"/>
                    </a:cubicBezTo>
                    <a:cubicBezTo>
                      <a:pt x="424" y="36"/>
                      <a:pt x="424" y="36"/>
                      <a:pt x="424" y="36"/>
                    </a:cubicBezTo>
                    <a:cubicBezTo>
                      <a:pt x="424" y="36"/>
                      <a:pt x="189" y="34"/>
                      <a:pt x="158" y="34"/>
                    </a:cubicBezTo>
                    <a:cubicBezTo>
                      <a:pt x="128" y="34"/>
                      <a:pt x="125" y="32"/>
                      <a:pt x="113" y="16"/>
                    </a:cubicBezTo>
                    <a:cubicBezTo>
                      <a:pt x="101" y="0"/>
                      <a:pt x="65" y="6"/>
                      <a:pt x="61" y="18"/>
                    </a:cubicBezTo>
                    <a:cubicBezTo>
                      <a:pt x="57" y="30"/>
                      <a:pt x="41" y="30"/>
                      <a:pt x="37" y="28"/>
                    </a:cubicBezTo>
                    <a:cubicBezTo>
                      <a:pt x="33" y="25"/>
                      <a:pt x="24" y="17"/>
                      <a:pt x="14" y="17"/>
                    </a:cubicBezTo>
                    <a:cubicBezTo>
                      <a:pt x="11" y="17"/>
                      <a:pt x="6" y="19"/>
                      <a:pt x="1" y="22"/>
                    </a:cubicBezTo>
                    <a:cubicBezTo>
                      <a:pt x="0" y="45"/>
                      <a:pt x="1" y="69"/>
                      <a:pt x="8" y="80"/>
                    </a:cubicBezTo>
                    <a:cubicBezTo>
                      <a:pt x="21" y="99"/>
                      <a:pt x="55" y="131"/>
                      <a:pt x="60" y="152"/>
                    </a:cubicBezTo>
                    <a:cubicBezTo>
                      <a:pt x="64" y="174"/>
                      <a:pt x="74" y="192"/>
                      <a:pt x="83" y="208"/>
                    </a:cubicBezTo>
                    <a:cubicBezTo>
                      <a:pt x="93" y="224"/>
                      <a:pt x="95" y="233"/>
                      <a:pt x="103" y="256"/>
                    </a:cubicBezTo>
                    <a:cubicBezTo>
                      <a:pt x="110" y="280"/>
                      <a:pt x="121" y="298"/>
                      <a:pt x="135" y="315"/>
                    </a:cubicBezTo>
                    <a:cubicBezTo>
                      <a:pt x="149" y="333"/>
                      <a:pt x="167" y="350"/>
                      <a:pt x="169" y="365"/>
                    </a:cubicBezTo>
                    <a:cubicBezTo>
                      <a:pt x="171" y="380"/>
                      <a:pt x="169" y="399"/>
                      <a:pt x="166" y="419"/>
                    </a:cubicBezTo>
                    <a:cubicBezTo>
                      <a:pt x="163" y="438"/>
                      <a:pt x="176" y="476"/>
                      <a:pt x="183" y="500"/>
                    </a:cubicBezTo>
                    <a:cubicBezTo>
                      <a:pt x="191" y="525"/>
                      <a:pt x="190" y="526"/>
                      <a:pt x="196" y="559"/>
                    </a:cubicBezTo>
                    <a:cubicBezTo>
                      <a:pt x="203" y="593"/>
                      <a:pt x="195" y="612"/>
                      <a:pt x="207" y="633"/>
                    </a:cubicBezTo>
                    <a:cubicBezTo>
                      <a:pt x="219" y="653"/>
                      <a:pt x="220" y="660"/>
                      <a:pt x="224" y="686"/>
                    </a:cubicBezTo>
                    <a:cubicBezTo>
                      <a:pt x="228" y="712"/>
                      <a:pt x="246" y="729"/>
                      <a:pt x="263" y="748"/>
                    </a:cubicBezTo>
                    <a:cubicBezTo>
                      <a:pt x="273" y="759"/>
                      <a:pt x="288" y="775"/>
                      <a:pt x="300" y="790"/>
                    </a:cubicBezTo>
                    <a:cubicBezTo>
                      <a:pt x="304" y="788"/>
                      <a:pt x="308" y="786"/>
                      <a:pt x="314" y="785"/>
                    </a:cubicBezTo>
                    <a:cubicBezTo>
                      <a:pt x="332" y="784"/>
                      <a:pt x="314" y="754"/>
                      <a:pt x="334" y="75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1" name="Freeform 375">
                <a:extLst>
                  <a:ext uri="{FF2B5EF4-FFF2-40B4-BE49-F238E27FC236}">
                    <a16:creationId xmlns:a16="http://schemas.microsoft.com/office/drawing/2014/main" id="{ECE870C8-BD07-3140-B49E-7281C9A5A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0" y="2871"/>
                <a:ext cx="147" cy="158"/>
              </a:xfrm>
              <a:custGeom>
                <a:avLst/>
                <a:gdLst>
                  <a:gd name="T0" fmla="*/ 581 w 583"/>
                  <a:gd name="T1" fmla="*/ 278 h 623"/>
                  <a:gd name="T2" fmla="*/ 581 w 583"/>
                  <a:gd name="T3" fmla="*/ 278 h 623"/>
                  <a:gd name="T4" fmla="*/ 580 w 583"/>
                  <a:gd name="T5" fmla="*/ 276 h 623"/>
                  <a:gd name="T6" fmla="*/ 579 w 583"/>
                  <a:gd name="T7" fmla="*/ 275 h 623"/>
                  <a:gd name="T8" fmla="*/ 578 w 583"/>
                  <a:gd name="T9" fmla="*/ 272 h 623"/>
                  <a:gd name="T10" fmla="*/ 578 w 583"/>
                  <a:gd name="T11" fmla="*/ 272 h 623"/>
                  <a:gd name="T12" fmla="*/ 576 w 583"/>
                  <a:gd name="T13" fmla="*/ 268 h 623"/>
                  <a:gd name="T14" fmla="*/ 517 w 583"/>
                  <a:gd name="T15" fmla="*/ 251 h 623"/>
                  <a:gd name="T16" fmla="*/ 503 w 583"/>
                  <a:gd name="T17" fmla="*/ 231 h 623"/>
                  <a:gd name="T18" fmla="*/ 487 w 583"/>
                  <a:gd name="T19" fmla="*/ 206 h 623"/>
                  <a:gd name="T20" fmla="*/ 481 w 583"/>
                  <a:gd name="T21" fmla="*/ 179 h 623"/>
                  <a:gd name="T22" fmla="*/ 461 w 583"/>
                  <a:gd name="T23" fmla="*/ 158 h 623"/>
                  <a:gd name="T24" fmla="*/ 428 w 583"/>
                  <a:gd name="T25" fmla="*/ 135 h 623"/>
                  <a:gd name="T26" fmla="*/ 377 w 583"/>
                  <a:gd name="T27" fmla="*/ 68 h 623"/>
                  <a:gd name="T28" fmla="*/ 351 w 583"/>
                  <a:gd name="T29" fmla="*/ 32 h 623"/>
                  <a:gd name="T30" fmla="*/ 331 w 583"/>
                  <a:gd name="T31" fmla="*/ 0 h 623"/>
                  <a:gd name="T32" fmla="*/ 309 w 583"/>
                  <a:gd name="T33" fmla="*/ 6 h 623"/>
                  <a:gd name="T34" fmla="*/ 271 w 583"/>
                  <a:gd name="T35" fmla="*/ 14 h 623"/>
                  <a:gd name="T36" fmla="*/ 240 w 583"/>
                  <a:gd name="T37" fmla="*/ 39 h 623"/>
                  <a:gd name="T38" fmla="*/ 215 w 583"/>
                  <a:gd name="T39" fmla="*/ 18 h 623"/>
                  <a:gd name="T40" fmla="*/ 167 w 583"/>
                  <a:gd name="T41" fmla="*/ 18 h 623"/>
                  <a:gd name="T42" fmla="*/ 120 w 583"/>
                  <a:gd name="T43" fmla="*/ 26 h 623"/>
                  <a:gd name="T44" fmla="*/ 63 w 583"/>
                  <a:gd name="T45" fmla="*/ 35 h 623"/>
                  <a:gd name="T46" fmla="*/ 60 w 583"/>
                  <a:gd name="T47" fmla="*/ 272 h 623"/>
                  <a:gd name="T48" fmla="*/ 0 w 583"/>
                  <a:gd name="T49" fmla="*/ 275 h 623"/>
                  <a:gd name="T50" fmla="*/ 0 w 583"/>
                  <a:gd name="T51" fmla="*/ 311 h 623"/>
                  <a:gd name="T52" fmla="*/ 0 w 583"/>
                  <a:gd name="T53" fmla="*/ 312 h 623"/>
                  <a:gd name="T54" fmla="*/ 0 w 583"/>
                  <a:gd name="T55" fmla="*/ 314 h 623"/>
                  <a:gd name="T56" fmla="*/ 0 w 583"/>
                  <a:gd name="T57" fmla="*/ 316 h 623"/>
                  <a:gd name="T58" fmla="*/ 0 w 583"/>
                  <a:gd name="T59" fmla="*/ 319 h 623"/>
                  <a:gd name="T60" fmla="*/ 0 w 583"/>
                  <a:gd name="T61" fmla="*/ 324 h 623"/>
                  <a:gd name="T62" fmla="*/ 0 w 583"/>
                  <a:gd name="T63" fmla="*/ 326 h 623"/>
                  <a:gd name="T64" fmla="*/ 0 w 583"/>
                  <a:gd name="T65" fmla="*/ 333 h 623"/>
                  <a:gd name="T66" fmla="*/ 0 w 583"/>
                  <a:gd name="T67" fmla="*/ 337 h 623"/>
                  <a:gd name="T68" fmla="*/ 0 w 583"/>
                  <a:gd name="T69" fmla="*/ 471 h 623"/>
                  <a:gd name="T70" fmla="*/ 22 w 583"/>
                  <a:gd name="T71" fmla="*/ 481 h 623"/>
                  <a:gd name="T72" fmla="*/ 39 w 583"/>
                  <a:gd name="T73" fmla="*/ 514 h 623"/>
                  <a:gd name="T74" fmla="*/ 49 w 583"/>
                  <a:gd name="T75" fmla="*/ 538 h 623"/>
                  <a:gd name="T76" fmla="*/ 53 w 583"/>
                  <a:gd name="T77" fmla="*/ 558 h 623"/>
                  <a:gd name="T78" fmla="*/ 39 w 583"/>
                  <a:gd name="T79" fmla="*/ 578 h 623"/>
                  <a:gd name="T80" fmla="*/ 38 w 583"/>
                  <a:gd name="T81" fmla="*/ 600 h 623"/>
                  <a:gd name="T82" fmla="*/ 44 w 583"/>
                  <a:gd name="T83" fmla="*/ 614 h 623"/>
                  <a:gd name="T84" fmla="*/ 73 w 583"/>
                  <a:gd name="T85" fmla="*/ 604 h 623"/>
                  <a:gd name="T86" fmla="*/ 117 w 583"/>
                  <a:gd name="T87" fmla="*/ 596 h 623"/>
                  <a:gd name="T88" fmla="*/ 147 w 583"/>
                  <a:gd name="T89" fmla="*/ 570 h 623"/>
                  <a:gd name="T90" fmla="*/ 174 w 583"/>
                  <a:gd name="T91" fmla="*/ 539 h 623"/>
                  <a:gd name="T92" fmla="*/ 191 w 583"/>
                  <a:gd name="T93" fmla="*/ 496 h 623"/>
                  <a:gd name="T94" fmla="*/ 229 w 583"/>
                  <a:gd name="T95" fmla="*/ 509 h 623"/>
                  <a:gd name="T96" fmla="*/ 265 w 583"/>
                  <a:gd name="T97" fmla="*/ 530 h 623"/>
                  <a:gd name="T98" fmla="*/ 320 w 583"/>
                  <a:gd name="T99" fmla="*/ 533 h 623"/>
                  <a:gd name="T100" fmla="*/ 367 w 583"/>
                  <a:gd name="T101" fmla="*/ 500 h 623"/>
                  <a:gd name="T102" fmla="*/ 385 w 583"/>
                  <a:gd name="T103" fmla="*/ 459 h 623"/>
                  <a:gd name="T104" fmla="*/ 422 w 583"/>
                  <a:gd name="T105" fmla="*/ 442 h 623"/>
                  <a:gd name="T106" fmla="*/ 443 w 583"/>
                  <a:gd name="T107" fmla="*/ 414 h 623"/>
                  <a:gd name="T108" fmla="*/ 460 w 583"/>
                  <a:gd name="T109" fmla="*/ 379 h 623"/>
                  <a:gd name="T110" fmla="*/ 507 w 583"/>
                  <a:gd name="T111" fmla="*/ 348 h 623"/>
                  <a:gd name="T112" fmla="*/ 538 w 583"/>
                  <a:gd name="T113" fmla="*/ 318 h 623"/>
                  <a:gd name="T114" fmla="*/ 572 w 583"/>
                  <a:gd name="T115" fmla="*/ 302 h 623"/>
                  <a:gd name="T116" fmla="*/ 583 w 583"/>
                  <a:gd name="T117" fmla="*/ 281 h 623"/>
                  <a:gd name="T118" fmla="*/ 583 w 583"/>
                  <a:gd name="T119" fmla="*/ 281 h 623"/>
                  <a:gd name="T120" fmla="*/ 581 w 583"/>
                  <a:gd name="T121" fmla="*/ 278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83" h="623">
                    <a:moveTo>
                      <a:pt x="581" y="278"/>
                    </a:moveTo>
                    <a:cubicBezTo>
                      <a:pt x="581" y="278"/>
                      <a:pt x="581" y="278"/>
                      <a:pt x="581" y="278"/>
                    </a:cubicBezTo>
                    <a:cubicBezTo>
                      <a:pt x="581" y="277"/>
                      <a:pt x="580" y="276"/>
                      <a:pt x="580" y="276"/>
                    </a:cubicBezTo>
                    <a:cubicBezTo>
                      <a:pt x="580" y="275"/>
                      <a:pt x="579" y="275"/>
                      <a:pt x="579" y="275"/>
                    </a:cubicBezTo>
                    <a:cubicBezTo>
                      <a:pt x="579" y="274"/>
                      <a:pt x="578" y="273"/>
                      <a:pt x="578" y="272"/>
                    </a:cubicBezTo>
                    <a:cubicBezTo>
                      <a:pt x="578" y="272"/>
                      <a:pt x="578" y="272"/>
                      <a:pt x="578" y="272"/>
                    </a:cubicBezTo>
                    <a:cubicBezTo>
                      <a:pt x="577" y="271"/>
                      <a:pt x="577" y="270"/>
                      <a:pt x="576" y="268"/>
                    </a:cubicBezTo>
                    <a:cubicBezTo>
                      <a:pt x="568" y="252"/>
                      <a:pt x="531" y="255"/>
                      <a:pt x="517" y="251"/>
                    </a:cubicBezTo>
                    <a:cubicBezTo>
                      <a:pt x="504" y="247"/>
                      <a:pt x="512" y="231"/>
                      <a:pt x="503" y="231"/>
                    </a:cubicBezTo>
                    <a:cubicBezTo>
                      <a:pt x="493" y="231"/>
                      <a:pt x="487" y="219"/>
                      <a:pt x="487" y="206"/>
                    </a:cubicBezTo>
                    <a:cubicBezTo>
                      <a:pt x="487" y="192"/>
                      <a:pt x="499" y="179"/>
                      <a:pt x="481" y="179"/>
                    </a:cubicBezTo>
                    <a:cubicBezTo>
                      <a:pt x="464" y="179"/>
                      <a:pt x="467" y="176"/>
                      <a:pt x="461" y="158"/>
                    </a:cubicBezTo>
                    <a:cubicBezTo>
                      <a:pt x="456" y="139"/>
                      <a:pt x="455" y="142"/>
                      <a:pt x="428" y="135"/>
                    </a:cubicBezTo>
                    <a:cubicBezTo>
                      <a:pt x="401" y="128"/>
                      <a:pt x="379" y="95"/>
                      <a:pt x="377" y="68"/>
                    </a:cubicBezTo>
                    <a:cubicBezTo>
                      <a:pt x="376" y="42"/>
                      <a:pt x="355" y="50"/>
                      <a:pt x="351" y="32"/>
                    </a:cubicBezTo>
                    <a:cubicBezTo>
                      <a:pt x="348" y="22"/>
                      <a:pt x="340" y="9"/>
                      <a:pt x="331" y="0"/>
                    </a:cubicBezTo>
                    <a:cubicBezTo>
                      <a:pt x="322" y="0"/>
                      <a:pt x="314" y="3"/>
                      <a:pt x="309" y="6"/>
                    </a:cubicBezTo>
                    <a:cubicBezTo>
                      <a:pt x="301" y="10"/>
                      <a:pt x="289" y="7"/>
                      <a:pt x="271" y="14"/>
                    </a:cubicBezTo>
                    <a:cubicBezTo>
                      <a:pt x="252" y="20"/>
                      <a:pt x="251" y="28"/>
                      <a:pt x="240" y="39"/>
                    </a:cubicBezTo>
                    <a:cubicBezTo>
                      <a:pt x="229" y="50"/>
                      <a:pt x="220" y="35"/>
                      <a:pt x="215" y="18"/>
                    </a:cubicBezTo>
                    <a:cubicBezTo>
                      <a:pt x="209" y="0"/>
                      <a:pt x="185" y="18"/>
                      <a:pt x="167" y="18"/>
                    </a:cubicBezTo>
                    <a:cubicBezTo>
                      <a:pt x="148" y="18"/>
                      <a:pt x="139" y="24"/>
                      <a:pt x="120" y="26"/>
                    </a:cubicBezTo>
                    <a:cubicBezTo>
                      <a:pt x="101" y="27"/>
                      <a:pt x="63" y="35"/>
                      <a:pt x="63" y="35"/>
                    </a:cubicBezTo>
                    <a:cubicBezTo>
                      <a:pt x="60" y="272"/>
                      <a:pt x="60" y="272"/>
                      <a:pt x="60" y="272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0" y="311"/>
                      <a:pt x="0" y="311"/>
                      <a:pt x="0" y="311"/>
                    </a:cubicBezTo>
                    <a:cubicBezTo>
                      <a:pt x="0" y="311"/>
                      <a:pt x="0" y="311"/>
                      <a:pt x="0" y="312"/>
                    </a:cubicBezTo>
                    <a:cubicBezTo>
                      <a:pt x="0" y="313"/>
                      <a:pt x="0" y="313"/>
                      <a:pt x="0" y="314"/>
                    </a:cubicBezTo>
                    <a:cubicBezTo>
                      <a:pt x="0" y="315"/>
                      <a:pt x="0" y="316"/>
                      <a:pt x="0" y="316"/>
                    </a:cubicBezTo>
                    <a:cubicBezTo>
                      <a:pt x="0" y="317"/>
                      <a:pt x="0" y="318"/>
                      <a:pt x="0" y="319"/>
                    </a:cubicBezTo>
                    <a:cubicBezTo>
                      <a:pt x="0" y="321"/>
                      <a:pt x="0" y="322"/>
                      <a:pt x="0" y="324"/>
                    </a:cubicBezTo>
                    <a:cubicBezTo>
                      <a:pt x="0" y="325"/>
                      <a:pt x="0" y="325"/>
                      <a:pt x="0" y="326"/>
                    </a:cubicBezTo>
                    <a:cubicBezTo>
                      <a:pt x="0" y="328"/>
                      <a:pt x="0" y="331"/>
                      <a:pt x="0" y="333"/>
                    </a:cubicBezTo>
                    <a:cubicBezTo>
                      <a:pt x="0" y="334"/>
                      <a:pt x="0" y="336"/>
                      <a:pt x="0" y="337"/>
                    </a:cubicBezTo>
                    <a:cubicBezTo>
                      <a:pt x="0" y="366"/>
                      <a:pt x="0" y="417"/>
                      <a:pt x="0" y="471"/>
                    </a:cubicBezTo>
                    <a:cubicBezTo>
                      <a:pt x="8" y="472"/>
                      <a:pt x="17" y="475"/>
                      <a:pt x="22" y="481"/>
                    </a:cubicBezTo>
                    <a:cubicBezTo>
                      <a:pt x="31" y="492"/>
                      <a:pt x="33" y="509"/>
                      <a:pt x="39" y="514"/>
                    </a:cubicBezTo>
                    <a:cubicBezTo>
                      <a:pt x="46" y="520"/>
                      <a:pt x="41" y="536"/>
                      <a:pt x="49" y="538"/>
                    </a:cubicBezTo>
                    <a:cubicBezTo>
                      <a:pt x="57" y="541"/>
                      <a:pt x="57" y="552"/>
                      <a:pt x="53" y="558"/>
                    </a:cubicBezTo>
                    <a:cubicBezTo>
                      <a:pt x="50" y="565"/>
                      <a:pt x="41" y="570"/>
                      <a:pt x="39" y="578"/>
                    </a:cubicBezTo>
                    <a:cubicBezTo>
                      <a:pt x="37" y="586"/>
                      <a:pt x="37" y="594"/>
                      <a:pt x="38" y="600"/>
                    </a:cubicBezTo>
                    <a:cubicBezTo>
                      <a:pt x="39" y="607"/>
                      <a:pt x="38" y="623"/>
                      <a:pt x="44" y="614"/>
                    </a:cubicBezTo>
                    <a:cubicBezTo>
                      <a:pt x="50" y="606"/>
                      <a:pt x="58" y="602"/>
                      <a:pt x="73" y="604"/>
                    </a:cubicBezTo>
                    <a:cubicBezTo>
                      <a:pt x="89" y="606"/>
                      <a:pt x="105" y="612"/>
                      <a:pt x="117" y="596"/>
                    </a:cubicBezTo>
                    <a:cubicBezTo>
                      <a:pt x="129" y="580"/>
                      <a:pt x="134" y="578"/>
                      <a:pt x="147" y="570"/>
                    </a:cubicBezTo>
                    <a:cubicBezTo>
                      <a:pt x="159" y="562"/>
                      <a:pt x="168" y="556"/>
                      <a:pt x="174" y="539"/>
                    </a:cubicBezTo>
                    <a:cubicBezTo>
                      <a:pt x="180" y="522"/>
                      <a:pt x="179" y="497"/>
                      <a:pt x="191" y="496"/>
                    </a:cubicBezTo>
                    <a:cubicBezTo>
                      <a:pt x="204" y="496"/>
                      <a:pt x="225" y="497"/>
                      <a:pt x="229" y="509"/>
                    </a:cubicBezTo>
                    <a:cubicBezTo>
                      <a:pt x="234" y="521"/>
                      <a:pt x="241" y="528"/>
                      <a:pt x="265" y="530"/>
                    </a:cubicBezTo>
                    <a:cubicBezTo>
                      <a:pt x="289" y="533"/>
                      <a:pt x="297" y="542"/>
                      <a:pt x="320" y="533"/>
                    </a:cubicBezTo>
                    <a:cubicBezTo>
                      <a:pt x="343" y="524"/>
                      <a:pt x="363" y="517"/>
                      <a:pt x="367" y="500"/>
                    </a:cubicBezTo>
                    <a:cubicBezTo>
                      <a:pt x="371" y="482"/>
                      <a:pt x="367" y="456"/>
                      <a:pt x="385" y="459"/>
                    </a:cubicBezTo>
                    <a:cubicBezTo>
                      <a:pt x="404" y="462"/>
                      <a:pt x="413" y="454"/>
                      <a:pt x="422" y="442"/>
                    </a:cubicBezTo>
                    <a:cubicBezTo>
                      <a:pt x="431" y="431"/>
                      <a:pt x="440" y="433"/>
                      <a:pt x="443" y="414"/>
                    </a:cubicBezTo>
                    <a:cubicBezTo>
                      <a:pt x="447" y="396"/>
                      <a:pt x="439" y="389"/>
                      <a:pt x="460" y="379"/>
                    </a:cubicBezTo>
                    <a:cubicBezTo>
                      <a:pt x="481" y="369"/>
                      <a:pt x="502" y="363"/>
                      <a:pt x="507" y="348"/>
                    </a:cubicBezTo>
                    <a:cubicBezTo>
                      <a:pt x="513" y="334"/>
                      <a:pt x="523" y="320"/>
                      <a:pt x="538" y="318"/>
                    </a:cubicBezTo>
                    <a:cubicBezTo>
                      <a:pt x="553" y="315"/>
                      <a:pt x="566" y="312"/>
                      <a:pt x="572" y="302"/>
                    </a:cubicBezTo>
                    <a:cubicBezTo>
                      <a:pt x="575" y="297"/>
                      <a:pt x="580" y="288"/>
                      <a:pt x="583" y="281"/>
                    </a:cubicBezTo>
                    <a:cubicBezTo>
                      <a:pt x="583" y="281"/>
                      <a:pt x="583" y="281"/>
                      <a:pt x="583" y="281"/>
                    </a:cubicBezTo>
                    <a:cubicBezTo>
                      <a:pt x="582" y="280"/>
                      <a:pt x="582" y="279"/>
                      <a:pt x="581" y="27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2" name="Freeform 376">
                <a:extLst>
                  <a:ext uri="{FF2B5EF4-FFF2-40B4-BE49-F238E27FC236}">
                    <a16:creationId xmlns:a16="http://schemas.microsoft.com/office/drawing/2014/main" id="{6801E5E1-8BAB-CF4E-8004-08E7C72D1D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3" y="3005"/>
                <a:ext cx="24" cy="30"/>
              </a:xfrm>
              <a:custGeom>
                <a:avLst/>
                <a:gdLst>
                  <a:gd name="T0" fmla="*/ 69 w 94"/>
                  <a:gd name="T1" fmla="*/ 16 h 117"/>
                  <a:gd name="T2" fmla="*/ 43 w 94"/>
                  <a:gd name="T3" fmla="*/ 2 h 117"/>
                  <a:gd name="T4" fmla="*/ 26 w 94"/>
                  <a:gd name="T5" fmla="*/ 20 h 117"/>
                  <a:gd name="T6" fmla="*/ 10 w 94"/>
                  <a:gd name="T7" fmla="*/ 40 h 117"/>
                  <a:gd name="T8" fmla="*/ 3 w 94"/>
                  <a:gd name="T9" fmla="*/ 59 h 117"/>
                  <a:gd name="T10" fmla="*/ 10 w 94"/>
                  <a:gd name="T11" fmla="*/ 78 h 117"/>
                  <a:gd name="T12" fmla="*/ 27 w 94"/>
                  <a:gd name="T13" fmla="*/ 99 h 117"/>
                  <a:gd name="T14" fmla="*/ 42 w 94"/>
                  <a:gd name="T15" fmla="*/ 110 h 117"/>
                  <a:gd name="T16" fmla="*/ 80 w 94"/>
                  <a:gd name="T17" fmla="*/ 103 h 117"/>
                  <a:gd name="T18" fmla="*/ 84 w 94"/>
                  <a:gd name="T19" fmla="*/ 77 h 117"/>
                  <a:gd name="T20" fmla="*/ 94 w 94"/>
                  <a:gd name="T21" fmla="*/ 72 h 117"/>
                  <a:gd name="T22" fmla="*/ 94 w 94"/>
                  <a:gd name="T23" fmla="*/ 72 h 117"/>
                  <a:gd name="T24" fmla="*/ 90 w 94"/>
                  <a:gd name="T25" fmla="*/ 54 h 117"/>
                  <a:gd name="T26" fmla="*/ 90 w 94"/>
                  <a:gd name="T27" fmla="*/ 53 h 117"/>
                  <a:gd name="T28" fmla="*/ 89 w 94"/>
                  <a:gd name="T29" fmla="*/ 51 h 117"/>
                  <a:gd name="T30" fmla="*/ 89 w 94"/>
                  <a:gd name="T31" fmla="*/ 50 h 117"/>
                  <a:gd name="T32" fmla="*/ 89 w 94"/>
                  <a:gd name="T33" fmla="*/ 48 h 117"/>
                  <a:gd name="T34" fmla="*/ 89 w 94"/>
                  <a:gd name="T35" fmla="*/ 47 h 117"/>
                  <a:gd name="T36" fmla="*/ 89 w 94"/>
                  <a:gd name="T37" fmla="*/ 45 h 117"/>
                  <a:gd name="T38" fmla="*/ 89 w 94"/>
                  <a:gd name="T39" fmla="*/ 39 h 117"/>
                  <a:gd name="T40" fmla="*/ 89 w 94"/>
                  <a:gd name="T41" fmla="*/ 38 h 117"/>
                  <a:gd name="T42" fmla="*/ 88 w 94"/>
                  <a:gd name="T43" fmla="*/ 33 h 117"/>
                  <a:gd name="T44" fmla="*/ 88 w 94"/>
                  <a:gd name="T45" fmla="*/ 32 h 117"/>
                  <a:gd name="T46" fmla="*/ 84 w 94"/>
                  <a:gd name="T47" fmla="*/ 20 h 117"/>
                  <a:gd name="T48" fmla="*/ 84 w 94"/>
                  <a:gd name="T49" fmla="*/ 19 h 117"/>
                  <a:gd name="T50" fmla="*/ 69 w 94"/>
                  <a:gd name="T51" fmla="*/ 16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4" h="117">
                    <a:moveTo>
                      <a:pt x="69" y="16"/>
                    </a:moveTo>
                    <a:cubicBezTo>
                      <a:pt x="60" y="12"/>
                      <a:pt x="51" y="0"/>
                      <a:pt x="43" y="2"/>
                    </a:cubicBezTo>
                    <a:cubicBezTo>
                      <a:pt x="34" y="4"/>
                      <a:pt x="28" y="12"/>
                      <a:pt x="26" y="20"/>
                    </a:cubicBezTo>
                    <a:cubicBezTo>
                      <a:pt x="23" y="28"/>
                      <a:pt x="14" y="37"/>
                      <a:pt x="10" y="40"/>
                    </a:cubicBezTo>
                    <a:cubicBezTo>
                      <a:pt x="6" y="43"/>
                      <a:pt x="3" y="52"/>
                      <a:pt x="3" y="59"/>
                    </a:cubicBezTo>
                    <a:cubicBezTo>
                      <a:pt x="3" y="66"/>
                      <a:pt x="0" y="74"/>
                      <a:pt x="10" y="78"/>
                    </a:cubicBezTo>
                    <a:cubicBezTo>
                      <a:pt x="19" y="82"/>
                      <a:pt x="23" y="92"/>
                      <a:pt x="27" y="99"/>
                    </a:cubicBezTo>
                    <a:cubicBezTo>
                      <a:pt x="30" y="106"/>
                      <a:pt x="28" y="110"/>
                      <a:pt x="42" y="110"/>
                    </a:cubicBezTo>
                    <a:cubicBezTo>
                      <a:pt x="56" y="111"/>
                      <a:pt x="79" y="117"/>
                      <a:pt x="80" y="103"/>
                    </a:cubicBezTo>
                    <a:cubicBezTo>
                      <a:pt x="81" y="89"/>
                      <a:pt x="78" y="80"/>
                      <a:pt x="84" y="77"/>
                    </a:cubicBezTo>
                    <a:cubicBezTo>
                      <a:pt x="87" y="76"/>
                      <a:pt x="90" y="74"/>
                      <a:pt x="94" y="72"/>
                    </a:cubicBezTo>
                    <a:cubicBezTo>
                      <a:pt x="94" y="72"/>
                      <a:pt x="94" y="72"/>
                      <a:pt x="94" y="72"/>
                    </a:cubicBezTo>
                    <a:cubicBezTo>
                      <a:pt x="92" y="67"/>
                      <a:pt x="90" y="60"/>
                      <a:pt x="90" y="54"/>
                    </a:cubicBezTo>
                    <a:cubicBezTo>
                      <a:pt x="90" y="54"/>
                      <a:pt x="90" y="53"/>
                      <a:pt x="90" y="53"/>
                    </a:cubicBezTo>
                    <a:cubicBezTo>
                      <a:pt x="90" y="52"/>
                      <a:pt x="89" y="51"/>
                      <a:pt x="89" y="51"/>
                    </a:cubicBezTo>
                    <a:cubicBezTo>
                      <a:pt x="89" y="50"/>
                      <a:pt x="89" y="50"/>
                      <a:pt x="89" y="50"/>
                    </a:cubicBezTo>
                    <a:cubicBezTo>
                      <a:pt x="89" y="49"/>
                      <a:pt x="89" y="48"/>
                      <a:pt x="89" y="48"/>
                    </a:cubicBezTo>
                    <a:cubicBezTo>
                      <a:pt x="89" y="47"/>
                      <a:pt x="89" y="47"/>
                      <a:pt x="89" y="47"/>
                    </a:cubicBezTo>
                    <a:cubicBezTo>
                      <a:pt x="89" y="46"/>
                      <a:pt x="89" y="45"/>
                      <a:pt x="89" y="45"/>
                    </a:cubicBezTo>
                    <a:cubicBezTo>
                      <a:pt x="89" y="43"/>
                      <a:pt x="89" y="41"/>
                      <a:pt x="89" y="39"/>
                    </a:cubicBezTo>
                    <a:cubicBezTo>
                      <a:pt x="89" y="39"/>
                      <a:pt x="89" y="39"/>
                      <a:pt x="89" y="38"/>
                    </a:cubicBezTo>
                    <a:cubicBezTo>
                      <a:pt x="88" y="37"/>
                      <a:pt x="88" y="35"/>
                      <a:pt x="88" y="33"/>
                    </a:cubicBezTo>
                    <a:cubicBezTo>
                      <a:pt x="88" y="33"/>
                      <a:pt x="88" y="32"/>
                      <a:pt x="88" y="32"/>
                    </a:cubicBezTo>
                    <a:cubicBezTo>
                      <a:pt x="87" y="28"/>
                      <a:pt x="86" y="24"/>
                      <a:pt x="84" y="20"/>
                    </a:cubicBezTo>
                    <a:cubicBezTo>
                      <a:pt x="84" y="20"/>
                      <a:pt x="84" y="20"/>
                      <a:pt x="84" y="19"/>
                    </a:cubicBezTo>
                    <a:cubicBezTo>
                      <a:pt x="80" y="19"/>
                      <a:pt x="75" y="19"/>
                      <a:pt x="69" y="1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3" name="Freeform 377">
                <a:extLst>
                  <a:ext uri="{FF2B5EF4-FFF2-40B4-BE49-F238E27FC236}">
                    <a16:creationId xmlns:a16="http://schemas.microsoft.com/office/drawing/2014/main" id="{80D3FDF1-E1F8-1440-8102-6023F2E342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63" y="2942"/>
                <a:ext cx="266" cy="223"/>
              </a:xfrm>
              <a:custGeom>
                <a:avLst/>
                <a:gdLst>
                  <a:gd name="T0" fmla="*/ 1007 w 1052"/>
                  <a:gd name="T1" fmla="*/ 330 h 880"/>
                  <a:gd name="T2" fmla="*/ 1005 w 1052"/>
                  <a:gd name="T3" fmla="*/ 328 h 880"/>
                  <a:gd name="T4" fmla="*/ 1002 w 1052"/>
                  <a:gd name="T5" fmla="*/ 323 h 880"/>
                  <a:gd name="T6" fmla="*/ 992 w 1052"/>
                  <a:gd name="T7" fmla="*/ 325 h 880"/>
                  <a:gd name="T8" fmla="*/ 935 w 1052"/>
                  <a:gd name="T9" fmla="*/ 347 h 880"/>
                  <a:gd name="T10" fmla="*/ 918 w 1052"/>
                  <a:gd name="T11" fmla="*/ 288 h 880"/>
                  <a:gd name="T12" fmla="*/ 977 w 1052"/>
                  <a:gd name="T13" fmla="*/ 264 h 880"/>
                  <a:gd name="T14" fmla="*/ 990 w 1052"/>
                  <a:gd name="T15" fmla="*/ 262 h 880"/>
                  <a:gd name="T16" fmla="*/ 949 w 1052"/>
                  <a:gd name="T17" fmla="*/ 45 h 880"/>
                  <a:gd name="T18" fmla="*/ 946 w 1052"/>
                  <a:gd name="T19" fmla="*/ 36 h 880"/>
                  <a:gd name="T20" fmla="*/ 942 w 1052"/>
                  <a:gd name="T21" fmla="*/ 28 h 880"/>
                  <a:gd name="T22" fmla="*/ 893 w 1052"/>
                  <a:gd name="T23" fmla="*/ 21 h 880"/>
                  <a:gd name="T24" fmla="*/ 886 w 1052"/>
                  <a:gd name="T25" fmla="*/ 22 h 880"/>
                  <a:gd name="T26" fmla="*/ 836 w 1052"/>
                  <a:gd name="T27" fmla="*/ 11 h 880"/>
                  <a:gd name="T28" fmla="*/ 826 w 1052"/>
                  <a:gd name="T29" fmla="*/ 11 h 880"/>
                  <a:gd name="T30" fmla="*/ 821 w 1052"/>
                  <a:gd name="T31" fmla="*/ 10 h 880"/>
                  <a:gd name="T32" fmla="*/ 815 w 1052"/>
                  <a:gd name="T33" fmla="*/ 7 h 880"/>
                  <a:gd name="T34" fmla="*/ 812 w 1052"/>
                  <a:gd name="T35" fmla="*/ 5 h 880"/>
                  <a:gd name="T36" fmla="*/ 808 w 1052"/>
                  <a:gd name="T37" fmla="*/ 0 h 880"/>
                  <a:gd name="T38" fmla="*/ 763 w 1052"/>
                  <a:gd name="T39" fmla="*/ 37 h 880"/>
                  <a:gd name="T40" fmla="*/ 668 w 1052"/>
                  <a:gd name="T41" fmla="*/ 133 h 880"/>
                  <a:gd name="T42" fmla="*/ 592 w 1052"/>
                  <a:gd name="T43" fmla="*/ 219 h 880"/>
                  <a:gd name="T44" fmla="*/ 454 w 1052"/>
                  <a:gd name="T45" fmla="*/ 228 h 880"/>
                  <a:gd name="T46" fmla="*/ 372 w 1052"/>
                  <a:gd name="T47" fmla="*/ 289 h 880"/>
                  <a:gd name="T48" fmla="*/ 269 w 1052"/>
                  <a:gd name="T49" fmla="*/ 333 h 880"/>
                  <a:gd name="T50" fmla="*/ 278 w 1052"/>
                  <a:gd name="T51" fmla="*/ 277 h 880"/>
                  <a:gd name="T52" fmla="*/ 247 w 1052"/>
                  <a:gd name="T53" fmla="*/ 200 h 880"/>
                  <a:gd name="T54" fmla="*/ 224 w 1052"/>
                  <a:gd name="T55" fmla="*/ 396 h 880"/>
                  <a:gd name="T56" fmla="*/ 224 w 1052"/>
                  <a:gd name="T57" fmla="*/ 404 h 880"/>
                  <a:gd name="T58" fmla="*/ 224 w 1052"/>
                  <a:gd name="T59" fmla="*/ 409 h 880"/>
                  <a:gd name="T60" fmla="*/ 224 w 1052"/>
                  <a:gd name="T61" fmla="*/ 414 h 880"/>
                  <a:gd name="T62" fmla="*/ 224 w 1052"/>
                  <a:gd name="T63" fmla="*/ 416 h 880"/>
                  <a:gd name="T64" fmla="*/ 182 w 1052"/>
                  <a:gd name="T65" fmla="*/ 461 h 880"/>
                  <a:gd name="T66" fmla="*/ 70 w 1052"/>
                  <a:gd name="T67" fmla="*/ 459 h 880"/>
                  <a:gd name="T68" fmla="*/ 14 w 1052"/>
                  <a:gd name="T69" fmla="*/ 438 h 880"/>
                  <a:gd name="T70" fmla="*/ 42 w 1052"/>
                  <a:gd name="T71" fmla="*/ 536 h 880"/>
                  <a:gd name="T72" fmla="*/ 120 w 1052"/>
                  <a:gd name="T73" fmla="*/ 690 h 880"/>
                  <a:gd name="T74" fmla="*/ 118 w 1052"/>
                  <a:gd name="T75" fmla="*/ 792 h 880"/>
                  <a:gd name="T76" fmla="*/ 209 w 1052"/>
                  <a:gd name="T77" fmla="*/ 876 h 880"/>
                  <a:gd name="T78" fmla="*/ 355 w 1052"/>
                  <a:gd name="T79" fmla="*/ 841 h 880"/>
                  <a:gd name="T80" fmla="*/ 474 w 1052"/>
                  <a:gd name="T81" fmla="*/ 829 h 880"/>
                  <a:gd name="T82" fmla="*/ 621 w 1052"/>
                  <a:gd name="T83" fmla="*/ 805 h 880"/>
                  <a:gd name="T84" fmla="*/ 823 w 1052"/>
                  <a:gd name="T85" fmla="*/ 667 h 880"/>
                  <a:gd name="T86" fmla="*/ 1020 w 1052"/>
                  <a:gd name="T87" fmla="*/ 436 h 880"/>
                  <a:gd name="T88" fmla="*/ 1052 w 1052"/>
                  <a:gd name="T89" fmla="*/ 322 h 880"/>
                  <a:gd name="T90" fmla="*/ 817 w 1052"/>
                  <a:gd name="T91" fmla="*/ 509 h 880"/>
                  <a:gd name="T92" fmla="*/ 745 w 1052"/>
                  <a:gd name="T93" fmla="*/ 580 h 880"/>
                  <a:gd name="T94" fmla="*/ 686 w 1052"/>
                  <a:gd name="T95" fmla="*/ 543 h 880"/>
                  <a:gd name="T96" fmla="*/ 712 w 1052"/>
                  <a:gd name="T97" fmla="*/ 483 h 880"/>
                  <a:gd name="T98" fmla="*/ 770 w 1052"/>
                  <a:gd name="T99" fmla="*/ 444 h 880"/>
                  <a:gd name="T100" fmla="*/ 825 w 1052"/>
                  <a:gd name="T101" fmla="*/ 495 h 8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52" h="880">
                    <a:moveTo>
                      <a:pt x="1009" y="331"/>
                    </a:moveTo>
                    <a:cubicBezTo>
                      <a:pt x="1009" y="331"/>
                      <a:pt x="1009" y="331"/>
                      <a:pt x="1008" y="331"/>
                    </a:cubicBezTo>
                    <a:cubicBezTo>
                      <a:pt x="1008" y="331"/>
                      <a:pt x="1008" y="331"/>
                      <a:pt x="1007" y="330"/>
                    </a:cubicBezTo>
                    <a:cubicBezTo>
                      <a:pt x="1007" y="330"/>
                      <a:pt x="1007" y="330"/>
                      <a:pt x="1007" y="330"/>
                    </a:cubicBezTo>
                    <a:cubicBezTo>
                      <a:pt x="1007" y="330"/>
                      <a:pt x="1006" y="329"/>
                      <a:pt x="1006" y="329"/>
                    </a:cubicBezTo>
                    <a:cubicBezTo>
                      <a:pt x="1006" y="329"/>
                      <a:pt x="1006" y="329"/>
                      <a:pt x="1005" y="328"/>
                    </a:cubicBezTo>
                    <a:cubicBezTo>
                      <a:pt x="1005" y="328"/>
                      <a:pt x="1005" y="328"/>
                      <a:pt x="1005" y="328"/>
                    </a:cubicBezTo>
                    <a:cubicBezTo>
                      <a:pt x="1004" y="326"/>
                      <a:pt x="1003" y="325"/>
                      <a:pt x="1003" y="323"/>
                    </a:cubicBezTo>
                    <a:cubicBezTo>
                      <a:pt x="1003" y="323"/>
                      <a:pt x="1002" y="323"/>
                      <a:pt x="1002" y="323"/>
                    </a:cubicBezTo>
                    <a:cubicBezTo>
                      <a:pt x="1002" y="322"/>
                      <a:pt x="1002" y="321"/>
                      <a:pt x="1002" y="320"/>
                    </a:cubicBezTo>
                    <a:cubicBezTo>
                      <a:pt x="1002" y="320"/>
                      <a:pt x="1002" y="320"/>
                      <a:pt x="1002" y="320"/>
                    </a:cubicBezTo>
                    <a:cubicBezTo>
                      <a:pt x="998" y="322"/>
                      <a:pt x="995" y="324"/>
                      <a:pt x="992" y="325"/>
                    </a:cubicBezTo>
                    <a:cubicBezTo>
                      <a:pt x="986" y="328"/>
                      <a:pt x="989" y="337"/>
                      <a:pt x="988" y="351"/>
                    </a:cubicBezTo>
                    <a:cubicBezTo>
                      <a:pt x="987" y="365"/>
                      <a:pt x="964" y="359"/>
                      <a:pt x="950" y="358"/>
                    </a:cubicBezTo>
                    <a:cubicBezTo>
                      <a:pt x="936" y="358"/>
                      <a:pt x="938" y="354"/>
                      <a:pt x="935" y="347"/>
                    </a:cubicBezTo>
                    <a:cubicBezTo>
                      <a:pt x="931" y="340"/>
                      <a:pt x="927" y="330"/>
                      <a:pt x="918" y="326"/>
                    </a:cubicBezTo>
                    <a:cubicBezTo>
                      <a:pt x="908" y="322"/>
                      <a:pt x="911" y="314"/>
                      <a:pt x="911" y="307"/>
                    </a:cubicBezTo>
                    <a:cubicBezTo>
                      <a:pt x="911" y="300"/>
                      <a:pt x="914" y="291"/>
                      <a:pt x="918" y="288"/>
                    </a:cubicBezTo>
                    <a:cubicBezTo>
                      <a:pt x="922" y="285"/>
                      <a:pt x="931" y="276"/>
                      <a:pt x="934" y="268"/>
                    </a:cubicBezTo>
                    <a:cubicBezTo>
                      <a:pt x="936" y="260"/>
                      <a:pt x="942" y="252"/>
                      <a:pt x="951" y="250"/>
                    </a:cubicBezTo>
                    <a:cubicBezTo>
                      <a:pt x="959" y="248"/>
                      <a:pt x="968" y="260"/>
                      <a:pt x="977" y="264"/>
                    </a:cubicBezTo>
                    <a:cubicBezTo>
                      <a:pt x="983" y="267"/>
                      <a:pt x="988" y="267"/>
                      <a:pt x="992" y="267"/>
                    </a:cubicBezTo>
                    <a:cubicBezTo>
                      <a:pt x="992" y="267"/>
                      <a:pt x="992" y="267"/>
                      <a:pt x="992" y="267"/>
                    </a:cubicBezTo>
                    <a:cubicBezTo>
                      <a:pt x="992" y="266"/>
                      <a:pt x="991" y="264"/>
                      <a:pt x="990" y="262"/>
                    </a:cubicBezTo>
                    <a:cubicBezTo>
                      <a:pt x="986" y="250"/>
                      <a:pt x="994" y="207"/>
                      <a:pt x="992" y="179"/>
                    </a:cubicBezTo>
                    <a:cubicBezTo>
                      <a:pt x="989" y="151"/>
                      <a:pt x="985" y="134"/>
                      <a:pt x="973" y="121"/>
                    </a:cubicBezTo>
                    <a:cubicBezTo>
                      <a:pt x="961" y="107"/>
                      <a:pt x="958" y="87"/>
                      <a:pt x="949" y="45"/>
                    </a:cubicBezTo>
                    <a:cubicBezTo>
                      <a:pt x="949" y="43"/>
                      <a:pt x="948" y="42"/>
                      <a:pt x="948" y="40"/>
                    </a:cubicBezTo>
                    <a:cubicBezTo>
                      <a:pt x="948" y="40"/>
                      <a:pt x="948" y="39"/>
                      <a:pt x="948" y="39"/>
                    </a:cubicBezTo>
                    <a:cubicBezTo>
                      <a:pt x="947" y="38"/>
                      <a:pt x="947" y="37"/>
                      <a:pt x="946" y="36"/>
                    </a:cubicBezTo>
                    <a:cubicBezTo>
                      <a:pt x="946" y="35"/>
                      <a:pt x="946" y="35"/>
                      <a:pt x="946" y="35"/>
                    </a:cubicBezTo>
                    <a:cubicBezTo>
                      <a:pt x="945" y="32"/>
                      <a:pt x="944" y="30"/>
                      <a:pt x="942" y="28"/>
                    </a:cubicBezTo>
                    <a:cubicBezTo>
                      <a:pt x="942" y="28"/>
                      <a:pt x="942" y="28"/>
                      <a:pt x="942" y="28"/>
                    </a:cubicBezTo>
                    <a:cubicBezTo>
                      <a:pt x="931" y="13"/>
                      <a:pt x="912" y="17"/>
                      <a:pt x="896" y="20"/>
                    </a:cubicBezTo>
                    <a:cubicBezTo>
                      <a:pt x="896" y="21"/>
                      <a:pt x="895" y="21"/>
                      <a:pt x="895" y="21"/>
                    </a:cubicBezTo>
                    <a:cubicBezTo>
                      <a:pt x="894" y="21"/>
                      <a:pt x="893" y="21"/>
                      <a:pt x="893" y="21"/>
                    </a:cubicBezTo>
                    <a:cubicBezTo>
                      <a:pt x="892" y="21"/>
                      <a:pt x="891" y="21"/>
                      <a:pt x="890" y="21"/>
                    </a:cubicBezTo>
                    <a:cubicBezTo>
                      <a:pt x="890" y="21"/>
                      <a:pt x="889" y="22"/>
                      <a:pt x="889" y="22"/>
                    </a:cubicBezTo>
                    <a:cubicBezTo>
                      <a:pt x="888" y="22"/>
                      <a:pt x="887" y="22"/>
                      <a:pt x="886" y="22"/>
                    </a:cubicBezTo>
                    <a:cubicBezTo>
                      <a:pt x="886" y="22"/>
                      <a:pt x="886" y="22"/>
                      <a:pt x="886" y="22"/>
                    </a:cubicBezTo>
                    <a:cubicBezTo>
                      <a:pt x="884" y="22"/>
                      <a:pt x="883" y="22"/>
                      <a:pt x="882" y="22"/>
                    </a:cubicBezTo>
                    <a:cubicBezTo>
                      <a:pt x="861" y="22"/>
                      <a:pt x="858" y="11"/>
                      <a:pt x="836" y="11"/>
                    </a:cubicBezTo>
                    <a:cubicBezTo>
                      <a:pt x="834" y="11"/>
                      <a:pt x="832" y="11"/>
                      <a:pt x="831" y="11"/>
                    </a:cubicBezTo>
                    <a:cubicBezTo>
                      <a:pt x="830" y="11"/>
                      <a:pt x="830" y="11"/>
                      <a:pt x="830" y="11"/>
                    </a:cubicBezTo>
                    <a:cubicBezTo>
                      <a:pt x="828" y="11"/>
                      <a:pt x="827" y="11"/>
                      <a:pt x="826" y="11"/>
                    </a:cubicBezTo>
                    <a:cubicBezTo>
                      <a:pt x="826" y="11"/>
                      <a:pt x="826" y="11"/>
                      <a:pt x="825" y="11"/>
                    </a:cubicBezTo>
                    <a:cubicBezTo>
                      <a:pt x="824" y="10"/>
                      <a:pt x="823" y="10"/>
                      <a:pt x="822" y="10"/>
                    </a:cubicBezTo>
                    <a:cubicBezTo>
                      <a:pt x="821" y="10"/>
                      <a:pt x="821" y="10"/>
                      <a:pt x="821" y="10"/>
                    </a:cubicBezTo>
                    <a:cubicBezTo>
                      <a:pt x="820" y="9"/>
                      <a:pt x="819" y="9"/>
                      <a:pt x="818" y="9"/>
                    </a:cubicBezTo>
                    <a:cubicBezTo>
                      <a:pt x="818" y="9"/>
                      <a:pt x="818" y="8"/>
                      <a:pt x="818" y="8"/>
                    </a:cubicBezTo>
                    <a:cubicBezTo>
                      <a:pt x="817" y="8"/>
                      <a:pt x="816" y="8"/>
                      <a:pt x="815" y="7"/>
                    </a:cubicBezTo>
                    <a:cubicBezTo>
                      <a:pt x="815" y="7"/>
                      <a:pt x="815" y="7"/>
                      <a:pt x="815" y="7"/>
                    </a:cubicBezTo>
                    <a:cubicBezTo>
                      <a:pt x="814" y="6"/>
                      <a:pt x="813" y="6"/>
                      <a:pt x="813" y="5"/>
                    </a:cubicBezTo>
                    <a:cubicBezTo>
                      <a:pt x="812" y="5"/>
                      <a:pt x="812" y="5"/>
                      <a:pt x="812" y="5"/>
                    </a:cubicBezTo>
                    <a:cubicBezTo>
                      <a:pt x="811" y="4"/>
                      <a:pt x="811" y="4"/>
                      <a:pt x="810" y="3"/>
                    </a:cubicBezTo>
                    <a:cubicBezTo>
                      <a:pt x="810" y="3"/>
                      <a:pt x="810" y="3"/>
                      <a:pt x="810" y="2"/>
                    </a:cubicBezTo>
                    <a:cubicBezTo>
                      <a:pt x="809" y="2"/>
                      <a:pt x="809" y="1"/>
                      <a:pt x="808" y="0"/>
                    </a:cubicBezTo>
                    <a:cubicBezTo>
                      <a:pt x="808" y="0"/>
                      <a:pt x="808" y="0"/>
                      <a:pt x="808" y="0"/>
                    </a:cubicBezTo>
                    <a:cubicBezTo>
                      <a:pt x="805" y="7"/>
                      <a:pt x="800" y="16"/>
                      <a:pt x="797" y="21"/>
                    </a:cubicBezTo>
                    <a:cubicBezTo>
                      <a:pt x="791" y="31"/>
                      <a:pt x="778" y="34"/>
                      <a:pt x="763" y="37"/>
                    </a:cubicBezTo>
                    <a:cubicBezTo>
                      <a:pt x="748" y="39"/>
                      <a:pt x="738" y="53"/>
                      <a:pt x="732" y="67"/>
                    </a:cubicBezTo>
                    <a:cubicBezTo>
                      <a:pt x="727" y="82"/>
                      <a:pt x="706" y="88"/>
                      <a:pt x="685" y="98"/>
                    </a:cubicBezTo>
                    <a:cubicBezTo>
                      <a:pt x="664" y="108"/>
                      <a:pt x="672" y="115"/>
                      <a:pt x="668" y="133"/>
                    </a:cubicBezTo>
                    <a:cubicBezTo>
                      <a:pt x="665" y="152"/>
                      <a:pt x="656" y="150"/>
                      <a:pt x="647" y="161"/>
                    </a:cubicBezTo>
                    <a:cubicBezTo>
                      <a:pt x="638" y="173"/>
                      <a:pt x="629" y="181"/>
                      <a:pt x="610" y="178"/>
                    </a:cubicBezTo>
                    <a:cubicBezTo>
                      <a:pt x="592" y="175"/>
                      <a:pt x="596" y="201"/>
                      <a:pt x="592" y="219"/>
                    </a:cubicBezTo>
                    <a:cubicBezTo>
                      <a:pt x="588" y="236"/>
                      <a:pt x="568" y="243"/>
                      <a:pt x="545" y="252"/>
                    </a:cubicBezTo>
                    <a:cubicBezTo>
                      <a:pt x="522" y="261"/>
                      <a:pt x="514" y="252"/>
                      <a:pt x="490" y="249"/>
                    </a:cubicBezTo>
                    <a:cubicBezTo>
                      <a:pt x="466" y="247"/>
                      <a:pt x="459" y="240"/>
                      <a:pt x="454" y="228"/>
                    </a:cubicBezTo>
                    <a:cubicBezTo>
                      <a:pt x="450" y="216"/>
                      <a:pt x="429" y="215"/>
                      <a:pt x="416" y="215"/>
                    </a:cubicBezTo>
                    <a:cubicBezTo>
                      <a:pt x="404" y="216"/>
                      <a:pt x="405" y="241"/>
                      <a:pt x="399" y="258"/>
                    </a:cubicBezTo>
                    <a:cubicBezTo>
                      <a:pt x="393" y="275"/>
                      <a:pt x="384" y="281"/>
                      <a:pt x="372" y="289"/>
                    </a:cubicBezTo>
                    <a:cubicBezTo>
                      <a:pt x="359" y="297"/>
                      <a:pt x="354" y="299"/>
                      <a:pt x="342" y="315"/>
                    </a:cubicBezTo>
                    <a:cubicBezTo>
                      <a:pt x="330" y="331"/>
                      <a:pt x="314" y="325"/>
                      <a:pt x="298" y="323"/>
                    </a:cubicBezTo>
                    <a:cubicBezTo>
                      <a:pt x="283" y="321"/>
                      <a:pt x="275" y="325"/>
                      <a:pt x="269" y="333"/>
                    </a:cubicBezTo>
                    <a:cubicBezTo>
                      <a:pt x="263" y="342"/>
                      <a:pt x="264" y="326"/>
                      <a:pt x="263" y="319"/>
                    </a:cubicBezTo>
                    <a:cubicBezTo>
                      <a:pt x="262" y="313"/>
                      <a:pt x="262" y="305"/>
                      <a:pt x="264" y="297"/>
                    </a:cubicBezTo>
                    <a:cubicBezTo>
                      <a:pt x="266" y="289"/>
                      <a:pt x="275" y="284"/>
                      <a:pt x="278" y="277"/>
                    </a:cubicBezTo>
                    <a:cubicBezTo>
                      <a:pt x="282" y="271"/>
                      <a:pt x="282" y="260"/>
                      <a:pt x="274" y="257"/>
                    </a:cubicBezTo>
                    <a:cubicBezTo>
                      <a:pt x="266" y="255"/>
                      <a:pt x="271" y="239"/>
                      <a:pt x="264" y="233"/>
                    </a:cubicBezTo>
                    <a:cubicBezTo>
                      <a:pt x="258" y="228"/>
                      <a:pt x="256" y="211"/>
                      <a:pt x="247" y="200"/>
                    </a:cubicBezTo>
                    <a:cubicBezTo>
                      <a:pt x="242" y="194"/>
                      <a:pt x="233" y="191"/>
                      <a:pt x="225" y="190"/>
                    </a:cubicBezTo>
                    <a:cubicBezTo>
                      <a:pt x="225" y="268"/>
                      <a:pt x="225" y="354"/>
                      <a:pt x="224" y="395"/>
                    </a:cubicBezTo>
                    <a:cubicBezTo>
                      <a:pt x="224" y="396"/>
                      <a:pt x="224" y="396"/>
                      <a:pt x="224" y="396"/>
                    </a:cubicBezTo>
                    <a:cubicBezTo>
                      <a:pt x="224" y="397"/>
                      <a:pt x="224" y="399"/>
                      <a:pt x="224" y="400"/>
                    </a:cubicBezTo>
                    <a:cubicBezTo>
                      <a:pt x="224" y="400"/>
                      <a:pt x="224" y="400"/>
                      <a:pt x="224" y="401"/>
                    </a:cubicBezTo>
                    <a:cubicBezTo>
                      <a:pt x="224" y="402"/>
                      <a:pt x="224" y="403"/>
                      <a:pt x="224" y="404"/>
                    </a:cubicBezTo>
                    <a:cubicBezTo>
                      <a:pt x="224" y="404"/>
                      <a:pt x="224" y="405"/>
                      <a:pt x="224" y="405"/>
                    </a:cubicBezTo>
                    <a:cubicBezTo>
                      <a:pt x="224" y="406"/>
                      <a:pt x="224" y="407"/>
                      <a:pt x="224" y="407"/>
                    </a:cubicBezTo>
                    <a:cubicBezTo>
                      <a:pt x="224" y="408"/>
                      <a:pt x="224" y="408"/>
                      <a:pt x="224" y="409"/>
                    </a:cubicBezTo>
                    <a:cubicBezTo>
                      <a:pt x="224" y="409"/>
                      <a:pt x="224" y="410"/>
                      <a:pt x="224" y="411"/>
                    </a:cubicBezTo>
                    <a:cubicBezTo>
                      <a:pt x="224" y="411"/>
                      <a:pt x="224" y="411"/>
                      <a:pt x="224" y="412"/>
                    </a:cubicBezTo>
                    <a:cubicBezTo>
                      <a:pt x="224" y="412"/>
                      <a:pt x="224" y="413"/>
                      <a:pt x="224" y="414"/>
                    </a:cubicBezTo>
                    <a:cubicBezTo>
                      <a:pt x="224" y="414"/>
                      <a:pt x="224" y="414"/>
                      <a:pt x="224" y="414"/>
                    </a:cubicBezTo>
                    <a:cubicBezTo>
                      <a:pt x="224" y="415"/>
                      <a:pt x="224" y="416"/>
                      <a:pt x="224" y="416"/>
                    </a:cubicBezTo>
                    <a:cubicBezTo>
                      <a:pt x="224" y="416"/>
                      <a:pt x="224" y="416"/>
                      <a:pt x="224" y="416"/>
                    </a:cubicBezTo>
                    <a:cubicBezTo>
                      <a:pt x="224" y="417"/>
                      <a:pt x="224" y="418"/>
                      <a:pt x="224" y="418"/>
                    </a:cubicBezTo>
                    <a:cubicBezTo>
                      <a:pt x="222" y="445"/>
                      <a:pt x="221" y="442"/>
                      <a:pt x="209" y="441"/>
                    </a:cubicBezTo>
                    <a:cubicBezTo>
                      <a:pt x="197" y="439"/>
                      <a:pt x="189" y="450"/>
                      <a:pt x="182" y="461"/>
                    </a:cubicBezTo>
                    <a:cubicBezTo>
                      <a:pt x="176" y="471"/>
                      <a:pt x="160" y="469"/>
                      <a:pt x="145" y="466"/>
                    </a:cubicBezTo>
                    <a:cubicBezTo>
                      <a:pt x="130" y="463"/>
                      <a:pt x="110" y="474"/>
                      <a:pt x="102" y="466"/>
                    </a:cubicBezTo>
                    <a:cubicBezTo>
                      <a:pt x="94" y="458"/>
                      <a:pt x="89" y="462"/>
                      <a:pt x="70" y="459"/>
                    </a:cubicBezTo>
                    <a:cubicBezTo>
                      <a:pt x="52" y="457"/>
                      <a:pt x="60" y="446"/>
                      <a:pt x="57" y="430"/>
                    </a:cubicBezTo>
                    <a:cubicBezTo>
                      <a:pt x="54" y="414"/>
                      <a:pt x="54" y="415"/>
                      <a:pt x="34" y="411"/>
                    </a:cubicBezTo>
                    <a:cubicBezTo>
                      <a:pt x="14" y="407"/>
                      <a:pt x="32" y="437"/>
                      <a:pt x="14" y="438"/>
                    </a:cubicBezTo>
                    <a:cubicBezTo>
                      <a:pt x="8" y="439"/>
                      <a:pt x="4" y="441"/>
                      <a:pt x="0" y="443"/>
                    </a:cubicBezTo>
                    <a:cubicBezTo>
                      <a:pt x="7" y="453"/>
                      <a:pt x="14" y="461"/>
                      <a:pt x="19" y="468"/>
                    </a:cubicBezTo>
                    <a:cubicBezTo>
                      <a:pt x="32" y="487"/>
                      <a:pt x="39" y="508"/>
                      <a:pt x="42" y="536"/>
                    </a:cubicBezTo>
                    <a:cubicBezTo>
                      <a:pt x="46" y="564"/>
                      <a:pt x="53" y="580"/>
                      <a:pt x="68" y="598"/>
                    </a:cubicBezTo>
                    <a:cubicBezTo>
                      <a:pt x="83" y="617"/>
                      <a:pt x="90" y="633"/>
                      <a:pt x="104" y="647"/>
                    </a:cubicBezTo>
                    <a:cubicBezTo>
                      <a:pt x="118" y="661"/>
                      <a:pt x="121" y="669"/>
                      <a:pt x="120" y="690"/>
                    </a:cubicBezTo>
                    <a:cubicBezTo>
                      <a:pt x="119" y="710"/>
                      <a:pt x="125" y="727"/>
                      <a:pt x="109" y="732"/>
                    </a:cubicBezTo>
                    <a:cubicBezTo>
                      <a:pt x="93" y="736"/>
                      <a:pt x="85" y="742"/>
                      <a:pt x="96" y="755"/>
                    </a:cubicBezTo>
                    <a:cubicBezTo>
                      <a:pt x="107" y="768"/>
                      <a:pt x="118" y="775"/>
                      <a:pt x="118" y="792"/>
                    </a:cubicBezTo>
                    <a:cubicBezTo>
                      <a:pt x="118" y="809"/>
                      <a:pt x="114" y="838"/>
                      <a:pt x="128" y="838"/>
                    </a:cubicBezTo>
                    <a:cubicBezTo>
                      <a:pt x="142" y="838"/>
                      <a:pt x="132" y="810"/>
                      <a:pt x="156" y="837"/>
                    </a:cubicBezTo>
                    <a:cubicBezTo>
                      <a:pt x="181" y="864"/>
                      <a:pt x="191" y="871"/>
                      <a:pt x="209" y="876"/>
                    </a:cubicBezTo>
                    <a:cubicBezTo>
                      <a:pt x="227" y="880"/>
                      <a:pt x="235" y="880"/>
                      <a:pt x="248" y="868"/>
                    </a:cubicBezTo>
                    <a:cubicBezTo>
                      <a:pt x="261" y="856"/>
                      <a:pt x="265" y="851"/>
                      <a:pt x="283" y="851"/>
                    </a:cubicBezTo>
                    <a:cubicBezTo>
                      <a:pt x="301" y="851"/>
                      <a:pt x="348" y="853"/>
                      <a:pt x="355" y="841"/>
                    </a:cubicBezTo>
                    <a:cubicBezTo>
                      <a:pt x="363" y="829"/>
                      <a:pt x="363" y="828"/>
                      <a:pt x="385" y="828"/>
                    </a:cubicBezTo>
                    <a:cubicBezTo>
                      <a:pt x="408" y="828"/>
                      <a:pt x="428" y="835"/>
                      <a:pt x="442" y="829"/>
                    </a:cubicBezTo>
                    <a:cubicBezTo>
                      <a:pt x="456" y="824"/>
                      <a:pt x="456" y="821"/>
                      <a:pt x="474" y="829"/>
                    </a:cubicBezTo>
                    <a:cubicBezTo>
                      <a:pt x="493" y="838"/>
                      <a:pt x="525" y="838"/>
                      <a:pt x="535" y="832"/>
                    </a:cubicBezTo>
                    <a:cubicBezTo>
                      <a:pt x="544" y="825"/>
                      <a:pt x="584" y="832"/>
                      <a:pt x="585" y="819"/>
                    </a:cubicBezTo>
                    <a:cubicBezTo>
                      <a:pt x="586" y="806"/>
                      <a:pt x="586" y="804"/>
                      <a:pt x="621" y="805"/>
                    </a:cubicBezTo>
                    <a:cubicBezTo>
                      <a:pt x="655" y="806"/>
                      <a:pt x="684" y="790"/>
                      <a:pt x="695" y="776"/>
                    </a:cubicBezTo>
                    <a:cubicBezTo>
                      <a:pt x="706" y="762"/>
                      <a:pt x="730" y="750"/>
                      <a:pt x="752" y="734"/>
                    </a:cubicBezTo>
                    <a:cubicBezTo>
                      <a:pt x="773" y="718"/>
                      <a:pt x="808" y="685"/>
                      <a:pt x="823" y="667"/>
                    </a:cubicBezTo>
                    <a:cubicBezTo>
                      <a:pt x="838" y="649"/>
                      <a:pt x="900" y="616"/>
                      <a:pt x="911" y="582"/>
                    </a:cubicBezTo>
                    <a:cubicBezTo>
                      <a:pt x="922" y="549"/>
                      <a:pt x="923" y="540"/>
                      <a:pt x="944" y="509"/>
                    </a:cubicBezTo>
                    <a:cubicBezTo>
                      <a:pt x="966" y="478"/>
                      <a:pt x="1001" y="450"/>
                      <a:pt x="1020" y="436"/>
                    </a:cubicBezTo>
                    <a:cubicBezTo>
                      <a:pt x="1038" y="422"/>
                      <a:pt x="1045" y="425"/>
                      <a:pt x="1040" y="402"/>
                    </a:cubicBezTo>
                    <a:cubicBezTo>
                      <a:pt x="1035" y="378"/>
                      <a:pt x="1039" y="365"/>
                      <a:pt x="1044" y="346"/>
                    </a:cubicBezTo>
                    <a:cubicBezTo>
                      <a:pt x="1047" y="337"/>
                      <a:pt x="1050" y="329"/>
                      <a:pt x="1052" y="322"/>
                    </a:cubicBezTo>
                    <a:cubicBezTo>
                      <a:pt x="1030" y="323"/>
                      <a:pt x="1018" y="331"/>
                      <a:pt x="1010" y="331"/>
                    </a:cubicBezTo>
                    <a:cubicBezTo>
                      <a:pt x="1010" y="331"/>
                      <a:pt x="1009" y="331"/>
                      <a:pt x="1009" y="331"/>
                    </a:cubicBezTo>
                    <a:close/>
                    <a:moveTo>
                      <a:pt x="817" y="509"/>
                    </a:moveTo>
                    <a:cubicBezTo>
                      <a:pt x="811" y="515"/>
                      <a:pt x="809" y="527"/>
                      <a:pt x="805" y="539"/>
                    </a:cubicBezTo>
                    <a:cubicBezTo>
                      <a:pt x="801" y="551"/>
                      <a:pt x="786" y="551"/>
                      <a:pt x="770" y="552"/>
                    </a:cubicBezTo>
                    <a:cubicBezTo>
                      <a:pt x="754" y="553"/>
                      <a:pt x="747" y="569"/>
                      <a:pt x="745" y="580"/>
                    </a:cubicBezTo>
                    <a:cubicBezTo>
                      <a:pt x="743" y="592"/>
                      <a:pt x="740" y="590"/>
                      <a:pt x="729" y="590"/>
                    </a:cubicBezTo>
                    <a:cubicBezTo>
                      <a:pt x="718" y="590"/>
                      <a:pt x="713" y="588"/>
                      <a:pt x="706" y="577"/>
                    </a:cubicBezTo>
                    <a:cubicBezTo>
                      <a:pt x="700" y="566"/>
                      <a:pt x="687" y="554"/>
                      <a:pt x="686" y="543"/>
                    </a:cubicBezTo>
                    <a:cubicBezTo>
                      <a:pt x="684" y="532"/>
                      <a:pt x="673" y="535"/>
                      <a:pt x="671" y="523"/>
                    </a:cubicBezTo>
                    <a:cubicBezTo>
                      <a:pt x="668" y="511"/>
                      <a:pt x="687" y="508"/>
                      <a:pt x="695" y="502"/>
                    </a:cubicBezTo>
                    <a:cubicBezTo>
                      <a:pt x="702" y="496"/>
                      <a:pt x="712" y="494"/>
                      <a:pt x="712" y="483"/>
                    </a:cubicBezTo>
                    <a:cubicBezTo>
                      <a:pt x="712" y="473"/>
                      <a:pt x="720" y="465"/>
                      <a:pt x="728" y="465"/>
                    </a:cubicBezTo>
                    <a:cubicBezTo>
                      <a:pt x="737" y="465"/>
                      <a:pt x="747" y="460"/>
                      <a:pt x="750" y="452"/>
                    </a:cubicBezTo>
                    <a:cubicBezTo>
                      <a:pt x="752" y="445"/>
                      <a:pt x="770" y="444"/>
                      <a:pt x="770" y="444"/>
                    </a:cubicBezTo>
                    <a:cubicBezTo>
                      <a:pt x="777" y="443"/>
                      <a:pt x="785" y="451"/>
                      <a:pt x="788" y="458"/>
                    </a:cubicBezTo>
                    <a:cubicBezTo>
                      <a:pt x="791" y="464"/>
                      <a:pt x="796" y="473"/>
                      <a:pt x="807" y="474"/>
                    </a:cubicBezTo>
                    <a:cubicBezTo>
                      <a:pt x="818" y="476"/>
                      <a:pt x="824" y="484"/>
                      <a:pt x="825" y="495"/>
                    </a:cubicBezTo>
                    <a:cubicBezTo>
                      <a:pt x="825" y="505"/>
                      <a:pt x="822" y="504"/>
                      <a:pt x="817" y="50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4" name="Freeform 378">
                <a:extLst>
                  <a:ext uri="{FF2B5EF4-FFF2-40B4-BE49-F238E27FC236}">
                    <a16:creationId xmlns:a16="http://schemas.microsoft.com/office/drawing/2014/main" id="{9BDC9345-A613-6E45-A7EE-B01DDD9A6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2835"/>
                <a:ext cx="127" cy="114"/>
              </a:xfrm>
              <a:custGeom>
                <a:avLst/>
                <a:gdLst>
                  <a:gd name="T0" fmla="*/ 326 w 502"/>
                  <a:gd name="T1" fmla="*/ 2 h 451"/>
                  <a:gd name="T2" fmla="*/ 323 w 502"/>
                  <a:gd name="T3" fmla="*/ 3 h 451"/>
                  <a:gd name="T4" fmla="*/ 321 w 502"/>
                  <a:gd name="T5" fmla="*/ 3 h 451"/>
                  <a:gd name="T6" fmla="*/ 317 w 502"/>
                  <a:gd name="T7" fmla="*/ 4 h 451"/>
                  <a:gd name="T8" fmla="*/ 314 w 502"/>
                  <a:gd name="T9" fmla="*/ 4 h 451"/>
                  <a:gd name="T10" fmla="*/ 310 w 502"/>
                  <a:gd name="T11" fmla="*/ 4 h 451"/>
                  <a:gd name="T12" fmla="*/ 306 w 502"/>
                  <a:gd name="T13" fmla="*/ 4 h 451"/>
                  <a:gd name="T14" fmla="*/ 299 w 502"/>
                  <a:gd name="T15" fmla="*/ 4 h 451"/>
                  <a:gd name="T16" fmla="*/ 294 w 502"/>
                  <a:gd name="T17" fmla="*/ 4 h 451"/>
                  <a:gd name="T18" fmla="*/ 288 w 502"/>
                  <a:gd name="T19" fmla="*/ 3 h 451"/>
                  <a:gd name="T20" fmla="*/ 284 w 502"/>
                  <a:gd name="T21" fmla="*/ 3 h 451"/>
                  <a:gd name="T22" fmla="*/ 279 w 502"/>
                  <a:gd name="T23" fmla="*/ 3 h 451"/>
                  <a:gd name="T24" fmla="*/ 275 w 502"/>
                  <a:gd name="T25" fmla="*/ 3 h 451"/>
                  <a:gd name="T26" fmla="*/ 237 w 502"/>
                  <a:gd name="T27" fmla="*/ 36 h 451"/>
                  <a:gd name="T28" fmla="*/ 113 w 502"/>
                  <a:gd name="T29" fmla="*/ 154 h 451"/>
                  <a:gd name="T30" fmla="*/ 21 w 502"/>
                  <a:gd name="T31" fmla="*/ 144 h 451"/>
                  <a:gd name="T32" fmla="*/ 20 w 502"/>
                  <a:gd name="T33" fmla="*/ 174 h 451"/>
                  <a:gd name="T34" fmla="*/ 97 w 502"/>
                  <a:gd name="T35" fmla="*/ 277 h 451"/>
                  <a:gd name="T36" fmla="*/ 150 w 502"/>
                  <a:gd name="T37" fmla="*/ 321 h 451"/>
                  <a:gd name="T38" fmla="*/ 172 w 502"/>
                  <a:gd name="T39" fmla="*/ 373 h 451"/>
                  <a:gd name="T40" fmla="*/ 245 w 502"/>
                  <a:gd name="T41" fmla="*/ 410 h 451"/>
                  <a:gd name="T42" fmla="*/ 247 w 502"/>
                  <a:gd name="T43" fmla="*/ 414 h 451"/>
                  <a:gd name="T44" fmla="*/ 249 w 502"/>
                  <a:gd name="T45" fmla="*/ 418 h 451"/>
                  <a:gd name="T46" fmla="*/ 250 w 502"/>
                  <a:gd name="T47" fmla="*/ 420 h 451"/>
                  <a:gd name="T48" fmla="*/ 252 w 502"/>
                  <a:gd name="T49" fmla="*/ 423 h 451"/>
                  <a:gd name="T50" fmla="*/ 254 w 502"/>
                  <a:gd name="T51" fmla="*/ 426 h 451"/>
                  <a:gd name="T52" fmla="*/ 257 w 502"/>
                  <a:gd name="T53" fmla="*/ 428 h 451"/>
                  <a:gd name="T54" fmla="*/ 259 w 502"/>
                  <a:gd name="T55" fmla="*/ 430 h 451"/>
                  <a:gd name="T56" fmla="*/ 262 w 502"/>
                  <a:gd name="T57" fmla="*/ 432 h 451"/>
                  <a:gd name="T58" fmla="*/ 266 w 502"/>
                  <a:gd name="T59" fmla="*/ 433 h 451"/>
                  <a:gd name="T60" fmla="*/ 270 w 502"/>
                  <a:gd name="T61" fmla="*/ 434 h 451"/>
                  <a:gd name="T62" fmla="*/ 275 w 502"/>
                  <a:gd name="T63" fmla="*/ 434 h 451"/>
                  <a:gd name="T64" fmla="*/ 326 w 502"/>
                  <a:gd name="T65" fmla="*/ 445 h 451"/>
                  <a:gd name="T66" fmla="*/ 330 w 502"/>
                  <a:gd name="T67" fmla="*/ 445 h 451"/>
                  <a:gd name="T68" fmla="*/ 334 w 502"/>
                  <a:gd name="T69" fmla="*/ 444 h 451"/>
                  <a:gd name="T70" fmla="*/ 339 w 502"/>
                  <a:gd name="T71" fmla="*/ 444 h 451"/>
                  <a:gd name="T72" fmla="*/ 386 w 502"/>
                  <a:gd name="T73" fmla="*/ 451 h 451"/>
                  <a:gd name="T74" fmla="*/ 406 w 502"/>
                  <a:gd name="T75" fmla="*/ 432 h 451"/>
                  <a:gd name="T76" fmla="*/ 464 w 502"/>
                  <a:gd name="T77" fmla="*/ 334 h 451"/>
                  <a:gd name="T78" fmla="*/ 500 w 502"/>
                  <a:gd name="T79" fmla="*/ 282 h 451"/>
                  <a:gd name="T80" fmla="*/ 486 w 502"/>
                  <a:gd name="T81" fmla="*/ 239 h 451"/>
                  <a:gd name="T82" fmla="*/ 494 w 502"/>
                  <a:gd name="T83" fmla="*/ 198 h 451"/>
                  <a:gd name="T84" fmla="*/ 500 w 502"/>
                  <a:gd name="T85" fmla="*/ 126 h 451"/>
                  <a:gd name="T86" fmla="*/ 484 w 502"/>
                  <a:gd name="T87" fmla="*/ 68 h 451"/>
                  <a:gd name="T88" fmla="*/ 388 w 502"/>
                  <a:gd name="T89" fmla="*/ 29 h 451"/>
                  <a:gd name="T90" fmla="*/ 332 w 502"/>
                  <a:gd name="T91" fmla="*/ 12 h 451"/>
                  <a:gd name="T92" fmla="*/ 328 w 502"/>
                  <a:gd name="T93" fmla="*/ 0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2" h="451">
                    <a:moveTo>
                      <a:pt x="327" y="1"/>
                    </a:moveTo>
                    <a:cubicBezTo>
                      <a:pt x="327" y="1"/>
                      <a:pt x="326" y="1"/>
                      <a:pt x="326" y="2"/>
                    </a:cubicBezTo>
                    <a:cubicBezTo>
                      <a:pt x="325" y="2"/>
                      <a:pt x="325" y="2"/>
                      <a:pt x="325" y="2"/>
                    </a:cubicBezTo>
                    <a:cubicBezTo>
                      <a:pt x="324" y="2"/>
                      <a:pt x="324" y="2"/>
                      <a:pt x="323" y="3"/>
                    </a:cubicBezTo>
                    <a:cubicBezTo>
                      <a:pt x="323" y="3"/>
                      <a:pt x="323" y="3"/>
                      <a:pt x="322" y="3"/>
                    </a:cubicBezTo>
                    <a:cubicBezTo>
                      <a:pt x="322" y="3"/>
                      <a:pt x="321" y="3"/>
                      <a:pt x="321" y="3"/>
                    </a:cubicBezTo>
                    <a:cubicBezTo>
                      <a:pt x="320" y="4"/>
                      <a:pt x="320" y="4"/>
                      <a:pt x="319" y="4"/>
                    </a:cubicBezTo>
                    <a:cubicBezTo>
                      <a:pt x="319" y="4"/>
                      <a:pt x="318" y="4"/>
                      <a:pt x="317" y="4"/>
                    </a:cubicBezTo>
                    <a:cubicBezTo>
                      <a:pt x="317" y="4"/>
                      <a:pt x="316" y="4"/>
                      <a:pt x="316" y="4"/>
                    </a:cubicBezTo>
                    <a:cubicBezTo>
                      <a:pt x="315" y="4"/>
                      <a:pt x="314" y="4"/>
                      <a:pt x="314" y="4"/>
                    </a:cubicBezTo>
                    <a:cubicBezTo>
                      <a:pt x="313" y="4"/>
                      <a:pt x="313" y="4"/>
                      <a:pt x="312" y="4"/>
                    </a:cubicBezTo>
                    <a:cubicBezTo>
                      <a:pt x="311" y="4"/>
                      <a:pt x="311" y="4"/>
                      <a:pt x="310" y="4"/>
                    </a:cubicBezTo>
                    <a:cubicBezTo>
                      <a:pt x="309" y="4"/>
                      <a:pt x="309" y="4"/>
                      <a:pt x="308" y="4"/>
                    </a:cubicBezTo>
                    <a:cubicBezTo>
                      <a:pt x="307" y="4"/>
                      <a:pt x="307" y="4"/>
                      <a:pt x="306" y="4"/>
                    </a:cubicBezTo>
                    <a:cubicBezTo>
                      <a:pt x="304" y="4"/>
                      <a:pt x="302" y="4"/>
                      <a:pt x="300" y="4"/>
                    </a:cubicBezTo>
                    <a:cubicBezTo>
                      <a:pt x="300" y="4"/>
                      <a:pt x="300" y="4"/>
                      <a:pt x="299" y="4"/>
                    </a:cubicBezTo>
                    <a:cubicBezTo>
                      <a:pt x="298" y="4"/>
                      <a:pt x="296" y="4"/>
                      <a:pt x="294" y="4"/>
                    </a:cubicBezTo>
                    <a:cubicBezTo>
                      <a:pt x="294" y="4"/>
                      <a:pt x="294" y="4"/>
                      <a:pt x="294" y="4"/>
                    </a:cubicBezTo>
                    <a:cubicBezTo>
                      <a:pt x="293" y="4"/>
                      <a:pt x="291" y="4"/>
                      <a:pt x="290" y="3"/>
                    </a:cubicBezTo>
                    <a:cubicBezTo>
                      <a:pt x="289" y="3"/>
                      <a:pt x="289" y="3"/>
                      <a:pt x="288" y="3"/>
                    </a:cubicBezTo>
                    <a:cubicBezTo>
                      <a:pt x="287" y="3"/>
                      <a:pt x="286" y="3"/>
                      <a:pt x="285" y="3"/>
                    </a:cubicBezTo>
                    <a:cubicBezTo>
                      <a:pt x="285" y="3"/>
                      <a:pt x="284" y="3"/>
                      <a:pt x="284" y="3"/>
                    </a:cubicBezTo>
                    <a:cubicBezTo>
                      <a:pt x="283" y="3"/>
                      <a:pt x="282" y="3"/>
                      <a:pt x="281" y="3"/>
                    </a:cubicBezTo>
                    <a:cubicBezTo>
                      <a:pt x="280" y="3"/>
                      <a:pt x="280" y="3"/>
                      <a:pt x="279" y="3"/>
                    </a:cubicBezTo>
                    <a:cubicBezTo>
                      <a:pt x="278" y="3"/>
                      <a:pt x="277" y="3"/>
                      <a:pt x="276" y="3"/>
                    </a:cubicBezTo>
                    <a:cubicBezTo>
                      <a:pt x="276" y="3"/>
                      <a:pt x="275" y="3"/>
                      <a:pt x="275" y="3"/>
                    </a:cubicBezTo>
                    <a:cubicBezTo>
                      <a:pt x="273" y="3"/>
                      <a:pt x="272" y="4"/>
                      <a:pt x="270" y="4"/>
                    </a:cubicBezTo>
                    <a:cubicBezTo>
                      <a:pt x="248" y="6"/>
                      <a:pt x="238" y="17"/>
                      <a:pt x="237" y="36"/>
                    </a:cubicBezTo>
                    <a:cubicBezTo>
                      <a:pt x="236" y="54"/>
                      <a:pt x="229" y="66"/>
                      <a:pt x="188" y="74"/>
                    </a:cubicBezTo>
                    <a:cubicBezTo>
                      <a:pt x="146" y="82"/>
                      <a:pt x="130" y="133"/>
                      <a:pt x="113" y="154"/>
                    </a:cubicBezTo>
                    <a:cubicBezTo>
                      <a:pt x="96" y="176"/>
                      <a:pt x="84" y="156"/>
                      <a:pt x="64" y="149"/>
                    </a:cubicBezTo>
                    <a:cubicBezTo>
                      <a:pt x="44" y="142"/>
                      <a:pt x="41" y="149"/>
                      <a:pt x="21" y="144"/>
                    </a:cubicBezTo>
                    <a:cubicBezTo>
                      <a:pt x="13" y="142"/>
                      <a:pt x="6" y="141"/>
                      <a:pt x="0" y="142"/>
                    </a:cubicBezTo>
                    <a:cubicBezTo>
                      <a:pt x="9" y="151"/>
                      <a:pt x="17" y="164"/>
                      <a:pt x="20" y="174"/>
                    </a:cubicBezTo>
                    <a:cubicBezTo>
                      <a:pt x="24" y="192"/>
                      <a:pt x="45" y="184"/>
                      <a:pt x="46" y="210"/>
                    </a:cubicBezTo>
                    <a:cubicBezTo>
                      <a:pt x="48" y="237"/>
                      <a:pt x="70" y="270"/>
                      <a:pt x="97" y="277"/>
                    </a:cubicBezTo>
                    <a:cubicBezTo>
                      <a:pt x="124" y="284"/>
                      <a:pt x="125" y="281"/>
                      <a:pt x="130" y="300"/>
                    </a:cubicBezTo>
                    <a:cubicBezTo>
                      <a:pt x="136" y="318"/>
                      <a:pt x="133" y="321"/>
                      <a:pt x="150" y="321"/>
                    </a:cubicBezTo>
                    <a:cubicBezTo>
                      <a:pt x="168" y="321"/>
                      <a:pt x="156" y="334"/>
                      <a:pt x="156" y="348"/>
                    </a:cubicBezTo>
                    <a:cubicBezTo>
                      <a:pt x="156" y="361"/>
                      <a:pt x="162" y="373"/>
                      <a:pt x="172" y="373"/>
                    </a:cubicBezTo>
                    <a:cubicBezTo>
                      <a:pt x="181" y="373"/>
                      <a:pt x="173" y="389"/>
                      <a:pt x="186" y="393"/>
                    </a:cubicBezTo>
                    <a:cubicBezTo>
                      <a:pt x="200" y="397"/>
                      <a:pt x="237" y="394"/>
                      <a:pt x="245" y="410"/>
                    </a:cubicBezTo>
                    <a:cubicBezTo>
                      <a:pt x="246" y="412"/>
                      <a:pt x="246" y="413"/>
                      <a:pt x="247" y="414"/>
                    </a:cubicBezTo>
                    <a:cubicBezTo>
                      <a:pt x="247" y="414"/>
                      <a:pt x="247" y="414"/>
                      <a:pt x="247" y="414"/>
                    </a:cubicBezTo>
                    <a:cubicBezTo>
                      <a:pt x="247" y="415"/>
                      <a:pt x="248" y="416"/>
                      <a:pt x="248" y="417"/>
                    </a:cubicBezTo>
                    <a:cubicBezTo>
                      <a:pt x="248" y="417"/>
                      <a:pt x="249" y="417"/>
                      <a:pt x="249" y="418"/>
                    </a:cubicBezTo>
                    <a:cubicBezTo>
                      <a:pt x="249" y="418"/>
                      <a:pt x="250" y="419"/>
                      <a:pt x="250" y="420"/>
                    </a:cubicBezTo>
                    <a:cubicBezTo>
                      <a:pt x="250" y="420"/>
                      <a:pt x="250" y="420"/>
                      <a:pt x="250" y="420"/>
                    </a:cubicBezTo>
                    <a:cubicBezTo>
                      <a:pt x="251" y="421"/>
                      <a:pt x="251" y="422"/>
                      <a:pt x="252" y="423"/>
                    </a:cubicBezTo>
                    <a:cubicBezTo>
                      <a:pt x="252" y="423"/>
                      <a:pt x="252" y="423"/>
                      <a:pt x="252" y="423"/>
                    </a:cubicBezTo>
                    <a:cubicBezTo>
                      <a:pt x="253" y="424"/>
                      <a:pt x="253" y="425"/>
                      <a:pt x="254" y="425"/>
                    </a:cubicBezTo>
                    <a:cubicBezTo>
                      <a:pt x="254" y="426"/>
                      <a:pt x="254" y="426"/>
                      <a:pt x="254" y="426"/>
                    </a:cubicBezTo>
                    <a:cubicBezTo>
                      <a:pt x="255" y="427"/>
                      <a:pt x="255" y="427"/>
                      <a:pt x="256" y="428"/>
                    </a:cubicBezTo>
                    <a:cubicBezTo>
                      <a:pt x="256" y="428"/>
                      <a:pt x="256" y="428"/>
                      <a:pt x="257" y="428"/>
                    </a:cubicBezTo>
                    <a:cubicBezTo>
                      <a:pt x="257" y="429"/>
                      <a:pt x="258" y="429"/>
                      <a:pt x="259" y="430"/>
                    </a:cubicBezTo>
                    <a:cubicBezTo>
                      <a:pt x="259" y="430"/>
                      <a:pt x="259" y="430"/>
                      <a:pt x="259" y="430"/>
                    </a:cubicBezTo>
                    <a:cubicBezTo>
                      <a:pt x="260" y="431"/>
                      <a:pt x="261" y="431"/>
                      <a:pt x="262" y="431"/>
                    </a:cubicBezTo>
                    <a:cubicBezTo>
                      <a:pt x="262" y="431"/>
                      <a:pt x="262" y="432"/>
                      <a:pt x="262" y="432"/>
                    </a:cubicBezTo>
                    <a:cubicBezTo>
                      <a:pt x="263" y="432"/>
                      <a:pt x="264" y="432"/>
                      <a:pt x="265" y="433"/>
                    </a:cubicBezTo>
                    <a:cubicBezTo>
                      <a:pt x="265" y="433"/>
                      <a:pt x="265" y="433"/>
                      <a:pt x="266" y="433"/>
                    </a:cubicBezTo>
                    <a:cubicBezTo>
                      <a:pt x="267" y="433"/>
                      <a:pt x="268" y="433"/>
                      <a:pt x="269" y="434"/>
                    </a:cubicBezTo>
                    <a:cubicBezTo>
                      <a:pt x="270" y="434"/>
                      <a:pt x="270" y="434"/>
                      <a:pt x="270" y="434"/>
                    </a:cubicBezTo>
                    <a:cubicBezTo>
                      <a:pt x="271" y="434"/>
                      <a:pt x="272" y="434"/>
                      <a:pt x="274" y="434"/>
                    </a:cubicBezTo>
                    <a:cubicBezTo>
                      <a:pt x="274" y="434"/>
                      <a:pt x="274" y="434"/>
                      <a:pt x="275" y="434"/>
                    </a:cubicBezTo>
                    <a:cubicBezTo>
                      <a:pt x="276" y="434"/>
                      <a:pt x="278" y="434"/>
                      <a:pt x="280" y="434"/>
                    </a:cubicBezTo>
                    <a:cubicBezTo>
                      <a:pt x="302" y="434"/>
                      <a:pt x="305" y="445"/>
                      <a:pt x="326" y="445"/>
                    </a:cubicBezTo>
                    <a:cubicBezTo>
                      <a:pt x="327" y="445"/>
                      <a:pt x="328" y="445"/>
                      <a:pt x="330" y="445"/>
                    </a:cubicBezTo>
                    <a:cubicBezTo>
                      <a:pt x="330" y="445"/>
                      <a:pt x="330" y="445"/>
                      <a:pt x="330" y="445"/>
                    </a:cubicBezTo>
                    <a:cubicBezTo>
                      <a:pt x="331" y="445"/>
                      <a:pt x="332" y="445"/>
                      <a:pt x="333" y="445"/>
                    </a:cubicBezTo>
                    <a:cubicBezTo>
                      <a:pt x="333" y="445"/>
                      <a:pt x="334" y="444"/>
                      <a:pt x="334" y="444"/>
                    </a:cubicBezTo>
                    <a:cubicBezTo>
                      <a:pt x="335" y="444"/>
                      <a:pt x="336" y="444"/>
                      <a:pt x="337" y="444"/>
                    </a:cubicBezTo>
                    <a:cubicBezTo>
                      <a:pt x="337" y="444"/>
                      <a:pt x="338" y="444"/>
                      <a:pt x="339" y="444"/>
                    </a:cubicBezTo>
                    <a:cubicBezTo>
                      <a:pt x="339" y="444"/>
                      <a:pt x="340" y="444"/>
                      <a:pt x="340" y="443"/>
                    </a:cubicBezTo>
                    <a:cubicBezTo>
                      <a:pt x="356" y="440"/>
                      <a:pt x="375" y="436"/>
                      <a:pt x="386" y="451"/>
                    </a:cubicBezTo>
                    <a:cubicBezTo>
                      <a:pt x="386" y="451"/>
                      <a:pt x="386" y="451"/>
                      <a:pt x="386" y="451"/>
                    </a:cubicBezTo>
                    <a:cubicBezTo>
                      <a:pt x="394" y="444"/>
                      <a:pt x="402" y="436"/>
                      <a:pt x="406" y="432"/>
                    </a:cubicBezTo>
                    <a:cubicBezTo>
                      <a:pt x="413" y="426"/>
                      <a:pt x="446" y="392"/>
                      <a:pt x="454" y="382"/>
                    </a:cubicBezTo>
                    <a:cubicBezTo>
                      <a:pt x="462" y="372"/>
                      <a:pt x="464" y="347"/>
                      <a:pt x="464" y="334"/>
                    </a:cubicBezTo>
                    <a:cubicBezTo>
                      <a:pt x="464" y="320"/>
                      <a:pt x="478" y="314"/>
                      <a:pt x="486" y="305"/>
                    </a:cubicBezTo>
                    <a:cubicBezTo>
                      <a:pt x="494" y="296"/>
                      <a:pt x="498" y="290"/>
                      <a:pt x="500" y="282"/>
                    </a:cubicBezTo>
                    <a:cubicBezTo>
                      <a:pt x="502" y="274"/>
                      <a:pt x="499" y="274"/>
                      <a:pt x="491" y="269"/>
                    </a:cubicBezTo>
                    <a:cubicBezTo>
                      <a:pt x="483" y="264"/>
                      <a:pt x="491" y="245"/>
                      <a:pt x="486" y="239"/>
                    </a:cubicBezTo>
                    <a:cubicBezTo>
                      <a:pt x="482" y="233"/>
                      <a:pt x="480" y="226"/>
                      <a:pt x="480" y="219"/>
                    </a:cubicBezTo>
                    <a:cubicBezTo>
                      <a:pt x="480" y="212"/>
                      <a:pt x="486" y="202"/>
                      <a:pt x="494" y="198"/>
                    </a:cubicBezTo>
                    <a:cubicBezTo>
                      <a:pt x="502" y="193"/>
                      <a:pt x="501" y="172"/>
                      <a:pt x="495" y="164"/>
                    </a:cubicBezTo>
                    <a:cubicBezTo>
                      <a:pt x="489" y="156"/>
                      <a:pt x="500" y="136"/>
                      <a:pt x="500" y="126"/>
                    </a:cubicBezTo>
                    <a:cubicBezTo>
                      <a:pt x="500" y="117"/>
                      <a:pt x="497" y="109"/>
                      <a:pt x="493" y="102"/>
                    </a:cubicBezTo>
                    <a:cubicBezTo>
                      <a:pt x="489" y="96"/>
                      <a:pt x="490" y="82"/>
                      <a:pt x="484" y="68"/>
                    </a:cubicBezTo>
                    <a:cubicBezTo>
                      <a:pt x="478" y="53"/>
                      <a:pt x="443" y="54"/>
                      <a:pt x="433" y="49"/>
                    </a:cubicBezTo>
                    <a:cubicBezTo>
                      <a:pt x="423" y="44"/>
                      <a:pt x="398" y="35"/>
                      <a:pt x="388" y="29"/>
                    </a:cubicBezTo>
                    <a:cubicBezTo>
                      <a:pt x="378" y="23"/>
                      <a:pt x="368" y="23"/>
                      <a:pt x="356" y="26"/>
                    </a:cubicBezTo>
                    <a:cubicBezTo>
                      <a:pt x="344" y="28"/>
                      <a:pt x="334" y="22"/>
                      <a:pt x="332" y="12"/>
                    </a:cubicBezTo>
                    <a:cubicBezTo>
                      <a:pt x="332" y="8"/>
                      <a:pt x="330" y="4"/>
                      <a:pt x="32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327" y="0"/>
                      <a:pt x="327" y="0"/>
                      <a:pt x="327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5" name="Freeform 379">
                <a:extLst>
                  <a:ext uri="{FF2B5EF4-FFF2-40B4-BE49-F238E27FC236}">
                    <a16:creationId xmlns:a16="http://schemas.microsoft.com/office/drawing/2014/main" id="{30AA3737-B45F-1544-9F65-BEC2A860C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" y="3054"/>
                <a:ext cx="40" cy="38"/>
              </a:xfrm>
              <a:custGeom>
                <a:avLst/>
                <a:gdLst>
                  <a:gd name="T0" fmla="*/ 139 w 157"/>
                  <a:gd name="T1" fmla="*/ 31 h 149"/>
                  <a:gd name="T2" fmla="*/ 120 w 157"/>
                  <a:gd name="T3" fmla="*/ 15 h 149"/>
                  <a:gd name="T4" fmla="*/ 102 w 157"/>
                  <a:gd name="T5" fmla="*/ 1 h 149"/>
                  <a:gd name="T6" fmla="*/ 82 w 157"/>
                  <a:gd name="T7" fmla="*/ 9 h 149"/>
                  <a:gd name="T8" fmla="*/ 60 w 157"/>
                  <a:gd name="T9" fmla="*/ 22 h 149"/>
                  <a:gd name="T10" fmla="*/ 44 w 157"/>
                  <a:gd name="T11" fmla="*/ 40 h 149"/>
                  <a:gd name="T12" fmla="*/ 27 w 157"/>
                  <a:gd name="T13" fmla="*/ 59 h 149"/>
                  <a:gd name="T14" fmla="*/ 3 w 157"/>
                  <a:gd name="T15" fmla="*/ 80 h 149"/>
                  <a:gd name="T16" fmla="*/ 18 w 157"/>
                  <a:gd name="T17" fmla="*/ 100 h 149"/>
                  <a:gd name="T18" fmla="*/ 38 w 157"/>
                  <a:gd name="T19" fmla="*/ 134 h 149"/>
                  <a:gd name="T20" fmla="*/ 61 w 157"/>
                  <a:gd name="T21" fmla="*/ 147 h 149"/>
                  <a:gd name="T22" fmla="*/ 77 w 157"/>
                  <a:gd name="T23" fmla="*/ 137 h 149"/>
                  <a:gd name="T24" fmla="*/ 102 w 157"/>
                  <a:gd name="T25" fmla="*/ 109 h 149"/>
                  <a:gd name="T26" fmla="*/ 137 w 157"/>
                  <a:gd name="T27" fmla="*/ 96 h 149"/>
                  <a:gd name="T28" fmla="*/ 149 w 157"/>
                  <a:gd name="T29" fmla="*/ 66 h 149"/>
                  <a:gd name="T30" fmla="*/ 157 w 157"/>
                  <a:gd name="T31" fmla="*/ 52 h 149"/>
                  <a:gd name="T32" fmla="*/ 139 w 157"/>
                  <a:gd name="T33" fmla="*/ 31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7" h="149">
                    <a:moveTo>
                      <a:pt x="139" y="31"/>
                    </a:moveTo>
                    <a:cubicBezTo>
                      <a:pt x="128" y="30"/>
                      <a:pt x="123" y="21"/>
                      <a:pt x="120" y="15"/>
                    </a:cubicBezTo>
                    <a:cubicBezTo>
                      <a:pt x="117" y="8"/>
                      <a:pt x="109" y="0"/>
                      <a:pt x="102" y="1"/>
                    </a:cubicBezTo>
                    <a:cubicBezTo>
                      <a:pt x="102" y="1"/>
                      <a:pt x="84" y="2"/>
                      <a:pt x="82" y="9"/>
                    </a:cubicBezTo>
                    <a:cubicBezTo>
                      <a:pt x="79" y="17"/>
                      <a:pt x="69" y="22"/>
                      <a:pt x="60" y="22"/>
                    </a:cubicBezTo>
                    <a:cubicBezTo>
                      <a:pt x="52" y="22"/>
                      <a:pt x="44" y="30"/>
                      <a:pt x="44" y="40"/>
                    </a:cubicBezTo>
                    <a:cubicBezTo>
                      <a:pt x="44" y="51"/>
                      <a:pt x="34" y="53"/>
                      <a:pt x="27" y="59"/>
                    </a:cubicBezTo>
                    <a:cubicBezTo>
                      <a:pt x="19" y="65"/>
                      <a:pt x="0" y="68"/>
                      <a:pt x="3" y="80"/>
                    </a:cubicBezTo>
                    <a:cubicBezTo>
                      <a:pt x="5" y="92"/>
                      <a:pt x="16" y="89"/>
                      <a:pt x="18" y="100"/>
                    </a:cubicBezTo>
                    <a:cubicBezTo>
                      <a:pt x="19" y="111"/>
                      <a:pt x="32" y="123"/>
                      <a:pt x="38" y="134"/>
                    </a:cubicBezTo>
                    <a:cubicBezTo>
                      <a:pt x="45" y="145"/>
                      <a:pt x="50" y="147"/>
                      <a:pt x="61" y="147"/>
                    </a:cubicBezTo>
                    <a:cubicBezTo>
                      <a:pt x="72" y="147"/>
                      <a:pt x="75" y="149"/>
                      <a:pt x="77" y="137"/>
                    </a:cubicBezTo>
                    <a:cubicBezTo>
                      <a:pt x="79" y="126"/>
                      <a:pt x="86" y="110"/>
                      <a:pt x="102" y="109"/>
                    </a:cubicBezTo>
                    <a:cubicBezTo>
                      <a:pt x="118" y="108"/>
                      <a:pt x="133" y="108"/>
                      <a:pt x="137" y="96"/>
                    </a:cubicBezTo>
                    <a:cubicBezTo>
                      <a:pt x="141" y="84"/>
                      <a:pt x="143" y="72"/>
                      <a:pt x="149" y="66"/>
                    </a:cubicBezTo>
                    <a:cubicBezTo>
                      <a:pt x="154" y="61"/>
                      <a:pt x="157" y="62"/>
                      <a:pt x="157" y="52"/>
                    </a:cubicBezTo>
                    <a:cubicBezTo>
                      <a:pt x="156" y="41"/>
                      <a:pt x="150" y="33"/>
                      <a:pt x="139" y="3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6" name="Freeform 380">
                <a:extLst>
                  <a:ext uri="{FF2B5EF4-FFF2-40B4-BE49-F238E27FC236}">
                    <a16:creationId xmlns:a16="http://schemas.microsoft.com/office/drawing/2014/main" id="{02FE380F-5AEE-EF49-A340-D3A126968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2672"/>
                <a:ext cx="197" cy="203"/>
              </a:xfrm>
              <a:custGeom>
                <a:avLst/>
                <a:gdLst>
                  <a:gd name="T0" fmla="*/ 60 w 779"/>
                  <a:gd name="T1" fmla="*/ 740 h 803"/>
                  <a:gd name="T2" fmla="*/ 157 w 779"/>
                  <a:gd name="T3" fmla="*/ 756 h 803"/>
                  <a:gd name="T4" fmla="*/ 451 w 779"/>
                  <a:gd name="T5" fmla="*/ 790 h 803"/>
                  <a:gd name="T6" fmla="*/ 643 w 779"/>
                  <a:gd name="T7" fmla="*/ 798 h 803"/>
                  <a:gd name="T8" fmla="*/ 725 w 779"/>
                  <a:gd name="T9" fmla="*/ 780 h 803"/>
                  <a:gd name="T10" fmla="*/ 731 w 779"/>
                  <a:gd name="T11" fmla="*/ 779 h 803"/>
                  <a:gd name="T12" fmla="*/ 686 w 779"/>
                  <a:gd name="T13" fmla="*/ 726 h 803"/>
                  <a:gd name="T14" fmla="*/ 651 w 779"/>
                  <a:gd name="T15" fmla="*/ 473 h 803"/>
                  <a:gd name="T16" fmla="*/ 779 w 779"/>
                  <a:gd name="T17" fmla="*/ 338 h 803"/>
                  <a:gd name="T18" fmla="*/ 773 w 779"/>
                  <a:gd name="T19" fmla="*/ 338 h 803"/>
                  <a:gd name="T20" fmla="*/ 767 w 779"/>
                  <a:gd name="T21" fmla="*/ 338 h 803"/>
                  <a:gd name="T22" fmla="*/ 758 w 779"/>
                  <a:gd name="T23" fmla="*/ 338 h 803"/>
                  <a:gd name="T24" fmla="*/ 683 w 779"/>
                  <a:gd name="T25" fmla="*/ 350 h 803"/>
                  <a:gd name="T26" fmla="*/ 667 w 779"/>
                  <a:gd name="T27" fmla="*/ 328 h 803"/>
                  <a:gd name="T28" fmla="*/ 655 w 779"/>
                  <a:gd name="T29" fmla="*/ 268 h 803"/>
                  <a:gd name="T30" fmla="*/ 645 w 779"/>
                  <a:gd name="T31" fmla="*/ 209 h 803"/>
                  <a:gd name="T32" fmla="*/ 638 w 779"/>
                  <a:gd name="T33" fmla="*/ 149 h 803"/>
                  <a:gd name="T34" fmla="*/ 643 w 779"/>
                  <a:gd name="T35" fmla="*/ 110 h 803"/>
                  <a:gd name="T36" fmla="*/ 553 w 779"/>
                  <a:gd name="T37" fmla="*/ 81 h 803"/>
                  <a:gd name="T38" fmla="*/ 491 w 779"/>
                  <a:gd name="T39" fmla="*/ 116 h 803"/>
                  <a:gd name="T40" fmla="*/ 450 w 779"/>
                  <a:gd name="T41" fmla="*/ 149 h 803"/>
                  <a:gd name="T42" fmla="*/ 391 w 779"/>
                  <a:gd name="T43" fmla="*/ 154 h 803"/>
                  <a:gd name="T44" fmla="*/ 325 w 779"/>
                  <a:gd name="T45" fmla="*/ 74 h 803"/>
                  <a:gd name="T46" fmla="*/ 188 w 779"/>
                  <a:gd name="T47" fmla="*/ 13 h 803"/>
                  <a:gd name="T48" fmla="*/ 32 w 779"/>
                  <a:gd name="T49" fmla="*/ 22 h 803"/>
                  <a:gd name="T50" fmla="*/ 74 w 779"/>
                  <a:gd name="T51" fmla="*/ 89 h 803"/>
                  <a:gd name="T52" fmla="*/ 102 w 779"/>
                  <a:gd name="T53" fmla="*/ 189 h 803"/>
                  <a:gd name="T54" fmla="*/ 110 w 779"/>
                  <a:gd name="T55" fmla="*/ 291 h 803"/>
                  <a:gd name="T56" fmla="*/ 128 w 779"/>
                  <a:gd name="T57" fmla="*/ 381 h 803"/>
                  <a:gd name="T58" fmla="*/ 68 w 779"/>
                  <a:gd name="T59" fmla="*/ 470 h 803"/>
                  <a:gd name="T60" fmla="*/ 39 w 779"/>
                  <a:gd name="T61" fmla="*/ 579 h 803"/>
                  <a:gd name="T62" fmla="*/ 3 w 779"/>
                  <a:gd name="T63" fmla="*/ 698 h 803"/>
                  <a:gd name="T64" fmla="*/ 13 w 779"/>
                  <a:gd name="T65" fmla="*/ 739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79" h="803">
                    <a:moveTo>
                      <a:pt x="36" y="750"/>
                    </a:moveTo>
                    <a:cubicBezTo>
                      <a:pt x="40" y="752"/>
                      <a:pt x="56" y="752"/>
                      <a:pt x="60" y="740"/>
                    </a:cubicBezTo>
                    <a:cubicBezTo>
                      <a:pt x="64" y="728"/>
                      <a:pt x="100" y="722"/>
                      <a:pt x="112" y="738"/>
                    </a:cubicBezTo>
                    <a:cubicBezTo>
                      <a:pt x="124" y="754"/>
                      <a:pt x="127" y="756"/>
                      <a:pt x="157" y="756"/>
                    </a:cubicBezTo>
                    <a:cubicBezTo>
                      <a:pt x="188" y="756"/>
                      <a:pt x="423" y="758"/>
                      <a:pt x="423" y="758"/>
                    </a:cubicBezTo>
                    <a:cubicBezTo>
                      <a:pt x="451" y="790"/>
                      <a:pt x="451" y="790"/>
                      <a:pt x="451" y="790"/>
                    </a:cubicBezTo>
                    <a:cubicBezTo>
                      <a:pt x="451" y="790"/>
                      <a:pt x="537" y="787"/>
                      <a:pt x="552" y="792"/>
                    </a:cubicBezTo>
                    <a:cubicBezTo>
                      <a:pt x="567" y="798"/>
                      <a:pt x="635" y="803"/>
                      <a:pt x="643" y="798"/>
                    </a:cubicBezTo>
                    <a:cubicBezTo>
                      <a:pt x="651" y="792"/>
                      <a:pt x="700" y="783"/>
                      <a:pt x="719" y="780"/>
                    </a:cubicBezTo>
                    <a:cubicBezTo>
                      <a:pt x="721" y="780"/>
                      <a:pt x="723" y="780"/>
                      <a:pt x="725" y="780"/>
                    </a:cubicBezTo>
                    <a:cubicBezTo>
                      <a:pt x="727" y="779"/>
                      <a:pt x="729" y="779"/>
                      <a:pt x="731" y="779"/>
                    </a:cubicBezTo>
                    <a:cubicBezTo>
                      <a:pt x="731" y="779"/>
                      <a:pt x="731" y="779"/>
                      <a:pt x="731" y="779"/>
                    </a:cubicBezTo>
                    <a:cubicBezTo>
                      <a:pt x="730" y="758"/>
                      <a:pt x="725" y="753"/>
                      <a:pt x="717" y="751"/>
                    </a:cubicBezTo>
                    <a:cubicBezTo>
                      <a:pt x="708" y="749"/>
                      <a:pt x="698" y="736"/>
                      <a:pt x="686" y="726"/>
                    </a:cubicBezTo>
                    <a:cubicBezTo>
                      <a:pt x="674" y="716"/>
                      <a:pt x="652" y="680"/>
                      <a:pt x="652" y="680"/>
                    </a:cubicBezTo>
                    <a:cubicBezTo>
                      <a:pt x="651" y="473"/>
                      <a:pt x="651" y="473"/>
                      <a:pt x="651" y="473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79" y="338"/>
                      <a:pt x="779" y="338"/>
                      <a:pt x="779" y="338"/>
                    </a:cubicBezTo>
                    <a:cubicBezTo>
                      <a:pt x="777" y="338"/>
                      <a:pt x="775" y="338"/>
                      <a:pt x="774" y="338"/>
                    </a:cubicBezTo>
                    <a:cubicBezTo>
                      <a:pt x="773" y="338"/>
                      <a:pt x="773" y="338"/>
                      <a:pt x="773" y="338"/>
                    </a:cubicBezTo>
                    <a:cubicBezTo>
                      <a:pt x="771" y="338"/>
                      <a:pt x="770" y="338"/>
                      <a:pt x="768" y="338"/>
                    </a:cubicBezTo>
                    <a:cubicBezTo>
                      <a:pt x="768" y="338"/>
                      <a:pt x="768" y="338"/>
                      <a:pt x="767" y="338"/>
                    </a:cubicBezTo>
                    <a:cubicBezTo>
                      <a:pt x="766" y="338"/>
                      <a:pt x="764" y="338"/>
                      <a:pt x="763" y="338"/>
                    </a:cubicBezTo>
                    <a:cubicBezTo>
                      <a:pt x="761" y="338"/>
                      <a:pt x="760" y="338"/>
                      <a:pt x="758" y="338"/>
                    </a:cubicBezTo>
                    <a:cubicBezTo>
                      <a:pt x="744" y="338"/>
                      <a:pt x="735" y="348"/>
                      <a:pt x="723" y="348"/>
                    </a:cubicBezTo>
                    <a:cubicBezTo>
                      <a:pt x="711" y="348"/>
                      <a:pt x="687" y="342"/>
                      <a:pt x="683" y="350"/>
                    </a:cubicBezTo>
                    <a:cubicBezTo>
                      <a:pt x="679" y="358"/>
                      <a:pt x="666" y="354"/>
                      <a:pt x="661" y="346"/>
                    </a:cubicBezTo>
                    <a:cubicBezTo>
                      <a:pt x="657" y="339"/>
                      <a:pt x="658" y="334"/>
                      <a:pt x="667" y="328"/>
                    </a:cubicBezTo>
                    <a:cubicBezTo>
                      <a:pt x="675" y="323"/>
                      <a:pt x="671" y="308"/>
                      <a:pt x="669" y="298"/>
                    </a:cubicBezTo>
                    <a:cubicBezTo>
                      <a:pt x="668" y="288"/>
                      <a:pt x="666" y="276"/>
                      <a:pt x="655" y="268"/>
                    </a:cubicBezTo>
                    <a:cubicBezTo>
                      <a:pt x="645" y="261"/>
                      <a:pt x="643" y="247"/>
                      <a:pt x="641" y="236"/>
                    </a:cubicBezTo>
                    <a:cubicBezTo>
                      <a:pt x="639" y="226"/>
                      <a:pt x="643" y="217"/>
                      <a:pt x="645" y="209"/>
                    </a:cubicBezTo>
                    <a:cubicBezTo>
                      <a:pt x="647" y="201"/>
                      <a:pt x="646" y="188"/>
                      <a:pt x="646" y="177"/>
                    </a:cubicBezTo>
                    <a:cubicBezTo>
                      <a:pt x="646" y="166"/>
                      <a:pt x="643" y="154"/>
                      <a:pt x="638" y="149"/>
                    </a:cubicBezTo>
                    <a:cubicBezTo>
                      <a:pt x="633" y="144"/>
                      <a:pt x="633" y="134"/>
                      <a:pt x="641" y="130"/>
                    </a:cubicBezTo>
                    <a:cubicBezTo>
                      <a:pt x="650" y="127"/>
                      <a:pt x="643" y="120"/>
                      <a:pt x="643" y="110"/>
                    </a:cubicBezTo>
                    <a:cubicBezTo>
                      <a:pt x="642" y="100"/>
                      <a:pt x="591" y="105"/>
                      <a:pt x="573" y="104"/>
                    </a:cubicBezTo>
                    <a:cubicBezTo>
                      <a:pt x="555" y="104"/>
                      <a:pt x="563" y="80"/>
                      <a:pt x="553" y="81"/>
                    </a:cubicBezTo>
                    <a:cubicBezTo>
                      <a:pt x="542" y="82"/>
                      <a:pt x="517" y="80"/>
                      <a:pt x="503" y="82"/>
                    </a:cubicBezTo>
                    <a:cubicBezTo>
                      <a:pt x="489" y="84"/>
                      <a:pt x="498" y="110"/>
                      <a:pt x="491" y="116"/>
                    </a:cubicBezTo>
                    <a:cubicBezTo>
                      <a:pt x="485" y="122"/>
                      <a:pt x="486" y="124"/>
                      <a:pt x="485" y="140"/>
                    </a:cubicBezTo>
                    <a:cubicBezTo>
                      <a:pt x="483" y="155"/>
                      <a:pt x="462" y="154"/>
                      <a:pt x="450" y="149"/>
                    </a:cubicBezTo>
                    <a:cubicBezTo>
                      <a:pt x="438" y="144"/>
                      <a:pt x="429" y="144"/>
                      <a:pt x="421" y="150"/>
                    </a:cubicBezTo>
                    <a:cubicBezTo>
                      <a:pt x="413" y="156"/>
                      <a:pt x="407" y="154"/>
                      <a:pt x="391" y="154"/>
                    </a:cubicBezTo>
                    <a:cubicBezTo>
                      <a:pt x="376" y="154"/>
                      <a:pt x="364" y="142"/>
                      <a:pt x="353" y="131"/>
                    </a:cubicBezTo>
                    <a:cubicBezTo>
                      <a:pt x="343" y="120"/>
                      <a:pt x="335" y="85"/>
                      <a:pt x="325" y="74"/>
                    </a:cubicBezTo>
                    <a:cubicBezTo>
                      <a:pt x="316" y="62"/>
                      <a:pt x="317" y="44"/>
                      <a:pt x="309" y="22"/>
                    </a:cubicBezTo>
                    <a:cubicBezTo>
                      <a:pt x="301" y="0"/>
                      <a:pt x="213" y="15"/>
                      <a:pt x="188" y="13"/>
                    </a:cubicBezTo>
                    <a:cubicBezTo>
                      <a:pt x="163" y="11"/>
                      <a:pt x="115" y="12"/>
                      <a:pt x="93" y="12"/>
                    </a:cubicBezTo>
                    <a:cubicBezTo>
                      <a:pt x="76" y="12"/>
                      <a:pt x="45" y="19"/>
                      <a:pt x="32" y="22"/>
                    </a:cubicBezTo>
                    <a:cubicBezTo>
                      <a:pt x="33" y="30"/>
                      <a:pt x="36" y="37"/>
                      <a:pt x="44" y="47"/>
                    </a:cubicBezTo>
                    <a:cubicBezTo>
                      <a:pt x="58" y="67"/>
                      <a:pt x="68" y="67"/>
                      <a:pt x="74" y="89"/>
                    </a:cubicBezTo>
                    <a:cubicBezTo>
                      <a:pt x="79" y="112"/>
                      <a:pt x="81" y="112"/>
                      <a:pt x="93" y="132"/>
                    </a:cubicBezTo>
                    <a:cubicBezTo>
                      <a:pt x="105" y="153"/>
                      <a:pt x="115" y="167"/>
                      <a:pt x="102" y="189"/>
                    </a:cubicBezTo>
                    <a:cubicBezTo>
                      <a:pt x="89" y="212"/>
                      <a:pt x="80" y="214"/>
                      <a:pt x="91" y="238"/>
                    </a:cubicBezTo>
                    <a:cubicBezTo>
                      <a:pt x="102" y="261"/>
                      <a:pt x="97" y="282"/>
                      <a:pt x="110" y="291"/>
                    </a:cubicBezTo>
                    <a:cubicBezTo>
                      <a:pt x="123" y="301"/>
                      <a:pt x="127" y="304"/>
                      <a:pt x="131" y="323"/>
                    </a:cubicBezTo>
                    <a:cubicBezTo>
                      <a:pt x="134" y="341"/>
                      <a:pt x="130" y="359"/>
                      <a:pt x="128" y="381"/>
                    </a:cubicBezTo>
                    <a:cubicBezTo>
                      <a:pt x="127" y="402"/>
                      <a:pt x="139" y="410"/>
                      <a:pt x="117" y="423"/>
                    </a:cubicBezTo>
                    <a:cubicBezTo>
                      <a:pt x="94" y="435"/>
                      <a:pt x="75" y="450"/>
                      <a:pt x="68" y="470"/>
                    </a:cubicBezTo>
                    <a:cubicBezTo>
                      <a:pt x="62" y="489"/>
                      <a:pt x="42" y="500"/>
                      <a:pt x="42" y="526"/>
                    </a:cubicBezTo>
                    <a:cubicBezTo>
                      <a:pt x="42" y="552"/>
                      <a:pt x="40" y="560"/>
                      <a:pt x="39" y="579"/>
                    </a:cubicBezTo>
                    <a:cubicBezTo>
                      <a:pt x="38" y="599"/>
                      <a:pt x="29" y="613"/>
                      <a:pt x="15" y="635"/>
                    </a:cubicBezTo>
                    <a:cubicBezTo>
                      <a:pt x="1" y="658"/>
                      <a:pt x="3" y="674"/>
                      <a:pt x="3" y="698"/>
                    </a:cubicBezTo>
                    <a:cubicBezTo>
                      <a:pt x="3" y="708"/>
                      <a:pt x="1" y="726"/>
                      <a:pt x="0" y="744"/>
                    </a:cubicBezTo>
                    <a:cubicBezTo>
                      <a:pt x="5" y="741"/>
                      <a:pt x="10" y="739"/>
                      <a:pt x="13" y="739"/>
                    </a:cubicBezTo>
                    <a:cubicBezTo>
                      <a:pt x="23" y="739"/>
                      <a:pt x="32" y="747"/>
                      <a:pt x="36" y="75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7" name="Freeform 381">
                <a:extLst>
                  <a:ext uri="{FF2B5EF4-FFF2-40B4-BE49-F238E27FC236}">
                    <a16:creationId xmlns:a16="http://schemas.microsoft.com/office/drawing/2014/main" id="{A75BE17A-7FF6-4743-9D0C-2A5C34CC8E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2" y="2712"/>
                <a:ext cx="187" cy="168"/>
              </a:xfrm>
              <a:custGeom>
                <a:avLst/>
                <a:gdLst>
                  <a:gd name="T0" fmla="*/ 547 w 740"/>
                  <a:gd name="T1" fmla="*/ 5 h 662"/>
                  <a:gd name="T2" fmla="*/ 539 w 740"/>
                  <a:gd name="T3" fmla="*/ 8 h 662"/>
                  <a:gd name="T4" fmla="*/ 442 w 740"/>
                  <a:gd name="T5" fmla="*/ 36 h 662"/>
                  <a:gd name="T6" fmla="*/ 422 w 740"/>
                  <a:gd name="T7" fmla="*/ 142 h 662"/>
                  <a:gd name="T8" fmla="*/ 433 w 740"/>
                  <a:gd name="T9" fmla="*/ 250 h 662"/>
                  <a:gd name="T10" fmla="*/ 504 w 740"/>
                  <a:gd name="T11" fmla="*/ 262 h 662"/>
                  <a:gd name="T12" fmla="*/ 484 w 740"/>
                  <a:gd name="T13" fmla="*/ 330 h 662"/>
                  <a:gd name="T14" fmla="*/ 401 w 740"/>
                  <a:gd name="T15" fmla="*/ 278 h 662"/>
                  <a:gd name="T16" fmla="*/ 325 w 740"/>
                  <a:gd name="T17" fmla="*/ 224 h 662"/>
                  <a:gd name="T18" fmla="*/ 276 w 740"/>
                  <a:gd name="T19" fmla="*/ 247 h 662"/>
                  <a:gd name="T20" fmla="*/ 214 w 740"/>
                  <a:gd name="T21" fmla="*/ 209 h 662"/>
                  <a:gd name="T22" fmla="*/ 148 w 740"/>
                  <a:gd name="T23" fmla="*/ 188 h 662"/>
                  <a:gd name="T24" fmla="*/ 145 w 740"/>
                  <a:gd name="T25" fmla="*/ 184 h 662"/>
                  <a:gd name="T26" fmla="*/ 142 w 740"/>
                  <a:gd name="T27" fmla="*/ 182 h 662"/>
                  <a:gd name="T28" fmla="*/ 138 w 740"/>
                  <a:gd name="T29" fmla="*/ 180 h 662"/>
                  <a:gd name="T30" fmla="*/ 134 w 740"/>
                  <a:gd name="T31" fmla="*/ 179 h 662"/>
                  <a:gd name="T32" fmla="*/ 128 w 740"/>
                  <a:gd name="T33" fmla="*/ 178 h 662"/>
                  <a:gd name="T34" fmla="*/ 1 w 740"/>
                  <a:gd name="T35" fmla="*/ 520 h 662"/>
                  <a:gd name="T36" fmla="*/ 80 w 740"/>
                  <a:gd name="T37" fmla="*/ 619 h 662"/>
                  <a:gd name="T38" fmla="*/ 95 w 740"/>
                  <a:gd name="T39" fmla="*/ 618 h 662"/>
                  <a:gd name="T40" fmla="*/ 105 w 740"/>
                  <a:gd name="T41" fmla="*/ 616 h 662"/>
                  <a:gd name="T42" fmla="*/ 111 w 740"/>
                  <a:gd name="T43" fmla="*/ 614 h 662"/>
                  <a:gd name="T44" fmla="*/ 204 w 740"/>
                  <a:gd name="T45" fmla="*/ 628 h 662"/>
                  <a:gd name="T46" fmla="*/ 317 w 740"/>
                  <a:gd name="T47" fmla="*/ 640 h 662"/>
                  <a:gd name="T48" fmla="*/ 474 w 740"/>
                  <a:gd name="T49" fmla="*/ 490 h 662"/>
                  <a:gd name="T50" fmla="*/ 483 w 740"/>
                  <a:gd name="T51" fmla="*/ 489 h 662"/>
                  <a:gd name="T52" fmla="*/ 489 w 740"/>
                  <a:gd name="T53" fmla="*/ 489 h 662"/>
                  <a:gd name="T54" fmla="*/ 498 w 740"/>
                  <a:gd name="T55" fmla="*/ 490 h 662"/>
                  <a:gd name="T56" fmla="*/ 504 w 740"/>
                  <a:gd name="T57" fmla="*/ 490 h 662"/>
                  <a:gd name="T58" fmla="*/ 514 w 740"/>
                  <a:gd name="T59" fmla="*/ 490 h 662"/>
                  <a:gd name="T60" fmla="*/ 520 w 740"/>
                  <a:gd name="T61" fmla="*/ 490 h 662"/>
                  <a:gd name="T62" fmla="*/ 525 w 740"/>
                  <a:gd name="T63" fmla="*/ 489 h 662"/>
                  <a:gd name="T64" fmla="*/ 529 w 740"/>
                  <a:gd name="T65" fmla="*/ 488 h 662"/>
                  <a:gd name="T66" fmla="*/ 532 w 740"/>
                  <a:gd name="T67" fmla="*/ 486 h 662"/>
                  <a:gd name="T68" fmla="*/ 533 w 740"/>
                  <a:gd name="T69" fmla="*/ 482 h 662"/>
                  <a:gd name="T70" fmla="*/ 661 w 740"/>
                  <a:gd name="T71" fmla="*/ 394 h 662"/>
                  <a:gd name="T72" fmla="*/ 666 w 740"/>
                  <a:gd name="T73" fmla="*/ 393 h 662"/>
                  <a:gd name="T74" fmla="*/ 672 w 740"/>
                  <a:gd name="T75" fmla="*/ 392 h 662"/>
                  <a:gd name="T76" fmla="*/ 697 w 740"/>
                  <a:gd name="T77" fmla="*/ 390 h 662"/>
                  <a:gd name="T78" fmla="*/ 701 w 740"/>
                  <a:gd name="T79" fmla="*/ 302 h 662"/>
                  <a:gd name="T80" fmla="*/ 716 w 740"/>
                  <a:gd name="T81" fmla="*/ 216 h 662"/>
                  <a:gd name="T82" fmla="*/ 718 w 740"/>
                  <a:gd name="T83" fmla="*/ 114 h 662"/>
                  <a:gd name="T84" fmla="*/ 710 w 740"/>
                  <a:gd name="T85" fmla="*/ 86 h 662"/>
                  <a:gd name="T86" fmla="*/ 704 w 740"/>
                  <a:gd name="T87" fmla="*/ 84 h 662"/>
                  <a:gd name="T88" fmla="*/ 700 w 740"/>
                  <a:gd name="T89" fmla="*/ 83 h 662"/>
                  <a:gd name="T90" fmla="*/ 696 w 740"/>
                  <a:gd name="T91" fmla="*/ 82 h 662"/>
                  <a:gd name="T92" fmla="*/ 692 w 740"/>
                  <a:gd name="T93" fmla="*/ 81 h 662"/>
                  <a:gd name="T94" fmla="*/ 689 w 740"/>
                  <a:gd name="T95" fmla="*/ 79 h 662"/>
                  <a:gd name="T96" fmla="*/ 687 w 740"/>
                  <a:gd name="T97" fmla="*/ 78 h 662"/>
                  <a:gd name="T98" fmla="*/ 684 w 740"/>
                  <a:gd name="T99" fmla="*/ 76 h 662"/>
                  <a:gd name="T100" fmla="*/ 682 w 740"/>
                  <a:gd name="T101" fmla="*/ 74 h 662"/>
                  <a:gd name="T102" fmla="*/ 680 w 740"/>
                  <a:gd name="T103" fmla="*/ 72 h 662"/>
                  <a:gd name="T104" fmla="*/ 616 w 740"/>
                  <a:gd name="T105" fmla="*/ 44 h 662"/>
                  <a:gd name="T106" fmla="*/ 569 w 740"/>
                  <a:gd name="T107" fmla="*/ 5 h 662"/>
                  <a:gd name="T108" fmla="*/ 568 w 740"/>
                  <a:gd name="T109" fmla="*/ 3 h 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40" h="662">
                    <a:moveTo>
                      <a:pt x="566" y="2"/>
                    </a:moveTo>
                    <a:cubicBezTo>
                      <a:pt x="566" y="1"/>
                      <a:pt x="565" y="1"/>
                      <a:pt x="564" y="1"/>
                    </a:cubicBezTo>
                    <a:cubicBezTo>
                      <a:pt x="560" y="0"/>
                      <a:pt x="553" y="2"/>
                      <a:pt x="547" y="5"/>
                    </a:cubicBezTo>
                    <a:cubicBezTo>
                      <a:pt x="547" y="5"/>
                      <a:pt x="547" y="5"/>
                      <a:pt x="547" y="5"/>
                    </a:cubicBezTo>
                    <a:cubicBezTo>
                      <a:pt x="544" y="6"/>
                      <a:pt x="542" y="7"/>
                      <a:pt x="539" y="8"/>
                    </a:cubicBezTo>
                    <a:cubicBezTo>
                      <a:pt x="539" y="8"/>
                      <a:pt x="539" y="8"/>
                      <a:pt x="539" y="8"/>
                    </a:cubicBezTo>
                    <a:cubicBezTo>
                      <a:pt x="538" y="9"/>
                      <a:pt x="537" y="9"/>
                      <a:pt x="536" y="10"/>
                    </a:cubicBezTo>
                    <a:cubicBezTo>
                      <a:pt x="524" y="16"/>
                      <a:pt x="484" y="12"/>
                      <a:pt x="466" y="12"/>
                    </a:cubicBezTo>
                    <a:cubicBezTo>
                      <a:pt x="448" y="13"/>
                      <a:pt x="447" y="19"/>
                      <a:pt x="442" y="36"/>
                    </a:cubicBezTo>
                    <a:cubicBezTo>
                      <a:pt x="438" y="52"/>
                      <a:pt x="428" y="57"/>
                      <a:pt x="419" y="65"/>
                    </a:cubicBezTo>
                    <a:cubicBezTo>
                      <a:pt x="410" y="73"/>
                      <a:pt x="418" y="80"/>
                      <a:pt x="423" y="93"/>
                    </a:cubicBezTo>
                    <a:cubicBezTo>
                      <a:pt x="428" y="106"/>
                      <a:pt x="422" y="132"/>
                      <a:pt x="422" y="142"/>
                    </a:cubicBezTo>
                    <a:cubicBezTo>
                      <a:pt x="422" y="152"/>
                      <a:pt x="428" y="172"/>
                      <a:pt x="418" y="181"/>
                    </a:cubicBezTo>
                    <a:cubicBezTo>
                      <a:pt x="408" y="190"/>
                      <a:pt x="407" y="205"/>
                      <a:pt x="406" y="217"/>
                    </a:cubicBezTo>
                    <a:cubicBezTo>
                      <a:pt x="406" y="229"/>
                      <a:pt x="423" y="240"/>
                      <a:pt x="433" y="250"/>
                    </a:cubicBezTo>
                    <a:cubicBezTo>
                      <a:pt x="443" y="260"/>
                      <a:pt x="450" y="273"/>
                      <a:pt x="463" y="276"/>
                    </a:cubicBezTo>
                    <a:cubicBezTo>
                      <a:pt x="476" y="280"/>
                      <a:pt x="482" y="271"/>
                      <a:pt x="482" y="262"/>
                    </a:cubicBezTo>
                    <a:cubicBezTo>
                      <a:pt x="482" y="254"/>
                      <a:pt x="500" y="254"/>
                      <a:pt x="504" y="262"/>
                    </a:cubicBezTo>
                    <a:cubicBezTo>
                      <a:pt x="509" y="269"/>
                      <a:pt x="505" y="278"/>
                      <a:pt x="500" y="288"/>
                    </a:cubicBezTo>
                    <a:cubicBezTo>
                      <a:pt x="496" y="299"/>
                      <a:pt x="496" y="302"/>
                      <a:pt x="498" y="314"/>
                    </a:cubicBezTo>
                    <a:cubicBezTo>
                      <a:pt x="499" y="327"/>
                      <a:pt x="496" y="330"/>
                      <a:pt x="484" y="330"/>
                    </a:cubicBezTo>
                    <a:cubicBezTo>
                      <a:pt x="472" y="329"/>
                      <a:pt x="471" y="338"/>
                      <a:pt x="460" y="338"/>
                    </a:cubicBezTo>
                    <a:cubicBezTo>
                      <a:pt x="448" y="339"/>
                      <a:pt x="438" y="326"/>
                      <a:pt x="431" y="310"/>
                    </a:cubicBezTo>
                    <a:cubicBezTo>
                      <a:pt x="424" y="294"/>
                      <a:pt x="411" y="283"/>
                      <a:pt x="401" y="278"/>
                    </a:cubicBezTo>
                    <a:cubicBezTo>
                      <a:pt x="391" y="272"/>
                      <a:pt x="376" y="268"/>
                      <a:pt x="363" y="263"/>
                    </a:cubicBezTo>
                    <a:cubicBezTo>
                      <a:pt x="350" y="258"/>
                      <a:pt x="344" y="245"/>
                      <a:pt x="342" y="233"/>
                    </a:cubicBezTo>
                    <a:cubicBezTo>
                      <a:pt x="340" y="221"/>
                      <a:pt x="335" y="223"/>
                      <a:pt x="325" y="224"/>
                    </a:cubicBezTo>
                    <a:cubicBezTo>
                      <a:pt x="315" y="224"/>
                      <a:pt x="314" y="228"/>
                      <a:pt x="312" y="240"/>
                    </a:cubicBezTo>
                    <a:cubicBezTo>
                      <a:pt x="311" y="251"/>
                      <a:pt x="308" y="256"/>
                      <a:pt x="300" y="256"/>
                    </a:cubicBezTo>
                    <a:cubicBezTo>
                      <a:pt x="293" y="256"/>
                      <a:pt x="286" y="247"/>
                      <a:pt x="276" y="247"/>
                    </a:cubicBezTo>
                    <a:cubicBezTo>
                      <a:pt x="267" y="247"/>
                      <a:pt x="258" y="246"/>
                      <a:pt x="256" y="238"/>
                    </a:cubicBezTo>
                    <a:cubicBezTo>
                      <a:pt x="254" y="230"/>
                      <a:pt x="234" y="231"/>
                      <a:pt x="225" y="228"/>
                    </a:cubicBezTo>
                    <a:cubicBezTo>
                      <a:pt x="216" y="224"/>
                      <a:pt x="216" y="218"/>
                      <a:pt x="214" y="209"/>
                    </a:cubicBezTo>
                    <a:cubicBezTo>
                      <a:pt x="212" y="200"/>
                      <a:pt x="201" y="200"/>
                      <a:pt x="186" y="200"/>
                    </a:cubicBezTo>
                    <a:cubicBezTo>
                      <a:pt x="172" y="200"/>
                      <a:pt x="182" y="208"/>
                      <a:pt x="170" y="211"/>
                    </a:cubicBezTo>
                    <a:cubicBezTo>
                      <a:pt x="159" y="214"/>
                      <a:pt x="153" y="199"/>
                      <a:pt x="148" y="188"/>
                    </a:cubicBezTo>
                    <a:cubicBezTo>
                      <a:pt x="147" y="187"/>
                      <a:pt x="147" y="186"/>
                      <a:pt x="146" y="186"/>
                    </a:cubicBezTo>
                    <a:cubicBezTo>
                      <a:pt x="146" y="185"/>
                      <a:pt x="146" y="185"/>
                      <a:pt x="146" y="185"/>
                    </a:cubicBezTo>
                    <a:cubicBezTo>
                      <a:pt x="146" y="185"/>
                      <a:pt x="145" y="184"/>
                      <a:pt x="145" y="184"/>
                    </a:cubicBezTo>
                    <a:cubicBezTo>
                      <a:pt x="145" y="184"/>
                      <a:pt x="144" y="183"/>
                      <a:pt x="144" y="183"/>
                    </a:cubicBezTo>
                    <a:cubicBezTo>
                      <a:pt x="144" y="183"/>
                      <a:pt x="143" y="183"/>
                      <a:pt x="143" y="182"/>
                    </a:cubicBezTo>
                    <a:cubicBezTo>
                      <a:pt x="142" y="182"/>
                      <a:pt x="142" y="182"/>
                      <a:pt x="142" y="182"/>
                    </a:cubicBezTo>
                    <a:cubicBezTo>
                      <a:pt x="141" y="182"/>
                      <a:pt x="141" y="181"/>
                      <a:pt x="140" y="181"/>
                    </a:cubicBezTo>
                    <a:cubicBezTo>
                      <a:pt x="140" y="181"/>
                      <a:pt x="140" y="181"/>
                      <a:pt x="139" y="181"/>
                    </a:cubicBezTo>
                    <a:cubicBezTo>
                      <a:pt x="139" y="180"/>
                      <a:pt x="138" y="180"/>
                      <a:pt x="138" y="180"/>
                    </a:cubicBezTo>
                    <a:cubicBezTo>
                      <a:pt x="137" y="180"/>
                      <a:pt x="137" y="180"/>
                      <a:pt x="137" y="180"/>
                    </a:cubicBezTo>
                    <a:cubicBezTo>
                      <a:pt x="136" y="180"/>
                      <a:pt x="135" y="179"/>
                      <a:pt x="135" y="179"/>
                    </a:cubicBezTo>
                    <a:cubicBezTo>
                      <a:pt x="134" y="179"/>
                      <a:pt x="134" y="179"/>
                      <a:pt x="134" y="179"/>
                    </a:cubicBezTo>
                    <a:cubicBezTo>
                      <a:pt x="133" y="179"/>
                      <a:pt x="132" y="179"/>
                      <a:pt x="131" y="179"/>
                    </a:cubicBezTo>
                    <a:cubicBezTo>
                      <a:pt x="131" y="179"/>
                      <a:pt x="131" y="179"/>
                      <a:pt x="131" y="179"/>
                    </a:cubicBezTo>
                    <a:cubicBezTo>
                      <a:pt x="130" y="178"/>
                      <a:pt x="129" y="178"/>
                      <a:pt x="128" y="178"/>
                    </a:cubicBezTo>
                    <a:cubicBezTo>
                      <a:pt x="126" y="309"/>
                      <a:pt x="126" y="309"/>
                      <a:pt x="126" y="309"/>
                    </a:cubicBezTo>
                    <a:cubicBezTo>
                      <a:pt x="0" y="313"/>
                      <a:pt x="0" y="313"/>
                      <a:pt x="0" y="313"/>
                    </a:cubicBezTo>
                    <a:cubicBezTo>
                      <a:pt x="1" y="520"/>
                      <a:pt x="1" y="520"/>
                      <a:pt x="1" y="520"/>
                    </a:cubicBezTo>
                    <a:cubicBezTo>
                      <a:pt x="1" y="520"/>
                      <a:pt x="23" y="556"/>
                      <a:pt x="35" y="566"/>
                    </a:cubicBezTo>
                    <a:cubicBezTo>
                      <a:pt x="47" y="576"/>
                      <a:pt x="57" y="589"/>
                      <a:pt x="66" y="591"/>
                    </a:cubicBezTo>
                    <a:cubicBezTo>
                      <a:pt x="74" y="593"/>
                      <a:pt x="79" y="598"/>
                      <a:pt x="80" y="619"/>
                    </a:cubicBezTo>
                    <a:cubicBezTo>
                      <a:pt x="80" y="619"/>
                      <a:pt x="80" y="619"/>
                      <a:pt x="80" y="619"/>
                    </a:cubicBezTo>
                    <a:cubicBezTo>
                      <a:pt x="85" y="619"/>
                      <a:pt x="90" y="618"/>
                      <a:pt x="94" y="618"/>
                    </a:cubicBezTo>
                    <a:cubicBezTo>
                      <a:pt x="94" y="618"/>
                      <a:pt x="95" y="618"/>
                      <a:pt x="95" y="618"/>
                    </a:cubicBezTo>
                    <a:cubicBezTo>
                      <a:pt x="97" y="618"/>
                      <a:pt x="98" y="617"/>
                      <a:pt x="100" y="617"/>
                    </a:cubicBezTo>
                    <a:cubicBezTo>
                      <a:pt x="101" y="617"/>
                      <a:pt x="101" y="617"/>
                      <a:pt x="101" y="617"/>
                    </a:cubicBezTo>
                    <a:cubicBezTo>
                      <a:pt x="102" y="617"/>
                      <a:pt x="104" y="617"/>
                      <a:pt x="105" y="616"/>
                    </a:cubicBezTo>
                    <a:cubicBezTo>
                      <a:pt x="106" y="616"/>
                      <a:pt x="106" y="616"/>
                      <a:pt x="107" y="616"/>
                    </a:cubicBezTo>
                    <a:cubicBezTo>
                      <a:pt x="108" y="616"/>
                      <a:pt x="109" y="615"/>
                      <a:pt x="110" y="615"/>
                    </a:cubicBezTo>
                    <a:cubicBezTo>
                      <a:pt x="110" y="615"/>
                      <a:pt x="110" y="615"/>
                      <a:pt x="111" y="614"/>
                    </a:cubicBezTo>
                    <a:cubicBezTo>
                      <a:pt x="112" y="614"/>
                      <a:pt x="113" y="613"/>
                      <a:pt x="114" y="612"/>
                    </a:cubicBezTo>
                    <a:cubicBezTo>
                      <a:pt x="124" y="606"/>
                      <a:pt x="177" y="606"/>
                      <a:pt x="189" y="614"/>
                    </a:cubicBezTo>
                    <a:cubicBezTo>
                      <a:pt x="194" y="617"/>
                      <a:pt x="199" y="622"/>
                      <a:pt x="204" y="628"/>
                    </a:cubicBezTo>
                    <a:cubicBezTo>
                      <a:pt x="210" y="627"/>
                      <a:pt x="217" y="628"/>
                      <a:pt x="225" y="630"/>
                    </a:cubicBezTo>
                    <a:cubicBezTo>
                      <a:pt x="245" y="635"/>
                      <a:pt x="248" y="628"/>
                      <a:pt x="268" y="635"/>
                    </a:cubicBezTo>
                    <a:cubicBezTo>
                      <a:pt x="288" y="642"/>
                      <a:pt x="300" y="662"/>
                      <a:pt x="317" y="640"/>
                    </a:cubicBezTo>
                    <a:cubicBezTo>
                      <a:pt x="334" y="619"/>
                      <a:pt x="350" y="568"/>
                      <a:pt x="392" y="560"/>
                    </a:cubicBezTo>
                    <a:cubicBezTo>
                      <a:pt x="433" y="552"/>
                      <a:pt x="440" y="540"/>
                      <a:pt x="441" y="522"/>
                    </a:cubicBezTo>
                    <a:cubicBezTo>
                      <a:pt x="442" y="503"/>
                      <a:pt x="452" y="492"/>
                      <a:pt x="474" y="490"/>
                    </a:cubicBezTo>
                    <a:cubicBezTo>
                      <a:pt x="476" y="490"/>
                      <a:pt x="477" y="489"/>
                      <a:pt x="479" y="489"/>
                    </a:cubicBezTo>
                    <a:cubicBezTo>
                      <a:pt x="479" y="489"/>
                      <a:pt x="480" y="489"/>
                      <a:pt x="480" y="489"/>
                    </a:cubicBezTo>
                    <a:cubicBezTo>
                      <a:pt x="481" y="489"/>
                      <a:pt x="482" y="489"/>
                      <a:pt x="483" y="489"/>
                    </a:cubicBezTo>
                    <a:cubicBezTo>
                      <a:pt x="484" y="489"/>
                      <a:pt x="484" y="489"/>
                      <a:pt x="485" y="489"/>
                    </a:cubicBezTo>
                    <a:cubicBezTo>
                      <a:pt x="486" y="489"/>
                      <a:pt x="487" y="489"/>
                      <a:pt x="488" y="489"/>
                    </a:cubicBezTo>
                    <a:cubicBezTo>
                      <a:pt x="488" y="489"/>
                      <a:pt x="489" y="489"/>
                      <a:pt x="489" y="489"/>
                    </a:cubicBezTo>
                    <a:cubicBezTo>
                      <a:pt x="490" y="489"/>
                      <a:pt x="491" y="489"/>
                      <a:pt x="492" y="489"/>
                    </a:cubicBezTo>
                    <a:cubicBezTo>
                      <a:pt x="493" y="489"/>
                      <a:pt x="493" y="489"/>
                      <a:pt x="494" y="489"/>
                    </a:cubicBezTo>
                    <a:cubicBezTo>
                      <a:pt x="495" y="490"/>
                      <a:pt x="497" y="490"/>
                      <a:pt x="498" y="490"/>
                    </a:cubicBezTo>
                    <a:cubicBezTo>
                      <a:pt x="498" y="490"/>
                      <a:pt x="498" y="490"/>
                      <a:pt x="498" y="490"/>
                    </a:cubicBezTo>
                    <a:cubicBezTo>
                      <a:pt x="500" y="490"/>
                      <a:pt x="502" y="490"/>
                      <a:pt x="503" y="490"/>
                    </a:cubicBezTo>
                    <a:cubicBezTo>
                      <a:pt x="504" y="490"/>
                      <a:pt x="504" y="490"/>
                      <a:pt x="504" y="490"/>
                    </a:cubicBezTo>
                    <a:cubicBezTo>
                      <a:pt x="506" y="490"/>
                      <a:pt x="508" y="490"/>
                      <a:pt x="510" y="490"/>
                    </a:cubicBezTo>
                    <a:cubicBezTo>
                      <a:pt x="511" y="490"/>
                      <a:pt x="511" y="490"/>
                      <a:pt x="512" y="490"/>
                    </a:cubicBezTo>
                    <a:cubicBezTo>
                      <a:pt x="513" y="490"/>
                      <a:pt x="513" y="490"/>
                      <a:pt x="514" y="490"/>
                    </a:cubicBezTo>
                    <a:cubicBezTo>
                      <a:pt x="515" y="490"/>
                      <a:pt x="515" y="490"/>
                      <a:pt x="516" y="490"/>
                    </a:cubicBezTo>
                    <a:cubicBezTo>
                      <a:pt x="517" y="490"/>
                      <a:pt x="517" y="490"/>
                      <a:pt x="518" y="490"/>
                    </a:cubicBezTo>
                    <a:cubicBezTo>
                      <a:pt x="518" y="490"/>
                      <a:pt x="519" y="490"/>
                      <a:pt x="520" y="490"/>
                    </a:cubicBezTo>
                    <a:cubicBezTo>
                      <a:pt x="520" y="490"/>
                      <a:pt x="521" y="490"/>
                      <a:pt x="521" y="490"/>
                    </a:cubicBezTo>
                    <a:cubicBezTo>
                      <a:pt x="522" y="490"/>
                      <a:pt x="523" y="490"/>
                      <a:pt x="523" y="490"/>
                    </a:cubicBezTo>
                    <a:cubicBezTo>
                      <a:pt x="524" y="490"/>
                      <a:pt x="524" y="490"/>
                      <a:pt x="525" y="489"/>
                    </a:cubicBezTo>
                    <a:cubicBezTo>
                      <a:pt x="525" y="489"/>
                      <a:pt x="526" y="489"/>
                      <a:pt x="526" y="489"/>
                    </a:cubicBezTo>
                    <a:cubicBezTo>
                      <a:pt x="527" y="489"/>
                      <a:pt x="527" y="489"/>
                      <a:pt x="527" y="489"/>
                    </a:cubicBezTo>
                    <a:cubicBezTo>
                      <a:pt x="528" y="488"/>
                      <a:pt x="528" y="488"/>
                      <a:pt x="529" y="488"/>
                    </a:cubicBezTo>
                    <a:cubicBezTo>
                      <a:pt x="529" y="488"/>
                      <a:pt x="529" y="488"/>
                      <a:pt x="530" y="488"/>
                    </a:cubicBezTo>
                    <a:cubicBezTo>
                      <a:pt x="530" y="487"/>
                      <a:pt x="531" y="487"/>
                      <a:pt x="531" y="487"/>
                    </a:cubicBezTo>
                    <a:cubicBezTo>
                      <a:pt x="531" y="486"/>
                      <a:pt x="531" y="486"/>
                      <a:pt x="532" y="486"/>
                    </a:cubicBezTo>
                    <a:cubicBezTo>
                      <a:pt x="532" y="486"/>
                      <a:pt x="532" y="486"/>
                      <a:pt x="532" y="486"/>
                    </a:cubicBezTo>
                    <a:cubicBezTo>
                      <a:pt x="532" y="485"/>
                      <a:pt x="532" y="485"/>
                      <a:pt x="533" y="484"/>
                    </a:cubicBezTo>
                    <a:cubicBezTo>
                      <a:pt x="533" y="483"/>
                      <a:pt x="533" y="483"/>
                      <a:pt x="533" y="482"/>
                    </a:cubicBezTo>
                    <a:cubicBezTo>
                      <a:pt x="533" y="467"/>
                      <a:pt x="509" y="442"/>
                      <a:pt x="546" y="434"/>
                    </a:cubicBezTo>
                    <a:cubicBezTo>
                      <a:pt x="584" y="426"/>
                      <a:pt x="636" y="403"/>
                      <a:pt x="657" y="395"/>
                    </a:cubicBezTo>
                    <a:cubicBezTo>
                      <a:pt x="658" y="395"/>
                      <a:pt x="660" y="394"/>
                      <a:pt x="661" y="394"/>
                    </a:cubicBezTo>
                    <a:cubicBezTo>
                      <a:pt x="661" y="394"/>
                      <a:pt x="662" y="394"/>
                      <a:pt x="662" y="394"/>
                    </a:cubicBezTo>
                    <a:cubicBezTo>
                      <a:pt x="663" y="393"/>
                      <a:pt x="664" y="393"/>
                      <a:pt x="664" y="393"/>
                    </a:cubicBezTo>
                    <a:cubicBezTo>
                      <a:pt x="665" y="393"/>
                      <a:pt x="665" y="393"/>
                      <a:pt x="666" y="393"/>
                    </a:cubicBezTo>
                    <a:cubicBezTo>
                      <a:pt x="666" y="392"/>
                      <a:pt x="667" y="392"/>
                      <a:pt x="668" y="392"/>
                    </a:cubicBezTo>
                    <a:cubicBezTo>
                      <a:pt x="668" y="392"/>
                      <a:pt x="669" y="392"/>
                      <a:pt x="669" y="392"/>
                    </a:cubicBezTo>
                    <a:cubicBezTo>
                      <a:pt x="670" y="392"/>
                      <a:pt x="671" y="392"/>
                      <a:pt x="672" y="392"/>
                    </a:cubicBezTo>
                    <a:cubicBezTo>
                      <a:pt x="672" y="392"/>
                      <a:pt x="672" y="392"/>
                      <a:pt x="672" y="392"/>
                    </a:cubicBezTo>
                    <a:cubicBezTo>
                      <a:pt x="684" y="390"/>
                      <a:pt x="693" y="392"/>
                      <a:pt x="697" y="390"/>
                    </a:cubicBezTo>
                    <a:cubicBezTo>
                      <a:pt x="697" y="390"/>
                      <a:pt x="697" y="390"/>
                      <a:pt x="697" y="390"/>
                    </a:cubicBezTo>
                    <a:cubicBezTo>
                      <a:pt x="691" y="378"/>
                      <a:pt x="696" y="368"/>
                      <a:pt x="690" y="362"/>
                    </a:cubicBezTo>
                    <a:cubicBezTo>
                      <a:pt x="684" y="355"/>
                      <a:pt x="690" y="340"/>
                      <a:pt x="697" y="332"/>
                    </a:cubicBezTo>
                    <a:cubicBezTo>
                      <a:pt x="704" y="324"/>
                      <a:pt x="705" y="319"/>
                      <a:pt x="701" y="302"/>
                    </a:cubicBezTo>
                    <a:cubicBezTo>
                      <a:pt x="697" y="284"/>
                      <a:pt x="713" y="291"/>
                      <a:pt x="725" y="286"/>
                    </a:cubicBezTo>
                    <a:cubicBezTo>
                      <a:pt x="737" y="280"/>
                      <a:pt x="729" y="271"/>
                      <a:pt x="720" y="266"/>
                    </a:cubicBezTo>
                    <a:cubicBezTo>
                      <a:pt x="710" y="260"/>
                      <a:pt x="716" y="231"/>
                      <a:pt x="716" y="216"/>
                    </a:cubicBezTo>
                    <a:cubicBezTo>
                      <a:pt x="716" y="202"/>
                      <a:pt x="717" y="179"/>
                      <a:pt x="725" y="175"/>
                    </a:cubicBezTo>
                    <a:cubicBezTo>
                      <a:pt x="733" y="171"/>
                      <a:pt x="737" y="163"/>
                      <a:pt x="738" y="148"/>
                    </a:cubicBezTo>
                    <a:cubicBezTo>
                      <a:pt x="740" y="134"/>
                      <a:pt x="726" y="122"/>
                      <a:pt x="718" y="114"/>
                    </a:cubicBezTo>
                    <a:cubicBezTo>
                      <a:pt x="715" y="110"/>
                      <a:pt x="714" y="98"/>
                      <a:pt x="715" y="87"/>
                    </a:cubicBezTo>
                    <a:cubicBezTo>
                      <a:pt x="714" y="86"/>
                      <a:pt x="713" y="86"/>
                      <a:pt x="712" y="86"/>
                    </a:cubicBezTo>
                    <a:cubicBezTo>
                      <a:pt x="711" y="86"/>
                      <a:pt x="710" y="86"/>
                      <a:pt x="710" y="86"/>
                    </a:cubicBezTo>
                    <a:cubicBezTo>
                      <a:pt x="709" y="85"/>
                      <a:pt x="709" y="85"/>
                      <a:pt x="708" y="85"/>
                    </a:cubicBezTo>
                    <a:cubicBezTo>
                      <a:pt x="707" y="85"/>
                      <a:pt x="707" y="85"/>
                      <a:pt x="706" y="85"/>
                    </a:cubicBezTo>
                    <a:cubicBezTo>
                      <a:pt x="706" y="85"/>
                      <a:pt x="705" y="84"/>
                      <a:pt x="704" y="84"/>
                    </a:cubicBezTo>
                    <a:cubicBezTo>
                      <a:pt x="704" y="84"/>
                      <a:pt x="704" y="84"/>
                      <a:pt x="703" y="84"/>
                    </a:cubicBezTo>
                    <a:cubicBezTo>
                      <a:pt x="702" y="84"/>
                      <a:pt x="702" y="84"/>
                      <a:pt x="701" y="83"/>
                    </a:cubicBezTo>
                    <a:cubicBezTo>
                      <a:pt x="701" y="83"/>
                      <a:pt x="700" y="83"/>
                      <a:pt x="700" y="83"/>
                    </a:cubicBezTo>
                    <a:cubicBezTo>
                      <a:pt x="700" y="83"/>
                      <a:pt x="699" y="83"/>
                      <a:pt x="698" y="83"/>
                    </a:cubicBezTo>
                    <a:cubicBezTo>
                      <a:pt x="698" y="82"/>
                      <a:pt x="698" y="82"/>
                      <a:pt x="697" y="82"/>
                    </a:cubicBezTo>
                    <a:cubicBezTo>
                      <a:pt x="697" y="82"/>
                      <a:pt x="696" y="82"/>
                      <a:pt x="696" y="82"/>
                    </a:cubicBezTo>
                    <a:cubicBezTo>
                      <a:pt x="695" y="82"/>
                      <a:pt x="695" y="82"/>
                      <a:pt x="695" y="81"/>
                    </a:cubicBezTo>
                    <a:cubicBezTo>
                      <a:pt x="694" y="81"/>
                      <a:pt x="694" y="81"/>
                      <a:pt x="693" y="81"/>
                    </a:cubicBezTo>
                    <a:cubicBezTo>
                      <a:pt x="693" y="81"/>
                      <a:pt x="693" y="81"/>
                      <a:pt x="692" y="81"/>
                    </a:cubicBezTo>
                    <a:cubicBezTo>
                      <a:pt x="692" y="80"/>
                      <a:pt x="692" y="80"/>
                      <a:pt x="691" y="80"/>
                    </a:cubicBezTo>
                    <a:cubicBezTo>
                      <a:pt x="691" y="80"/>
                      <a:pt x="691" y="80"/>
                      <a:pt x="690" y="80"/>
                    </a:cubicBezTo>
                    <a:cubicBezTo>
                      <a:pt x="690" y="80"/>
                      <a:pt x="689" y="79"/>
                      <a:pt x="689" y="79"/>
                    </a:cubicBezTo>
                    <a:cubicBezTo>
                      <a:pt x="689" y="79"/>
                      <a:pt x="689" y="79"/>
                      <a:pt x="688" y="79"/>
                    </a:cubicBezTo>
                    <a:cubicBezTo>
                      <a:pt x="688" y="79"/>
                      <a:pt x="688" y="78"/>
                      <a:pt x="687" y="78"/>
                    </a:cubicBezTo>
                    <a:cubicBezTo>
                      <a:pt x="687" y="78"/>
                      <a:pt x="687" y="78"/>
                      <a:pt x="687" y="78"/>
                    </a:cubicBezTo>
                    <a:cubicBezTo>
                      <a:pt x="686" y="77"/>
                      <a:pt x="686" y="77"/>
                      <a:pt x="685" y="77"/>
                    </a:cubicBezTo>
                    <a:cubicBezTo>
                      <a:pt x="685" y="77"/>
                      <a:pt x="685" y="77"/>
                      <a:pt x="685" y="77"/>
                    </a:cubicBezTo>
                    <a:cubicBezTo>
                      <a:pt x="684" y="76"/>
                      <a:pt x="684" y="76"/>
                      <a:pt x="684" y="76"/>
                    </a:cubicBezTo>
                    <a:cubicBezTo>
                      <a:pt x="684" y="76"/>
                      <a:pt x="683" y="75"/>
                      <a:pt x="683" y="75"/>
                    </a:cubicBezTo>
                    <a:cubicBezTo>
                      <a:pt x="683" y="75"/>
                      <a:pt x="683" y="75"/>
                      <a:pt x="682" y="75"/>
                    </a:cubicBezTo>
                    <a:cubicBezTo>
                      <a:pt x="682" y="74"/>
                      <a:pt x="682" y="74"/>
                      <a:pt x="682" y="74"/>
                    </a:cubicBezTo>
                    <a:cubicBezTo>
                      <a:pt x="681" y="74"/>
                      <a:pt x="681" y="73"/>
                      <a:pt x="681" y="73"/>
                    </a:cubicBezTo>
                    <a:cubicBezTo>
                      <a:pt x="681" y="73"/>
                      <a:pt x="680" y="72"/>
                      <a:pt x="680" y="72"/>
                    </a:cubicBezTo>
                    <a:cubicBezTo>
                      <a:pt x="680" y="72"/>
                      <a:pt x="680" y="72"/>
                      <a:pt x="680" y="72"/>
                    </a:cubicBezTo>
                    <a:cubicBezTo>
                      <a:pt x="679" y="71"/>
                      <a:pt x="679" y="70"/>
                      <a:pt x="678" y="70"/>
                    </a:cubicBezTo>
                    <a:cubicBezTo>
                      <a:pt x="672" y="60"/>
                      <a:pt x="645" y="62"/>
                      <a:pt x="636" y="57"/>
                    </a:cubicBezTo>
                    <a:cubicBezTo>
                      <a:pt x="626" y="52"/>
                      <a:pt x="623" y="56"/>
                      <a:pt x="616" y="44"/>
                    </a:cubicBezTo>
                    <a:cubicBezTo>
                      <a:pt x="610" y="32"/>
                      <a:pt x="600" y="26"/>
                      <a:pt x="588" y="29"/>
                    </a:cubicBezTo>
                    <a:cubicBezTo>
                      <a:pt x="577" y="32"/>
                      <a:pt x="572" y="20"/>
                      <a:pt x="570" y="7"/>
                    </a:cubicBezTo>
                    <a:cubicBezTo>
                      <a:pt x="570" y="6"/>
                      <a:pt x="569" y="5"/>
                      <a:pt x="569" y="5"/>
                    </a:cubicBezTo>
                    <a:cubicBezTo>
                      <a:pt x="569" y="5"/>
                      <a:pt x="569" y="5"/>
                      <a:pt x="569" y="4"/>
                    </a:cubicBezTo>
                    <a:cubicBezTo>
                      <a:pt x="569" y="4"/>
                      <a:pt x="568" y="3"/>
                      <a:pt x="568" y="3"/>
                    </a:cubicBezTo>
                    <a:cubicBezTo>
                      <a:pt x="568" y="3"/>
                      <a:pt x="568" y="3"/>
                      <a:pt x="568" y="3"/>
                    </a:cubicBezTo>
                    <a:cubicBezTo>
                      <a:pt x="567" y="2"/>
                      <a:pt x="567" y="2"/>
                      <a:pt x="566" y="2"/>
                    </a:cubicBezTo>
                    <a:cubicBezTo>
                      <a:pt x="566" y="2"/>
                      <a:pt x="566" y="2"/>
                      <a:pt x="566" y="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8" name="Freeform 382">
                <a:extLst>
                  <a:ext uri="{FF2B5EF4-FFF2-40B4-BE49-F238E27FC236}">
                    <a16:creationId xmlns:a16="http://schemas.microsoft.com/office/drawing/2014/main" id="{FF9CB009-7839-AD45-891D-FA3DB8AE2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2734"/>
                <a:ext cx="55" cy="128"/>
              </a:xfrm>
              <a:custGeom>
                <a:avLst/>
                <a:gdLst>
                  <a:gd name="T0" fmla="*/ 15 w 218"/>
                  <a:gd name="T1" fmla="*/ 302 h 505"/>
                  <a:gd name="T2" fmla="*/ 15 w 218"/>
                  <a:gd name="T3" fmla="*/ 302 h 505"/>
                  <a:gd name="T4" fmla="*/ 16 w 218"/>
                  <a:gd name="T5" fmla="*/ 300 h 505"/>
                  <a:gd name="T6" fmla="*/ 40 w 218"/>
                  <a:gd name="T7" fmla="*/ 305 h 505"/>
                  <a:gd name="T8" fmla="*/ 73 w 218"/>
                  <a:gd name="T9" fmla="*/ 323 h 505"/>
                  <a:gd name="T10" fmla="*/ 118 w 218"/>
                  <a:gd name="T11" fmla="*/ 341 h 505"/>
                  <a:gd name="T12" fmla="*/ 114 w 218"/>
                  <a:gd name="T13" fmla="*/ 387 h 505"/>
                  <a:gd name="T14" fmla="*/ 109 w 218"/>
                  <a:gd name="T15" fmla="*/ 445 h 505"/>
                  <a:gd name="T16" fmla="*/ 146 w 218"/>
                  <a:gd name="T17" fmla="*/ 485 h 505"/>
                  <a:gd name="T18" fmla="*/ 169 w 218"/>
                  <a:gd name="T19" fmla="*/ 480 h 505"/>
                  <a:gd name="T20" fmla="*/ 170 w 218"/>
                  <a:gd name="T21" fmla="*/ 433 h 505"/>
                  <a:gd name="T22" fmla="*/ 202 w 218"/>
                  <a:gd name="T23" fmla="*/ 419 h 505"/>
                  <a:gd name="T24" fmla="*/ 202 w 218"/>
                  <a:gd name="T25" fmla="*/ 357 h 505"/>
                  <a:gd name="T26" fmla="*/ 190 w 218"/>
                  <a:gd name="T27" fmla="*/ 319 h 505"/>
                  <a:gd name="T28" fmla="*/ 165 w 218"/>
                  <a:gd name="T29" fmla="*/ 291 h 505"/>
                  <a:gd name="T30" fmla="*/ 164 w 218"/>
                  <a:gd name="T31" fmla="*/ 295 h 505"/>
                  <a:gd name="T32" fmla="*/ 146 w 218"/>
                  <a:gd name="T33" fmla="*/ 298 h 505"/>
                  <a:gd name="T34" fmla="*/ 126 w 218"/>
                  <a:gd name="T35" fmla="*/ 302 h 505"/>
                  <a:gd name="T36" fmla="*/ 121 w 218"/>
                  <a:gd name="T37" fmla="*/ 260 h 505"/>
                  <a:gd name="T38" fmla="*/ 109 w 218"/>
                  <a:gd name="T39" fmla="*/ 236 h 505"/>
                  <a:gd name="T40" fmla="*/ 100 w 218"/>
                  <a:gd name="T41" fmla="*/ 203 h 505"/>
                  <a:gd name="T42" fmla="*/ 90 w 218"/>
                  <a:gd name="T43" fmla="*/ 183 h 505"/>
                  <a:gd name="T44" fmla="*/ 96 w 218"/>
                  <a:gd name="T45" fmla="*/ 162 h 505"/>
                  <a:gd name="T46" fmla="*/ 98 w 218"/>
                  <a:gd name="T47" fmla="*/ 144 h 505"/>
                  <a:gd name="T48" fmla="*/ 105 w 218"/>
                  <a:gd name="T49" fmla="*/ 126 h 505"/>
                  <a:gd name="T50" fmla="*/ 100 w 218"/>
                  <a:gd name="T51" fmla="*/ 104 h 505"/>
                  <a:gd name="T52" fmla="*/ 98 w 218"/>
                  <a:gd name="T53" fmla="*/ 81 h 505"/>
                  <a:gd name="T54" fmla="*/ 97 w 218"/>
                  <a:gd name="T55" fmla="*/ 48 h 505"/>
                  <a:gd name="T56" fmla="*/ 87 w 218"/>
                  <a:gd name="T57" fmla="*/ 30 h 505"/>
                  <a:gd name="T58" fmla="*/ 106 w 218"/>
                  <a:gd name="T59" fmla="*/ 33 h 505"/>
                  <a:gd name="T60" fmla="*/ 114 w 218"/>
                  <a:gd name="T61" fmla="*/ 74 h 505"/>
                  <a:gd name="T62" fmla="*/ 126 w 218"/>
                  <a:gd name="T63" fmla="*/ 117 h 505"/>
                  <a:gd name="T64" fmla="*/ 140 w 218"/>
                  <a:gd name="T65" fmla="*/ 135 h 505"/>
                  <a:gd name="T66" fmla="*/ 142 w 218"/>
                  <a:gd name="T67" fmla="*/ 133 h 505"/>
                  <a:gd name="T68" fmla="*/ 142 w 218"/>
                  <a:gd name="T69" fmla="*/ 133 h 505"/>
                  <a:gd name="T70" fmla="*/ 146 w 218"/>
                  <a:gd name="T71" fmla="*/ 132 h 505"/>
                  <a:gd name="T72" fmla="*/ 146 w 218"/>
                  <a:gd name="T73" fmla="*/ 132 h 505"/>
                  <a:gd name="T74" fmla="*/ 132 w 218"/>
                  <a:gd name="T75" fmla="*/ 110 h 505"/>
                  <a:gd name="T76" fmla="*/ 124 w 218"/>
                  <a:gd name="T77" fmla="*/ 53 h 505"/>
                  <a:gd name="T78" fmla="*/ 112 w 218"/>
                  <a:gd name="T79" fmla="*/ 22 h 505"/>
                  <a:gd name="T80" fmla="*/ 74 w 218"/>
                  <a:gd name="T81" fmla="*/ 7 h 505"/>
                  <a:gd name="T82" fmla="*/ 32 w 218"/>
                  <a:gd name="T83" fmla="*/ 0 h 505"/>
                  <a:gd name="T84" fmla="*/ 31 w 218"/>
                  <a:gd name="T85" fmla="*/ 0 h 505"/>
                  <a:gd name="T86" fmla="*/ 34 w 218"/>
                  <a:gd name="T87" fmla="*/ 27 h 505"/>
                  <a:gd name="T88" fmla="*/ 54 w 218"/>
                  <a:gd name="T89" fmla="*/ 61 h 505"/>
                  <a:gd name="T90" fmla="*/ 41 w 218"/>
                  <a:gd name="T91" fmla="*/ 88 h 505"/>
                  <a:gd name="T92" fmla="*/ 32 w 218"/>
                  <a:gd name="T93" fmla="*/ 129 h 505"/>
                  <a:gd name="T94" fmla="*/ 36 w 218"/>
                  <a:gd name="T95" fmla="*/ 179 h 505"/>
                  <a:gd name="T96" fmla="*/ 41 w 218"/>
                  <a:gd name="T97" fmla="*/ 199 h 505"/>
                  <a:gd name="T98" fmla="*/ 17 w 218"/>
                  <a:gd name="T99" fmla="*/ 215 h 505"/>
                  <a:gd name="T100" fmla="*/ 13 w 218"/>
                  <a:gd name="T101" fmla="*/ 245 h 505"/>
                  <a:gd name="T102" fmla="*/ 6 w 218"/>
                  <a:gd name="T103" fmla="*/ 275 h 505"/>
                  <a:gd name="T104" fmla="*/ 13 w 218"/>
                  <a:gd name="T105" fmla="*/ 303 h 505"/>
                  <a:gd name="T106" fmla="*/ 13 w 218"/>
                  <a:gd name="T107" fmla="*/ 303 h 505"/>
                  <a:gd name="T108" fmla="*/ 15 w 218"/>
                  <a:gd name="T109" fmla="*/ 302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8" h="505">
                    <a:moveTo>
                      <a:pt x="15" y="302"/>
                    </a:moveTo>
                    <a:cubicBezTo>
                      <a:pt x="15" y="302"/>
                      <a:pt x="15" y="302"/>
                      <a:pt x="15" y="302"/>
                    </a:cubicBezTo>
                    <a:cubicBezTo>
                      <a:pt x="15" y="301"/>
                      <a:pt x="16" y="301"/>
                      <a:pt x="16" y="300"/>
                    </a:cubicBezTo>
                    <a:cubicBezTo>
                      <a:pt x="18" y="292"/>
                      <a:pt x="25" y="280"/>
                      <a:pt x="40" y="305"/>
                    </a:cubicBezTo>
                    <a:cubicBezTo>
                      <a:pt x="54" y="331"/>
                      <a:pt x="57" y="324"/>
                      <a:pt x="73" y="323"/>
                    </a:cubicBezTo>
                    <a:cubicBezTo>
                      <a:pt x="89" y="321"/>
                      <a:pt x="116" y="323"/>
                      <a:pt x="118" y="341"/>
                    </a:cubicBezTo>
                    <a:cubicBezTo>
                      <a:pt x="121" y="360"/>
                      <a:pt x="125" y="372"/>
                      <a:pt x="114" y="387"/>
                    </a:cubicBezTo>
                    <a:cubicBezTo>
                      <a:pt x="104" y="401"/>
                      <a:pt x="92" y="420"/>
                      <a:pt x="109" y="445"/>
                    </a:cubicBezTo>
                    <a:cubicBezTo>
                      <a:pt x="126" y="471"/>
                      <a:pt x="129" y="468"/>
                      <a:pt x="146" y="485"/>
                    </a:cubicBezTo>
                    <a:cubicBezTo>
                      <a:pt x="164" y="503"/>
                      <a:pt x="178" y="505"/>
                      <a:pt x="169" y="480"/>
                    </a:cubicBezTo>
                    <a:cubicBezTo>
                      <a:pt x="160" y="455"/>
                      <a:pt x="157" y="435"/>
                      <a:pt x="170" y="433"/>
                    </a:cubicBezTo>
                    <a:cubicBezTo>
                      <a:pt x="184" y="432"/>
                      <a:pt x="204" y="445"/>
                      <a:pt x="202" y="419"/>
                    </a:cubicBezTo>
                    <a:cubicBezTo>
                      <a:pt x="201" y="392"/>
                      <a:pt x="198" y="379"/>
                      <a:pt x="202" y="357"/>
                    </a:cubicBezTo>
                    <a:cubicBezTo>
                      <a:pt x="206" y="336"/>
                      <a:pt x="218" y="347"/>
                      <a:pt x="190" y="319"/>
                    </a:cubicBezTo>
                    <a:cubicBezTo>
                      <a:pt x="180" y="308"/>
                      <a:pt x="172" y="300"/>
                      <a:pt x="165" y="291"/>
                    </a:cubicBezTo>
                    <a:cubicBezTo>
                      <a:pt x="165" y="292"/>
                      <a:pt x="164" y="294"/>
                      <a:pt x="164" y="295"/>
                    </a:cubicBezTo>
                    <a:cubicBezTo>
                      <a:pt x="164" y="300"/>
                      <a:pt x="155" y="302"/>
                      <a:pt x="146" y="298"/>
                    </a:cubicBezTo>
                    <a:cubicBezTo>
                      <a:pt x="137" y="293"/>
                      <a:pt x="137" y="303"/>
                      <a:pt x="126" y="302"/>
                    </a:cubicBezTo>
                    <a:cubicBezTo>
                      <a:pt x="116" y="301"/>
                      <a:pt x="123" y="270"/>
                      <a:pt x="121" y="260"/>
                    </a:cubicBezTo>
                    <a:cubicBezTo>
                      <a:pt x="120" y="249"/>
                      <a:pt x="115" y="245"/>
                      <a:pt x="109" y="236"/>
                    </a:cubicBezTo>
                    <a:cubicBezTo>
                      <a:pt x="102" y="227"/>
                      <a:pt x="101" y="210"/>
                      <a:pt x="100" y="203"/>
                    </a:cubicBezTo>
                    <a:cubicBezTo>
                      <a:pt x="99" y="195"/>
                      <a:pt x="94" y="187"/>
                      <a:pt x="90" y="183"/>
                    </a:cubicBezTo>
                    <a:cubicBezTo>
                      <a:pt x="86" y="179"/>
                      <a:pt x="88" y="164"/>
                      <a:pt x="96" y="162"/>
                    </a:cubicBezTo>
                    <a:cubicBezTo>
                      <a:pt x="103" y="159"/>
                      <a:pt x="93" y="149"/>
                      <a:pt x="98" y="144"/>
                    </a:cubicBezTo>
                    <a:cubicBezTo>
                      <a:pt x="104" y="138"/>
                      <a:pt x="104" y="134"/>
                      <a:pt x="105" y="126"/>
                    </a:cubicBezTo>
                    <a:cubicBezTo>
                      <a:pt x="105" y="119"/>
                      <a:pt x="103" y="108"/>
                      <a:pt x="100" y="104"/>
                    </a:cubicBezTo>
                    <a:cubicBezTo>
                      <a:pt x="96" y="99"/>
                      <a:pt x="97" y="95"/>
                      <a:pt x="98" y="81"/>
                    </a:cubicBezTo>
                    <a:cubicBezTo>
                      <a:pt x="99" y="66"/>
                      <a:pt x="102" y="57"/>
                      <a:pt x="97" y="48"/>
                    </a:cubicBezTo>
                    <a:cubicBezTo>
                      <a:pt x="93" y="39"/>
                      <a:pt x="87" y="30"/>
                      <a:pt x="87" y="30"/>
                    </a:cubicBezTo>
                    <a:cubicBezTo>
                      <a:pt x="81" y="8"/>
                      <a:pt x="102" y="24"/>
                      <a:pt x="106" y="33"/>
                    </a:cubicBezTo>
                    <a:cubicBezTo>
                      <a:pt x="111" y="41"/>
                      <a:pt x="113" y="58"/>
                      <a:pt x="114" y="74"/>
                    </a:cubicBezTo>
                    <a:cubicBezTo>
                      <a:pt x="115" y="90"/>
                      <a:pt x="117" y="105"/>
                      <a:pt x="126" y="117"/>
                    </a:cubicBezTo>
                    <a:cubicBezTo>
                      <a:pt x="133" y="125"/>
                      <a:pt x="138" y="129"/>
                      <a:pt x="140" y="135"/>
                    </a:cubicBezTo>
                    <a:cubicBezTo>
                      <a:pt x="140" y="134"/>
                      <a:pt x="141" y="134"/>
                      <a:pt x="142" y="133"/>
                    </a:cubicBezTo>
                    <a:cubicBezTo>
                      <a:pt x="142" y="133"/>
                      <a:pt x="142" y="133"/>
                      <a:pt x="142" y="133"/>
                    </a:cubicBezTo>
                    <a:cubicBezTo>
                      <a:pt x="143" y="133"/>
                      <a:pt x="144" y="132"/>
                      <a:pt x="146" y="132"/>
                    </a:cubicBezTo>
                    <a:cubicBezTo>
                      <a:pt x="146" y="132"/>
                      <a:pt x="146" y="132"/>
                      <a:pt x="146" y="132"/>
                    </a:cubicBezTo>
                    <a:cubicBezTo>
                      <a:pt x="144" y="121"/>
                      <a:pt x="138" y="114"/>
                      <a:pt x="132" y="110"/>
                    </a:cubicBezTo>
                    <a:cubicBezTo>
                      <a:pt x="125" y="105"/>
                      <a:pt x="126" y="68"/>
                      <a:pt x="124" y="53"/>
                    </a:cubicBezTo>
                    <a:cubicBezTo>
                      <a:pt x="122" y="39"/>
                      <a:pt x="116" y="32"/>
                      <a:pt x="112" y="22"/>
                    </a:cubicBezTo>
                    <a:cubicBezTo>
                      <a:pt x="108" y="12"/>
                      <a:pt x="93" y="7"/>
                      <a:pt x="74" y="7"/>
                    </a:cubicBezTo>
                    <a:cubicBezTo>
                      <a:pt x="56" y="7"/>
                      <a:pt x="55" y="5"/>
                      <a:pt x="32" y="0"/>
                    </a:cubicBezTo>
                    <a:cubicBezTo>
                      <a:pt x="32" y="0"/>
                      <a:pt x="31" y="0"/>
                      <a:pt x="31" y="0"/>
                    </a:cubicBezTo>
                    <a:cubicBezTo>
                      <a:pt x="30" y="11"/>
                      <a:pt x="31" y="23"/>
                      <a:pt x="34" y="27"/>
                    </a:cubicBezTo>
                    <a:cubicBezTo>
                      <a:pt x="42" y="35"/>
                      <a:pt x="56" y="47"/>
                      <a:pt x="54" y="61"/>
                    </a:cubicBezTo>
                    <a:cubicBezTo>
                      <a:pt x="53" y="76"/>
                      <a:pt x="49" y="84"/>
                      <a:pt x="41" y="88"/>
                    </a:cubicBezTo>
                    <a:cubicBezTo>
                      <a:pt x="33" y="92"/>
                      <a:pt x="32" y="115"/>
                      <a:pt x="32" y="129"/>
                    </a:cubicBezTo>
                    <a:cubicBezTo>
                      <a:pt x="32" y="144"/>
                      <a:pt x="26" y="173"/>
                      <a:pt x="36" y="179"/>
                    </a:cubicBezTo>
                    <a:cubicBezTo>
                      <a:pt x="45" y="184"/>
                      <a:pt x="53" y="193"/>
                      <a:pt x="41" y="199"/>
                    </a:cubicBezTo>
                    <a:cubicBezTo>
                      <a:pt x="29" y="204"/>
                      <a:pt x="13" y="197"/>
                      <a:pt x="17" y="215"/>
                    </a:cubicBezTo>
                    <a:cubicBezTo>
                      <a:pt x="21" y="232"/>
                      <a:pt x="20" y="237"/>
                      <a:pt x="13" y="245"/>
                    </a:cubicBezTo>
                    <a:cubicBezTo>
                      <a:pt x="6" y="253"/>
                      <a:pt x="0" y="268"/>
                      <a:pt x="6" y="275"/>
                    </a:cubicBezTo>
                    <a:cubicBezTo>
                      <a:pt x="12" y="281"/>
                      <a:pt x="7" y="291"/>
                      <a:pt x="13" y="303"/>
                    </a:cubicBezTo>
                    <a:cubicBezTo>
                      <a:pt x="13" y="303"/>
                      <a:pt x="13" y="303"/>
                      <a:pt x="13" y="303"/>
                    </a:cubicBezTo>
                    <a:cubicBezTo>
                      <a:pt x="14" y="303"/>
                      <a:pt x="14" y="302"/>
                      <a:pt x="15" y="30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29" name="Freeform 383">
                <a:extLst>
                  <a:ext uri="{FF2B5EF4-FFF2-40B4-BE49-F238E27FC236}">
                    <a16:creationId xmlns:a16="http://schemas.microsoft.com/office/drawing/2014/main" id="{6B4A5DCA-B787-8046-9FCE-BCD8B1E53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1" y="2751"/>
                <a:ext cx="177" cy="275"/>
              </a:xfrm>
              <a:custGeom>
                <a:avLst/>
                <a:gdLst>
                  <a:gd name="T0" fmla="*/ 679 w 702"/>
                  <a:gd name="T1" fmla="*/ 178 h 1088"/>
                  <a:gd name="T2" fmla="*/ 669 w 702"/>
                  <a:gd name="T3" fmla="*/ 40 h 1088"/>
                  <a:gd name="T4" fmla="*/ 561 w 702"/>
                  <a:gd name="T5" fmla="*/ 54 h 1088"/>
                  <a:gd name="T6" fmla="*/ 461 w 702"/>
                  <a:gd name="T7" fmla="*/ 76 h 1088"/>
                  <a:gd name="T8" fmla="*/ 365 w 702"/>
                  <a:gd name="T9" fmla="*/ 68 h 1088"/>
                  <a:gd name="T10" fmla="*/ 328 w 702"/>
                  <a:gd name="T11" fmla="*/ 68 h 1088"/>
                  <a:gd name="T12" fmla="*/ 323 w 702"/>
                  <a:gd name="T13" fmla="*/ 67 h 1088"/>
                  <a:gd name="T14" fmla="*/ 321 w 702"/>
                  <a:gd name="T15" fmla="*/ 67 h 1088"/>
                  <a:gd name="T16" fmla="*/ 315 w 702"/>
                  <a:gd name="T17" fmla="*/ 70 h 1088"/>
                  <a:gd name="T18" fmla="*/ 304 w 702"/>
                  <a:gd name="T19" fmla="*/ 144 h 1088"/>
                  <a:gd name="T20" fmla="*/ 321 w 702"/>
                  <a:gd name="T21" fmla="*/ 201 h 1088"/>
                  <a:gd name="T22" fmla="*/ 365 w 702"/>
                  <a:gd name="T23" fmla="*/ 254 h 1088"/>
                  <a:gd name="T24" fmla="*/ 345 w 702"/>
                  <a:gd name="T25" fmla="*/ 368 h 1088"/>
                  <a:gd name="T26" fmla="*/ 284 w 702"/>
                  <a:gd name="T27" fmla="*/ 380 h 1088"/>
                  <a:gd name="T28" fmla="*/ 248 w 702"/>
                  <a:gd name="T29" fmla="*/ 258 h 1088"/>
                  <a:gd name="T30" fmla="*/ 190 w 702"/>
                  <a:gd name="T31" fmla="*/ 237 h 1088"/>
                  <a:gd name="T32" fmla="*/ 188 w 702"/>
                  <a:gd name="T33" fmla="*/ 238 h 1088"/>
                  <a:gd name="T34" fmla="*/ 163 w 702"/>
                  <a:gd name="T35" fmla="*/ 240 h 1088"/>
                  <a:gd name="T36" fmla="*/ 157 w 702"/>
                  <a:gd name="T37" fmla="*/ 241 h 1088"/>
                  <a:gd name="T38" fmla="*/ 152 w 702"/>
                  <a:gd name="T39" fmla="*/ 242 h 1088"/>
                  <a:gd name="T40" fmla="*/ 24 w 702"/>
                  <a:gd name="T41" fmla="*/ 330 h 1088"/>
                  <a:gd name="T42" fmla="*/ 23 w 702"/>
                  <a:gd name="T43" fmla="*/ 334 h 1088"/>
                  <a:gd name="T44" fmla="*/ 83 w 702"/>
                  <a:gd name="T45" fmla="*/ 363 h 1088"/>
                  <a:gd name="T46" fmla="*/ 188 w 702"/>
                  <a:gd name="T47" fmla="*/ 436 h 1088"/>
                  <a:gd name="T48" fmla="*/ 189 w 702"/>
                  <a:gd name="T49" fmla="*/ 532 h 1088"/>
                  <a:gd name="T50" fmla="*/ 186 w 702"/>
                  <a:gd name="T51" fmla="*/ 603 h 1088"/>
                  <a:gd name="T52" fmla="*/ 159 w 702"/>
                  <a:gd name="T53" fmla="*/ 668 h 1088"/>
                  <a:gd name="T54" fmla="*/ 81 w 702"/>
                  <a:gd name="T55" fmla="*/ 785 h 1088"/>
                  <a:gd name="T56" fmla="*/ 85 w 702"/>
                  <a:gd name="T57" fmla="*/ 793 h 1088"/>
                  <a:gd name="T58" fmla="*/ 88 w 702"/>
                  <a:gd name="T59" fmla="*/ 802 h 1088"/>
                  <a:gd name="T60" fmla="*/ 129 w 702"/>
                  <a:gd name="T61" fmla="*/ 1019 h 1088"/>
                  <a:gd name="T62" fmla="*/ 131 w 702"/>
                  <a:gd name="T63" fmla="*/ 1025 h 1088"/>
                  <a:gd name="T64" fmla="*/ 136 w 702"/>
                  <a:gd name="T65" fmla="*/ 1043 h 1088"/>
                  <a:gd name="T66" fmla="*/ 136 w 702"/>
                  <a:gd name="T67" fmla="*/ 1052 h 1088"/>
                  <a:gd name="T68" fmla="*/ 136 w 702"/>
                  <a:gd name="T69" fmla="*/ 1056 h 1088"/>
                  <a:gd name="T70" fmla="*/ 141 w 702"/>
                  <a:gd name="T71" fmla="*/ 1077 h 1088"/>
                  <a:gd name="T72" fmla="*/ 142 w 702"/>
                  <a:gd name="T73" fmla="*/ 1080 h 1088"/>
                  <a:gd name="T74" fmla="*/ 145 w 702"/>
                  <a:gd name="T75" fmla="*/ 1086 h 1088"/>
                  <a:gd name="T76" fmla="*/ 147 w 702"/>
                  <a:gd name="T77" fmla="*/ 1088 h 1088"/>
                  <a:gd name="T78" fmla="*/ 191 w 702"/>
                  <a:gd name="T79" fmla="*/ 1079 h 1088"/>
                  <a:gd name="T80" fmla="*/ 258 w 702"/>
                  <a:gd name="T81" fmla="*/ 955 h 1088"/>
                  <a:gd name="T82" fmla="*/ 356 w 702"/>
                  <a:gd name="T83" fmla="*/ 804 h 1088"/>
                  <a:gd name="T84" fmla="*/ 322 w 702"/>
                  <a:gd name="T85" fmla="*/ 666 h 1088"/>
                  <a:gd name="T86" fmla="*/ 360 w 702"/>
                  <a:gd name="T87" fmla="*/ 564 h 1088"/>
                  <a:gd name="T88" fmla="*/ 544 w 702"/>
                  <a:gd name="T89" fmla="*/ 431 h 1088"/>
                  <a:gd name="T90" fmla="*/ 692 w 702"/>
                  <a:gd name="T91" fmla="*/ 284 h 10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02" h="1088">
                    <a:moveTo>
                      <a:pt x="693" y="256"/>
                    </a:moveTo>
                    <a:cubicBezTo>
                      <a:pt x="683" y="245"/>
                      <a:pt x="683" y="253"/>
                      <a:pt x="683" y="229"/>
                    </a:cubicBezTo>
                    <a:cubicBezTo>
                      <a:pt x="683" y="204"/>
                      <a:pt x="683" y="190"/>
                      <a:pt x="679" y="178"/>
                    </a:cubicBezTo>
                    <a:cubicBezTo>
                      <a:pt x="675" y="166"/>
                      <a:pt x="671" y="159"/>
                      <a:pt x="679" y="146"/>
                    </a:cubicBezTo>
                    <a:cubicBezTo>
                      <a:pt x="686" y="133"/>
                      <a:pt x="671" y="119"/>
                      <a:pt x="670" y="104"/>
                    </a:cubicBezTo>
                    <a:cubicBezTo>
                      <a:pt x="669" y="89"/>
                      <a:pt x="669" y="60"/>
                      <a:pt x="669" y="40"/>
                    </a:cubicBezTo>
                    <a:cubicBezTo>
                      <a:pt x="669" y="23"/>
                      <a:pt x="675" y="12"/>
                      <a:pt x="671" y="0"/>
                    </a:cubicBezTo>
                    <a:cubicBezTo>
                      <a:pt x="642" y="18"/>
                      <a:pt x="624" y="23"/>
                      <a:pt x="601" y="36"/>
                    </a:cubicBezTo>
                    <a:cubicBezTo>
                      <a:pt x="575" y="52"/>
                      <a:pt x="581" y="38"/>
                      <a:pt x="561" y="54"/>
                    </a:cubicBezTo>
                    <a:cubicBezTo>
                      <a:pt x="541" y="70"/>
                      <a:pt x="537" y="60"/>
                      <a:pt x="524" y="50"/>
                    </a:cubicBezTo>
                    <a:cubicBezTo>
                      <a:pt x="511" y="39"/>
                      <a:pt x="501" y="43"/>
                      <a:pt x="489" y="70"/>
                    </a:cubicBezTo>
                    <a:cubicBezTo>
                      <a:pt x="477" y="96"/>
                      <a:pt x="469" y="83"/>
                      <a:pt x="461" y="76"/>
                    </a:cubicBezTo>
                    <a:cubicBezTo>
                      <a:pt x="453" y="70"/>
                      <a:pt x="441" y="72"/>
                      <a:pt x="431" y="79"/>
                    </a:cubicBezTo>
                    <a:cubicBezTo>
                      <a:pt x="420" y="86"/>
                      <a:pt x="399" y="76"/>
                      <a:pt x="391" y="70"/>
                    </a:cubicBezTo>
                    <a:cubicBezTo>
                      <a:pt x="383" y="63"/>
                      <a:pt x="375" y="60"/>
                      <a:pt x="365" y="68"/>
                    </a:cubicBezTo>
                    <a:cubicBezTo>
                      <a:pt x="356" y="76"/>
                      <a:pt x="345" y="76"/>
                      <a:pt x="332" y="70"/>
                    </a:cubicBezTo>
                    <a:cubicBezTo>
                      <a:pt x="331" y="69"/>
                      <a:pt x="330" y="69"/>
                      <a:pt x="329" y="68"/>
                    </a:cubicBezTo>
                    <a:cubicBezTo>
                      <a:pt x="329" y="68"/>
                      <a:pt x="329" y="68"/>
                      <a:pt x="328" y="68"/>
                    </a:cubicBezTo>
                    <a:cubicBezTo>
                      <a:pt x="327" y="68"/>
                      <a:pt x="327" y="68"/>
                      <a:pt x="326" y="67"/>
                    </a:cubicBezTo>
                    <a:cubicBezTo>
                      <a:pt x="326" y="67"/>
                      <a:pt x="326" y="67"/>
                      <a:pt x="326" y="67"/>
                    </a:cubicBezTo>
                    <a:cubicBezTo>
                      <a:pt x="325" y="67"/>
                      <a:pt x="324" y="67"/>
                      <a:pt x="323" y="67"/>
                    </a:cubicBezTo>
                    <a:cubicBezTo>
                      <a:pt x="323" y="67"/>
                      <a:pt x="323" y="67"/>
                      <a:pt x="323" y="67"/>
                    </a:cubicBezTo>
                    <a:cubicBezTo>
                      <a:pt x="322" y="67"/>
                      <a:pt x="321" y="67"/>
                      <a:pt x="321" y="67"/>
                    </a:cubicBezTo>
                    <a:cubicBezTo>
                      <a:pt x="321" y="67"/>
                      <a:pt x="321" y="67"/>
                      <a:pt x="321" y="67"/>
                    </a:cubicBezTo>
                    <a:cubicBezTo>
                      <a:pt x="319" y="67"/>
                      <a:pt x="318" y="68"/>
                      <a:pt x="317" y="68"/>
                    </a:cubicBezTo>
                    <a:cubicBezTo>
                      <a:pt x="317" y="68"/>
                      <a:pt x="317" y="68"/>
                      <a:pt x="317" y="68"/>
                    </a:cubicBezTo>
                    <a:cubicBezTo>
                      <a:pt x="316" y="69"/>
                      <a:pt x="315" y="69"/>
                      <a:pt x="315" y="70"/>
                    </a:cubicBezTo>
                    <a:cubicBezTo>
                      <a:pt x="315" y="72"/>
                      <a:pt x="316" y="74"/>
                      <a:pt x="316" y="77"/>
                    </a:cubicBezTo>
                    <a:cubicBezTo>
                      <a:pt x="316" y="89"/>
                      <a:pt x="316" y="89"/>
                      <a:pt x="308" y="95"/>
                    </a:cubicBezTo>
                    <a:cubicBezTo>
                      <a:pt x="300" y="101"/>
                      <a:pt x="300" y="125"/>
                      <a:pt x="304" y="144"/>
                    </a:cubicBezTo>
                    <a:cubicBezTo>
                      <a:pt x="306" y="156"/>
                      <a:pt x="301" y="163"/>
                      <a:pt x="298" y="169"/>
                    </a:cubicBezTo>
                    <a:cubicBezTo>
                      <a:pt x="296" y="173"/>
                      <a:pt x="295" y="176"/>
                      <a:pt x="296" y="181"/>
                    </a:cubicBezTo>
                    <a:cubicBezTo>
                      <a:pt x="297" y="189"/>
                      <a:pt x="310" y="195"/>
                      <a:pt x="321" y="201"/>
                    </a:cubicBezTo>
                    <a:cubicBezTo>
                      <a:pt x="326" y="204"/>
                      <a:pt x="331" y="207"/>
                      <a:pt x="334" y="210"/>
                    </a:cubicBezTo>
                    <a:cubicBezTo>
                      <a:pt x="341" y="218"/>
                      <a:pt x="341" y="222"/>
                      <a:pt x="340" y="226"/>
                    </a:cubicBezTo>
                    <a:cubicBezTo>
                      <a:pt x="347" y="235"/>
                      <a:pt x="355" y="243"/>
                      <a:pt x="365" y="254"/>
                    </a:cubicBezTo>
                    <a:cubicBezTo>
                      <a:pt x="393" y="282"/>
                      <a:pt x="381" y="271"/>
                      <a:pt x="377" y="292"/>
                    </a:cubicBezTo>
                    <a:cubicBezTo>
                      <a:pt x="373" y="314"/>
                      <a:pt x="376" y="327"/>
                      <a:pt x="377" y="354"/>
                    </a:cubicBezTo>
                    <a:cubicBezTo>
                      <a:pt x="379" y="380"/>
                      <a:pt x="359" y="367"/>
                      <a:pt x="345" y="368"/>
                    </a:cubicBezTo>
                    <a:cubicBezTo>
                      <a:pt x="332" y="370"/>
                      <a:pt x="335" y="390"/>
                      <a:pt x="344" y="415"/>
                    </a:cubicBezTo>
                    <a:cubicBezTo>
                      <a:pt x="353" y="440"/>
                      <a:pt x="339" y="438"/>
                      <a:pt x="321" y="420"/>
                    </a:cubicBezTo>
                    <a:cubicBezTo>
                      <a:pt x="304" y="403"/>
                      <a:pt x="301" y="406"/>
                      <a:pt x="284" y="380"/>
                    </a:cubicBezTo>
                    <a:cubicBezTo>
                      <a:pt x="267" y="355"/>
                      <a:pt x="279" y="336"/>
                      <a:pt x="289" y="322"/>
                    </a:cubicBezTo>
                    <a:cubicBezTo>
                      <a:pt x="300" y="307"/>
                      <a:pt x="296" y="295"/>
                      <a:pt x="293" y="276"/>
                    </a:cubicBezTo>
                    <a:cubicBezTo>
                      <a:pt x="291" y="258"/>
                      <a:pt x="264" y="256"/>
                      <a:pt x="248" y="258"/>
                    </a:cubicBezTo>
                    <a:cubicBezTo>
                      <a:pt x="232" y="259"/>
                      <a:pt x="229" y="266"/>
                      <a:pt x="215" y="240"/>
                    </a:cubicBezTo>
                    <a:cubicBezTo>
                      <a:pt x="200" y="215"/>
                      <a:pt x="193" y="227"/>
                      <a:pt x="191" y="235"/>
                    </a:cubicBezTo>
                    <a:cubicBezTo>
                      <a:pt x="191" y="236"/>
                      <a:pt x="190" y="236"/>
                      <a:pt x="190" y="237"/>
                    </a:cubicBezTo>
                    <a:cubicBezTo>
                      <a:pt x="190" y="237"/>
                      <a:pt x="190" y="237"/>
                      <a:pt x="190" y="237"/>
                    </a:cubicBezTo>
                    <a:cubicBezTo>
                      <a:pt x="189" y="237"/>
                      <a:pt x="189" y="238"/>
                      <a:pt x="188" y="238"/>
                    </a:cubicBezTo>
                    <a:cubicBezTo>
                      <a:pt x="188" y="238"/>
                      <a:pt x="188" y="238"/>
                      <a:pt x="188" y="238"/>
                    </a:cubicBezTo>
                    <a:cubicBezTo>
                      <a:pt x="188" y="238"/>
                      <a:pt x="188" y="238"/>
                      <a:pt x="188" y="238"/>
                    </a:cubicBezTo>
                    <a:cubicBezTo>
                      <a:pt x="184" y="240"/>
                      <a:pt x="175" y="238"/>
                      <a:pt x="163" y="240"/>
                    </a:cubicBezTo>
                    <a:cubicBezTo>
                      <a:pt x="163" y="240"/>
                      <a:pt x="163" y="240"/>
                      <a:pt x="163" y="240"/>
                    </a:cubicBezTo>
                    <a:cubicBezTo>
                      <a:pt x="162" y="240"/>
                      <a:pt x="161" y="240"/>
                      <a:pt x="160" y="240"/>
                    </a:cubicBezTo>
                    <a:cubicBezTo>
                      <a:pt x="160" y="240"/>
                      <a:pt x="159" y="240"/>
                      <a:pt x="159" y="240"/>
                    </a:cubicBezTo>
                    <a:cubicBezTo>
                      <a:pt x="158" y="240"/>
                      <a:pt x="157" y="240"/>
                      <a:pt x="157" y="241"/>
                    </a:cubicBezTo>
                    <a:cubicBezTo>
                      <a:pt x="156" y="241"/>
                      <a:pt x="156" y="241"/>
                      <a:pt x="155" y="241"/>
                    </a:cubicBezTo>
                    <a:cubicBezTo>
                      <a:pt x="155" y="241"/>
                      <a:pt x="154" y="241"/>
                      <a:pt x="153" y="242"/>
                    </a:cubicBezTo>
                    <a:cubicBezTo>
                      <a:pt x="153" y="242"/>
                      <a:pt x="152" y="242"/>
                      <a:pt x="152" y="242"/>
                    </a:cubicBezTo>
                    <a:cubicBezTo>
                      <a:pt x="151" y="242"/>
                      <a:pt x="149" y="243"/>
                      <a:pt x="148" y="243"/>
                    </a:cubicBezTo>
                    <a:cubicBezTo>
                      <a:pt x="127" y="251"/>
                      <a:pt x="75" y="274"/>
                      <a:pt x="37" y="282"/>
                    </a:cubicBezTo>
                    <a:cubicBezTo>
                      <a:pt x="0" y="290"/>
                      <a:pt x="24" y="315"/>
                      <a:pt x="24" y="330"/>
                    </a:cubicBezTo>
                    <a:cubicBezTo>
                      <a:pt x="24" y="331"/>
                      <a:pt x="24" y="331"/>
                      <a:pt x="24" y="332"/>
                    </a:cubicBezTo>
                    <a:cubicBezTo>
                      <a:pt x="23" y="333"/>
                      <a:pt x="23" y="333"/>
                      <a:pt x="23" y="334"/>
                    </a:cubicBezTo>
                    <a:cubicBezTo>
                      <a:pt x="23" y="334"/>
                      <a:pt x="23" y="334"/>
                      <a:pt x="23" y="334"/>
                    </a:cubicBezTo>
                    <a:cubicBezTo>
                      <a:pt x="25" y="338"/>
                      <a:pt x="27" y="342"/>
                      <a:pt x="27" y="346"/>
                    </a:cubicBezTo>
                    <a:cubicBezTo>
                      <a:pt x="29" y="356"/>
                      <a:pt x="39" y="362"/>
                      <a:pt x="51" y="360"/>
                    </a:cubicBezTo>
                    <a:cubicBezTo>
                      <a:pt x="63" y="357"/>
                      <a:pt x="73" y="357"/>
                      <a:pt x="83" y="363"/>
                    </a:cubicBezTo>
                    <a:cubicBezTo>
                      <a:pt x="93" y="369"/>
                      <a:pt x="118" y="378"/>
                      <a:pt x="128" y="383"/>
                    </a:cubicBezTo>
                    <a:cubicBezTo>
                      <a:pt x="138" y="388"/>
                      <a:pt x="173" y="387"/>
                      <a:pt x="179" y="402"/>
                    </a:cubicBezTo>
                    <a:cubicBezTo>
                      <a:pt x="185" y="416"/>
                      <a:pt x="184" y="430"/>
                      <a:pt x="188" y="436"/>
                    </a:cubicBezTo>
                    <a:cubicBezTo>
                      <a:pt x="192" y="443"/>
                      <a:pt x="195" y="451"/>
                      <a:pt x="195" y="460"/>
                    </a:cubicBezTo>
                    <a:cubicBezTo>
                      <a:pt x="195" y="470"/>
                      <a:pt x="184" y="490"/>
                      <a:pt x="190" y="498"/>
                    </a:cubicBezTo>
                    <a:cubicBezTo>
                      <a:pt x="196" y="506"/>
                      <a:pt x="197" y="527"/>
                      <a:pt x="189" y="532"/>
                    </a:cubicBezTo>
                    <a:cubicBezTo>
                      <a:pt x="181" y="536"/>
                      <a:pt x="175" y="546"/>
                      <a:pt x="175" y="553"/>
                    </a:cubicBezTo>
                    <a:cubicBezTo>
                      <a:pt x="175" y="560"/>
                      <a:pt x="177" y="567"/>
                      <a:pt x="181" y="573"/>
                    </a:cubicBezTo>
                    <a:cubicBezTo>
                      <a:pt x="186" y="579"/>
                      <a:pt x="178" y="598"/>
                      <a:pt x="186" y="603"/>
                    </a:cubicBezTo>
                    <a:cubicBezTo>
                      <a:pt x="194" y="608"/>
                      <a:pt x="197" y="608"/>
                      <a:pt x="195" y="616"/>
                    </a:cubicBezTo>
                    <a:cubicBezTo>
                      <a:pt x="193" y="624"/>
                      <a:pt x="189" y="630"/>
                      <a:pt x="181" y="639"/>
                    </a:cubicBezTo>
                    <a:cubicBezTo>
                      <a:pt x="173" y="648"/>
                      <a:pt x="159" y="654"/>
                      <a:pt x="159" y="668"/>
                    </a:cubicBezTo>
                    <a:cubicBezTo>
                      <a:pt x="159" y="681"/>
                      <a:pt x="157" y="706"/>
                      <a:pt x="149" y="716"/>
                    </a:cubicBezTo>
                    <a:cubicBezTo>
                      <a:pt x="141" y="726"/>
                      <a:pt x="108" y="760"/>
                      <a:pt x="101" y="766"/>
                    </a:cubicBezTo>
                    <a:cubicBezTo>
                      <a:pt x="97" y="770"/>
                      <a:pt x="89" y="778"/>
                      <a:pt x="81" y="785"/>
                    </a:cubicBezTo>
                    <a:cubicBezTo>
                      <a:pt x="81" y="785"/>
                      <a:pt x="81" y="785"/>
                      <a:pt x="81" y="785"/>
                    </a:cubicBezTo>
                    <a:cubicBezTo>
                      <a:pt x="83" y="787"/>
                      <a:pt x="84" y="789"/>
                      <a:pt x="85" y="792"/>
                    </a:cubicBezTo>
                    <a:cubicBezTo>
                      <a:pt x="85" y="792"/>
                      <a:pt x="85" y="792"/>
                      <a:pt x="85" y="793"/>
                    </a:cubicBezTo>
                    <a:cubicBezTo>
                      <a:pt x="86" y="794"/>
                      <a:pt x="86" y="795"/>
                      <a:pt x="87" y="796"/>
                    </a:cubicBezTo>
                    <a:cubicBezTo>
                      <a:pt x="87" y="796"/>
                      <a:pt x="87" y="797"/>
                      <a:pt x="87" y="797"/>
                    </a:cubicBezTo>
                    <a:cubicBezTo>
                      <a:pt x="87" y="799"/>
                      <a:pt x="88" y="800"/>
                      <a:pt x="88" y="802"/>
                    </a:cubicBezTo>
                    <a:cubicBezTo>
                      <a:pt x="97" y="844"/>
                      <a:pt x="100" y="864"/>
                      <a:pt x="112" y="878"/>
                    </a:cubicBezTo>
                    <a:cubicBezTo>
                      <a:pt x="124" y="891"/>
                      <a:pt x="128" y="908"/>
                      <a:pt x="131" y="936"/>
                    </a:cubicBezTo>
                    <a:cubicBezTo>
                      <a:pt x="133" y="964"/>
                      <a:pt x="125" y="1007"/>
                      <a:pt x="129" y="1019"/>
                    </a:cubicBezTo>
                    <a:cubicBezTo>
                      <a:pt x="130" y="1021"/>
                      <a:pt x="131" y="1023"/>
                      <a:pt x="131" y="1024"/>
                    </a:cubicBezTo>
                    <a:cubicBezTo>
                      <a:pt x="131" y="1024"/>
                      <a:pt x="131" y="1024"/>
                      <a:pt x="131" y="1024"/>
                    </a:cubicBezTo>
                    <a:cubicBezTo>
                      <a:pt x="131" y="1025"/>
                      <a:pt x="131" y="1025"/>
                      <a:pt x="131" y="1025"/>
                    </a:cubicBezTo>
                    <a:cubicBezTo>
                      <a:pt x="133" y="1029"/>
                      <a:pt x="134" y="1033"/>
                      <a:pt x="135" y="1037"/>
                    </a:cubicBezTo>
                    <a:cubicBezTo>
                      <a:pt x="135" y="1037"/>
                      <a:pt x="135" y="1038"/>
                      <a:pt x="135" y="1038"/>
                    </a:cubicBezTo>
                    <a:cubicBezTo>
                      <a:pt x="135" y="1040"/>
                      <a:pt x="135" y="1042"/>
                      <a:pt x="136" y="1043"/>
                    </a:cubicBezTo>
                    <a:cubicBezTo>
                      <a:pt x="136" y="1044"/>
                      <a:pt x="136" y="1044"/>
                      <a:pt x="136" y="1044"/>
                    </a:cubicBezTo>
                    <a:cubicBezTo>
                      <a:pt x="136" y="1046"/>
                      <a:pt x="136" y="1048"/>
                      <a:pt x="136" y="1050"/>
                    </a:cubicBezTo>
                    <a:cubicBezTo>
                      <a:pt x="136" y="1050"/>
                      <a:pt x="136" y="1051"/>
                      <a:pt x="136" y="1052"/>
                    </a:cubicBezTo>
                    <a:cubicBezTo>
                      <a:pt x="136" y="1052"/>
                      <a:pt x="136" y="1052"/>
                      <a:pt x="136" y="1053"/>
                    </a:cubicBezTo>
                    <a:cubicBezTo>
                      <a:pt x="136" y="1053"/>
                      <a:pt x="136" y="1054"/>
                      <a:pt x="136" y="1055"/>
                    </a:cubicBezTo>
                    <a:cubicBezTo>
                      <a:pt x="136" y="1055"/>
                      <a:pt x="136" y="1055"/>
                      <a:pt x="136" y="1056"/>
                    </a:cubicBezTo>
                    <a:cubicBezTo>
                      <a:pt x="136" y="1056"/>
                      <a:pt x="137" y="1057"/>
                      <a:pt x="137" y="1058"/>
                    </a:cubicBezTo>
                    <a:cubicBezTo>
                      <a:pt x="137" y="1058"/>
                      <a:pt x="137" y="1059"/>
                      <a:pt x="137" y="1059"/>
                    </a:cubicBezTo>
                    <a:cubicBezTo>
                      <a:pt x="137" y="1065"/>
                      <a:pt x="139" y="1072"/>
                      <a:pt x="141" y="1077"/>
                    </a:cubicBezTo>
                    <a:cubicBezTo>
                      <a:pt x="141" y="1077"/>
                      <a:pt x="141" y="1077"/>
                      <a:pt x="141" y="1077"/>
                    </a:cubicBezTo>
                    <a:cubicBezTo>
                      <a:pt x="141" y="1078"/>
                      <a:pt x="141" y="1079"/>
                      <a:pt x="141" y="1080"/>
                    </a:cubicBezTo>
                    <a:cubicBezTo>
                      <a:pt x="141" y="1080"/>
                      <a:pt x="142" y="1080"/>
                      <a:pt x="142" y="1080"/>
                    </a:cubicBezTo>
                    <a:cubicBezTo>
                      <a:pt x="142" y="1082"/>
                      <a:pt x="143" y="1083"/>
                      <a:pt x="144" y="1085"/>
                    </a:cubicBezTo>
                    <a:cubicBezTo>
                      <a:pt x="144" y="1085"/>
                      <a:pt x="144" y="1085"/>
                      <a:pt x="144" y="1085"/>
                    </a:cubicBezTo>
                    <a:cubicBezTo>
                      <a:pt x="145" y="1086"/>
                      <a:pt x="145" y="1086"/>
                      <a:pt x="145" y="1086"/>
                    </a:cubicBezTo>
                    <a:cubicBezTo>
                      <a:pt x="145" y="1086"/>
                      <a:pt x="146" y="1087"/>
                      <a:pt x="146" y="1087"/>
                    </a:cubicBezTo>
                    <a:cubicBezTo>
                      <a:pt x="146" y="1087"/>
                      <a:pt x="146" y="1087"/>
                      <a:pt x="146" y="1087"/>
                    </a:cubicBezTo>
                    <a:cubicBezTo>
                      <a:pt x="147" y="1088"/>
                      <a:pt x="147" y="1088"/>
                      <a:pt x="147" y="1088"/>
                    </a:cubicBezTo>
                    <a:cubicBezTo>
                      <a:pt x="148" y="1088"/>
                      <a:pt x="148" y="1088"/>
                      <a:pt x="148" y="1088"/>
                    </a:cubicBezTo>
                    <a:cubicBezTo>
                      <a:pt x="148" y="1088"/>
                      <a:pt x="149" y="1088"/>
                      <a:pt x="149" y="1088"/>
                    </a:cubicBezTo>
                    <a:cubicBezTo>
                      <a:pt x="157" y="1088"/>
                      <a:pt x="169" y="1080"/>
                      <a:pt x="191" y="1079"/>
                    </a:cubicBezTo>
                    <a:cubicBezTo>
                      <a:pt x="193" y="1070"/>
                      <a:pt x="194" y="1061"/>
                      <a:pt x="190" y="1049"/>
                    </a:cubicBezTo>
                    <a:cubicBezTo>
                      <a:pt x="182" y="1025"/>
                      <a:pt x="163" y="1026"/>
                      <a:pt x="188" y="1002"/>
                    </a:cubicBezTo>
                    <a:cubicBezTo>
                      <a:pt x="212" y="977"/>
                      <a:pt x="218" y="965"/>
                      <a:pt x="258" y="955"/>
                    </a:cubicBezTo>
                    <a:cubicBezTo>
                      <a:pt x="299" y="946"/>
                      <a:pt x="349" y="925"/>
                      <a:pt x="349" y="900"/>
                    </a:cubicBezTo>
                    <a:cubicBezTo>
                      <a:pt x="349" y="874"/>
                      <a:pt x="343" y="872"/>
                      <a:pt x="350" y="852"/>
                    </a:cubicBezTo>
                    <a:cubicBezTo>
                      <a:pt x="356" y="833"/>
                      <a:pt x="367" y="829"/>
                      <a:pt x="356" y="804"/>
                    </a:cubicBezTo>
                    <a:cubicBezTo>
                      <a:pt x="346" y="779"/>
                      <a:pt x="352" y="762"/>
                      <a:pt x="344" y="742"/>
                    </a:cubicBezTo>
                    <a:cubicBezTo>
                      <a:pt x="337" y="721"/>
                      <a:pt x="341" y="723"/>
                      <a:pt x="337" y="701"/>
                    </a:cubicBezTo>
                    <a:cubicBezTo>
                      <a:pt x="333" y="678"/>
                      <a:pt x="336" y="678"/>
                      <a:pt x="322" y="666"/>
                    </a:cubicBezTo>
                    <a:cubicBezTo>
                      <a:pt x="308" y="654"/>
                      <a:pt x="299" y="650"/>
                      <a:pt x="303" y="635"/>
                    </a:cubicBezTo>
                    <a:cubicBezTo>
                      <a:pt x="306" y="620"/>
                      <a:pt x="304" y="614"/>
                      <a:pt x="324" y="602"/>
                    </a:cubicBezTo>
                    <a:cubicBezTo>
                      <a:pt x="344" y="590"/>
                      <a:pt x="338" y="585"/>
                      <a:pt x="360" y="564"/>
                    </a:cubicBezTo>
                    <a:cubicBezTo>
                      <a:pt x="381" y="544"/>
                      <a:pt x="435" y="522"/>
                      <a:pt x="447" y="501"/>
                    </a:cubicBezTo>
                    <a:cubicBezTo>
                      <a:pt x="458" y="479"/>
                      <a:pt x="472" y="470"/>
                      <a:pt x="492" y="456"/>
                    </a:cubicBezTo>
                    <a:cubicBezTo>
                      <a:pt x="511" y="442"/>
                      <a:pt x="518" y="441"/>
                      <a:pt x="544" y="431"/>
                    </a:cubicBezTo>
                    <a:cubicBezTo>
                      <a:pt x="571" y="421"/>
                      <a:pt x="598" y="420"/>
                      <a:pt x="619" y="394"/>
                    </a:cubicBezTo>
                    <a:cubicBezTo>
                      <a:pt x="639" y="369"/>
                      <a:pt x="664" y="335"/>
                      <a:pt x="677" y="322"/>
                    </a:cubicBezTo>
                    <a:cubicBezTo>
                      <a:pt x="690" y="309"/>
                      <a:pt x="686" y="298"/>
                      <a:pt x="692" y="284"/>
                    </a:cubicBezTo>
                    <a:cubicBezTo>
                      <a:pt x="697" y="270"/>
                      <a:pt x="702" y="266"/>
                      <a:pt x="693" y="25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0" name="Freeform 384">
                <a:extLst>
                  <a:ext uri="{FF2B5EF4-FFF2-40B4-BE49-F238E27FC236}">
                    <a16:creationId xmlns:a16="http://schemas.microsoft.com/office/drawing/2014/main" id="{ACD356A3-8AFF-E24C-B1AD-11CF1FE16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8" y="2384"/>
                <a:ext cx="170" cy="227"/>
              </a:xfrm>
              <a:custGeom>
                <a:avLst/>
                <a:gdLst>
                  <a:gd name="T0" fmla="*/ 615 w 671"/>
                  <a:gd name="T1" fmla="*/ 14 h 896"/>
                  <a:gd name="T2" fmla="*/ 540 w 671"/>
                  <a:gd name="T3" fmla="*/ 46 h 896"/>
                  <a:gd name="T4" fmla="*/ 466 w 671"/>
                  <a:gd name="T5" fmla="*/ 56 h 896"/>
                  <a:gd name="T6" fmla="*/ 393 w 671"/>
                  <a:gd name="T7" fmla="*/ 72 h 896"/>
                  <a:gd name="T8" fmla="*/ 298 w 671"/>
                  <a:gd name="T9" fmla="*/ 81 h 896"/>
                  <a:gd name="T10" fmla="*/ 178 w 671"/>
                  <a:gd name="T11" fmla="*/ 65 h 896"/>
                  <a:gd name="T12" fmla="*/ 139 w 671"/>
                  <a:gd name="T13" fmla="*/ 53 h 896"/>
                  <a:gd name="T14" fmla="*/ 136 w 671"/>
                  <a:gd name="T15" fmla="*/ 60 h 896"/>
                  <a:gd name="T16" fmla="*/ 134 w 671"/>
                  <a:gd name="T17" fmla="*/ 65 h 896"/>
                  <a:gd name="T18" fmla="*/ 132 w 671"/>
                  <a:gd name="T19" fmla="*/ 69 h 896"/>
                  <a:gd name="T20" fmla="*/ 131 w 671"/>
                  <a:gd name="T21" fmla="*/ 72 h 896"/>
                  <a:gd name="T22" fmla="*/ 128 w 671"/>
                  <a:gd name="T23" fmla="*/ 76 h 896"/>
                  <a:gd name="T24" fmla="*/ 126 w 671"/>
                  <a:gd name="T25" fmla="*/ 80 h 896"/>
                  <a:gd name="T26" fmla="*/ 123 w 671"/>
                  <a:gd name="T27" fmla="*/ 83 h 896"/>
                  <a:gd name="T28" fmla="*/ 119 w 671"/>
                  <a:gd name="T29" fmla="*/ 87 h 896"/>
                  <a:gd name="T30" fmla="*/ 155 w 671"/>
                  <a:gd name="T31" fmla="*/ 167 h 896"/>
                  <a:gd name="T32" fmla="*/ 353 w 671"/>
                  <a:gd name="T33" fmla="*/ 253 h 896"/>
                  <a:gd name="T34" fmla="*/ 419 w 671"/>
                  <a:gd name="T35" fmla="*/ 304 h 896"/>
                  <a:gd name="T36" fmla="*/ 281 w 671"/>
                  <a:gd name="T37" fmla="*/ 437 h 896"/>
                  <a:gd name="T38" fmla="*/ 140 w 671"/>
                  <a:gd name="T39" fmla="*/ 489 h 896"/>
                  <a:gd name="T40" fmla="*/ 65 w 671"/>
                  <a:gd name="T41" fmla="*/ 521 h 896"/>
                  <a:gd name="T42" fmla="*/ 63 w 671"/>
                  <a:gd name="T43" fmla="*/ 524 h 896"/>
                  <a:gd name="T44" fmla="*/ 61 w 671"/>
                  <a:gd name="T45" fmla="*/ 526 h 896"/>
                  <a:gd name="T46" fmla="*/ 55 w 671"/>
                  <a:gd name="T47" fmla="*/ 527 h 896"/>
                  <a:gd name="T48" fmla="*/ 8 w 671"/>
                  <a:gd name="T49" fmla="*/ 589 h 896"/>
                  <a:gd name="T50" fmla="*/ 5 w 671"/>
                  <a:gd name="T51" fmla="*/ 839 h 896"/>
                  <a:gd name="T52" fmla="*/ 39 w 671"/>
                  <a:gd name="T53" fmla="*/ 896 h 896"/>
                  <a:gd name="T54" fmla="*/ 86 w 671"/>
                  <a:gd name="T55" fmla="*/ 813 h 896"/>
                  <a:gd name="T56" fmla="*/ 266 w 671"/>
                  <a:gd name="T57" fmla="*/ 655 h 896"/>
                  <a:gd name="T58" fmla="*/ 454 w 671"/>
                  <a:gd name="T59" fmla="*/ 488 h 896"/>
                  <a:gd name="T60" fmla="*/ 524 w 671"/>
                  <a:gd name="T61" fmla="*/ 365 h 896"/>
                  <a:gd name="T62" fmla="*/ 588 w 671"/>
                  <a:gd name="T63" fmla="*/ 252 h 896"/>
                  <a:gd name="T64" fmla="*/ 633 w 671"/>
                  <a:gd name="T65" fmla="*/ 150 h 896"/>
                  <a:gd name="T66" fmla="*/ 651 w 671"/>
                  <a:gd name="T67" fmla="*/ 55 h 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71" h="896">
                    <a:moveTo>
                      <a:pt x="656" y="13"/>
                    </a:moveTo>
                    <a:cubicBezTo>
                      <a:pt x="641" y="3"/>
                      <a:pt x="629" y="0"/>
                      <a:pt x="615" y="14"/>
                    </a:cubicBezTo>
                    <a:cubicBezTo>
                      <a:pt x="601" y="28"/>
                      <a:pt x="593" y="35"/>
                      <a:pt x="578" y="35"/>
                    </a:cubicBezTo>
                    <a:cubicBezTo>
                      <a:pt x="563" y="35"/>
                      <a:pt x="555" y="46"/>
                      <a:pt x="540" y="46"/>
                    </a:cubicBezTo>
                    <a:cubicBezTo>
                      <a:pt x="525" y="46"/>
                      <a:pt x="518" y="61"/>
                      <a:pt x="501" y="55"/>
                    </a:cubicBezTo>
                    <a:cubicBezTo>
                      <a:pt x="484" y="48"/>
                      <a:pt x="478" y="49"/>
                      <a:pt x="466" y="56"/>
                    </a:cubicBezTo>
                    <a:cubicBezTo>
                      <a:pt x="454" y="62"/>
                      <a:pt x="454" y="66"/>
                      <a:pt x="435" y="61"/>
                    </a:cubicBezTo>
                    <a:cubicBezTo>
                      <a:pt x="415" y="56"/>
                      <a:pt x="407" y="60"/>
                      <a:pt x="393" y="72"/>
                    </a:cubicBezTo>
                    <a:cubicBezTo>
                      <a:pt x="379" y="84"/>
                      <a:pt x="355" y="90"/>
                      <a:pt x="343" y="87"/>
                    </a:cubicBezTo>
                    <a:cubicBezTo>
                      <a:pt x="331" y="84"/>
                      <a:pt x="313" y="71"/>
                      <a:pt x="298" y="81"/>
                    </a:cubicBezTo>
                    <a:cubicBezTo>
                      <a:pt x="283" y="92"/>
                      <a:pt x="207" y="103"/>
                      <a:pt x="202" y="94"/>
                    </a:cubicBezTo>
                    <a:cubicBezTo>
                      <a:pt x="198" y="86"/>
                      <a:pt x="195" y="78"/>
                      <a:pt x="178" y="65"/>
                    </a:cubicBezTo>
                    <a:cubicBezTo>
                      <a:pt x="161" y="53"/>
                      <a:pt x="160" y="39"/>
                      <a:pt x="146" y="37"/>
                    </a:cubicBezTo>
                    <a:cubicBezTo>
                      <a:pt x="143" y="43"/>
                      <a:pt x="142" y="48"/>
                      <a:pt x="139" y="53"/>
                    </a:cubicBezTo>
                    <a:cubicBezTo>
                      <a:pt x="138" y="56"/>
                      <a:pt x="137" y="58"/>
                      <a:pt x="136" y="60"/>
                    </a:cubicBezTo>
                    <a:cubicBezTo>
                      <a:pt x="136" y="60"/>
                      <a:pt x="136" y="60"/>
                      <a:pt x="136" y="60"/>
                    </a:cubicBezTo>
                    <a:cubicBezTo>
                      <a:pt x="135" y="61"/>
                      <a:pt x="135" y="63"/>
                      <a:pt x="134" y="64"/>
                    </a:cubicBezTo>
                    <a:cubicBezTo>
                      <a:pt x="134" y="65"/>
                      <a:pt x="134" y="65"/>
                      <a:pt x="134" y="65"/>
                    </a:cubicBezTo>
                    <a:cubicBezTo>
                      <a:pt x="134" y="66"/>
                      <a:pt x="133" y="66"/>
                      <a:pt x="133" y="67"/>
                    </a:cubicBezTo>
                    <a:cubicBezTo>
                      <a:pt x="133" y="68"/>
                      <a:pt x="133" y="68"/>
                      <a:pt x="132" y="69"/>
                    </a:cubicBezTo>
                    <a:cubicBezTo>
                      <a:pt x="132" y="70"/>
                      <a:pt x="132" y="70"/>
                      <a:pt x="132" y="70"/>
                    </a:cubicBezTo>
                    <a:cubicBezTo>
                      <a:pt x="131" y="71"/>
                      <a:pt x="131" y="72"/>
                      <a:pt x="131" y="72"/>
                    </a:cubicBezTo>
                    <a:cubicBezTo>
                      <a:pt x="130" y="73"/>
                      <a:pt x="130" y="73"/>
                      <a:pt x="130" y="73"/>
                    </a:cubicBezTo>
                    <a:cubicBezTo>
                      <a:pt x="130" y="74"/>
                      <a:pt x="129" y="75"/>
                      <a:pt x="128" y="76"/>
                    </a:cubicBezTo>
                    <a:cubicBezTo>
                      <a:pt x="128" y="76"/>
                      <a:pt x="128" y="77"/>
                      <a:pt x="128" y="77"/>
                    </a:cubicBezTo>
                    <a:cubicBezTo>
                      <a:pt x="127" y="78"/>
                      <a:pt x="127" y="79"/>
                      <a:pt x="126" y="80"/>
                    </a:cubicBezTo>
                    <a:cubicBezTo>
                      <a:pt x="126" y="80"/>
                      <a:pt x="126" y="80"/>
                      <a:pt x="126" y="80"/>
                    </a:cubicBezTo>
                    <a:cubicBezTo>
                      <a:pt x="125" y="81"/>
                      <a:pt x="124" y="82"/>
                      <a:pt x="123" y="83"/>
                    </a:cubicBezTo>
                    <a:cubicBezTo>
                      <a:pt x="123" y="83"/>
                      <a:pt x="122" y="83"/>
                      <a:pt x="122" y="84"/>
                    </a:cubicBezTo>
                    <a:cubicBezTo>
                      <a:pt x="121" y="85"/>
                      <a:pt x="120" y="86"/>
                      <a:pt x="119" y="87"/>
                    </a:cubicBezTo>
                    <a:cubicBezTo>
                      <a:pt x="104" y="99"/>
                      <a:pt x="123" y="127"/>
                      <a:pt x="131" y="135"/>
                    </a:cubicBezTo>
                    <a:cubicBezTo>
                      <a:pt x="139" y="143"/>
                      <a:pt x="153" y="152"/>
                      <a:pt x="155" y="167"/>
                    </a:cubicBezTo>
                    <a:cubicBezTo>
                      <a:pt x="156" y="181"/>
                      <a:pt x="181" y="189"/>
                      <a:pt x="205" y="204"/>
                    </a:cubicBezTo>
                    <a:cubicBezTo>
                      <a:pt x="229" y="219"/>
                      <a:pt x="331" y="244"/>
                      <a:pt x="353" y="253"/>
                    </a:cubicBezTo>
                    <a:cubicBezTo>
                      <a:pt x="376" y="263"/>
                      <a:pt x="385" y="271"/>
                      <a:pt x="428" y="265"/>
                    </a:cubicBezTo>
                    <a:cubicBezTo>
                      <a:pt x="471" y="260"/>
                      <a:pt x="440" y="291"/>
                      <a:pt x="419" y="304"/>
                    </a:cubicBezTo>
                    <a:cubicBezTo>
                      <a:pt x="397" y="317"/>
                      <a:pt x="365" y="359"/>
                      <a:pt x="344" y="375"/>
                    </a:cubicBezTo>
                    <a:cubicBezTo>
                      <a:pt x="323" y="391"/>
                      <a:pt x="303" y="407"/>
                      <a:pt x="281" y="437"/>
                    </a:cubicBezTo>
                    <a:cubicBezTo>
                      <a:pt x="260" y="468"/>
                      <a:pt x="255" y="465"/>
                      <a:pt x="205" y="461"/>
                    </a:cubicBezTo>
                    <a:cubicBezTo>
                      <a:pt x="156" y="457"/>
                      <a:pt x="149" y="483"/>
                      <a:pt x="140" y="489"/>
                    </a:cubicBezTo>
                    <a:cubicBezTo>
                      <a:pt x="131" y="496"/>
                      <a:pt x="121" y="508"/>
                      <a:pt x="101" y="508"/>
                    </a:cubicBezTo>
                    <a:cubicBezTo>
                      <a:pt x="81" y="508"/>
                      <a:pt x="72" y="511"/>
                      <a:pt x="65" y="521"/>
                    </a:cubicBezTo>
                    <a:cubicBezTo>
                      <a:pt x="65" y="522"/>
                      <a:pt x="64" y="523"/>
                      <a:pt x="64" y="524"/>
                    </a:cubicBezTo>
                    <a:cubicBezTo>
                      <a:pt x="63" y="524"/>
                      <a:pt x="63" y="524"/>
                      <a:pt x="63" y="524"/>
                    </a:cubicBezTo>
                    <a:cubicBezTo>
                      <a:pt x="62" y="525"/>
                      <a:pt x="62" y="525"/>
                      <a:pt x="61" y="525"/>
                    </a:cubicBezTo>
                    <a:cubicBezTo>
                      <a:pt x="61" y="525"/>
                      <a:pt x="61" y="526"/>
                      <a:pt x="61" y="526"/>
                    </a:cubicBezTo>
                    <a:cubicBezTo>
                      <a:pt x="59" y="526"/>
                      <a:pt x="57" y="527"/>
                      <a:pt x="55" y="527"/>
                    </a:cubicBezTo>
                    <a:cubicBezTo>
                      <a:pt x="55" y="527"/>
                      <a:pt x="55" y="527"/>
                      <a:pt x="55" y="527"/>
                    </a:cubicBezTo>
                    <a:cubicBezTo>
                      <a:pt x="54" y="533"/>
                      <a:pt x="52" y="539"/>
                      <a:pt x="48" y="545"/>
                    </a:cubicBezTo>
                    <a:cubicBezTo>
                      <a:pt x="37" y="563"/>
                      <a:pt x="12" y="585"/>
                      <a:pt x="8" y="589"/>
                    </a:cubicBezTo>
                    <a:cubicBezTo>
                      <a:pt x="4" y="593"/>
                      <a:pt x="4" y="616"/>
                      <a:pt x="4" y="639"/>
                    </a:cubicBezTo>
                    <a:cubicBezTo>
                      <a:pt x="4" y="661"/>
                      <a:pt x="0" y="832"/>
                      <a:pt x="5" y="839"/>
                    </a:cubicBezTo>
                    <a:cubicBezTo>
                      <a:pt x="11" y="845"/>
                      <a:pt x="21" y="860"/>
                      <a:pt x="27" y="865"/>
                    </a:cubicBezTo>
                    <a:cubicBezTo>
                      <a:pt x="32" y="870"/>
                      <a:pt x="40" y="867"/>
                      <a:pt x="39" y="896"/>
                    </a:cubicBezTo>
                    <a:cubicBezTo>
                      <a:pt x="44" y="894"/>
                      <a:pt x="48" y="889"/>
                      <a:pt x="52" y="879"/>
                    </a:cubicBezTo>
                    <a:cubicBezTo>
                      <a:pt x="59" y="858"/>
                      <a:pt x="68" y="827"/>
                      <a:pt x="86" y="813"/>
                    </a:cubicBezTo>
                    <a:cubicBezTo>
                      <a:pt x="105" y="799"/>
                      <a:pt x="142" y="753"/>
                      <a:pt x="164" y="734"/>
                    </a:cubicBezTo>
                    <a:cubicBezTo>
                      <a:pt x="185" y="715"/>
                      <a:pt x="240" y="658"/>
                      <a:pt x="266" y="655"/>
                    </a:cubicBezTo>
                    <a:cubicBezTo>
                      <a:pt x="292" y="653"/>
                      <a:pt x="328" y="621"/>
                      <a:pt x="355" y="594"/>
                    </a:cubicBezTo>
                    <a:cubicBezTo>
                      <a:pt x="382" y="567"/>
                      <a:pt x="442" y="516"/>
                      <a:pt x="454" y="488"/>
                    </a:cubicBezTo>
                    <a:cubicBezTo>
                      <a:pt x="466" y="460"/>
                      <a:pt x="486" y="450"/>
                      <a:pt x="494" y="431"/>
                    </a:cubicBezTo>
                    <a:cubicBezTo>
                      <a:pt x="501" y="411"/>
                      <a:pt x="524" y="382"/>
                      <a:pt x="524" y="365"/>
                    </a:cubicBezTo>
                    <a:cubicBezTo>
                      <a:pt x="524" y="348"/>
                      <a:pt x="532" y="331"/>
                      <a:pt x="551" y="317"/>
                    </a:cubicBezTo>
                    <a:cubicBezTo>
                      <a:pt x="569" y="303"/>
                      <a:pt x="568" y="273"/>
                      <a:pt x="588" y="252"/>
                    </a:cubicBezTo>
                    <a:cubicBezTo>
                      <a:pt x="609" y="232"/>
                      <a:pt x="611" y="214"/>
                      <a:pt x="621" y="194"/>
                    </a:cubicBezTo>
                    <a:cubicBezTo>
                      <a:pt x="630" y="175"/>
                      <a:pt x="631" y="171"/>
                      <a:pt x="633" y="150"/>
                    </a:cubicBezTo>
                    <a:cubicBezTo>
                      <a:pt x="636" y="130"/>
                      <a:pt x="656" y="119"/>
                      <a:pt x="656" y="103"/>
                    </a:cubicBezTo>
                    <a:cubicBezTo>
                      <a:pt x="656" y="87"/>
                      <a:pt x="652" y="76"/>
                      <a:pt x="651" y="55"/>
                    </a:cubicBezTo>
                    <a:cubicBezTo>
                      <a:pt x="650" y="33"/>
                      <a:pt x="671" y="22"/>
                      <a:pt x="656" y="13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1" name="Freeform 385">
                <a:extLst>
                  <a:ext uri="{FF2B5EF4-FFF2-40B4-BE49-F238E27FC236}">
                    <a16:creationId xmlns:a16="http://schemas.microsoft.com/office/drawing/2014/main" id="{2A259089-8A2F-A140-AA6F-241D52313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9" y="2540"/>
                <a:ext cx="94" cy="101"/>
              </a:xfrm>
              <a:custGeom>
                <a:avLst/>
                <a:gdLst>
                  <a:gd name="T0" fmla="*/ 204 w 373"/>
                  <a:gd name="T1" fmla="*/ 376 h 397"/>
                  <a:gd name="T2" fmla="*/ 179 w 373"/>
                  <a:gd name="T3" fmla="*/ 320 h 397"/>
                  <a:gd name="T4" fmla="*/ 236 w 373"/>
                  <a:gd name="T5" fmla="*/ 292 h 397"/>
                  <a:gd name="T6" fmla="*/ 269 w 373"/>
                  <a:gd name="T7" fmla="*/ 291 h 397"/>
                  <a:gd name="T8" fmla="*/ 308 w 373"/>
                  <a:gd name="T9" fmla="*/ 299 h 397"/>
                  <a:gd name="T10" fmla="*/ 351 w 373"/>
                  <a:gd name="T11" fmla="*/ 303 h 397"/>
                  <a:gd name="T12" fmla="*/ 364 w 373"/>
                  <a:gd name="T13" fmla="*/ 246 h 397"/>
                  <a:gd name="T14" fmla="*/ 343 w 373"/>
                  <a:gd name="T15" fmla="*/ 180 h 397"/>
                  <a:gd name="T16" fmla="*/ 344 w 373"/>
                  <a:gd name="T17" fmla="*/ 123 h 397"/>
                  <a:gd name="T18" fmla="*/ 349 w 373"/>
                  <a:gd name="T19" fmla="*/ 75 h 397"/>
                  <a:gd name="T20" fmla="*/ 299 w 373"/>
                  <a:gd name="T21" fmla="*/ 82 h 397"/>
                  <a:gd name="T22" fmla="*/ 288 w 373"/>
                  <a:gd name="T23" fmla="*/ 34 h 397"/>
                  <a:gd name="T24" fmla="*/ 285 w 373"/>
                  <a:gd name="T25" fmla="*/ 13 h 397"/>
                  <a:gd name="T26" fmla="*/ 278 w 373"/>
                  <a:gd name="T27" fmla="*/ 12 h 397"/>
                  <a:gd name="T28" fmla="*/ 271 w 373"/>
                  <a:gd name="T29" fmla="*/ 11 h 397"/>
                  <a:gd name="T30" fmla="*/ 264 w 373"/>
                  <a:gd name="T31" fmla="*/ 10 h 397"/>
                  <a:gd name="T32" fmla="*/ 257 w 373"/>
                  <a:gd name="T33" fmla="*/ 9 h 397"/>
                  <a:gd name="T34" fmla="*/ 251 w 373"/>
                  <a:gd name="T35" fmla="*/ 9 h 397"/>
                  <a:gd name="T36" fmla="*/ 244 w 373"/>
                  <a:gd name="T37" fmla="*/ 8 h 397"/>
                  <a:gd name="T38" fmla="*/ 239 w 373"/>
                  <a:gd name="T39" fmla="*/ 8 h 397"/>
                  <a:gd name="T40" fmla="*/ 234 w 373"/>
                  <a:gd name="T41" fmla="*/ 7 h 397"/>
                  <a:gd name="T42" fmla="*/ 230 w 373"/>
                  <a:gd name="T43" fmla="*/ 7 h 397"/>
                  <a:gd name="T44" fmla="*/ 225 w 373"/>
                  <a:gd name="T45" fmla="*/ 7 h 397"/>
                  <a:gd name="T46" fmla="*/ 174 w 373"/>
                  <a:gd name="T47" fmla="*/ 8 h 397"/>
                  <a:gd name="T48" fmla="*/ 173 w 373"/>
                  <a:gd name="T49" fmla="*/ 9 h 397"/>
                  <a:gd name="T50" fmla="*/ 172 w 373"/>
                  <a:gd name="T51" fmla="*/ 11 h 397"/>
                  <a:gd name="T52" fmla="*/ 170 w 373"/>
                  <a:gd name="T53" fmla="*/ 13 h 397"/>
                  <a:gd name="T54" fmla="*/ 167 w 373"/>
                  <a:gd name="T55" fmla="*/ 76 h 397"/>
                  <a:gd name="T56" fmla="*/ 55 w 373"/>
                  <a:gd name="T57" fmla="*/ 90 h 397"/>
                  <a:gd name="T58" fmla="*/ 50 w 373"/>
                  <a:gd name="T59" fmla="*/ 131 h 397"/>
                  <a:gd name="T60" fmla="*/ 31 w 373"/>
                  <a:gd name="T61" fmla="*/ 185 h 397"/>
                  <a:gd name="T62" fmla="*/ 50 w 373"/>
                  <a:gd name="T63" fmla="*/ 280 h 397"/>
                  <a:gd name="T64" fmla="*/ 126 w 373"/>
                  <a:gd name="T65" fmla="*/ 368 h 397"/>
                  <a:gd name="T66" fmla="*/ 155 w 373"/>
                  <a:gd name="T67" fmla="*/ 394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73" h="397">
                    <a:moveTo>
                      <a:pt x="184" y="390"/>
                    </a:moveTo>
                    <a:cubicBezTo>
                      <a:pt x="199" y="396"/>
                      <a:pt x="203" y="391"/>
                      <a:pt x="204" y="376"/>
                    </a:cubicBezTo>
                    <a:cubicBezTo>
                      <a:pt x="205" y="362"/>
                      <a:pt x="197" y="355"/>
                      <a:pt x="189" y="350"/>
                    </a:cubicBezTo>
                    <a:cubicBezTo>
                      <a:pt x="181" y="344"/>
                      <a:pt x="179" y="332"/>
                      <a:pt x="179" y="320"/>
                    </a:cubicBezTo>
                    <a:cubicBezTo>
                      <a:pt x="179" y="308"/>
                      <a:pt x="193" y="308"/>
                      <a:pt x="212" y="308"/>
                    </a:cubicBezTo>
                    <a:cubicBezTo>
                      <a:pt x="231" y="308"/>
                      <a:pt x="236" y="300"/>
                      <a:pt x="236" y="292"/>
                    </a:cubicBezTo>
                    <a:cubicBezTo>
                      <a:pt x="236" y="284"/>
                      <a:pt x="232" y="271"/>
                      <a:pt x="248" y="274"/>
                    </a:cubicBezTo>
                    <a:cubicBezTo>
                      <a:pt x="264" y="276"/>
                      <a:pt x="267" y="282"/>
                      <a:pt x="269" y="291"/>
                    </a:cubicBezTo>
                    <a:cubicBezTo>
                      <a:pt x="272" y="300"/>
                      <a:pt x="273" y="303"/>
                      <a:pt x="287" y="310"/>
                    </a:cubicBezTo>
                    <a:cubicBezTo>
                      <a:pt x="300" y="316"/>
                      <a:pt x="301" y="310"/>
                      <a:pt x="308" y="299"/>
                    </a:cubicBezTo>
                    <a:cubicBezTo>
                      <a:pt x="315" y="288"/>
                      <a:pt x="327" y="302"/>
                      <a:pt x="331" y="315"/>
                    </a:cubicBezTo>
                    <a:cubicBezTo>
                      <a:pt x="335" y="328"/>
                      <a:pt x="351" y="315"/>
                      <a:pt x="351" y="303"/>
                    </a:cubicBezTo>
                    <a:cubicBezTo>
                      <a:pt x="351" y="291"/>
                      <a:pt x="352" y="290"/>
                      <a:pt x="363" y="282"/>
                    </a:cubicBezTo>
                    <a:cubicBezTo>
                      <a:pt x="373" y="274"/>
                      <a:pt x="365" y="256"/>
                      <a:pt x="364" y="246"/>
                    </a:cubicBezTo>
                    <a:cubicBezTo>
                      <a:pt x="363" y="235"/>
                      <a:pt x="364" y="232"/>
                      <a:pt x="367" y="207"/>
                    </a:cubicBezTo>
                    <a:cubicBezTo>
                      <a:pt x="369" y="182"/>
                      <a:pt x="357" y="188"/>
                      <a:pt x="343" y="180"/>
                    </a:cubicBezTo>
                    <a:cubicBezTo>
                      <a:pt x="328" y="172"/>
                      <a:pt x="331" y="162"/>
                      <a:pt x="329" y="152"/>
                    </a:cubicBezTo>
                    <a:cubicBezTo>
                      <a:pt x="328" y="143"/>
                      <a:pt x="336" y="127"/>
                      <a:pt x="344" y="123"/>
                    </a:cubicBezTo>
                    <a:cubicBezTo>
                      <a:pt x="352" y="119"/>
                      <a:pt x="364" y="111"/>
                      <a:pt x="365" y="98"/>
                    </a:cubicBezTo>
                    <a:cubicBezTo>
                      <a:pt x="367" y="84"/>
                      <a:pt x="349" y="82"/>
                      <a:pt x="349" y="75"/>
                    </a:cubicBezTo>
                    <a:cubicBezTo>
                      <a:pt x="349" y="68"/>
                      <a:pt x="344" y="62"/>
                      <a:pt x="332" y="62"/>
                    </a:cubicBezTo>
                    <a:cubicBezTo>
                      <a:pt x="320" y="62"/>
                      <a:pt x="316" y="74"/>
                      <a:pt x="299" y="82"/>
                    </a:cubicBezTo>
                    <a:cubicBezTo>
                      <a:pt x="281" y="90"/>
                      <a:pt x="283" y="66"/>
                      <a:pt x="283" y="58"/>
                    </a:cubicBezTo>
                    <a:cubicBezTo>
                      <a:pt x="283" y="50"/>
                      <a:pt x="279" y="39"/>
                      <a:pt x="288" y="34"/>
                    </a:cubicBezTo>
                    <a:cubicBezTo>
                      <a:pt x="292" y="31"/>
                      <a:pt x="292" y="23"/>
                      <a:pt x="291" y="13"/>
                    </a:cubicBezTo>
                    <a:cubicBezTo>
                      <a:pt x="289" y="13"/>
                      <a:pt x="287" y="13"/>
                      <a:pt x="285" y="13"/>
                    </a:cubicBezTo>
                    <a:cubicBezTo>
                      <a:pt x="284" y="13"/>
                      <a:pt x="284" y="13"/>
                      <a:pt x="283" y="13"/>
                    </a:cubicBezTo>
                    <a:cubicBezTo>
                      <a:pt x="282" y="12"/>
                      <a:pt x="280" y="12"/>
                      <a:pt x="278" y="12"/>
                    </a:cubicBezTo>
                    <a:cubicBezTo>
                      <a:pt x="278" y="12"/>
                      <a:pt x="277" y="12"/>
                      <a:pt x="277" y="12"/>
                    </a:cubicBezTo>
                    <a:cubicBezTo>
                      <a:pt x="275" y="11"/>
                      <a:pt x="273" y="11"/>
                      <a:pt x="271" y="11"/>
                    </a:cubicBezTo>
                    <a:cubicBezTo>
                      <a:pt x="270" y="11"/>
                      <a:pt x="270" y="11"/>
                      <a:pt x="269" y="11"/>
                    </a:cubicBezTo>
                    <a:cubicBezTo>
                      <a:pt x="268" y="11"/>
                      <a:pt x="266" y="10"/>
                      <a:pt x="264" y="10"/>
                    </a:cubicBezTo>
                    <a:cubicBezTo>
                      <a:pt x="264" y="10"/>
                      <a:pt x="263" y="10"/>
                      <a:pt x="263" y="10"/>
                    </a:cubicBezTo>
                    <a:cubicBezTo>
                      <a:pt x="261" y="10"/>
                      <a:pt x="259" y="10"/>
                      <a:pt x="257" y="9"/>
                    </a:cubicBezTo>
                    <a:cubicBezTo>
                      <a:pt x="257" y="9"/>
                      <a:pt x="256" y="9"/>
                      <a:pt x="256" y="9"/>
                    </a:cubicBezTo>
                    <a:cubicBezTo>
                      <a:pt x="254" y="9"/>
                      <a:pt x="253" y="9"/>
                      <a:pt x="251" y="9"/>
                    </a:cubicBezTo>
                    <a:cubicBezTo>
                      <a:pt x="251" y="9"/>
                      <a:pt x="250" y="9"/>
                      <a:pt x="250" y="9"/>
                    </a:cubicBezTo>
                    <a:cubicBezTo>
                      <a:pt x="248" y="9"/>
                      <a:pt x="246" y="8"/>
                      <a:pt x="244" y="8"/>
                    </a:cubicBezTo>
                    <a:cubicBezTo>
                      <a:pt x="244" y="8"/>
                      <a:pt x="244" y="8"/>
                      <a:pt x="243" y="8"/>
                    </a:cubicBezTo>
                    <a:cubicBezTo>
                      <a:pt x="242" y="8"/>
                      <a:pt x="241" y="8"/>
                      <a:pt x="239" y="8"/>
                    </a:cubicBezTo>
                    <a:cubicBezTo>
                      <a:pt x="239" y="8"/>
                      <a:pt x="238" y="8"/>
                      <a:pt x="238" y="8"/>
                    </a:cubicBezTo>
                    <a:cubicBezTo>
                      <a:pt x="236" y="8"/>
                      <a:pt x="235" y="7"/>
                      <a:pt x="234" y="7"/>
                    </a:cubicBezTo>
                    <a:cubicBezTo>
                      <a:pt x="233" y="7"/>
                      <a:pt x="233" y="7"/>
                      <a:pt x="233" y="7"/>
                    </a:cubicBezTo>
                    <a:cubicBezTo>
                      <a:pt x="232" y="7"/>
                      <a:pt x="231" y="7"/>
                      <a:pt x="230" y="7"/>
                    </a:cubicBezTo>
                    <a:cubicBezTo>
                      <a:pt x="229" y="7"/>
                      <a:pt x="229" y="7"/>
                      <a:pt x="229" y="7"/>
                    </a:cubicBezTo>
                    <a:cubicBezTo>
                      <a:pt x="227" y="7"/>
                      <a:pt x="226" y="7"/>
                      <a:pt x="225" y="7"/>
                    </a:cubicBezTo>
                    <a:cubicBezTo>
                      <a:pt x="208" y="7"/>
                      <a:pt x="175" y="0"/>
                      <a:pt x="175" y="6"/>
                    </a:cubicBezTo>
                    <a:cubicBezTo>
                      <a:pt x="175" y="6"/>
                      <a:pt x="175" y="7"/>
                      <a:pt x="174" y="8"/>
                    </a:cubicBezTo>
                    <a:cubicBezTo>
                      <a:pt x="174" y="8"/>
                      <a:pt x="174" y="8"/>
                      <a:pt x="174" y="8"/>
                    </a:cubicBezTo>
                    <a:cubicBezTo>
                      <a:pt x="174" y="8"/>
                      <a:pt x="174" y="9"/>
                      <a:pt x="173" y="9"/>
                    </a:cubicBezTo>
                    <a:cubicBezTo>
                      <a:pt x="173" y="10"/>
                      <a:pt x="173" y="10"/>
                      <a:pt x="173" y="10"/>
                    </a:cubicBezTo>
                    <a:cubicBezTo>
                      <a:pt x="172" y="11"/>
                      <a:pt x="172" y="11"/>
                      <a:pt x="172" y="11"/>
                    </a:cubicBezTo>
                    <a:cubicBezTo>
                      <a:pt x="171" y="11"/>
                      <a:pt x="170" y="12"/>
                      <a:pt x="170" y="13"/>
                    </a:cubicBezTo>
                    <a:cubicBezTo>
                      <a:pt x="170" y="13"/>
                      <a:pt x="170" y="13"/>
                      <a:pt x="170" y="13"/>
                    </a:cubicBezTo>
                    <a:cubicBezTo>
                      <a:pt x="168" y="13"/>
                      <a:pt x="167" y="14"/>
                      <a:pt x="166" y="15"/>
                    </a:cubicBezTo>
                    <a:cubicBezTo>
                      <a:pt x="168" y="34"/>
                      <a:pt x="168" y="59"/>
                      <a:pt x="167" y="76"/>
                    </a:cubicBezTo>
                    <a:cubicBezTo>
                      <a:pt x="165" y="103"/>
                      <a:pt x="121" y="94"/>
                      <a:pt x="104" y="94"/>
                    </a:cubicBezTo>
                    <a:cubicBezTo>
                      <a:pt x="93" y="94"/>
                      <a:pt x="70" y="92"/>
                      <a:pt x="55" y="90"/>
                    </a:cubicBezTo>
                    <a:cubicBezTo>
                      <a:pt x="56" y="95"/>
                      <a:pt x="57" y="99"/>
                      <a:pt x="54" y="103"/>
                    </a:cubicBezTo>
                    <a:cubicBezTo>
                      <a:pt x="47" y="112"/>
                      <a:pt x="45" y="120"/>
                      <a:pt x="50" y="131"/>
                    </a:cubicBezTo>
                    <a:cubicBezTo>
                      <a:pt x="54" y="142"/>
                      <a:pt x="41" y="142"/>
                      <a:pt x="40" y="156"/>
                    </a:cubicBezTo>
                    <a:cubicBezTo>
                      <a:pt x="39" y="170"/>
                      <a:pt x="44" y="177"/>
                      <a:pt x="31" y="185"/>
                    </a:cubicBezTo>
                    <a:cubicBezTo>
                      <a:pt x="18" y="192"/>
                      <a:pt x="0" y="192"/>
                      <a:pt x="10" y="216"/>
                    </a:cubicBezTo>
                    <a:cubicBezTo>
                      <a:pt x="19" y="239"/>
                      <a:pt x="39" y="262"/>
                      <a:pt x="50" y="280"/>
                    </a:cubicBezTo>
                    <a:cubicBezTo>
                      <a:pt x="60" y="299"/>
                      <a:pt x="75" y="327"/>
                      <a:pt x="94" y="338"/>
                    </a:cubicBezTo>
                    <a:cubicBezTo>
                      <a:pt x="112" y="350"/>
                      <a:pt x="113" y="350"/>
                      <a:pt x="126" y="368"/>
                    </a:cubicBezTo>
                    <a:cubicBezTo>
                      <a:pt x="131" y="376"/>
                      <a:pt x="141" y="386"/>
                      <a:pt x="152" y="397"/>
                    </a:cubicBezTo>
                    <a:cubicBezTo>
                      <a:pt x="153" y="396"/>
                      <a:pt x="154" y="395"/>
                      <a:pt x="155" y="394"/>
                    </a:cubicBezTo>
                    <a:cubicBezTo>
                      <a:pt x="163" y="382"/>
                      <a:pt x="169" y="383"/>
                      <a:pt x="184" y="39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2" name="Freeform 386">
                <a:extLst>
                  <a:ext uri="{FF2B5EF4-FFF2-40B4-BE49-F238E27FC236}">
                    <a16:creationId xmlns:a16="http://schemas.microsoft.com/office/drawing/2014/main" id="{481C8B5D-E4F3-D644-8122-B95C3AD95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2519"/>
                <a:ext cx="122" cy="143"/>
              </a:xfrm>
              <a:custGeom>
                <a:avLst/>
                <a:gdLst>
                  <a:gd name="T0" fmla="*/ 118 w 480"/>
                  <a:gd name="T1" fmla="*/ 530 h 566"/>
                  <a:gd name="T2" fmla="*/ 119 w 480"/>
                  <a:gd name="T3" fmla="*/ 532 h 566"/>
                  <a:gd name="T4" fmla="*/ 120 w 480"/>
                  <a:gd name="T5" fmla="*/ 533 h 566"/>
                  <a:gd name="T6" fmla="*/ 122 w 480"/>
                  <a:gd name="T7" fmla="*/ 541 h 566"/>
                  <a:gd name="T8" fmla="*/ 124 w 480"/>
                  <a:gd name="T9" fmla="*/ 542 h 566"/>
                  <a:gd name="T10" fmla="*/ 125 w 480"/>
                  <a:gd name="T11" fmla="*/ 543 h 566"/>
                  <a:gd name="T12" fmla="*/ 126 w 480"/>
                  <a:gd name="T13" fmla="*/ 544 h 566"/>
                  <a:gd name="T14" fmla="*/ 129 w 480"/>
                  <a:gd name="T15" fmla="*/ 545 h 566"/>
                  <a:gd name="T16" fmla="*/ 132 w 480"/>
                  <a:gd name="T17" fmla="*/ 546 h 566"/>
                  <a:gd name="T18" fmla="*/ 193 w 480"/>
                  <a:gd name="T19" fmla="*/ 520 h 566"/>
                  <a:gd name="T20" fmla="*/ 232 w 480"/>
                  <a:gd name="T21" fmla="*/ 552 h 566"/>
                  <a:gd name="T22" fmla="*/ 288 w 480"/>
                  <a:gd name="T23" fmla="*/ 538 h 566"/>
                  <a:gd name="T24" fmla="*/ 281 w 480"/>
                  <a:gd name="T25" fmla="*/ 492 h 566"/>
                  <a:gd name="T26" fmla="*/ 327 w 480"/>
                  <a:gd name="T27" fmla="*/ 426 h 566"/>
                  <a:gd name="T28" fmla="*/ 383 w 480"/>
                  <a:gd name="T29" fmla="*/ 284 h 566"/>
                  <a:gd name="T30" fmla="*/ 440 w 480"/>
                  <a:gd name="T31" fmla="*/ 143 h 566"/>
                  <a:gd name="T32" fmla="*/ 480 w 480"/>
                  <a:gd name="T33" fmla="*/ 39 h 566"/>
                  <a:gd name="T34" fmla="*/ 474 w 480"/>
                  <a:gd name="T35" fmla="*/ 19 h 566"/>
                  <a:gd name="T36" fmla="*/ 419 w 480"/>
                  <a:gd name="T37" fmla="*/ 7 h 566"/>
                  <a:gd name="T38" fmla="*/ 348 w 480"/>
                  <a:gd name="T39" fmla="*/ 52 h 566"/>
                  <a:gd name="T40" fmla="*/ 335 w 480"/>
                  <a:gd name="T41" fmla="*/ 80 h 566"/>
                  <a:gd name="T42" fmla="*/ 333 w 480"/>
                  <a:gd name="T43" fmla="*/ 82 h 566"/>
                  <a:gd name="T44" fmla="*/ 331 w 480"/>
                  <a:gd name="T45" fmla="*/ 84 h 566"/>
                  <a:gd name="T46" fmla="*/ 329 w 480"/>
                  <a:gd name="T47" fmla="*/ 86 h 566"/>
                  <a:gd name="T48" fmla="*/ 327 w 480"/>
                  <a:gd name="T49" fmla="*/ 89 h 566"/>
                  <a:gd name="T50" fmla="*/ 324 w 480"/>
                  <a:gd name="T51" fmla="*/ 98 h 566"/>
                  <a:gd name="T52" fmla="*/ 321 w 480"/>
                  <a:gd name="T53" fmla="*/ 113 h 566"/>
                  <a:gd name="T54" fmla="*/ 291 w 480"/>
                  <a:gd name="T55" fmla="*/ 120 h 566"/>
                  <a:gd name="T56" fmla="*/ 168 w 480"/>
                  <a:gd name="T57" fmla="*/ 102 h 566"/>
                  <a:gd name="T58" fmla="*/ 163 w 480"/>
                  <a:gd name="T59" fmla="*/ 101 h 566"/>
                  <a:gd name="T60" fmla="*/ 157 w 480"/>
                  <a:gd name="T61" fmla="*/ 100 h 566"/>
                  <a:gd name="T62" fmla="*/ 152 w 480"/>
                  <a:gd name="T63" fmla="*/ 99 h 566"/>
                  <a:gd name="T64" fmla="*/ 145 w 480"/>
                  <a:gd name="T65" fmla="*/ 98 h 566"/>
                  <a:gd name="T66" fmla="*/ 136 w 480"/>
                  <a:gd name="T67" fmla="*/ 118 h 566"/>
                  <a:gd name="T68" fmla="*/ 147 w 480"/>
                  <a:gd name="T69" fmla="*/ 166 h 566"/>
                  <a:gd name="T70" fmla="*/ 197 w 480"/>
                  <a:gd name="T71" fmla="*/ 159 h 566"/>
                  <a:gd name="T72" fmla="*/ 192 w 480"/>
                  <a:gd name="T73" fmla="*/ 207 h 566"/>
                  <a:gd name="T74" fmla="*/ 191 w 480"/>
                  <a:gd name="T75" fmla="*/ 264 h 566"/>
                  <a:gd name="T76" fmla="*/ 212 w 480"/>
                  <a:gd name="T77" fmla="*/ 330 h 566"/>
                  <a:gd name="T78" fmla="*/ 199 w 480"/>
                  <a:gd name="T79" fmla="*/ 387 h 566"/>
                  <a:gd name="T80" fmla="*/ 156 w 480"/>
                  <a:gd name="T81" fmla="*/ 383 h 566"/>
                  <a:gd name="T82" fmla="*/ 117 w 480"/>
                  <a:gd name="T83" fmla="*/ 375 h 566"/>
                  <a:gd name="T84" fmla="*/ 84 w 480"/>
                  <a:gd name="T85" fmla="*/ 376 h 566"/>
                  <a:gd name="T86" fmla="*/ 27 w 480"/>
                  <a:gd name="T87" fmla="*/ 404 h 566"/>
                  <a:gd name="T88" fmla="*/ 52 w 480"/>
                  <a:gd name="T89" fmla="*/ 460 h 566"/>
                  <a:gd name="T90" fmla="*/ 3 w 480"/>
                  <a:gd name="T91" fmla="*/ 478 h 566"/>
                  <a:gd name="T92" fmla="*/ 39 w 480"/>
                  <a:gd name="T93" fmla="*/ 523 h 566"/>
                  <a:gd name="T94" fmla="*/ 81 w 480"/>
                  <a:gd name="T95" fmla="*/ 54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0" h="566">
                    <a:moveTo>
                      <a:pt x="116" y="528"/>
                    </a:moveTo>
                    <a:cubicBezTo>
                      <a:pt x="117" y="529"/>
                      <a:pt x="117" y="530"/>
                      <a:pt x="118" y="530"/>
                    </a:cubicBezTo>
                    <a:cubicBezTo>
                      <a:pt x="118" y="530"/>
                      <a:pt x="118" y="531"/>
                      <a:pt x="118" y="531"/>
                    </a:cubicBezTo>
                    <a:cubicBezTo>
                      <a:pt x="118" y="531"/>
                      <a:pt x="118" y="531"/>
                      <a:pt x="119" y="532"/>
                    </a:cubicBezTo>
                    <a:cubicBezTo>
                      <a:pt x="119" y="532"/>
                      <a:pt x="119" y="533"/>
                      <a:pt x="120" y="533"/>
                    </a:cubicBezTo>
                    <a:cubicBezTo>
                      <a:pt x="120" y="533"/>
                      <a:pt x="120" y="533"/>
                      <a:pt x="120" y="533"/>
                    </a:cubicBezTo>
                    <a:cubicBezTo>
                      <a:pt x="120" y="533"/>
                      <a:pt x="120" y="533"/>
                      <a:pt x="120" y="533"/>
                    </a:cubicBezTo>
                    <a:cubicBezTo>
                      <a:pt x="122" y="537"/>
                      <a:pt x="121" y="539"/>
                      <a:pt x="122" y="541"/>
                    </a:cubicBezTo>
                    <a:cubicBezTo>
                      <a:pt x="122" y="541"/>
                      <a:pt x="122" y="541"/>
                      <a:pt x="122" y="541"/>
                    </a:cubicBezTo>
                    <a:cubicBezTo>
                      <a:pt x="123" y="542"/>
                      <a:pt x="123" y="542"/>
                      <a:pt x="124" y="542"/>
                    </a:cubicBezTo>
                    <a:cubicBezTo>
                      <a:pt x="124" y="542"/>
                      <a:pt x="124" y="543"/>
                      <a:pt x="124" y="543"/>
                    </a:cubicBezTo>
                    <a:cubicBezTo>
                      <a:pt x="124" y="543"/>
                      <a:pt x="125" y="543"/>
                      <a:pt x="125" y="543"/>
                    </a:cubicBezTo>
                    <a:cubicBezTo>
                      <a:pt x="125" y="543"/>
                      <a:pt x="125" y="543"/>
                      <a:pt x="125" y="543"/>
                    </a:cubicBezTo>
                    <a:cubicBezTo>
                      <a:pt x="126" y="544"/>
                      <a:pt x="126" y="544"/>
                      <a:pt x="126" y="544"/>
                    </a:cubicBezTo>
                    <a:cubicBezTo>
                      <a:pt x="127" y="544"/>
                      <a:pt x="127" y="544"/>
                      <a:pt x="127" y="544"/>
                    </a:cubicBezTo>
                    <a:cubicBezTo>
                      <a:pt x="128" y="544"/>
                      <a:pt x="128" y="544"/>
                      <a:pt x="129" y="545"/>
                    </a:cubicBezTo>
                    <a:cubicBezTo>
                      <a:pt x="129" y="545"/>
                      <a:pt x="129" y="545"/>
                      <a:pt x="129" y="545"/>
                    </a:cubicBezTo>
                    <a:cubicBezTo>
                      <a:pt x="130" y="545"/>
                      <a:pt x="131" y="545"/>
                      <a:pt x="132" y="546"/>
                    </a:cubicBezTo>
                    <a:cubicBezTo>
                      <a:pt x="149" y="551"/>
                      <a:pt x="140" y="559"/>
                      <a:pt x="160" y="542"/>
                    </a:cubicBezTo>
                    <a:cubicBezTo>
                      <a:pt x="180" y="524"/>
                      <a:pt x="172" y="516"/>
                      <a:pt x="193" y="520"/>
                    </a:cubicBezTo>
                    <a:cubicBezTo>
                      <a:pt x="215" y="524"/>
                      <a:pt x="215" y="528"/>
                      <a:pt x="215" y="540"/>
                    </a:cubicBezTo>
                    <a:cubicBezTo>
                      <a:pt x="215" y="552"/>
                      <a:pt x="220" y="566"/>
                      <a:pt x="232" y="552"/>
                    </a:cubicBezTo>
                    <a:cubicBezTo>
                      <a:pt x="244" y="539"/>
                      <a:pt x="232" y="528"/>
                      <a:pt x="252" y="532"/>
                    </a:cubicBezTo>
                    <a:cubicBezTo>
                      <a:pt x="272" y="536"/>
                      <a:pt x="287" y="547"/>
                      <a:pt x="288" y="538"/>
                    </a:cubicBezTo>
                    <a:cubicBezTo>
                      <a:pt x="289" y="528"/>
                      <a:pt x="289" y="523"/>
                      <a:pt x="283" y="516"/>
                    </a:cubicBezTo>
                    <a:cubicBezTo>
                      <a:pt x="276" y="510"/>
                      <a:pt x="263" y="495"/>
                      <a:pt x="281" y="492"/>
                    </a:cubicBezTo>
                    <a:cubicBezTo>
                      <a:pt x="300" y="490"/>
                      <a:pt x="307" y="494"/>
                      <a:pt x="317" y="476"/>
                    </a:cubicBezTo>
                    <a:cubicBezTo>
                      <a:pt x="328" y="459"/>
                      <a:pt x="327" y="446"/>
                      <a:pt x="327" y="426"/>
                    </a:cubicBezTo>
                    <a:cubicBezTo>
                      <a:pt x="327" y="406"/>
                      <a:pt x="317" y="367"/>
                      <a:pt x="337" y="350"/>
                    </a:cubicBezTo>
                    <a:cubicBezTo>
                      <a:pt x="357" y="332"/>
                      <a:pt x="377" y="308"/>
                      <a:pt x="383" y="284"/>
                    </a:cubicBezTo>
                    <a:cubicBezTo>
                      <a:pt x="388" y="260"/>
                      <a:pt x="396" y="248"/>
                      <a:pt x="409" y="224"/>
                    </a:cubicBezTo>
                    <a:cubicBezTo>
                      <a:pt x="423" y="200"/>
                      <a:pt x="439" y="172"/>
                      <a:pt x="440" y="143"/>
                    </a:cubicBezTo>
                    <a:cubicBezTo>
                      <a:pt x="441" y="114"/>
                      <a:pt x="435" y="99"/>
                      <a:pt x="456" y="80"/>
                    </a:cubicBezTo>
                    <a:cubicBezTo>
                      <a:pt x="477" y="62"/>
                      <a:pt x="480" y="51"/>
                      <a:pt x="480" y="39"/>
                    </a:cubicBezTo>
                    <a:cubicBezTo>
                      <a:pt x="480" y="33"/>
                      <a:pt x="479" y="25"/>
                      <a:pt x="478" y="17"/>
                    </a:cubicBezTo>
                    <a:cubicBezTo>
                      <a:pt x="477" y="18"/>
                      <a:pt x="475" y="19"/>
                      <a:pt x="474" y="19"/>
                    </a:cubicBezTo>
                    <a:cubicBezTo>
                      <a:pt x="473" y="19"/>
                      <a:pt x="473" y="19"/>
                      <a:pt x="472" y="19"/>
                    </a:cubicBezTo>
                    <a:cubicBezTo>
                      <a:pt x="463" y="19"/>
                      <a:pt x="435" y="14"/>
                      <a:pt x="419" y="7"/>
                    </a:cubicBezTo>
                    <a:cubicBezTo>
                      <a:pt x="403" y="0"/>
                      <a:pt x="403" y="12"/>
                      <a:pt x="372" y="11"/>
                    </a:cubicBezTo>
                    <a:cubicBezTo>
                      <a:pt x="341" y="10"/>
                      <a:pt x="352" y="38"/>
                      <a:pt x="348" y="52"/>
                    </a:cubicBezTo>
                    <a:cubicBezTo>
                      <a:pt x="344" y="67"/>
                      <a:pt x="351" y="74"/>
                      <a:pt x="337" y="79"/>
                    </a:cubicBezTo>
                    <a:cubicBezTo>
                      <a:pt x="336" y="79"/>
                      <a:pt x="336" y="80"/>
                      <a:pt x="335" y="80"/>
                    </a:cubicBezTo>
                    <a:cubicBezTo>
                      <a:pt x="335" y="80"/>
                      <a:pt x="334" y="81"/>
                      <a:pt x="334" y="81"/>
                    </a:cubicBezTo>
                    <a:cubicBezTo>
                      <a:pt x="334" y="81"/>
                      <a:pt x="333" y="82"/>
                      <a:pt x="333" y="82"/>
                    </a:cubicBezTo>
                    <a:cubicBezTo>
                      <a:pt x="332" y="82"/>
                      <a:pt x="332" y="82"/>
                      <a:pt x="332" y="82"/>
                    </a:cubicBezTo>
                    <a:cubicBezTo>
                      <a:pt x="331" y="83"/>
                      <a:pt x="331" y="83"/>
                      <a:pt x="331" y="84"/>
                    </a:cubicBezTo>
                    <a:cubicBezTo>
                      <a:pt x="330" y="84"/>
                      <a:pt x="330" y="84"/>
                      <a:pt x="330" y="84"/>
                    </a:cubicBezTo>
                    <a:cubicBezTo>
                      <a:pt x="330" y="85"/>
                      <a:pt x="329" y="85"/>
                      <a:pt x="329" y="86"/>
                    </a:cubicBezTo>
                    <a:cubicBezTo>
                      <a:pt x="329" y="86"/>
                      <a:pt x="328" y="86"/>
                      <a:pt x="328" y="86"/>
                    </a:cubicBezTo>
                    <a:cubicBezTo>
                      <a:pt x="328" y="87"/>
                      <a:pt x="327" y="88"/>
                      <a:pt x="327" y="89"/>
                    </a:cubicBezTo>
                    <a:cubicBezTo>
                      <a:pt x="327" y="89"/>
                      <a:pt x="327" y="89"/>
                      <a:pt x="327" y="89"/>
                    </a:cubicBezTo>
                    <a:cubicBezTo>
                      <a:pt x="326" y="91"/>
                      <a:pt x="325" y="94"/>
                      <a:pt x="324" y="98"/>
                    </a:cubicBezTo>
                    <a:cubicBezTo>
                      <a:pt x="324" y="98"/>
                      <a:pt x="324" y="98"/>
                      <a:pt x="324" y="98"/>
                    </a:cubicBezTo>
                    <a:cubicBezTo>
                      <a:pt x="322" y="102"/>
                      <a:pt x="322" y="108"/>
                      <a:pt x="321" y="113"/>
                    </a:cubicBezTo>
                    <a:cubicBezTo>
                      <a:pt x="321" y="115"/>
                      <a:pt x="320" y="116"/>
                      <a:pt x="320" y="118"/>
                    </a:cubicBezTo>
                    <a:cubicBezTo>
                      <a:pt x="317" y="135"/>
                      <a:pt x="300" y="132"/>
                      <a:pt x="291" y="120"/>
                    </a:cubicBezTo>
                    <a:cubicBezTo>
                      <a:pt x="281" y="108"/>
                      <a:pt x="259" y="119"/>
                      <a:pt x="240" y="106"/>
                    </a:cubicBezTo>
                    <a:cubicBezTo>
                      <a:pt x="221" y="92"/>
                      <a:pt x="192" y="106"/>
                      <a:pt x="168" y="102"/>
                    </a:cubicBezTo>
                    <a:cubicBezTo>
                      <a:pt x="167" y="102"/>
                      <a:pt x="165" y="101"/>
                      <a:pt x="164" y="101"/>
                    </a:cubicBezTo>
                    <a:cubicBezTo>
                      <a:pt x="163" y="101"/>
                      <a:pt x="163" y="101"/>
                      <a:pt x="163" y="101"/>
                    </a:cubicBezTo>
                    <a:cubicBezTo>
                      <a:pt x="161" y="101"/>
                      <a:pt x="160" y="100"/>
                      <a:pt x="158" y="100"/>
                    </a:cubicBezTo>
                    <a:cubicBezTo>
                      <a:pt x="158" y="100"/>
                      <a:pt x="157" y="100"/>
                      <a:pt x="157" y="100"/>
                    </a:cubicBezTo>
                    <a:cubicBezTo>
                      <a:pt x="156" y="100"/>
                      <a:pt x="154" y="100"/>
                      <a:pt x="152" y="99"/>
                    </a:cubicBezTo>
                    <a:cubicBezTo>
                      <a:pt x="152" y="99"/>
                      <a:pt x="152" y="99"/>
                      <a:pt x="152" y="99"/>
                    </a:cubicBezTo>
                    <a:cubicBezTo>
                      <a:pt x="150" y="99"/>
                      <a:pt x="148" y="99"/>
                      <a:pt x="146" y="98"/>
                    </a:cubicBezTo>
                    <a:cubicBezTo>
                      <a:pt x="146" y="98"/>
                      <a:pt x="145" y="98"/>
                      <a:pt x="145" y="98"/>
                    </a:cubicBezTo>
                    <a:cubicBezTo>
                      <a:pt x="143" y="98"/>
                      <a:pt x="141" y="98"/>
                      <a:pt x="139" y="97"/>
                    </a:cubicBezTo>
                    <a:cubicBezTo>
                      <a:pt x="140" y="107"/>
                      <a:pt x="140" y="115"/>
                      <a:pt x="136" y="118"/>
                    </a:cubicBezTo>
                    <a:cubicBezTo>
                      <a:pt x="127" y="123"/>
                      <a:pt x="131" y="134"/>
                      <a:pt x="131" y="142"/>
                    </a:cubicBezTo>
                    <a:cubicBezTo>
                      <a:pt x="131" y="150"/>
                      <a:pt x="129" y="174"/>
                      <a:pt x="147" y="166"/>
                    </a:cubicBezTo>
                    <a:cubicBezTo>
                      <a:pt x="164" y="158"/>
                      <a:pt x="168" y="146"/>
                      <a:pt x="180" y="146"/>
                    </a:cubicBezTo>
                    <a:cubicBezTo>
                      <a:pt x="192" y="146"/>
                      <a:pt x="197" y="152"/>
                      <a:pt x="197" y="159"/>
                    </a:cubicBezTo>
                    <a:cubicBezTo>
                      <a:pt x="197" y="166"/>
                      <a:pt x="215" y="168"/>
                      <a:pt x="213" y="182"/>
                    </a:cubicBezTo>
                    <a:cubicBezTo>
                      <a:pt x="212" y="195"/>
                      <a:pt x="200" y="203"/>
                      <a:pt x="192" y="207"/>
                    </a:cubicBezTo>
                    <a:cubicBezTo>
                      <a:pt x="184" y="211"/>
                      <a:pt x="176" y="227"/>
                      <a:pt x="177" y="236"/>
                    </a:cubicBezTo>
                    <a:cubicBezTo>
                      <a:pt x="179" y="246"/>
                      <a:pt x="176" y="256"/>
                      <a:pt x="191" y="264"/>
                    </a:cubicBezTo>
                    <a:cubicBezTo>
                      <a:pt x="205" y="272"/>
                      <a:pt x="217" y="266"/>
                      <a:pt x="215" y="291"/>
                    </a:cubicBezTo>
                    <a:cubicBezTo>
                      <a:pt x="212" y="316"/>
                      <a:pt x="211" y="319"/>
                      <a:pt x="212" y="330"/>
                    </a:cubicBezTo>
                    <a:cubicBezTo>
                      <a:pt x="213" y="340"/>
                      <a:pt x="221" y="358"/>
                      <a:pt x="211" y="366"/>
                    </a:cubicBezTo>
                    <a:cubicBezTo>
                      <a:pt x="200" y="374"/>
                      <a:pt x="199" y="375"/>
                      <a:pt x="199" y="387"/>
                    </a:cubicBezTo>
                    <a:cubicBezTo>
                      <a:pt x="199" y="399"/>
                      <a:pt x="183" y="412"/>
                      <a:pt x="179" y="399"/>
                    </a:cubicBezTo>
                    <a:cubicBezTo>
                      <a:pt x="175" y="386"/>
                      <a:pt x="163" y="372"/>
                      <a:pt x="156" y="383"/>
                    </a:cubicBezTo>
                    <a:cubicBezTo>
                      <a:pt x="149" y="394"/>
                      <a:pt x="148" y="400"/>
                      <a:pt x="135" y="394"/>
                    </a:cubicBezTo>
                    <a:cubicBezTo>
                      <a:pt x="121" y="387"/>
                      <a:pt x="120" y="384"/>
                      <a:pt x="117" y="375"/>
                    </a:cubicBezTo>
                    <a:cubicBezTo>
                      <a:pt x="115" y="366"/>
                      <a:pt x="112" y="360"/>
                      <a:pt x="96" y="358"/>
                    </a:cubicBezTo>
                    <a:cubicBezTo>
                      <a:pt x="80" y="355"/>
                      <a:pt x="84" y="368"/>
                      <a:pt x="84" y="376"/>
                    </a:cubicBezTo>
                    <a:cubicBezTo>
                      <a:pt x="84" y="384"/>
                      <a:pt x="79" y="392"/>
                      <a:pt x="60" y="392"/>
                    </a:cubicBezTo>
                    <a:cubicBezTo>
                      <a:pt x="41" y="392"/>
                      <a:pt x="27" y="392"/>
                      <a:pt x="27" y="404"/>
                    </a:cubicBezTo>
                    <a:cubicBezTo>
                      <a:pt x="27" y="416"/>
                      <a:pt x="29" y="428"/>
                      <a:pt x="37" y="434"/>
                    </a:cubicBezTo>
                    <a:cubicBezTo>
                      <a:pt x="45" y="439"/>
                      <a:pt x="53" y="446"/>
                      <a:pt x="52" y="460"/>
                    </a:cubicBezTo>
                    <a:cubicBezTo>
                      <a:pt x="51" y="475"/>
                      <a:pt x="47" y="480"/>
                      <a:pt x="32" y="474"/>
                    </a:cubicBezTo>
                    <a:cubicBezTo>
                      <a:pt x="17" y="467"/>
                      <a:pt x="11" y="466"/>
                      <a:pt x="3" y="478"/>
                    </a:cubicBezTo>
                    <a:cubicBezTo>
                      <a:pt x="2" y="479"/>
                      <a:pt x="1" y="480"/>
                      <a:pt x="0" y="481"/>
                    </a:cubicBezTo>
                    <a:cubicBezTo>
                      <a:pt x="16" y="496"/>
                      <a:pt x="33" y="513"/>
                      <a:pt x="39" y="523"/>
                    </a:cubicBezTo>
                    <a:cubicBezTo>
                      <a:pt x="49" y="540"/>
                      <a:pt x="50" y="549"/>
                      <a:pt x="57" y="560"/>
                    </a:cubicBezTo>
                    <a:cubicBezTo>
                      <a:pt x="65" y="555"/>
                      <a:pt x="75" y="548"/>
                      <a:pt x="81" y="543"/>
                    </a:cubicBezTo>
                    <a:cubicBezTo>
                      <a:pt x="96" y="532"/>
                      <a:pt x="105" y="516"/>
                      <a:pt x="116" y="52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3" name="Freeform 387">
                <a:extLst>
                  <a:ext uri="{FF2B5EF4-FFF2-40B4-BE49-F238E27FC236}">
                    <a16:creationId xmlns:a16="http://schemas.microsoft.com/office/drawing/2014/main" id="{D981EB4B-1702-4C47-AAE4-9CABD24C00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4" y="2617"/>
                <a:ext cx="32" cy="35"/>
              </a:xfrm>
              <a:custGeom>
                <a:avLst/>
                <a:gdLst>
                  <a:gd name="T0" fmla="*/ 98 w 128"/>
                  <a:gd name="T1" fmla="*/ 6 h 140"/>
                  <a:gd name="T2" fmla="*/ 79 w 128"/>
                  <a:gd name="T3" fmla="*/ 10 h 140"/>
                  <a:gd name="T4" fmla="*/ 62 w 128"/>
                  <a:gd name="T5" fmla="*/ 26 h 140"/>
                  <a:gd name="T6" fmla="*/ 46 w 128"/>
                  <a:gd name="T7" fmla="*/ 37 h 140"/>
                  <a:gd name="T8" fmla="*/ 29 w 128"/>
                  <a:gd name="T9" fmla="*/ 31 h 140"/>
                  <a:gd name="T10" fmla="*/ 11 w 128"/>
                  <a:gd name="T11" fmla="*/ 26 h 140"/>
                  <a:gd name="T12" fmla="*/ 0 w 128"/>
                  <a:gd name="T13" fmla="*/ 32 h 140"/>
                  <a:gd name="T14" fmla="*/ 2 w 128"/>
                  <a:gd name="T15" fmla="*/ 33 h 140"/>
                  <a:gd name="T16" fmla="*/ 16 w 128"/>
                  <a:gd name="T17" fmla="*/ 56 h 140"/>
                  <a:gd name="T18" fmla="*/ 23 w 128"/>
                  <a:gd name="T19" fmla="*/ 114 h 140"/>
                  <a:gd name="T20" fmla="*/ 26 w 128"/>
                  <a:gd name="T21" fmla="*/ 119 h 140"/>
                  <a:gd name="T22" fmla="*/ 26 w 128"/>
                  <a:gd name="T23" fmla="*/ 113 h 140"/>
                  <a:gd name="T24" fmla="*/ 39 w 128"/>
                  <a:gd name="T25" fmla="*/ 112 h 140"/>
                  <a:gd name="T26" fmla="*/ 50 w 128"/>
                  <a:gd name="T27" fmla="*/ 129 h 140"/>
                  <a:gd name="T28" fmla="*/ 54 w 128"/>
                  <a:gd name="T29" fmla="*/ 140 h 140"/>
                  <a:gd name="T30" fmla="*/ 58 w 128"/>
                  <a:gd name="T31" fmla="*/ 138 h 140"/>
                  <a:gd name="T32" fmla="*/ 82 w 128"/>
                  <a:gd name="T33" fmla="*/ 118 h 140"/>
                  <a:gd name="T34" fmla="*/ 103 w 128"/>
                  <a:gd name="T35" fmla="*/ 80 h 140"/>
                  <a:gd name="T36" fmla="*/ 120 w 128"/>
                  <a:gd name="T37" fmla="*/ 65 h 140"/>
                  <a:gd name="T38" fmla="*/ 128 w 128"/>
                  <a:gd name="T39" fmla="*/ 48 h 140"/>
                  <a:gd name="T40" fmla="*/ 108 w 128"/>
                  <a:gd name="T41" fmla="*/ 43 h 140"/>
                  <a:gd name="T42" fmla="*/ 98 w 128"/>
                  <a:gd name="T43" fmla="*/ 28 h 140"/>
                  <a:gd name="T44" fmla="*/ 98 w 128"/>
                  <a:gd name="T45" fmla="*/ 26 h 140"/>
                  <a:gd name="T46" fmla="*/ 98 w 128"/>
                  <a:gd name="T47" fmla="*/ 25 h 140"/>
                  <a:gd name="T48" fmla="*/ 99 w 128"/>
                  <a:gd name="T49" fmla="*/ 24 h 140"/>
                  <a:gd name="T50" fmla="*/ 99 w 128"/>
                  <a:gd name="T51" fmla="*/ 23 h 140"/>
                  <a:gd name="T52" fmla="*/ 100 w 128"/>
                  <a:gd name="T53" fmla="*/ 22 h 140"/>
                  <a:gd name="T54" fmla="*/ 101 w 128"/>
                  <a:gd name="T55" fmla="*/ 21 h 140"/>
                  <a:gd name="T56" fmla="*/ 102 w 128"/>
                  <a:gd name="T57" fmla="*/ 20 h 140"/>
                  <a:gd name="T58" fmla="*/ 103 w 128"/>
                  <a:gd name="T59" fmla="*/ 19 h 140"/>
                  <a:gd name="T60" fmla="*/ 104 w 128"/>
                  <a:gd name="T61" fmla="*/ 19 h 140"/>
                  <a:gd name="T62" fmla="*/ 105 w 128"/>
                  <a:gd name="T63" fmla="*/ 18 h 140"/>
                  <a:gd name="T64" fmla="*/ 106 w 128"/>
                  <a:gd name="T65" fmla="*/ 18 h 140"/>
                  <a:gd name="T66" fmla="*/ 109 w 128"/>
                  <a:gd name="T67" fmla="*/ 17 h 140"/>
                  <a:gd name="T68" fmla="*/ 110 w 128"/>
                  <a:gd name="T69" fmla="*/ 17 h 140"/>
                  <a:gd name="T70" fmla="*/ 98 w 128"/>
                  <a:gd name="T71" fmla="*/ 6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8" h="140">
                    <a:moveTo>
                      <a:pt x="98" y="6"/>
                    </a:moveTo>
                    <a:cubicBezTo>
                      <a:pt x="91" y="0"/>
                      <a:pt x="87" y="10"/>
                      <a:pt x="79" y="10"/>
                    </a:cubicBezTo>
                    <a:cubicBezTo>
                      <a:pt x="71" y="10"/>
                      <a:pt x="64" y="16"/>
                      <a:pt x="62" y="26"/>
                    </a:cubicBezTo>
                    <a:cubicBezTo>
                      <a:pt x="60" y="36"/>
                      <a:pt x="56" y="37"/>
                      <a:pt x="46" y="37"/>
                    </a:cubicBezTo>
                    <a:cubicBezTo>
                      <a:pt x="36" y="37"/>
                      <a:pt x="30" y="36"/>
                      <a:pt x="29" y="31"/>
                    </a:cubicBezTo>
                    <a:cubicBezTo>
                      <a:pt x="28" y="26"/>
                      <a:pt x="23" y="26"/>
                      <a:pt x="11" y="26"/>
                    </a:cubicBezTo>
                    <a:cubicBezTo>
                      <a:pt x="5" y="26"/>
                      <a:pt x="2" y="29"/>
                      <a:pt x="0" y="32"/>
                    </a:cubicBezTo>
                    <a:cubicBezTo>
                      <a:pt x="1" y="33"/>
                      <a:pt x="1" y="33"/>
                      <a:pt x="2" y="33"/>
                    </a:cubicBezTo>
                    <a:cubicBezTo>
                      <a:pt x="10" y="36"/>
                      <a:pt x="16" y="42"/>
                      <a:pt x="16" y="56"/>
                    </a:cubicBezTo>
                    <a:cubicBezTo>
                      <a:pt x="16" y="69"/>
                      <a:pt x="15" y="102"/>
                      <a:pt x="23" y="114"/>
                    </a:cubicBezTo>
                    <a:cubicBezTo>
                      <a:pt x="24" y="116"/>
                      <a:pt x="25" y="118"/>
                      <a:pt x="26" y="119"/>
                    </a:cubicBezTo>
                    <a:cubicBezTo>
                      <a:pt x="26" y="117"/>
                      <a:pt x="26" y="115"/>
                      <a:pt x="26" y="113"/>
                    </a:cubicBezTo>
                    <a:cubicBezTo>
                      <a:pt x="25" y="103"/>
                      <a:pt x="31" y="102"/>
                      <a:pt x="39" y="112"/>
                    </a:cubicBezTo>
                    <a:cubicBezTo>
                      <a:pt x="46" y="121"/>
                      <a:pt x="49" y="120"/>
                      <a:pt x="50" y="129"/>
                    </a:cubicBezTo>
                    <a:cubicBezTo>
                      <a:pt x="51" y="134"/>
                      <a:pt x="52" y="137"/>
                      <a:pt x="54" y="140"/>
                    </a:cubicBezTo>
                    <a:cubicBezTo>
                      <a:pt x="55" y="139"/>
                      <a:pt x="56" y="138"/>
                      <a:pt x="58" y="138"/>
                    </a:cubicBezTo>
                    <a:cubicBezTo>
                      <a:pt x="64" y="135"/>
                      <a:pt x="73" y="124"/>
                      <a:pt x="82" y="118"/>
                    </a:cubicBezTo>
                    <a:cubicBezTo>
                      <a:pt x="90" y="111"/>
                      <a:pt x="98" y="92"/>
                      <a:pt x="103" y="80"/>
                    </a:cubicBezTo>
                    <a:cubicBezTo>
                      <a:pt x="108" y="68"/>
                      <a:pt x="112" y="68"/>
                      <a:pt x="120" y="65"/>
                    </a:cubicBezTo>
                    <a:cubicBezTo>
                      <a:pt x="128" y="62"/>
                      <a:pt x="128" y="54"/>
                      <a:pt x="128" y="48"/>
                    </a:cubicBezTo>
                    <a:cubicBezTo>
                      <a:pt x="128" y="41"/>
                      <a:pt x="117" y="43"/>
                      <a:pt x="108" y="43"/>
                    </a:cubicBezTo>
                    <a:cubicBezTo>
                      <a:pt x="98" y="43"/>
                      <a:pt x="98" y="34"/>
                      <a:pt x="98" y="28"/>
                    </a:cubicBezTo>
                    <a:cubicBezTo>
                      <a:pt x="98" y="27"/>
                      <a:pt x="98" y="26"/>
                      <a:pt x="98" y="26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8" y="25"/>
                      <a:pt x="99" y="24"/>
                      <a:pt x="99" y="24"/>
                    </a:cubicBezTo>
                    <a:cubicBezTo>
                      <a:pt x="99" y="23"/>
                      <a:pt x="99" y="23"/>
                      <a:pt x="99" y="23"/>
                    </a:cubicBezTo>
                    <a:cubicBezTo>
                      <a:pt x="100" y="22"/>
                      <a:pt x="100" y="22"/>
                      <a:pt x="100" y="22"/>
                    </a:cubicBezTo>
                    <a:cubicBezTo>
                      <a:pt x="100" y="22"/>
                      <a:pt x="101" y="21"/>
                      <a:pt x="101" y="21"/>
                    </a:cubicBezTo>
                    <a:cubicBezTo>
                      <a:pt x="101" y="21"/>
                      <a:pt x="102" y="20"/>
                      <a:pt x="102" y="20"/>
                    </a:cubicBezTo>
                    <a:cubicBezTo>
                      <a:pt x="102" y="20"/>
                      <a:pt x="102" y="20"/>
                      <a:pt x="103" y="19"/>
                    </a:cubicBezTo>
                    <a:cubicBezTo>
                      <a:pt x="103" y="19"/>
                      <a:pt x="103" y="19"/>
                      <a:pt x="104" y="19"/>
                    </a:cubicBezTo>
                    <a:cubicBezTo>
                      <a:pt x="104" y="19"/>
                      <a:pt x="105" y="18"/>
                      <a:pt x="105" y="18"/>
                    </a:cubicBezTo>
                    <a:cubicBezTo>
                      <a:pt x="105" y="18"/>
                      <a:pt x="106" y="18"/>
                      <a:pt x="106" y="18"/>
                    </a:cubicBezTo>
                    <a:cubicBezTo>
                      <a:pt x="107" y="17"/>
                      <a:pt x="108" y="17"/>
                      <a:pt x="109" y="17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06" y="13"/>
                      <a:pt x="101" y="9"/>
                      <a:pt x="98" y="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4" name="Freeform 388">
                <a:extLst>
                  <a:ext uri="{FF2B5EF4-FFF2-40B4-BE49-F238E27FC236}">
                    <a16:creationId xmlns:a16="http://schemas.microsoft.com/office/drawing/2014/main" id="{061DB1A1-824E-8F4F-BCD6-F98DDDB268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3" y="2598"/>
                <a:ext cx="34" cy="28"/>
              </a:xfrm>
              <a:custGeom>
                <a:avLst/>
                <a:gdLst>
                  <a:gd name="T0" fmla="*/ 105 w 135"/>
                  <a:gd name="T1" fmla="*/ 2 h 113"/>
                  <a:gd name="T2" fmla="*/ 103 w 135"/>
                  <a:gd name="T3" fmla="*/ 2 h 113"/>
                  <a:gd name="T4" fmla="*/ 100 w 135"/>
                  <a:gd name="T5" fmla="*/ 2 h 113"/>
                  <a:gd name="T6" fmla="*/ 79 w 135"/>
                  <a:gd name="T7" fmla="*/ 24 h 113"/>
                  <a:gd name="T8" fmla="*/ 57 w 135"/>
                  <a:gd name="T9" fmla="*/ 20 h 113"/>
                  <a:gd name="T10" fmla="*/ 44 w 135"/>
                  <a:gd name="T11" fmla="*/ 14 h 113"/>
                  <a:gd name="T12" fmla="*/ 44 w 135"/>
                  <a:gd name="T13" fmla="*/ 17 h 113"/>
                  <a:gd name="T14" fmla="*/ 42 w 135"/>
                  <a:gd name="T15" fmla="*/ 23 h 113"/>
                  <a:gd name="T16" fmla="*/ 41 w 135"/>
                  <a:gd name="T17" fmla="*/ 26 h 113"/>
                  <a:gd name="T18" fmla="*/ 37 w 135"/>
                  <a:gd name="T19" fmla="*/ 30 h 113"/>
                  <a:gd name="T20" fmla="*/ 35 w 135"/>
                  <a:gd name="T21" fmla="*/ 32 h 113"/>
                  <a:gd name="T22" fmla="*/ 21 w 135"/>
                  <a:gd name="T23" fmla="*/ 58 h 113"/>
                  <a:gd name="T24" fmla="*/ 9 w 135"/>
                  <a:gd name="T25" fmla="*/ 80 h 113"/>
                  <a:gd name="T26" fmla="*/ 7 w 135"/>
                  <a:gd name="T27" fmla="*/ 81 h 113"/>
                  <a:gd name="T28" fmla="*/ 5 w 135"/>
                  <a:gd name="T29" fmla="*/ 83 h 113"/>
                  <a:gd name="T30" fmla="*/ 4 w 135"/>
                  <a:gd name="T31" fmla="*/ 85 h 113"/>
                  <a:gd name="T32" fmla="*/ 3 w 135"/>
                  <a:gd name="T33" fmla="*/ 87 h 113"/>
                  <a:gd name="T34" fmla="*/ 2 w 135"/>
                  <a:gd name="T35" fmla="*/ 89 h 113"/>
                  <a:gd name="T36" fmla="*/ 1 w 135"/>
                  <a:gd name="T37" fmla="*/ 92 h 113"/>
                  <a:gd name="T38" fmla="*/ 0 w 135"/>
                  <a:gd name="T39" fmla="*/ 94 h 113"/>
                  <a:gd name="T40" fmla="*/ 0 w 135"/>
                  <a:gd name="T41" fmla="*/ 96 h 113"/>
                  <a:gd name="T42" fmla="*/ 0 w 135"/>
                  <a:gd name="T43" fmla="*/ 98 h 113"/>
                  <a:gd name="T44" fmla="*/ 0 w 135"/>
                  <a:gd name="T45" fmla="*/ 101 h 113"/>
                  <a:gd name="T46" fmla="*/ 0 w 135"/>
                  <a:gd name="T47" fmla="*/ 102 h 113"/>
                  <a:gd name="T48" fmla="*/ 14 w 135"/>
                  <a:gd name="T49" fmla="*/ 102 h 113"/>
                  <a:gd name="T50" fmla="*/ 49 w 135"/>
                  <a:gd name="T51" fmla="*/ 113 h 113"/>
                  <a:gd name="T52" fmla="*/ 82 w 135"/>
                  <a:gd name="T53" fmla="*/ 86 h 113"/>
                  <a:gd name="T54" fmla="*/ 113 w 135"/>
                  <a:gd name="T55" fmla="*/ 93 h 113"/>
                  <a:gd name="T56" fmla="*/ 114 w 135"/>
                  <a:gd name="T57" fmla="*/ 93 h 113"/>
                  <a:gd name="T58" fmla="*/ 125 w 135"/>
                  <a:gd name="T59" fmla="*/ 86 h 113"/>
                  <a:gd name="T60" fmla="*/ 125 w 135"/>
                  <a:gd name="T61" fmla="*/ 61 h 113"/>
                  <a:gd name="T62" fmla="*/ 115 w 135"/>
                  <a:gd name="T63" fmla="*/ 27 h 113"/>
                  <a:gd name="T64" fmla="*/ 109 w 135"/>
                  <a:gd name="T65" fmla="*/ 0 h 113"/>
                  <a:gd name="T66" fmla="*/ 107 w 135"/>
                  <a:gd name="T67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5" h="113">
                    <a:moveTo>
                      <a:pt x="107" y="1"/>
                    </a:moveTo>
                    <a:cubicBezTo>
                      <a:pt x="106" y="1"/>
                      <a:pt x="106" y="1"/>
                      <a:pt x="105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4" y="2"/>
                      <a:pt x="104" y="2"/>
                      <a:pt x="103" y="2"/>
                    </a:cubicBezTo>
                    <a:cubicBezTo>
                      <a:pt x="103" y="2"/>
                      <a:pt x="103" y="2"/>
                      <a:pt x="102" y="2"/>
                    </a:cubicBezTo>
                    <a:cubicBezTo>
                      <a:pt x="102" y="2"/>
                      <a:pt x="101" y="2"/>
                      <a:pt x="100" y="2"/>
                    </a:cubicBezTo>
                    <a:cubicBezTo>
                      <a:pt x="90" y="2"/>
                      <a:pt x="93" y="6"/>
                      <a:pt x="86" y="10"/>
                    </a:cubicBezTo>
                    <a:cubicBezTo>
                      <a:pt x="79" y="14"/>
                      <a:pt x="80" y="18"/>
                      <a:pt x="79" y="24"/>
                    </a:cubicBezTo>
                    <a:cubicBezTo>
                      <a:pt x="79" y="30"/>
                      <a:pt x="75" y="33"/>
                      <a:pt x="68" y="28"/>
                    </a:cubicBezTo>
                    <a:cubicBezTo>
                      <a:pt x="61" y="24"/>
                      <a:pt x="65" y="20"/>
                      <a:pt x="57" y="20"/>
                    </a:cubicBezTo>
                    <a:cubicBezTo>
                      <a:pt x="51" y="19"/>
                      <a:pt x="48" y="17"/>
                      <a:pt x="44" y="14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15"/>
                      <a:pt x="44" y="16"/>
                      <a:pt x="44" y="17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3" y="19"/>
                      <a:pt x="43" y="21"/>
                      <a:pt x="42" y="23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24"/>
                      <a:pt x="42" y="25"/>
                      <a:pt x="41" y="25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40" y="27"/>
                      <a:pt x="39" y="29"/>
                      <a:pt x="38" y="30"/>
                    </a:cubicBezTo>
                    <a:cubicBezTo>
                      <a:pt x="38" y="30"/>
                      <a:pt x="38" y="30"/>
                      <a:pt x="37" y="30"/>
                    </a:cubicBezTo>
                    <a:cubicBezTo>
                      <a:pt x="37" y="31"/>
                      <a:pt x="36" y="31"/>
                      <a:pt x="36" y="32"/>
                    </a:cubicBezTo>
                    <a:cubicBezTo>
                      <a:pt x="36" y="32"/>
                      <a:pt x="35" y="32"/>
                      <a:pt x="35" y="32"/>
                    </a:cubicBezTo>
                    <a:cubicBezTo>
                      <a:pt x="34" y="32"/>
                      <a:pt x="34" y="33"/>
                      <a:pt x="33" y="33"/>
                    </a:cubicBezTo>
                    <a:cubicBezTo>
                      <a:pt x="21" y="37"/>
                      <a:pt x="17" y="52"/>
                      <a:pt x="21" y="58"/>
                    </a:cubicBezTo>
                    <a:cubicBezTo>
                      <a:pt x="25" y="65"/>
                      <a:pt x="25" y="73"/>
                      <a:pt x="11" y="78"/>
                    </a:cubicBezTo>
                    <a:cubicBezTo>
                      <a:pt x="11" y="79"/>
                      <a:pt x="10" y="79"/>
                      <a:pt x="9" y="80"/>
                    </a:cubicBezTo>
                    <a:cubicBezTo>
                      <a:pt x="9" y="80"/>
                      <a:pt x="9" y="80"/>
                      <a:pt x="8" y="80"/>
                    </a:cubicBezTo>
                    <a:cubicBezTo>
                      <a:pt x="8" y="80"/>
                      <a:pt x="8" y="81"/>
                      <a:pt x="7" y="81"/>
                    </a:cubicBezTo>
                    <a:cubicBezTo>
                      <a:pt x="7" y="81"/>
                      <a:pt x="7" y="82"/>
                      <a:pt x="6" y="82"/>
                    </a:cubicBezTo>
                    <a:cubicBezTo>
                      <a:pt x="6" y="82"/>
                      <a:pt x="6" y="82"/>
                      <a:pt x="5" y="83"/>
                    </a:cubicBezTo>
                    <a:cubicBezTo>
                      <a:pt x="5" y="83"/>
                      <a:pt x="5" y="83"/>
                      <a:pt x="5" y="84"/>
                    </a:cubicBezTo>
                    <a:cubicBezTo>
                      <a:pt x="4" y="84"/>
                      <a:pt x="4" y="84"/>
                      <a:pt x="4" y="85"/>
                    </a:cubicBezTo>
                    <a:cubicBezTo>
                      <a:pt x="4" y="85"/>
                      <a:pt x="3" y="85"/>
                      <a:pt x="3" y="86"/>
                    </a:cubicBezTo>
                    <a:cubicBezTo>
                      <a:pt x="3" y="86"/>
                      <a:pt x="3" y="87"/>
                      <a:pt x="3" y="87"/>
                    </a:cubicBezTo>
                    <a:cubicBezTo>
                      <a:pt x="2" y="87"/>
                      <a:pt x="2" y="88"/>
                      <a:pt x="2" y="88"/>
                    </a:cubicBezTo>
                    <a:cubicBezTo>
                      <a:pt x="2" y="88"/>
                      <a:pt x="2" y="89"/>
                      <a:pt x="2" y="89"/>
                    </a:cubicBezTo>
                    <a:cubicBezTo>
                      <a:pt x="1" y="90"/>
                      <a:pt x="1" y="90"/>
                      <a:pt x="1" y="90"/>
                    </a:cubicBezTo>
                    <a:cubicBezTo>
                      <a:pt x="1" y="91"/>
                      <a:pt x="1" y="91"/>
                      <a:pt x="1" y="92"/>
                    </a:cubicBezTo>
                    <a:cubicBezTo>
                      <a:pt x="1" y="92"/>
                      <a:pt x="1" y="92"/>
                      <a:pt x="0" y="93"/>
                    </a:cubicBezTo>
                    <a:cubicBezTo>
                      <a:pt x="0" y="93"/>
                      <a:pt x="0" y="94"/>
                      <a:pt x="0" y="94"/>
                    </a:cubicBezTo>
                    <a:cubicBezTo>
                      <a:pt x="0" y="94"/>
                      <a:pt x="0" y="95"/>
                      <a:pt x="0" y="95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97"/>
                      <a:pt x="0" y="97"/>
                      <a:pt x="0" y="98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99"/>
                      <a:pt x="0" y="99"/>
                      <a:pt x="0" y="100"/>
                    </a:cubicBezTo>
                    <a:cubicBezTo>
                      <a:pt x="0" y="100"/>
                      <a:pt x="0" y="100"/>
                      <a:pt x="0" y="101"/>
                    </a:cubicBezTo>
                    <a:cubicBezTo>
                      <a:pt x="0" y="101"/>
                      <a:pt x="0" y="102"/>
                      <a:pt x="0" y="102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1" y="105"/>
                      <a:pt x="2" y="107"/>
                      <a:pt x="3" y="108"/>
                    </a:cubicBezTo>
                    <a:cubicBezTo>
                      <a:pt x="5" y="105"/>
                      <a:pt x="8" y="102"/>
                      <a:pt x="14" y="102"/>
                    </a:cubicBezTo>
                    <a:cubicBezTo>
                      <a:pt x="26" y="102"/>
                      <a:pt x="31" y="102"/>
                      <a:pt x="32" y="107"/>
                    </a:cubicBezTo>
                    <a:cubicBezTo>
                      <a:pt x="33" y="112"/>
                      <a:pt x="39" y="113"/>
                      <a:pt x="49" y="113"/>
                    </a:cubicBezTo>
                    <a:cubicBezTo>
                      <a:pt x="59" y="113"/>
                      <a:pt x="63" y="112"/>
                      <a:pt x="65" y="102"/>
                    </a:cubicBezTo>
                    <a:cubicBezTo>
                      <a:pt x="67" y="92"/>
                      <a:pt x="74" y="86"/>
                      <a:pt x="82" y="86"/>
                    </a:cubicBezTo>
                    <a:cubicBezTo>
                      <a:pt x="90" y="86"/>
                      <a:pt x="94" y="76"/>
                      <a:pt x="101" y="82"/>
                    </a:cubicBezTo>
                    <a:cubicBezTo>
                      <a:pt x="104" y="85"/>
                      <a:pt x="109" y="89"/>
                      <a:pt x="113" y="93"/>
                    </a:cubicBezTo>
                    <a:cubicBezTo>
                      <a:pt x="113" y="93"/>
                      <a:pt x="113" y="93"/>
                      <a:pt x="113" y="93"/>
                    </a:cubicBezTo>
                    <a:cubicBezTo>
                      <a:pt x="113" y="93"/>
                      <a:pt x="113" y="93"/>
                      <a:pt x="114" y="93"/>
                    </a:cubicBezTo>
                    <a:cubicBezTo>
                      <a:pt x="114" y="93"/>
                      <a:pt x="115" y="93"/>
                      <a:pt x="116" y="93"/>
                    </a:cubicBezTo>
                    <a:cubicBezTo>
                      <a:pt x="124" y="94"/>
                      <a:pt x="125" y="89"/>
                      <a:pt x="125" y="86"/>
                    </a:cubicBezTo>
                    <a:cubicBezTo>
                      <a:pt x="125" y="82"/>
                      <a:pt x="125" y="76"/>
                      <a:pt x="130" y="74"/>
                    </a:cubicBezTo>
                    <a:cubicBezTo>
                      <a:pt x="135" y="71"/>
                      <a:pt x="130" y="64"/>
                      <a:pt x="125" y="61"/>
                    </a:cubicBezTo>
                    <a:cubicBezTo>
                      <a:pt x="121" y="58"/>
                      <a:pt x="123" y="48"/>
                      <a:pt x="125" y="42"/>
                    </a:cubicBezTo>
                    <a:cubicBezTo>
                      <a:pt x="126" y="36"/>
                      <a:pt x="123" y="29"/>
                      <a:pt x="115" y="27"/>
                    </a:cubicBezTo>
                    <a:cubicBezTo>
                      <a:pt x="108" y="25"/>
                      <a:pt x="114" y="14"/>
                      <a:pt x="115" y="8"/>
                    </a:cubicBezTo>
                    <a:cubicBezTo>
                      <a:pt x="115" y="5"/>
                      <a:pt x="112" y="2"/>
                      <a:pt x="109" y="0"/>
                    </a:cubicBezTo>
                    <a:cubicBezTo>
                      <a:pt x="108" y="0"/>
                      <a:pt x="108" y="1"/>
                      <a:pt x="107" y="1"/>
                    </a:cubicBezTo>
                    <a:cubicBezTo>
                      <a:pt x="107" y="1"/>
                      <a:pt x="107" y="1"/>
                      <a:pt x="107" y="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5" name="Freeform 389">
                <a:extLst>
                  <a:ext uri="{FF2B5EF4-FFF2-40B4-BE49-F238E27FC236}">
                    <a16:creationId xmlns:a16="http://schemas.microsoft.com/office/drawing/2014/main" id="{032CC7E1-9937-3E48-8788-508D50D11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6" y="2493"/>
                <a:ext cx="308" cy="305"/>
              </a:xfrm>
              <a:custGeom>
                <a:avLst/>
                <a:gdLst>
                  <a:gd name="T0" fmla="*/ 321 w 1219"/>
                  <a:gd name="T1" fmla="*/ 839 h 1207"/>
                  <a:gd name="T2" fmla="*/ 453 w 1219"/>
                  <a:gd name="T3" fmla="*/ 848 h 1207"/>
                  <a:gd name="T4" fmla="*/ 541 w 1219"/>
                  <a:gd name="T5" fmla="*/ 812 h 1207"/>
                  <a:gd name="T6" fmla="*/ 614 w 1219"/>
                  <a:gd name="T7" fmla="*/ 885 h 1207"/>
                  <a:gd name="T8" fmla="*/ 637 w 1219"/>
                  <a:gd name="T9" fmla="*/ 1006 h 1207"/>
                  <a:gd name="T10" fmla="*/ 691 w 1219"/>
                  <a:gd name="T11" fmla="*/ 1056 h 1207"/>
                  <a:gd name="T12" fmla="*/ 736 w 1219"/>
                  <a:gd name="T13" fmla="*/ 1046 h 1207"/>
                  <a:gd name="T14" fmla="*/ 750 w 1219"/>
                  <a:gd name="T15" fmla="*/ 1047 h 1207"/>
                  <a:gd name="T16" fmla="*/ 757 w 1219"/>
                  <a:gd name="T17" fmla="*/ 1048 h 1207"/>
                  <a:gd name="T18" fmla="*/ 762 w 1219"/>
                  <a:gd name="T19" fmla="*/ 1050 h 1207"/>
                  <a:gd name="T20" fmla="*/ 765 w 1219"/>
                  <a:gd name="T21" fmla="*/ 1054 h 1207"/>
                  <a:gd name="T22" fmla="*/ 833 w 1219"/>
                  <a:gd name="T23" fmla="*/ 1077 h 1207"/>
                  <a:gd name="T24" fmla="*/ 919 w 1219"/>
                  <a:gd name="T25" fmla="*/ 1124 h 1207"/>
                  <a:gd name="T26" fmla="*/ 982 w 1219"/>
                  <a:gd name="T27" fmla="*/ 1131 h 1207"/>
                  <a:gd name="T28" fmla="*/ 1103 w 1219"/>
                  <a:gd name="T29" fmla="*/ 1198 h 1207"/>
                  <a:gd name="T30" fmla="*/ 1101 w 1219"/>
                  <a:gd name="T31" fmla="*/ 1130 h 1207"/>
                  <a:gd name="T32" fmla="*/ 1037 w 1219"/>
                  <a:gd name="T33" fmla="*/ 1049 h 1207"/>
                  <a:gd name="T34" fmla="*/ 1061 w 1219"/>
                  <a:gd name="T35" fmla="*/ 904 h 1207"/>
                  <a:gd name="T36" fmla="*/ 1158 w 1219"/>
                  <a:gd name="T37" fmla="*/ 876 h 1207"/>
                  <a:gd name="T38" fmla="*/ 1183 w 1219"/>
                  <a:gd name="T39" fmla="*/ 869 h 1207"/>
                  <a:gd name="T40" fmla="*/ 1111 w 1219"/>
                  <a:gd name="T41" fmla="*/ 778 h 1207"/>
                  <a:gd name="T42" fmla="*/ 1086 w 1219"/>
                  <a:gd name="T43" fmla="*/ 647 h 1207"/>
                  <a:gd name="T44" fmla="*/ 1063 w 1219"/>
                  <a:gd name="T45" fmla="*/ 523 h 1207"/>
                  <a:gd name="T46" fmla="*/ 1058 w 1219"/>
                  <a:gd name="T47" fmla="*/ 514 h 1207"/>
                  <a:gd name="T48" fmla="*/ 1058 w 1219"/>
                  <a:gd name="T49" fmla="*/ 509 h 1207"/>
                  <a:gd name="T50" fmla="*/ 1059 w 1219"/>
                  <a:gd name="T51" fmla="*/ 504 h 1207"/>
                  <a:gd name="T52" fmla="*/ 1061 w 1219"/>
                  <a:gd name="T53" fmla="*/ 500 h 1207"/>
                  <a:gd name="T54" fmla="*/ 1064 w 1219"/>
                  <a:gd name="T55" fmla="*/ 496 h 1207"/>
                  <a:gd name="T56" fmla="*/ 1069 w 1219"/>
                  <a:gd name="T57" fmla="*/ 492 h 1207"/>
                  <a:gd name="T58" fmla="*/ 1094 w 1219"/>
                  <a:gd name="T59" fmla="*/ 446 h 1207"/>
                  <a:gd name="T60" fmla="*/ 1099 w 1219"/>
                  <a:gd name="T61" fmla="*/ 439 h 1207"/>
                  <a:gd name="T62" fmla="*/ 1102 w 1219"/>
                  <a:gd name="T63" fmla="*/ 431 h 1207"/>
                  <a:gd name="T64" fmla="*/ 1107 w 1219"/>
                  <a:gd name="T65" fmla="*/ 370 h 1207"/>
                  <a:gd name="T66" fmla="*/ 1213 w 1219"/>
                  <a:gd name="T67" fmla="*/ 208 h 1207"/>
                  <a:gd name="T68" fmla="*/ 1191 w 1219"/>
                  <a:gd name="T69" fmla="*/ 140 h 1207"/>
                  <a:gd name="T70" fmla="*/ 1184 w 1219"/>
                  <a:gd name="T71" fmla="*/ 118 h 1207"/>
                  <a:gd name="T72" fmla="*/ 1181 w 1219"/>
                  <a:gd name="T73" fmla="*/ 119 h 1207"/>
                  <a:gd name="T74" fmla="*/ 1091 w 1219"/>
                  <a:gd name="T75" fmla="*/ 59 h 1207"/>
                  <a:gd name="T76" fmla="*/ 1000 w 1219"/>
                  <a:gd name="T77" fmla="*/ 59 h 1207"/>
                  <a:gd name="T78" fmla="*/ 965 w 1219"/>
                  <a:gd name="T79" fmla="*/ 15 h 1207"/>
                  <a:gd name="T80" fmla="*/ 960 w 1219"/>
                  <a:gd name="T81" fmla="*/ 10 h 1207"/>
                  <a:gd name="T82" fmla="*/ 953 w 1219"/>
                  <a:gd name="T83" fmla="*/ 9 h 1207"/>
                  <a:gd name="T84" fmla="*/ 949 w 1219"/>
                  <a:gd name="T85" fmla="*/ 10 h 1207"/>
                  <a:gd name="T86" fmla="*/ 946 w 1219"/>
                  <a:gd name="T87" fmla="*/ 12 h 1207"/>
                  <a:gd name="T88" fmla="*/ 941 w 1219"/>
                  <a:gd name="T89" fmla="*/ 16 h 1207"/>
                  <a:gd name="T90" fmla="*/ 837 w 1219"/>
                  <a:gd name="T91" fmla="*/ 12 h 1207"/>
                  <a:gd name="T92" fmla="*/ 753 w 1219"/>
                  <a:gd name="T93" fmla="*/ 30 h 1207"/>
                  <a:gd name="T94" fmla="*/ 623 w 1219"/>
                  <a:gd name="T95" fmla="*/ 79 h 1207"/>
                  <a:gd name="T96" fmla="*/ 495 w 1219"/>
                  <a:gd name="T97" fmla="*/ 22 h 1207"/>
                  <a:gd name="T98" fmla="*/ 410 w 1219"/>
                  <a:gd name="T99" fmla="*/ 98 h 1207"/>
                  <a:gd name="T100" fmla="*/ 410 w 1219"/>
                  <a:gd name="T101" fmla="*/ 113 h 1207"/>
                  <a:gd name="T102" fmla="*/ 406 w 1219"/>
                  <a:gd name="T103" fmla="*/ 121 h 1207"/>
                  <a:gd name="T104" fmla="*/ 337 w 1219"/>
                  <a:gd name="T105" fmla="*/ 328 h 1207"/>
                  <a:gd name="T106" fmla="*/ 245 w 1219"/>
                  <a:gd name="T107" fmla="*/ 580 h 1207"/>
                  <a:gd name="T108" fmla="*/ 180 w 1219"/>
                  <a:gd name="T109" fmla="*/ 636 h 1207"/>
                  <a:gd name="T110" fmla="*/ 88 w 1219"/>
                  <a:gd name="T111" fmla="*/ 646 h 1207"/>
                  <a:gd name="T112" fmla="*/ 55 w 1219"/>
                  <a:gd name="T113" fmla="*/ 648 h 1207"/>
                  <a:gd name="T114" fmla="*/ 52 w 1219"/>
                  <a:gd name="T115" fmla="*/ 647 h 1207"/>
                  <a:gd name="T116" fmla="*/ 48 w 1219"/>
                  <a:gd name="T117" fmla="*/ 637 h 1207"/>
                  <a:gd name="T118" fmla="*/ 17 w 1219"/>
                  <a:gd name="T119" fmla="*/ 709 h 1207"/>
                  <a:gd name="T120" fmla="*/ 156 w 1219"/>
                  <a:gd name="T121" fmla="*/ 721 h 1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19" h="1207">
                    <a:moveTo>
                      <a:pt x="156" y="721"/>
                    </a:moveTo>
                    <a:cubicBezTo>
                      <a:pt x="181" y="723"/>
                      <a:pt x="269" y="708"/>
                      <a:pt x="277" y="730"/>
                    </a:cubicBezTo>
                    <a:cubicBezTo>
                      <a:pt x="285" y="752"/>
                      <a:pt x="284" y="770"/>
                      <a:pt x="293" y="782"/>
                    </a:cubicBezTo>
                    <a:cubicBezTo>
                      <a:pt x="303" y="793"/>
                      <a:pt x="311" y="828"/>
                      <a:pt x="321" y="839"/>
                    </a:cubicBezTo>
                    <a:cubicBezTo>
                      <a:pt x="332" y="850"/>
                      <a:pt x="344" y="862"/>
                      <a:pt x="359" y="862"/>
                    </a:cubicBezTo>
                    <a:cubicBezTo>
                      <a:pt x="375" y="862"/>
                      <a:pt x="381" y="864"/>
                      <a:pt x="389" y="858"/>
                    </a:cubicBezTo>
                    <a:cubicBezTo>
                      <a:pt x="397" y="852"/>
                      <a:pt x="406" y="852"/>
                      <a:pt x="418" y="857"/>
                    </a:cubicBezTo>
                    <a:cubicBezTo>
                      <a:pt x="430" y="862"/>
                      <a:pt x="451" y="863"/>
                      <a:pt x="453" y="848"/>
                    </a:cubicBezTo>
                    <a:cubicBezTo>
                      <a:pt x="454" y="832"/>
                      <a:pt x="453" y="830"/>
                      <a:pt x="459" y="824"/>
                    </a:cubicBezTo>
                    <a:cubicBezTo>
                      <a:pt x="466" y="818"/>
                      <a:pt x="457" y="792"/>
                      <a:pt x="471" y="790"/>
                    </a:cubicBezTo>
                    <a:cubicBezTo>
                      <a:pt x="485" y="788"/>
                      <a:pt x="510" y="790"/>
                      <a:pt x="521" y="789"/>
                    </a:cubicBezTo>
                    <a:cubicBezTo>
                      <a:pt x="531" y="788"/>
                      <a:pt x="523" y="812"/>
                      <a:pt x="541" y="812"/>
                    </a:cubicBezTo>
                    <a:cubicBezTo>
                      <a:pt x="559" y="813"/>
                      <a:pt x="610" y="808"/>
                      <a:pt x="611" y="818"/>
                    </a:cubicBezTo>
                    <a:cubicBezTo>
                      <a:pt x="611" y="828"/>
                      <a:pt x="618" y="835"/>
                      <a:pt x="609" y="838"/>
                    </a:cubicBezTo>
                    <a:cubicBezTo>
                      <a:pt x="601" y="842"/>
                      <a:pt x="601" y="852"/>
                      <a:pt x="606" y="857"/>
                    </a:cubicBezTo>
                    <a:cubicBezTo>
                      <a:pt x="611" y="862"/>
                      <a:pt x="614" y="874"/>
                      <a:pt x="614" y="885"/>
                    </a:cubicBezTo>
                    <a:cubicBezTo>
                      <a:pt x="614" y="896"/>
                      <a:pt x="615" y="909"/>
                      <a:pt x="613" y="917"/>
                    </a:cubicBezTo>
                    <a:cubicBezTo>
                      <a:pt x="611" y="925"/>
                      <a:pt x="607" y="934"/>
                      <a:pt x="609" y="944"/>
                    </a:cubicBezTo>
                    <a:cubicBezTo>
                      <a:pt x="611" y="955"/>
                      <a:pt x="613" y="969"/>
                      <a:pt x="623" y="976"/>
                    </a:cubicBezTo>
                    <a:cubicBezTo>
                      <a:pt x="634" y="984"/>
                      <a:pt x="636" y="996"/>
                      <a:pt x="637" y="1006"/>
                    </a:cubicBezTo>
                    <a:cubicBezTo>
                      <a:pt x="639" y="1016"/>
                      <a:pt x="643" y="1031"/>
                      <a:pt x="635" y="1036"/>
                    </a:cubicBezTo>
                    <a:cubicBezTo>
                      <a:pt x="626" y="1042"/>
                      <a:pt x="625" y="1047"/>
                      <a:pt x="629" y="1054"/>
                    </a:cubicBezTo>
                    <a:cubicBezTo>
                      <a:pt x="634" y="1062"/>
                      <a:pt x="647" y="1066"/>
                      <a:pt x="651" y="1058"/>
                    </a:cubicBezTo>
                    <a:cubicBezTo>
                      <a:pt x="655" y="1050"/>
                      <a:pt x="679" y="1056"/>
                      <a:pt x="691" y="1056"/>
                    </a:cubicBezTo>
                    <a:cubicBezTo>
                      <a:pt x="703" y="1056"/>
                      <a:pt x="712" y="1046"/>
                      <a:pt x="726" y="1046"/>
                    </a:cubicBezTo>
                    <a:cubicBezTo>
                      <a:pt x="728" y="1046"/>
                      <a:pt x="729" y="1046"/>
                      <a:pt x="731" y="1046"/>
                    </a:cubicBezTo>
                    <a:cubicBezTo>
                      <a:pt x="732" y="1046"/>
                      <a:pt x="734" y="1046"/>
                      <a:pt x="735" y="1046"/>
                    </a:cubicBezTo>
                    <a:cubicBezTo>
                      <a:pt x="736" y="1046"/>
                      <a:pt x="736" y="1046"/>
                      <a:pt x="736" y="1046"/>
                    </a:cubicBezTo>
                    <a:cubicBezTo>
                      <a:pt x="738" y="1046"/>
                      <a:pt x="739" y="1046"/>
                      <a:pt x="741" y="1046"/>
                    </a:cubicBezTo>
                    <a:cubicBezTo>
                      <a:pt x="741" y="1046"/>
                      <a:pt x="741" y="1046"/>
                      <a:pt x="742" y="1046"/>
                    </a:cubicBezTo>
                    <a:cubicBezTo>
                      <a:pt x="744" y="1046"/>
                      <a:pt x="747" y="1046"/>
                      <a:pt x="750" y="1047"/>
                    </a:cubicBezTo>
                    <a:cubicBezTo>
                      <a:pt x="750" y="1047"/>
                      <a:pt x="750" y="1047"/>
                      <a:pt x="750" y="1047"/>
                    </a:cubicBezTo>
                    <a:cubicBezTo>
                      <a:pt x="751" y="1047"/>
                      <a:pt x="752" y="1047"/>
                      <a:pt x="753" y="1047"/>
                    </a:cubicBezTo>
                    <a:cubicBezTo>
                      <a:pt x="753" y="1047"/>
                      <a:pt x="753" y="1047"/>
                      <a:pt x="754" y="1047"/>
                    </a:cubicBezTo>
                    <a:cubicBezTo>
                      <a:pt x="754" y="1047"/>
                      <a:pt x="755" y="1048"/>
                      <a:pt x="756" y="1048"/>
                    </a:cubicBezTo>
                    <a:cubicBezTo>
                      <a:pt x="756" y="1048"/>
                      <a:pt x="756" y="1048"/>
                      <a:pt x="757" y="1048"/>
                    </a:cubicBezTo>
                    <a:cubicBezTo>
                      <a:pt x="757" y="1048"/>
                      <a:pt x="758" y="1048"/>
                      <a:pt x="758" y="1049"/>
                    </a:cubicBezTo>
                    <a:cubicBezTo>
                      <a:pt x="759" y="1049"/>
                      <a:pt x="759" y="1049"/>
                      <a:pt x="759" y="1049"/>
                    </a:cubicBezTo>
                    <a:cubicBezTo>
                      <a:pt x="760" y="1049"/>
                      <a:pt x="760" y="1050"/>
                      <a:pt x="761" y="1050"/>
                    </a:cubicBezTo>
                    <a:cubicBezTo>
                      <a:pt x="761" y="1050"/>
                      <a:pt x="761" y="1050"/>
                      <a:pt x="762" y="1050"/>
                    </a:cubicBezTo>
                    <a:cubicBezTo>
                      <a:pt x="762" y="1051"/>
                      <a:pt x="763" y="1051"/>
                      <a:pt x="763" y="1051"/>
                    </a:cubicBezTo>
                    <a:cubicBezTo>
                      <a:pt x="763" y="1051"/>
                      <a:pt x="764" y="1052"/>
                      <a:pt x="764" y="1052"/>
                    </a:cubicBezTo>
                    <a:cubicBezTo>
                      <a:pt x="764" y="1052"/>
                      <a:pt x="765" y="1053"/>
                      <a:pt x="765" y="1053"/>
                    </a:cubicBezTo>
                    <a:cubicBezTo>
                      <a:pt x="765" y="1053"/>
                      <a:pt x="765" y="1053"/>
                      <a:pt x="765" y="1054"/>
                    </a:cubicBezTo>
                    <a:cubicBezTo>
                      <a:pt x="766" y="1054"/>
                      <a:pt x="766" y="1055"/>
                      <a:pt x="767" y="1056"/>
                    </a:cubicBezTo>
                    <a:cubicBezTo>
                      <a:pt x="772" y="1067"/>
                      <a:pt x="778" y="1082"/>
                      <a:pt x="789" y="1079"/>
                    </a:cubicBezTo>
                    <a:cubicBezTo>
                      <a:pt x="801" y="1076"/>
                      <a:pt x="791" y="1068"/>
                      <a:pt x="805" y="1068"/>
                    </a:cubicBezTo>
                    <a:cubicBezTo>
                      <a:pt x="820" y="1068"/>
                      <a:pt x="831" y="1068"/>
                      <a:pt x="833" y="1077"/>
                    </a:cubicBezTo>
                    <a:cubicBezTo>
                      <a:pt x="835" y="1086"/>
                      <a:pt x="835" y="1092"/>
                      <a:pt x="844" y="1096"/>
                    </a:cubicBezTo>
                    <a:cubicBezTo>
                      <a:pt x="853" y="1099"/>
                      <a:pt x="873" y="1098"/>
                      <a:pt x="875" y="1106"/>
                    </a:cubicBezTo>
                    <a:cubicBezTo>
                      <a:pt x="877" y="1114"/>
                      <a:pt x="886" y="1115"/>
                      <a:pt x="895" y="1115"/>
                    </a:cubicBezTo>
                    <a:cubicBezTo>
                      <a:pt x="905" y="1115"/>
                      <a:pt x="912" y="1124"/>
                      <a:pt x="919" y="1124"/>
                    </a:cubicBezTo>
                    <a:cubicBezTo>
                      <a:pt x="927" y="1124"/>
                      <a:pt x="930" y="1119"/>
                      <a:pt x="931" y="1108"/>
                    </a:cubicBezTo>
                    <a:cubicBezTo>
                      <a:pt x="933" y="1096"/>
                      <a:pt x="934" y="1092"/>
                      <a:pt x="944" y="1092"/>
                    </a:cubicBezTo>
                    <a:cubicBezTo>
                      <a:pt x="954" y="1091"/>
                      <a:pt x="959" y="1089"/>
                      <a:pt x="961" y="1101"/>
                    </a:cubicBezTo>
                    <a:cubicBezTo>
                      <a:pt x="963" y="1113"/>
                      <a:pt x="969" y="1126"/>
                      <a:pt x="982" y="1131"/>
                    </a:cubicBezTo>
                    <a:cubicBezTo>
                      <a:pt x="995" y="1136"/>
                      <a:pt x="1010" y="1140"/>
                      <a:pt x="1020" y="1146"/>
                    </a:cubicBezTo>
                    <a:cubicBezTo>
                      <a:pt x="1030" y="1151"/>
                      <a:pt x="1043" y="1162"/>
                      <a:pt x="1050" y="1178"/>
                    </a:cubicBezTo>
                    <a:cubicBezTo>
                      <a:pt x="1057" y="1194"/>
                      <a:pt x="1067" y="1207"/>
                      <a:pt x="1079" y="1206"/>
                    </a:cubicBezTo>
                    <a:cubicBezTo>
                      <a:pt x="1090" y="1206"/>
                      <a:pt x="1091" y="1197"/>
                      <a:pt x="1103" y="1198"/>
                    </a:cubicBezTo>
                    <a:cubicBezTo>
                      <a:pt x="1115" y="1198"/>
                      <a:pt x="1118" y="1195"/>
                      <a:pt x="1117" y="1182"/>
                    </a:cubicBezTo>
                    <a:cubicBezTo>
                      <a:pt x="1115" y="1170"/>
                      <a:pt x="1115" y="1167"/>
                      <a:pt x="1119" y="1156"/>
                    </a:cubicBezTo>
                    <a:cubicBezTo>
                      <a:pt x="1124" y="1146"/>
                      <a:pt x="1128" y="1137"/>
                      <a:pt x="1123" y="1130"/>
                    </a:cubicBezTo>
                    <a:cubicBezTo>
                      <a:pt x="1119" y="1122"/>
                      <a:pt x="1101" y="1122"/>
                      <a:pt x="1101" y="1130"/>
                    </a:cubicBezTo>
                    <a:cubicBezTo>
                      <a:pt x="1101" y="1139"/>
                      <a:pt x="1095" y="1148"/>
                      <a:pt x="1082" y="1144"/>
                    </a:cubicBezTo>
                    <a:cubicBezTo>
                      <a:pt x="1069" y="1141"/>
                      <a:pt x="1062" y="1128"/>
                      <a:pt x="1052" y="1118"/>
                    </a:cubicBezTo>
                    <a:cubicBezTo>
                      <a:pt x="1042" y="1108"/>
                      <a:pt x="1025" y="1097"/>
                      <a:pt x="1025" y="1085"/>
                    </a:cubicBezTo>
                    <a:cubicBezTo>
                      <a:pt x="1026" y="1073"/>
                      <a:pt x="1027" y="1058"/>
                      <a:pt x="1037" y="1049"/>
                    </a:cubicBezTo>
                    <a:cubicBezTo>
                      <a:pt x="1047" y="1040"/>
                      <a:pt x="1041" y="1020"/>
                      <a:pt x="1041" y="1010"/>
                    </a:cubicBezTo>
                    <a:cubicBezTo>
                      <a:pt x="1041" y="1000"/>
                      <a:pt x="1047" y="974"/>
                      <a:pt x="1042" y="961"/>
                    </a:cubicBezTo>
                    <a:cubicBezTo>
                      <a:pt x="1037" y="948"/>
                      <a:pt x="1029" y="941"/>
                      <a:pt x="1038" y="933"/>
                    </a:cubicBezTo>
                    <a:cubicBezTo>
                      <a:pt x="1047" y="925"/>
                      <a:pt x="1057" y="920"/>
                      <a:pt x="1061" y="904"/>
                    </a:cubicBezTo>
                    <a:cubicBezTo>
                      <a:pt x="1066" y="887"/>
                      <a:pt x="1067" y="881"/>
                      <a:pt x="1085" y="880"/>
                    </a:cubicBezTo>
                    <a:cubicBezTo>
                      <a:pt x="1103" y="880"/>
                      <a:pt x="1143" y="884"/>
                      <a:pt x="1155" y="878"/>
                    </a:cubicBezTo>
                    <a:cubicBezTo>
                      <a:pt x="1156" y="877"/>
                      <a:pt x="1157" y="877"/>
                      <a:pt x="1158" y="876"/>
                    </a:cubicBezTo>
                    <a:cubicBezTo>
                      <a:pt x="1158" y="876"/>
                      <a:pt x="1158" y="876"/>
                      <a:pt x="1158" y="876"/>
                    </a:cubicBezTo>
                    <a:cubicBezTo>
                      <a:pt x="1161" y="875"/>
                      <a:pt x="1163" y="874"/>
                      <a:pt x="1166" y="873"/>
                    </a:cubicBezTo>
                    <a:cubicBezTo>
                      <a:pt x="1166" y="873"/>
                      <a:pt x="1166" y="873"/>
                      <a:pt x="1166" y="873"/>
                    </a:cubicBezTo>
                    <a:cubicBezTo>
                      <a:pt x="1172" y="870"/>
                      <a:pt x="1179" y="868"/>
                      <a:pt x="1183" y="869"/>
                    </a:cubicBezTo>
                    <a:cubicBezTo>
                      <a:pt x="1183" y="869"/>
                      <a:pt x="1183" y="869"/>
                      <a:pt x="1183" y="869"/>
                    </a:cubicBezTo>
                    <a:cubicBezTo>
                      <a:pt x="1177" y="866"/>
                      <a:pt x="1167" y="866"/>
                      <a:pt x="1161" y="862"/>
                    </a:cubicBezTo>
                    <a:cubicBezTo>
                      <a:pt x="1152" y="858"/>
                      <a:pt x="1149" y="836"/>
                      <a:pt x="1146" y="824"/>
                    </a:cubicBezTo>
                    <a:cubicBezTo>
                      <a:pt x="1142" y="813"/>
                      <a:pt x="1132" y="801"/>
                      <a:pt x="1127" y="798"/>
                    </a:cubicBezTo>
                    <a:cubicBezTo>
                      <a:pt x="1121" y="796"/>
                      <a:pt x="1113" y="788"/>
                      <a:pt x="1111" y="778"/>
                    </a:cubicBezTo>
                    <a:cubicBezTo>
                      <a:pt x="1109" y="769"/>
                      <a:pt x="1093" y="754"/>
                      <a:pt x="1085" y="740"/>
                    </a:cubicBezTo>
                    <a:cubicBezTo>
                      <a:pt x="1078" y="726"/>
                      <a:pt x="1086" y="715"/>
                      <a:pt x="1093" y="709"/>
                    </a:cubicBezTo>
                    <a:cubicBezTo>
                      <a:pt x="1100" y="703"/>
                      <a:pt x="1094" y="692"/>
                      <a:pt x="1087" y="683"/>
                    </a:cubicBezTo>
                    <a:cubicBezTo>
                      <a:pt x="1080" y="675"/>
                      <a:pt x="1086" y="654"/>
                      <a:pt x="1086" y="647"/>
                    </a:cubicBezTo>
                    <a:cubicBezTo>
                      <a:pt x="1086" y="642"/>
                      <a:pt x="1087" y="622"/>
                      <a:pt x="1087" y="609"/>
                    </a:cubicBezTo>
                    <a:cubicBezTo>
                      <a:pt x="1086" y="608"/>
                      <a:pt x="1085" y="606"/>
                      <a:pt x="1084" y="604"/>
                    </a:cubicBezTo>
                    <a:cubicBezTo>
                      <a:pt x="1076" y="592"/>
                      <a:pt x="1077" y="559"/>
                      <a:pt x="1077" y="546"/>
                    </a:cubicBezTo>
                    <a:cubicBezTo>
                      <a:pt x="1077" y="532"/>
                      <a:pt x="1071" y="526"/>
                      <a:pt x="1063" y="523"/>
                    </a:cubicBezTo>
                    <a:cubicBezTo>
                      <a:pt x="1060" y="522"/>
                      <a:pt x="1059" y="520"/>
                      <a:pt x="1058" y="516"/>
                    </a:cubicBezTo>
                    <a:cubicBezTo>
                      <a:pt x="1058" y="516"/>
                      <a:pt x="1058" y="516"/>
                      <a:pt x="1058" y="516"/>
                    </a:cubicBezTo>
                    <a:cubicBezTo>
                      <a:pt x="1058" y="516"/>
                      <a:pt x="1058" y="515"/>
                      <a:pt x="1058" y="515"/>
                    </a:cubicBezTo>
                    <a:cubicBezTo>
                      <a:pt x="1058" y="514"/>
                      <a:pt x="1058" y="514"/>
                      <a:pt x="1058" y="514"/>
                    </a:cubicBezTo>
                    <a:cubicBezTo>
                      <a:pt x="1058" y="513"/>
                      <a:pt x="1058" y="513"/>
                      <a:pt x="1058" y="512"/>
                    </a:cubicBezTo>
                    <a:cubicBezTo>
                      <a:pt x="1058" y="512"/>
                      <a:pt x="1058" y="512"/>
                      <a:pt x="1058" y="512"/>
                    </a:cubicBezTo>
                    <a:cubicBezTo>
                      <a:pt x="1058" y="511"/>
                      <a:pt x="1058" y="511"/>
                      <a:pt x="1058" y="510"/>
                    </a:cubicBezTo>
                    <a:cubicBezTo>
                      <a:pt x="1058" y="510"/>
                      <a:pt x="1058" y="510"/>
                      <a:pt x="1058" y="509"/>
                    </a:cubicBezTo>
                    <a:cubicBezTo>
                      <a:pt x="1058" y="509"/>
                      <a:pt x="1058" y="508"/>
                      <a:pt x="1058" y="508"/>
                    </a:cubicBezTo>
                    <a:cubicBezTo>
                      <a:pt x="1058" y="508"/>
                      <a:pt x="1058" y="507"/>
                      <a:pt x="1058" y="507"/>
                    </a:cubicBezTo>
                    <a:cubicBezTo>
                      <a:pt x="1059" y="506"/>
                      <a:pt x="1059" y="506"/>
                      <a:pt x="1059" y="506"/>
                    </a:cubicBezTo>
                    <a:cubicBezTo>
                      <a:pt x="1059" y="505"/>
                      <a:pt x="1059" y="505"/>
                      <a:pt x="1059" y="504"/>
                    </a:cubicBezTo>
                    <a:cubicBezTo>
                      <a:pt x="1059" y="504"/>
                      <a:pt x="1059" y="504"/>
                      <a:pt x="1060" y="503"/>
                    </a:cubicBezTo>
                    <a:cubicBezTo>
                      <a:pt x="1060" y="503"/>
                      <a:pt x="1060" y="502"/>
                      <a:pt x="1060" y="502"/>
                    </a:cubicBezTo>
                    <a:cubicBezTo>
                      <a:pt x="1060" y="502"/>
                      <a:pt x="1060" y="501"/>
                      <a:pt x="1061" y="501"/>
                    </a:cubicBezTo>
                    <a:cubicBezTo>
                      <a:pt x="1061" y="501"/>
                      <a:pt x="1061" y="500"/>
                      <a:pt x="1061" y="500"/>
                    </a:cubicBezTo>
                    <a:cubicBezTo>
                      <a:pt x="1061" y="499"/>
                      <a:pt x="1062" y="499"/>
                      <a:pt x="1062" y="499"/>
                    </a:cubicBezTo>
                    <a:cubicBezTo>
                      <a:pt x="1062" y="498"/>
                      <a:pt x="1062" y="498"/>
                      <a:pt x="1063" y="498"/>
                    </a:cubicBezTo>
                    <a:cubicBezTo>
                      <a:pt x="1063" y="497"/>
                      <a:pt x="1063" y="497"/>
                      <a:pt x="1063" y="497"/>
                    </a:cubicBezTo>
                    <a:cubicBezTo>
                      <a:pt x="1064" y="496"/>
                      <a:pt x="1064" y="496"/>
                      <a:pt x="1064" y="496"/>
                    </a:cubicBezTo>
                    <a:cubicBezTo>
                      <a:pt x="1065" y="496"/>
                      <a:pt x="1065" y="495"/>
                      <a:pt x="1065" y="495"/>
                    </a:cubicBezTo>
                    <a:cubicBezTo>
                      <a:pt x="1066" y="495"/>
                      <a:pt x="1066" y="494"/>
                      <a:pt x="1066" y="494"/>
                    </a:cubicBezTo>
                    <a:cubicBezTo>
                      <a:pt x="1067" y="494"/>
                      <a:pt x="1067" y="494"/>
                      <a:pt x="1067" y="494"/>
                    </a:cubicBezTo>
                    <a:cubicBezTo>
                      <a:pt x="1068" y="493"/>
                      <a:pt x="1069" y="493"/>
                      <a:pt x="1069" y="492"/>
                    </a:cubicBezTo>
                    <a:cubicBezTo>
                      <a:pt x="1083" y="487"/>
                      <a:pt x="1083" y="479"/>
                      <a:pt x="1079" y="472"/>
                    </a:cubicBezTo>
                    <a:cubicBezTo>
                      <a:pt x="1075" y="466"/>
                      <a:pt x="1079" y="451"/>
                      <a:pt x="1091" y="447"/>
                    </a:cubicBezTo>
                    <a:cubicBezTo>
                      <a:pt x="1092" y="447"/>
                      <a:pt x="1092" y="446"/>
                      <a:pt x="1093" y="446"/>
                    </a:cubicBezTo>
                    <a:cubicBezTo>
                      <a:pt x="1093" y="446"/>
                      <a:pt x="1094" y="446"/>
                      <a:pt x="1094" y="446"/>
                    </a:cubicBezTo>
                    <a:cubicBezTo>
                      <a:pt x="1094" y="445"/>
                      <a:pt x="1095" y="445"/>
                      <a:pt x="1095" y="444"/>
                    </a:cubicBezTo>
                    <a:cubicBezTo>
                      <a:pt x="1096" y="444"/>
                      <a:pt x="1096" y="444"/>
                      <a:pt x="1096" y="444"/>
                    </a:cubicBezTo>
                    <a:cubicBezTo>
                      <a:pt x="1097" y="443"/>
                      <a:pt x="1098" y="441"/>
                      <a:pt x="1099" y="440"/>
                    </a:cubicBezTo>
                    <a:cubicBezTo>
                      <a:pt x="1099" y="440"/>
                      <a:pt x="1099" y="440"/>
                      <a:pt x="1099" y="439"/>
                    </a:cubicBezTo>
                    <a:cubicBezTo>
                      <a:pt x="1100" y="439"/>
                      <a:pt x="1100" y="438"/>
                      <a:pt x="1100" y="437"/>
                    </a:cubicBezTo>
                    <a:cubicBezTo>
                      <a:pt x="1100" y="437"/>
                      <a:pt x="1100" y="437"/>
                      <a:pt x="1100" y="437"/>
                    </a:cubicBezTo>
                    <a:cubicBezTo>
                      <a:pt x="1101" y="435"/>
                      <a:pt x="1101" y="433"/>
                      <a:pt x="1102" y="431"/>
                    </a:cubicBezTo>
                    <a:cubicBezTo>
                      <a:pt x="1102" y="431"/>
                      <a:pt x="1102" y="431"/>
                      <a:pt x="1102" y="431"/>
                    </a:cubicBezTo>
                    <a:cubicBezTo>
                      <a:pt x="1102" y="430"/>
                      <a:pt x="1102" y="429"/>
                      <a:pt x="1102" y="428"/>
                    </a:cubicBezTo>
                    <a:cubicBezTo>
                      <a:pt x="1102" y="428"/>
                      <a:pt x="1102" y="428"/>
                      <a:pt x="1102" y="428"/>
                    </a:cubicBezTo>
                    <a:cubicBezTo>
                      <a:pt x="1103" y="424"/>
                      <a:pt x="1103" y="419"/>
                      <a:pt x="1103" y="415"/>
                    </a:cubicBezTo>
                    <a:cubicBezTo>
                      <a:pt x="1103" y="403"/>
                      <a:pt x="1107" y="390"/>
                      <a:pt x="1107" y="370"/>
                    </a:cubicBezTo>
                    <a:cubicBezTo>
                      <a:pt x="1107" y="350"/>
                      <a:pt x="1120" y="320"/>
                      <a:pt x="1131" y="298"/>
                    </a:cubicBezTo>
                    <a:cubicBezTo>
                      <a:pt x="1141" y="275"/>
                      <a:pt x="1159" y="271"/>
                      <a:pt x="1165" y="260"/>
                    </a:cubicBezTo>
                    <a:cubicBezTo>
                      <a:pt x="1172" y="250"/>
                      <a:pt x="1187" y="247"/>
                      <a:pt x="1203" y="248"/>
                    </a:cubicBezTo>
                    <a:cubicBezTo>
                      <a:pt x="1219" y="250"/>
                      <a:pt x="1215" y="222"/>
                      <a:pt x="1213" y="208"/>
                    </a:cubicBezTo>
                    <a:cubicBezTo>
                      <a:pt x="1212" y="195"/>
                      <a:pt x="1203" y="204"/>
                      <a:pt x="1191" y="202"/>
                    </a:cubicBezTo>
                    <a:cubicBezTo>
                      <a:pt x="1179" y="199"/>
                      <a:pt x="1175" y="187"/>
                      <a:pt x="1181" y="180"/>
                    </a:cubicBezTo>
                    <a:cubicBezTo>
                      <a:pt x="1188" y="174"/>
                      <a:pt x="1183" y="170"/>
                      <a:pt x="1183" y="163"/>
                    </a:cubicBezTo>
                    <a:cubicBezTo>
                      <a:pt x="1183" y="156"/>
                      <a:pt x="1185" y="144"/>
                      <a:pt x="1191" y="140"/>
                    </a:cubicBezTo>
                    <a:cubicBezTo>
                      <a:pt x="1196" y="136"/>
                      <a:pt x="1196" y="132"/>
                      <a:pt x="1188" y="123"/>
                    </a:cubicBezTo>
                    <a:cubicBezTo>
                      <a:pt x="1187" y="122"/>
                      <a:pt x="1186" y="120"/>
                      <a:pt x="1185" y="117"/>
                    </a:cubicBezTo>
                    <a:cubicBezTo>
                      <a:pt x="1185" y="117"/>
                      <a:pt x="1185" y="117"/>
                      <a:pt x="1185" y="117"/>
                    </a:cubicBezTo>
                    <a:cubicBezTo>
                      <a:pt x="1185" y="118"/>
                      <a:pt x="1185" y="118"/>
                      <a:pt x="1184" y="118"/>
                    </a:cubicBezTo>
                    <a:cubicBezTo>
                      <a:pt x="1184" y="118"/>
                      <a:pt x="1184" y="118"/>
                      <a:pt x="1184" y="118"/>
                    </a:cubicBezTo>
                    <a:cubicBezTo>
                      <a:pt x="1183" y="118"/>
                      <a:pt x="1183" y="118"/>
                      <a:pt x="1183" y="119"/>
                    </a:cubicBezTo>
                    <a:cubicBezTo>
                      <a:pt x="1182" y="119"/>
                      <a:pt x="1182" y="119"/>
                      <a:pt x="1182" y="119"/>
                    </a:cubicBezTo>
                    <a:cubicBezTo>
                      <a:pt x="1181" y="119"/>
                      <a:pt x="1181" y="119"/>
                      <a:pt x="1181" y="119"/>
                    </a:cubicBezTo>
                    <a:cubicBezTo>
                      <a:pt x="1180" y="119"/>
                      <a:pt x="1179" y="119"/>
                      <a:pt x="1179" y="119"/>
                    </a:cubicBezTo>
                    <a:cubicBezTo>
                      <a:pt x="1165" y="119"/>
                      <a:pt x="1179" y="99"/>
                      <a:pt x="1156" y="96"/>
                    </a:cubicBezTo>
                    <a:cubicBezTo>
                      <a:pt x="1133" y="94"/>
                      <a:pt x="1132" y="80"/>
                      <a:pt x="1120" y="59"/>
                    </a:cubicBezTo>
                    <a:cubicBezTo>
                      <a:pt x="1108" y="38"/>
                      <a:pt x="1100" y="47"/>
                      <a:pt x="1091" y="59"/>
                    </a:cubicBezTo>
                    <a:cubicBezTo>
                      <a:pt x="1081" y="71"/>
                      <a:pt x="1075" y="66"/>
                      <a:pt x="1063" y="56"/>
                    </a:cubicBezTo>
                    <a:cubicBezTo>
                      <a:pt x="1051" y="47"/>
                      <a:pt x="1045" y="59"/>
                      <a:pt x="1043" y="68"/>
                    </a:cubicBezTo>
                    <a:cubicBezTo>
                      <a:pt x="1040" y="78"/>
                      <a:pt x="1028" y="72"/>
                      <a:pt x="1016" y="72"/>
                    </a:cubicBezTo>
                    <a:cubicBezTo>
                      <a:pt x="1004" y="72"/>
                      <a:pt x="1007" y="60"/>
                      <a:pt x="1000" y="59"/>
                    </a:cubicBezTo>
                    <a:cubicBezTo>
                      <a:pt x="993" y="58"/>
                      <a:pt x="985" y="50"/>
                      <a:pt x="985" y="38"/>
                    </a:cubicBezTo>
                    <a:cubicBezTo>
                      <a:pt x="985" y="26"/>
                      <a:pt x="971" y="31"/>
                      <a:pt x="967" y="19"/>
                    </a:cubicBezTo>
                    <a:cubicBezTo>
                      <a:pt x="966" y="18"/>
                      <a:pt x="966" y="17"/>
                      <a:pt x="965" y="16"/>
                    </a:cubicBezTo>
                    <a:cubicBezTo>
                      <a:pt x="965" y="16"/>
                      <a:pt x="965" y="15"/>
                      <a:pt x="965" y="15"/>
                    </a:cubicBezTo>
                    <a:cubicBezTo>
                      <a:pt x="964" y="14"/>
                      <a:pt x="964" y="14"/>
                      <a:pt x="963" y="13"/>
                    </a:cubicBezTo>
                    <a:cubicBezTo>
                      <a:pt x="963" y="13"/>
                      <a:pt x="963" y="13"/>
                      <a:pt x="963" y="12"/>
                    </a:cubicBezTo>
                    <a:cubicBezTo>
                      <a:pt x="962" y="12"/>
                      <a:pt x="961" y="11"/>
                      <a:pt x="960" y="11"/>
                    </a:cubicBezTo>
                    <a:cubicBezTo>
                      <a:pt x="960" y="10"/>
                      <a:pt x="960" y="10"/>
                      <a:pt x="960" y="10"/>
                    </a:cubicBezTo>
                    <a:cubicBezTo>
                      <a:pt x="959" y="10"/>
                      <a:pt x="958" y="9"/>
                      <a:pt x="957" y="9"/>
                    </a:cubicBezTo>
                    <a:cubicBezTo>
                      <a:pt x="957" y="9"/>
                      <a:pt x="956" y="9"/>
                      <a:pt x="955" y="9"/>
                    </a:cubicBezTo>
                    <a:cubicBezTo>
                      <a:pt x="955" y="9"/>
                      <a:pt x="955" y="9"/>
                      <a:pt x="955" y="9"/>
                    </a:cubicBezTo>
                    <a:cubicBezTo>
                      <a:pt x="954" y="9"/>
                      <a:pt x="954" y="9"/>
                      <a:pt x="953" y="9"/>
                    </a:cubicBezTo>
                    <a:cubicBezTo>
                      <a:pt x="953" y="9"/>
                      <a:pt x="953" y="9"/>
                      <a:pt x="953" y="9"/>
                    </a:cubicBezTo>
                    <a:cubicBezTo>
                      <a:pt x="952" y="9"/>
                      <a:pt x="952" y="9"/>
                      <a:pt x="951" y="9"/>
                    </a:cubicBezTo>
                    <a:cubicBezTo>
                      <a:pt x="951" y="9"/>
                      <a:pt x="951" y="9"/>
                      <a:pt x="951" y="9"/>
                    </a:cubicBezTo>
                    <a:cubicBezTo>
                      <a:pt x="950" y="9"/>
                      <a:pt x="950" y="9"/>
                      <a:pt x="949" y="10"/>
                    </a:cubicBezTo>
                    <a:cubicBezTo>
                      <a:pt x="949" y="10"/>
                      <a:pt x="949" y="10"/>
                      <a:pt x="949" y="10"/>
                    </a:cubicBezTo>
                    <a:cubicBezTo>
                      <a:pt x="948" y="10"/>
                      <a:pt x="948" y="10"/>
                      <a:pt x="947" y="11"/>
                    </a:cubicBezTo>
                    <a:cubicBezTo>
                      <a:pt x="947" y="11"/>
                      <a:pt x="947" y="11"/>
                      <a:pt x="947" y="11"/>
                    </a:cubicBezTo>
                    <a:cubicBezTo>
                      <a:pt x="946" y="11"/>
                      <a:pt x="946" y="12"/>
                      <a:pt x="946" y="12"/>
                    </a:cubicBezTo>
                    <a:cubicBezTo>
                      <a:pt x="945" y="12"/>
                      <a:pt x="945" y="12"/>
                      <a:pt x="945" y="12"/>
                    </a:cubicBezTo>
                    <a:cubicBezTo>
                      <a:pt x="944" y="13"/>
                      <a:pt x="944" y="13"/>
                      <a:pt x="944" y="14"/>
                    </a:cubicBezTo>
                    <a:cubicBezTo>
                      <a:pt x="943" y="14"/>
                      <a:pt x="943" y="14"/>
                      <a:pt x="943" y="14"/>
                    </a:cubicBezTo>
                    <a:cubicBezTo>
                      <a:pt x="942" y="15"/>
                      <a:pt x="942" y="16"/>
                      <a:pt x="941" y="16"/>
                    </a:cubicBezTo>
                    <a:cubicBezTo>
                      <a:pt x="933" y="28"/>
                      <a:pt x="923" y="23"/>
                      <a:pt x="907" y="24"/>
                    </a:cubicBezTo>
                    <a:cubicBezTo>
                      <a:pt x="891" y="26"/>
                      <a:pt x="895" y="16"/>
                      <a:pt x="876" y="12"/>
                    </a:cubicBezTo>
                    <a:cubicBezTo>
                      <a:pt x="857" y="8"/>
                      <a:pt x="863" y="8"/>
                      <a:pt x="859" y="4"/>
                    </a:cubicBezTo>
                    <a:cubicBezTo>
                      <a:pt x="855" y="0"/>
                      <a:pt x="837" y="2"/>
                      <a:pt x="837" y="12"/>
                    </a:cubicBezTo>
                    <a:cubicBezTo>
                      <a:pt x="837" y="23"/>
                      <a:pt x="828" y="19"/>
                      <a:pt x="821" y="27"/>
                    </a:cubicBezTo>
                    <a:cubicBezTo>
                      <a:pt x="815" y="35"/>
                      <a:pt x="801" y="38"/>
                      <a:pt x="797" y="32"/>
                    </a:cubicBezTo>
                    <a:cubicBezTo>
                      <a:pt x="793" y="27"/>
                      <a:pt x="788" y="19"/>
                      <a:pt x="776" y="18"/>
                    </a:cubicBezTo>
                    <a:cubicBezTo>
                      <a:pt x="764" y="16"/>
                      <a:pt x="769" y="28"/>
                      <a:pt x="753" y="30"/>
                    </a:cubicBezTo>
                    <a:cubicBezTo>
                      <a:pt x="737" y="31"/>
                      <a:pt x="743" y="35"/>
                      <a:pt x="727" y="46"/>
                    </a:cubicBezTo>
                    <a:cubicBezTo>
                      <a:pt x="711" y="56"/>
                      <a:pt x="708" y="48"/>
                      <a:pt x="693" y="40"/>
                    </a:cubicBezTo>
                    <a:cubicBezTo>
                      <a:pt x="679" y="32"/>
                      <a:pt x="663" y="51"/>
                      <a:pt x="661" y="68"/>
                    </a:cubicBezTo>
                    <a:cubicBezTo>
                      <a:pt x="660" y="86"/>
                      <a:pt x="643" y="88"/>
                      <a:pt x="623" y="79"/>
                    </a:cubicBezTo>
                    <a:cubicBezTo>
                      <a:pt x="603" y="70"/>
                      <a:pt x="604" y="78"/>
                      <a:pt x="583" y="75"/>
                    </a:cubicBezTo>
                    <a:cubicBezTo>
                      <a:pt x="561" y="72"/>
                      <a:pt x="561" y="67"/>
                      <a:pt x="547" y="67"/>
                    </a:cubicBezTo>
                    <a:cubicBezTo>
                      <a:pt x="532" y="67"/>
                      <a:pt x="525" y="64"/>
                      <a:pt x="521" y="52"/>
                    </a:cubicBezTo>
                    <a:cubicBezTo>
                      <a:pt x="517" y="40"/>
                      <a:pt x="509" y="35"/>
                      <a:pt x="495" y="22"/>
                    </a:cubicBezTo>
                    <a:cubicBezTo>
                      <a:pt x="480" y="8"/>
                      <a:pt x="452" y="15"/>
                      <a:pt x="443" y="30"/>
                    </a:cubicBezTo>
                    <a:cubicBezTo>
                      <a:pt x="433" y="44"/>
                      <a:pt x="443" y="43"/>
                      <a:pt x="416" y="56"/>
                    </a:cubicBezTo>
                    <a:cubicBezTo>
                      <a:pt x="389" y="70"/>
                      <a:pt x="407" y="78"/>
                      <a:pt x="409" y="94"/>
                    </a:cubicBezTo>
                    <a:cubicBezTo>
                      <a:pt x="410" y="95"/>
                      <a:pt x="410" y="96"/>
                      <a:pt x="410" y="98"/>
                    </a:cubicBezTo>
                    <a:cubicBezTo>
                      <a:pt x="410" y="98"/>
                      <a:pt x="410" y="98"/>
                      <a:pt x="410" y="99"/>
                    </a:cubicBezTo>
                    <a:cubicBezTo>
                      <a:pt x="410" y="101"/>
                      <a:pt x="410" y="104"/>
                      <a:pt x="410" y="106"/>
                    </a:cubicBezTo>
                    <a:cubicBezTo>
                      <a:pt x="410" y="106"/>
                      <a:pt x="410" y="107"/>
                      <a:pt x="410" y="107"/>
                    </a:cubicBezTo>
                    <a:cubicBezTo>
                      <a:pt x="410" y="109"/>
                      <a:pt x="410" y="111"/>
                      <a:pt x="410" y="113"/>
                    </a:cubicBezTo>
                    <a:cubicBezTo>
                      <a:pt x="409" y="113"/>
                      <a:pt x="409" y="114"/>
                      <a:pt x="409" y="114"/>
                    </a:cubicBezTo>
                    <a:cubicBezTo>
                      <a:pt x="409" y="116"/>
                      <a:pt x="408" y="117"/>
                      <a:pt x="407" y="119"/>
                    </a:cubicBezTo>
                    <a:cubicBezTo>
                      <a:pt x="407" y="119"/>
                      <a:pt x="407" y="119"/>
                      <a:pt x="407" y="119"/>
                    </a:cubicBezTo>
                    <a:cubicBezTo>
                      <a:pt x="407" y="120"/>
                      <a:pt x="406" y="120"/>
                      <a:pt x="406" y="121"/>
                    </a:cubicBezTo>
                    <a:cubicBezTo>
                      <a:pt x="407" y="129"/>
                      <a:pt x="408" y="137"/>
                      <a:pt x="408" y="143"/>
                    </a:cubicBezTo>
                    <a:cubicBezTo>
                      <a:pt x="408" y="155"/>
                      <a:pt x="405" y="166"/>
                      <a:pt x="384" y="184"/>
                    </a:cubicBezTo>
                    <a:cubicBezTo>
                      <a:pt x="363" y="203"/>
                      <a:pt x="369" y="218"/>
                      <a:pt x="368" y="247"/>
                    </a:cubicBezTo>
                    <a:cubicBezTo>
                      <a:pt x="367" y="276"/>
                      <a:pt x="351" y="304"/>
                      <a:pt x="337" y="328"/>
                    </a:cubicBezTo>
                    <a:cubicBezTo>
                      <a:pt x="324" y="352"/>
                      <a:pt x="316" y="364"/>
                      <a:pt x="311" y="388"/>
                    </a:cubicBezTo>
                    <a:cubicBezTo>
                      <a:pt x="305" y="412"/>
                      <a:pt x="285" y="436"/>
                      <a:pt x="265" y="454"/>
                    </a:cubicBezTo>
                    <a:cubicBezTo>
                      <a:pt x="245" y="471"/>
                      <a:pt x="255" y="510"/>
                      <a:pt x="255" y="530"/>
                    </a:cubicBezTo>
                    <a:cubicBezTo>
                      <a:pt x="255" y="550"/>
                      <a:pt x="256" y="563"/>
                      <a:pt x="245" y="580"/>
                    </a:cubicBezTo>
                    <a:cubicBezTo>
                      <a:pt x="235" y="598"/>
                      <a:pt x="228" y="594"/>
                      <a:pt x="209" y="596"/>
                    </a:cubicBezTo>
                    <a:cubicBezTo>
                      <a:pt x="191" y="599"/>
                      <a:pt x="204" y="614"/>
                      <a:pt x="211" y="620"/>
                    </a:cubicBezTo>
                    <a:cubicBezTo>
                      <a:pt x="217" y="627"/>
                      <a:pt x="217" y="632"/>
                      <a:pt x="216" y="642"/>
                    </a:cubicBezTo>
                    <a:cubicBezTo>
                      <a:pt x="215" y="651"/>
                      <a:pt x="200" y="640"/>
                      <a:pt x="180" y="636"/>
                    </a:cubicBezTo>
                    <a:cubicBezTo>
                      <a:pt x="160" y="632"/>
                      <a:pt x="172" y="643"/>
                      <a:pt x="160" y="656"/>
                    </a:cubicBezTo>
                    <a:cubicBezTo>
                      <a:pt x="148" y="670"/>
                      <a:pt x="143" y="656"/>
                      <a:pt x="143" y="644"/>
                    </a:cubicBezTo>
                    <a:cubicBezTo>
                      <a:pt x="143" y="632"/>
                      <a:pt x="143" y="628"/>
                      <a:pt x="121" y="624"/>
                    </a:cubicBezTo>
                    <a:cubicBezTo>
                      <a:pt x="100" y="620"/>
                      <a:pt x="108" y="628"/>
                      <a:pt x="88" y="646"/>
                    </a:cubicBezTo>
                    <a:cubicBezTo>
                      <a:pt x="68" y="663"/>
                      <a:pt x="77" y="655"/>
                      <a:pt x="60" y="650"/>
                    </a:cubicBezTo>
                    <a:cubicBezTo>
                      <a:pt x="59" y="649"/>
                      <a:pt x="58" y="649"/>
                      <a:pt x="57" y="649"/>
                    </a:cubicBezTo>
                    <a:cubicBezTo>
                      <a:pt x="57" y="649"/>
                      <a:pt x="57" y="649"/>
                      <a:pt x="57" y="649"/>
                    </a:cubicBezTo>
                    <a:cubicBezTo>
                      <a:pt x="56" y="648"/>
                      <a:pt x="56" y="648"/>
                      <a:pt x="55" y="648"/>
                    </a:cubicBezTo>
                    <a:cubicBezTo>
                      <a:pt x="55" y="648"/>
                      <a:pt x="55" y="648"/>
                      <a:pt x="54" y="648"/>
                    </a:cubicBezTo>
                    <a:cubicBezTo>
                      <a:pt x="54" y="648"/>
                      <a:pt x="54" y="648"/>
                      <a:pt x="53" y="647"/>
                    </a:cubicBezTo>
                    <a:cubicBezTo>
                      <a:pt x="53" y="647"/>
                      <a:pt x="53" y="647"/>
                      <a:pt x="53" y="647"/>
                    </a:cubicBezTo>
                    <a:cubicBezTo>
                      <a:pt x="53" y="647"/>
                      <a:pt x="52" y="647"/>
                      <a:pt x="52" y="647"/>
                    </a:cubicBezTo>
                    <a:cubicBezTo>
                      <a:pt x="52" y="647"/>
                      <a:pt x="52" y="646"/>
                      <a:pt x="52" y="646"/>
                    </a:cubicBezTo>
                    <a:cubicBezTo>
                      <a:pt x="51" y="646"/>
                      <a:pt x="51" y="646"/>
                      <a:pt x="50" y="645"/>
                    </a:cubicBezTo>
                    <a:cubicBezTo>
                      <a:pt x="50" y="645"/>
                      <a:pt x="50" y="645"/>
                      <a:pt x="50" y="645"/>
                    </a:cubicBezTo>
                    <a:cubicBezTo>
                      <a:pt x="49" y="643"/>
                      <a:pt x="50" y="641"/>
                      <a:pt x="48" y="637"/>
                    </a:cubicBezTo>
                    <a:cubicBezTo>
                      <a:pt x="48" y="637"/>
                      <a:pt x="48" y="637"/>
                      <a:pt x="48" y="637"/>
                    </a:cubicBezTo>
                    <a:cubicBezTo>
                      <a:pt x="44" y="644"/>
                      <a:pt x="42" y="652"/>
                      <a:pt x="39" y="656"/>
                    </a:cubicBezTo>
                    <a:cubicBezTo>
                      <a:pt x="35" y="662"/>
                      <a:pt x="25" y="666"/>
                      <a:pt x="21" y="670"/>
                    </a:cubicBezTo>
                    <a:cubicBezTo>
                      <a:pt x="17" y="675"/>
                      <a:pt x="19" y="694"/>
                      <a:pt x="17" y="709"/>
                    </a:cubicBezTo>
                    <a:cubicBezTo>
                      <a:pt x="17" y="718"/>
                      <a:pt x="7" y="720"/>
                      <a:pt x="0" y="720"/>
                    </a:cubicBezTo>
                    <a:cubicBezTo>
                      <a:pt x="0" y="723"/>
                      <a:pt x="0" y="727"/>
                      <a:pt x="0" y="730"/>
                    </a:cubicBezTo>
                    <a:cubicBezTo>
                      <a:pt x="13" y="727"/>
                      <a:pt x="44" y="720"/>
                      <a:pt x="61" y="720"/>
                    </a:cubicBezTo>
                    <a:cubicBezTo>
                      <a:pt x="83" y="720"/>
                      <a:pt x="131" y="719"/>
                      <a:pt x="156" y="72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6" name="Freeform 390">
                <a:extLst>
                  <a:ext uri="{FF2B5EF4-FFF2-40B4-BE49-F238E27FC236}">
                    <a16:creationId xmlns:a16="http://schemas.microsoft.com/office/drawing/2014/main" id="{1CE075F1-D58A-8B4B-9169-AEC486161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" y="2650"/>
                <a:ext cx="16" cy="25"/>
              </a:xfrm>
              <a:custGeom>
                <a:avLst/>
                <a:gdLst>
                  <a:gd name="T0" fmla="*/ 32 w 63"/>
                  <a:gd name="T1" fmla="*/ 89 h 100"/>
                  <a:gd name="T2" fmla="*/ 36 w 63"/>
                  <a:gd name="T3" fmla="*/ 50 h 100"/>
                  <a:gd name="T4" fmla="*/ 54 w 63"/>
                  <a:gd name="T5" fmla="*/ 36 h 100"/>
                  <a:gd name="T6" fmla="*/ 63 w 63"/>
                  <a:gd name="T7" fmla="*/ 17 h 100"/>
                  <a:gd name="T8" fmla="*/ 63 w 63"/>
                  <a:gd name="T9" fmla="*/ 17 h 100"/>
                  <a:gd name="T10" fmla="*/ 62 w 63"/>
                  <a:gd name="T11" fmla="*/ 16 h 100"/>
                  <a:gd name="T12" fmla="*/ 61 w 63"/>
                  <a:gd name="T13" fmla="*/ 15 h 100"/>
                  <a:gd name="T14" fmla="*/ 61 w 63"/>
                  <a:gd name="T15" fmla="*/ 14 h 100"/>
                  <a:gd name="T16" fmla="*/ 59 w 63"/>
                  <a:gd name="T17" fmla="*/ 12 h 100"/>
                  <a:gd name="T18" fmla="*/ 24 w 63"/>
                  <a:gd name="T19" fmla="*/ 27 h 100"/>
                  <a:gd name="T20" fmla="*/ 0 w 63"/>
                  <a:gd name="T21" fmla="*/ 44 h 100"/>
                  <a:gd name="T22" fmla="*/ 2 w 63"/>
                  <a:gd name="T23" fmla="*/ 47 h 100"/>
                  <a:gd name="T24" fmla="*/ 15 w 63"/>
                  <a:gd name="T25" fmla="*/ 88 h 100"/>
                  <a:gd name="T26" fmla="*/ 15 w 63"/>
                  <a:gd name="T27" fmla="*/ 100 h 100"/>
                  <a:gd name="T28" fmla="*/ 32 w 63"/>
                  <a:gd name="T29" fmla="*/ 89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100">
                    <a:moveTo>
                      <a:pt x="32" y="89"/>
                    </a:moveTo>
                    <a:cubicBezTo>
                      <a:pt x="34" y="74"/>
                      <a:pt x="32" y="55"/>
                      <a:pt x="36" y="50"/>
                    </a:cubicBezTo>
                    <a:cubicBezTo>
                      <a:pt x="40" y="46"/>
                      <a:pt x="50" y="42"/>
                      <a:pt x="54" y="36"/>
                    </a:cubicBezTo>
                    <a:cubicBezTo>
                      <a:pt x="57" y="32"/>
                      <a:pt x="59" y="24"/>
                      <a:pt x="63" y="17"/>
                    </a:cubicBezTo>
                    <a:cubicBezTo>
                      <a:pt x="63" y="17"/>
                      <a:pt x="63" y="17"/>
                      <a:pt x="63" y="17"/>
                    </a:cubicBezTo>
                    <a:cubicBezTo>
                      <a:pt x="62" y="17"/>
                      <a:pt x="62" y="16"/>
                      <a:pt x="62" y="16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61" y="15"/>
                      <a:pt x="61" y="14"/>
                      <a:pt x="61" y="14"/>
                    </a:cubicBezTo>
                    <a:cubicBezTo>
                      <a:pt x="60" y="14"/>
                      <a:pt x="60" y="13"/>
                      <a:pt x="59" y="12"/>
                    </a:cubicBezTo>
                    <a:cubicBezTo>
                      <a:pt x="48" y="0"/>
                      <a:pt x="39" y="16"/>
                      <a:pt x="24" y="27"/>
                    </a:cubicBezTo>
                    <a:cubicBezTo>
                      <a:pt x="18" y="32"/>
                      <a:pt x="8" y="39"/>
                      <a:pt x="0" y="44"/>
                    </a:cubicBezTo>
                    <a:cubicBezTo>
                      <a:pt x="0" y="45"/>
                      <a:pt x="1" y="46"/>
                      <a:pt x="2" y="47"/>
                    </a:cubicBezTo>
                    <a:cubicBezTo>
                      <a:pt x="10" y="60"/>
                      <a:pt x="15" y="68"/>
                      <a:pt x="15" y="88"/>
                    </a:cubicBezTo>
                    <a:cubicBezTo>
                      <a:pt x="15" y="92"/>
                      <a:pt x="15" y="96"/>
                      <a:pt x="15" y="100"/>
                    </a:cubicBezTo>
                    <a:cubicBezTo>
                      <a:pt x="22" y="100"/>
                      <a:pt x="32" y="98"/>
                      <a:pt x="32" y="89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7" name="Freeform 391">
                <a:extLst>
                  <a:ext uri="{FF2B5EF4-FFF2-40B4-BE49-F238E27FC236}">
                    <a16:creationId xmlns:a16="http://schemas.microsoft.com/office/drawing/2014/main" id="{46FA480F-9351-DC4B-B089-A8B6B07FA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9" y="2049"/>
                <a:ext cx="43" cy="72"/>
              </a:xfrm>
              <a:custGeom>
                <a:avLst/>
                <a:gdLst>
                  <a:gd name="T0" fmla="*/ 167 w 171"/>
                  <a:gd name="T1" fmla="*/ 178 h 283"/>
                  <a:gd name="T2" fmla="*/ 167 w 171"/>
                  <a:gd name="T3" fmla="*/ 176 h 283"/>
                  <a:gd name="T4" fmla="*/ 168 w 171"/>
                  <a:gd name="T5" fmla="*/ 173 h 283"/>
                  <a:gd name="T6" fmla="*/ 168 w 171"/>
                  <a:gd name="T7" fmla="*/ 173 h 283"/>
                  <a:gd name="T8" fmla="*/ 169 w 171"/>
                  <a:gd name="T9" fmla="*/ 170 h 283"/>
                  <a:gd name="T10" fmla="*/ 169 w 171"/>
                  <a:gd name="T11" fmla="*/ 170 h 283"/>
                  <a:gd name="T12" fmla="*/ 167 w 171"/>
                  <a:gd name="T13" fmla="*/ 155 h 283"/>
                  <a:gd name="T14" fmla="*/ 167 w 171"/>
                  <a:gd name="T15" fmla="*/ 154 h 283"/>
                  <a:gd name="T16" fmla="*/ 167 w 171"/>
                  <a:gd name="T17" fmla="*/ 153 h 283"/>
                  <a:gd name="T18" fmla="*/ 166 w 171"/>
                  <a:gd name="T19" fmla="*/ 153 h 283"/>
                  <a:gd name="T20" fmla="*/ 166 w 171"/>
                  <a:gd name="T21" fmla="*/ 152 h 283"/>
                  <a:gd name="T22" fmla="*/ 166 w 171"/>
                  <a:gd name="T23" fmla="*/ 151 h 283"/>
                  <a:gd name="T24" fmla="*/ 166 w 171"/>
                  <a:gd name="T25" fmla="*/ 149 h 283"/>
                  <a:gd name="T26" fmla="*/ 166 w 171"/>
                  <a:gd name="T27" fmla="*/ 149 h 283"/>
                  <a:gd name="T28" fmla="*/ 166 w 171"/>
                  <a:gd name="T29" fmla="*/ 147 h 283"/>
                  <a:gd name="T30" fmla="*/ 166 w 171"/>
                  <a:gd name="T31" fmla="*/ 146 h 283"/>
                  <a:gd name="T32" fmla="*/ 166 w 171"/>
                  <a:gd name="T33" fmla="*/ 144 h 283"/>
                  <a:gd name="T34" fmla="*/ 165 w 171"/>
                  <a:gd name="T35" fmla="*/ 144 h 283"/>
                  <a:gd name="T36" fmla="*/ 165 w 171"/>
                  <a:gd name="T37" fmla="*/ 141 h 283"/>
                  <a:gd name="T38" fmla="*/ 165 w 171"/>
                  <a:gd name="T39" fmla="*/ 141 h 283"/>
                  <a:gd name="T40" fmla="*/ 164 w 171"/>
                  <a:gd name="T41" fmla="*/ 138 h 283"/>
                  <a:gd name="T42" fmla="*/ 164 w 171"/>
                  <a:gd name="T43" fmla="*/ 138 h 283"/>
                  <a:gd name="T44" fmla="*/ 164 w 171"/>
                  <a:gd name="T45" fmla="*/ 135 h 283"/>
                  <a:gd name="T46" fmla="*/ 163 w 171"/>
                  <a:gd name="T47" fmla="*/ 134 h 283"/>
                  <a:gd name="T48" fmla="*/ 163 w 171"/>
                  <a:gd name="T49" fmla="*/ 132 h 283"/>
                  <a:gd name="T50" fmla="*/ 162 w 171"/>
                  <a:gd name="T51" fmla="*/ 131 h 283"/>
                  <a:gd name="T52" fmla="*/ 162 w 171"/>
                  <a:gd name="T53" fmla="*/ 129 h 283"/>
                  <a:gd name="T54" fmla="*/ 161 w 171"/>
                  <a:gd name="T55" fmla="*/ 128 h 283"/>
                  <a:gd name="T56" fmla="*/ 160 w 171"/>
                  <a:gd name="T57" fmla="*/ 126 h 283"/>
                  <a:gd name="T58" fmla="*/ 160 w 171"/>
                  <a:gd name="T59" fmla="*/ 124 h 283"/>
                  <a:gd name="T60" fmla="*/ 159 w 171"/>
                  <a:gd name="T61" fmla="*/ 123 h 283"/>
                  <a:gd name="T62" fmla="*/ 158 w 171"/>
                  <a:gd name="T63" fmla="*/ 121 h 283"/>
                  <a:gd name="T64" fmla="*/ 158 w 171"/>
                  <a:gd name="T65" fmla="*/ 120 h 283"/>
                  <a:gd name="T66" fmla="*/ 157 w 171"/>
                  <a:gd name="T67" fmla="*/ 118 h 283"/>
                  <a:gd name="T68" fmla="*/ 156 w 171"/>
                  <a:gd name="T69" fmla="*/ 117 h 283"/>
                  <a:gd name="T70" fmla="*/ 155 w 171"/>
                  <a:gd name="T71" fmla="*/ 115 h 283"/>
                  <a:gd name="T72" fmla="*/ 155 w 171"/>
                  <a:gd name="T73" fmla="*/ 114 h 283"/>
                  <a:gd name="T74" fmla="*/ 153 w 171"/>
                  <a:gd name="T75" fmla="*/ 112 h 283"/>
                  <a:gd name="T76" fmla="*/ 153 w 171"/>
                  <a:gd name="T77" fmla="*/ 111 h 283"/>
                  <a:gd name="T78" fmla="*/ 152 w 171"/>
                  <a:gd name="T79" fmla="*/ 109 h 283"/>
                  <a:gd name="T80" fmla="*/ 151 w 171"/>
                  <a:gd name="T81" fmla="*/ 109 h 283"/>
                  <a:gd name="T82" fmla="*/ 149 w 171"/>
                  <a:gd name="T83" fmla="*/ 106 h 283"/>
                  <a:gd name="T84" fmla="*/ 136 w 171"/>
                  <a:gd name="T85" fmla="*/ 62 h 283"/>
                  <a:gd name="T86" fmla="*/ 140 w 171"/>
                  <a:gd name="T87" fmla="*/ 24 h 283"/>
                  <a:gd name="T88" fmla="*/ 144 w 171"/>
                  <a:gd name="T89" fmla="*/ 0 h 283"/>
                  <a:gd name="T90" fmla="*/ 119 w 171"/>
                  <a:gd name="T91" fmla="*/ 30 h 283"/>
                  <a:gd name="T92" fmla="*/ 74 w 171"/>
                  <a:gd name="T93" fmla="*/ 38 h 283"/>
                  <a:gd name="T94" fmla="*/ 40 w 171"/>
                  <a:gd name="T95" fmla="*/ 40 h 283"/>
                  <a:gd name="T96" fmla="*/ 13 w 171"/>
                  <a:gd name="T97" fmla="*/ 38 h 283"/>
                  <a:gd name="T98" fmla="*/ 8 w 171"/>
                  <a:gd name="T99" fmla="*/ 63 h 283"/>
                  <a:gd name="T100" fmla="*/ 15 w 171"/>
                  <a:gd name="T101" fmla="*/ 106 h 283"/>
                  <a:gd name="T102" fmla="*/ 24 w 171"/>
                  <a:gd name="T103" fmla="*/ 136 h 283"/>
                  <a:gd name="T104" fmla="*/ 43 w 171"/>
                  <a:gd name="T105" fmla="*/ 175 h 283"/>
                  <a:gd name="T106" fmla="*/ 68 w 171"/>
                  <a:gd name="T107" fmla="*/ 225 h 283"/>
                  <a:gd name="T108" fmla="*/ 104 w 171"/>
                  <a:gd name="T109" fmla="*/ 264 h 283"/>
                  <a:gd name="T110" fmla="*/ 130 w 171"/>
                  <a:gd name="T111" fmla="*/ 274 h 283"/>
                  <a:gd name="T112" fmla="*/ 143 w 171"/>
                  <a:gd name="T113" fmla="*/ 247 h 283"/>
                  <a:gd name="T114" fmla="*/ 149 w 171"/>
                  <a:gd name="T115" fmla="*/ 217 h 283"/>
                  <a:gd name="T116" fmla="*/ 160 w 171"/>
                  <a:gd name="T117" fmla="*/ 185 h 283"/>
                  <a:gd name="T118" fmla="*/ 164 w 171"/>
                  <a:gd name="T119" fmla="*/ 185 h 283"/>
                  <a:gd name="T120" fmla="*/ 166 w 171"/>
                  <a:gd name="T121" fmla="*/ 180 h 283"/>
                  <a:gd name="T122" fmla="*/ 167 w 171"/>
                  <a:gd name="T123" fmla="*/ 17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1" h="283">
                    <a:moveTo>
                      <a:pt x="167" y="178"/>
                    </a:moveTo>
                    <a:cubicBezTo>
                      <a:pt x="167" y="177"/>
                      <a:pt x="167" y="177"/>
                      <a:pt x="167" y="176"/>
                    </a:cubicBezTo>
                    <a:cubicBezTo>
                      <a:pt x="168" y="175"/>
                      <a:pt x="168" y="174"/>
                      <a:pt x="168" y="173"/>
                    </a:cubicBezTo>
                    <a:cubicBezTo>
                      <a:pt x="168" y="173"/>
                      <a:pt x="168" y="173"/>
                      <a:pt x="168" y="173"/>
                    </a:cubicBezTo>
                    <a:cubicBezTo>
                      <a:pt x="169" y="172"/>
                      <a:pt x="169" y="171"/>
                      <a:pt x="169" y="170"/>
                    </a:cubicBezTo>
                    <a:cubicBezTo>
                      <a:pt x="169" y="170"/>
                      <a:pt x="169" y="170"/>
                      <a:pt x="169" y="170"/>
                    </a:cubicBezTo>
                    <a:cubicBezTo>
                      <a:pt x="171" y="160"/>
                      <a:pt x="168" y="159"/>
                      <a:pt x="167" y="155"/>
                    </a:cubicBezTo>
                    <a:cubicBezTo>
                      <a:pt x="167" y="155"/>
                      <a:pt x="167" y="154"/>
                      <a:pt x="167" y="154"/>
                    </a:cubicBezTo>
                    <a:cubicBezTo>
                      <a:pt x="167" y="154"/>
                      <a:pt x="167" y="154"/>
                      <a:pt x="167" y="153"/>
                    </a:cubicBezTo>
                    <a:cubicBezTo>
                      <a:pt x="167" y="153"/>
                      <a:pt x="167" y="153"/>
                      <a:pt x="166" y="153"/>
                    </a:cubicBezTo>
                    <a:cubicBezTo>
                      <a:pt x="166" y="153"/>
                      <a:pt x="166" y="152"/>
                      <a:pt x="166" y="152"/>
                    </a:cubicBezTo>
                    <a:cubicBezTo>
                      <a:pt x="166" y="151"/>
                      <a:pt x="166" y="151"/>
                      <a:pt x="166" y="151"/>
                    </a:cubicBezTo>
                    <a:cubicBezTo>
                      <a:pt x="166" y="150"/>
                      <a:pt x="166" y="150"/>
                      <a:pt x="166" y="149"/>
                    </a:cubicBezTo>
                    <a:cubicBezTo>
                      <a:pt x="166" y="149"/>
                      <a:pt x="166" y="149"/>
                      <a:pt x="166" y="149"/>
                    </a:cubicBezTo>
                    <a:cubicBezTo>
                      <a:pt x="166" y="148"/>
                      <a:pt x="166" y="147"/>
                      <a:pt x="166" y="147"/>
                    </a:cubicBezTo>
                    <a:cubicBezTo>
                      <a:pt x="166" y="146"/>
                      <a:pt x="166" y="146"/>
                      <a:pt x="166" y="146"/>
                    </a:cubicBezTo>
                    <a:cubicBezTo>
                      <a:pt x="166" y="146"/>
                      <a:pt x="166" y="145"/>
                      <a:pt x="166" y="144"/>
                    </a:cubicBezTo>
                    <a:cubicBezTo>
                      <a:pt x="166" y="144"/>
                      <a:pt x="165" y="144"/>
                      <a:pt x="165" y="144"/>
                    </a:cubicBezTo>
                    <a:cubicBezTo>
                      <a:pt x="165" y="143"/>
                      <a:pt x="165" y="142"/>
                      <a:pt x="165" y="141"/>
                    </a:cubicBezTo>
                    <a:cubicBezTo>
                      <a:pt x="165" y="141"/>
                      <a:pt x="165" y="141"/>
                      <a:pt x="165" y="141"/>
                    </a:cubicBezTo>
                    <a:cubicBezTo>
                      <a:pt x="165" y="140"/>
                      <a:pt x="165" y="139"/>
                      <a:pt x="164" y="138"/>
                    </a:cubicBezTo>
                    <a:cubicBezTo>
                      <a:pt x="164" y="138"/>
                      <a:pt x="164" y="138"/>
                      <a:pt x="164" y="138"/>
                    </a:cubicBezTo>
                    <a:cubicBezTo>
                      <a:pt x="164" y="137"/>
                      <a:pt x="164" y="136"/>
                      <a:pt x="164" y="135"/>
                    </a:cubicBezTo>
                    <a:cubicBezTo>
                      <a:pt x="163" y="135"/>
                      <a:pt x="163" y="135"/>
                      <a:pt x="163" y="134"/>
                    </a:cubicBezTo>
                    <a:cubicBezTo>
                      <a:pt x="163" y="134"/>
                      <a:pt x="163" y="133"/>
                      <a:pt x="163" y="132"/>
                    </a:cubicBezTo>
                    <a:cubicBezTo>
                      <a:pt x="162" y="132"/>
                      <a:pt x="162" y="131"/>
                      <a:pt x="162" y="131"/>
                    </a:cubicBezTo>
                    <a:cubicBezTo>
                      <a:pt x="162" y="130"/>
                      <a:pt x="162" y="130"/>
                      <a:pt x="162" y="129"/>
                    </a:cubicBezTo>
                    <a:cubicBezTo>
                      <a:pt x="161" y="129"/>
                      <a:pt x="161" y="128"/>
                      <a:pt x="161" y="128"/>
                    </a:cubicBezTo>
                    <a:cubicBezTo>
                      <a:pt x="161" y="127"/>
                      <a:pt x="161" y="126"/>
                      <a:pt x="160" y="126"/>
                    </a:cubicBezTo>
                    <a:cubicBezTo>
                      <a:pt x="160" y="125"/>
                      <a:pt x="160" y="125"/>
                      <a:pt x="160" y="124"/>
                    </a:cubicBezTo>
                    <a:cubicBezTo>
                      <a:pt x="160" y="124"/>
                      <a:pt x="159" y="123"/>
                      <a:pt x="159" y="123"/>
                    </a:cubicBezTo>
                    <a:cubicBezTo>
                      <a:pt x="159" y="122"/>
                      <a:pt x="159" y="122"/>
                      <a:pt x="158" y="121"/>
                    </a:cubicBezTo>
                    <a:cubicBezTo>
                      <a:pt x="158" y="120"/>
                      <a:pt x="158" y="120"/>
                      <a:pt x="158" y="120"/>
                    </a:cubicBezTo>
                    <a:cubicBezTo>
                      <a:pt x="157" y="119"/>
                      <a:pt x="157" y="118"/>
                      <a:pt x="157" y="118"/>
                    </a:cubicBezTo>
                    <a:cubicBezTo>
                      <a:pt x="157" y="117"/>
                      <a:pt x="156" y="117"/>
                      <a:pt x="156" y="117"/>
                    </a:cubicBezTo>
                    <a:cubicBezTo>
                      <a:pt x="156" y="116"/>
                      <a:pt x="156" y="115"/>
                      <a:pt x="155" y="115"/>
                    </a:cubicBezTo>
                    <a:cubicBezTo>
                      <a:pt x="155" y="114"/>
                      <a:pt x="155" y="114"/>
                      <a:pt x="155" y="114"/>
                    </a:cubicBezTo>
                    <a:cubicBezTo>
                      <a:pt x="154" y="113"/>
                      <a:pt x="154" y="112"/>
                      <a:pt x="153" y="112"/>
                    </a:cubicBezTo>
                    <a:cubicBezTo>
                      <a:pt x="153" y="112"/>
                      <a:pt x="153" y="111"/>
                      <a:pt x="153" y="111"/>
                    </a:cubicBezTo>
                    <a:cubicBezTo>
                      <a:pt x="152" y="110"/>
                      <a:pt x="152" y="110"/>
                      <a:pt x="152" y="109"/>
                    </a:cubicBezTo>
                    <a:cubicBezTo>
                      <a:pt x="151" y="109"/>
                      <a:pt x="151" y="109"/>
                      <a:pt x="151" y="109"/>
                    </a:cubicBezTo>
                    <a:cubicBezTo>
                      <a:pt x="150" y="108"/>
                      <a:pt x="150" y="107"/>
                      <a:pt x="149" y="106"/>
                    </a:cubicBezTo>
                    <a:cubicBezTo>
                      <a:pt x="138" y="96"/>
                      <a:pt x="146" y="78"/>
                      <a:pt x="136" y="62"/>
                    </a:cubicBezTo>
                    <a:cubicBezTo>
                      <a:pt x="125" y="46"/>
                      <a:pt x="130" y="36"/>
                      <a:pt x="140" y="24"/>
                    </a:cubicBezTo>
                    <a:cubicBezTo>
                      <a:pt x="145" y="17"/>
                      <a:pt x="145" y="7"/>
                      <a:pt x="144" y="0"/>
                    </a:cubicBezTo>
                    <a:cubicBezTo>
                      <a:pt x="135" y="16"/>
                      <a:pt x="127" y="13"/>
                      <a:pt x="119" y="30"/>
                    </a:cubicBezTo>
                    <a:cubicBezTo>
                      <a:pt x="109" y="50"/>
                      <a:pt x="76" y="43"/>
                      <a:pt x="74" y="38"/>
                    </a:cubicBezTo>
                    <a:cubicBezTo>
                      <a:pt x="73" y="32"/>
                      <a:pt x="47" y="29"/>
                      <a:pt x="40" y="40"/>
                    </a:cubicBezTo>
                    <a:cubicBezTo>
                      <a:pt x="33" y="52"/>
                      <a:pt x="25" y="43"/>
                      <a:pt x="13" y="38"/>
                    </a:cubicBezTo>
                    <a:cubicBezTo>
                      <a:pt x="0" y="32"/>
                      <a:pt x="7" y="46"/>
                      <a:pt x="8" y="63"/>
                    </a:cubicBezTo>
                    <a:cubicBezTo>
                      <a:pt x="10" y="81"/>
                      <a:pt x="15" y="83"/>
                      <a:pt x="15" y="106"/>
                    </a:cubicBezTo>
                    <a:cubicBezTo>
                      <a:pt x="15" y="129"/>
                      <a:pt x="21" y="121"/>
                      <a:pt x="24" y="136"/>
                    </a:cubicBezTo>
                    <a:cubicBezTo>
                      <a:pt x="27" y="152"/>
                      <a:pt x="27" y="159"/>
                      <a:pt x="43" y="175"/>
                    </a:cubicBezTo>
                    <a:cubicBezTo>
                      <a:pt x="58" y="191"/>
                      <a:pt x="61" y="208"/>
                      <a:pt x="68" y="225"/>
                    </a:cubicBezTo>
                    <a:cubicBezTo>
                      <a:pt x="76" y="243"/>
                      <a:pt x="90" y="245"/>
                      <a:pt x="104" y="264"/>
                    </a:cubicBezTo>
                    <a:cubicBezTo>
                      <a:pt x="119" y="283"/>
                      <a:pt x="129" y="283"/>
                      <a:pt x="130" y="274"/>
                    </a:cubicBezTo>
                    <a:cubicBezTo>
                      <a:pt x="132" y="265"/>
                      <a:pt x="143" y="263"/>
                      <a:pt x="143" y="247"/>
                    </a:cubicBezTo>
                    <a:cubicBezTo>
                      <a:pt x="143" y="231"/>
                      <a:pt x="136" y="225"/>
                      <a:pt x="149" y="217"/>
                    </a:cubicBezTo>
                    <a:cubicBezTo>
                      <a:pt x="162" y="208"/>
                      <a:pt x="149" y="189"/>
                      <a:pt x="160" y="185"/>
                    </a:cubicBezTo>
                    <a:cubicBezTo>
                      <a:pt x="162" y="185"/>
                      <a:pt x="163" y="184"/>
                      <a:pt x="164" y="185"/>
                    </a:cubicBezTo>
                    <a:cubicBezTo>
                      <a:pt x="165" y="183"/>
                      <a:pt x="165" y="181"/>
                      <a:pt x="166" y="180"/>
                    </a:cubicBezTo>
                    <a:cubicBezTo>
                      <a:pt x="166" y="179"/>
                      <a:pt x="166" y="178"/>
                      <a:pt x="167" y="17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8" name="Freeform 392">
                <a:extLst>
                  <a:ext uri="{FF2B5EF4-FFF2-40B4-BE49-F238E27FC236}">
                    <a16:creationId xmlns:a16="http://schemas.microsoft.com/office/drawing/2014/main" id="{FA0A73A6-159A-5E4F-BF8B-EB43B3201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6" y="2049"/>
                <a:ext cx="180" cy="177"/>
              </a:xfrm>
              <a:custGeom>
                <a:avLst/>
                <a:gdLst>
                  <a:gd name="T0" fmla="*/ 16 w 710"/>
                  <a:gd name="T1" fmla="*/ 26 h 701"/>
                  <a:gd name="T2" fmla="*/ 20 w 710"/>
                  <a:gd name="T3" fmla="*/ 64 h 701"/>
                  <a:gd name="T4" fmla="*/ 16 w 710"/>
                  <a:gd name="T5" fmla="*/ 99 h 701"/>
                  <a:gd name="T6" fmla="*/ 13 w 710"/>
                  <a:gd name="T7" fmla="*/ 143 h 701"/>
                  <a:gd name="T8" fmla="*/ 20 w 710"/>
                  <a:gd name="T9" fmla="*/ 171 h 701"/>
                  <a:gd name="T10" fmla="*/ 20 w 710"/>
                  <a:gd name="T11" fmla="*/ 172 h 701"/>
                  <a:gd name="T12" fmla="*/ 20 w 710"/>
                  <a:gd name="T13" fmla="*/ 174 h 701"/>
                  <a:gd name="T14" fmla="*/ 20 w 710"/>
                  <a:gd name="T15" fmla="*/ 175 h 701"/>
                  <a:gd name="T16" fmla="*/ 20 w 710"/>
                  <a:gd name="T17" fmla="*/ 178 h 701"/>
                  <a:gd name="T18" fmla="*/ 20 w 710"/>
                  <a:gd name="T19" fmla="*/ 180 h 701"/>
                  <a:gd name="T20" fmla="*/ 20 w 710"/>
                  <a:gd name="T21" fmla="*/ 183 h 701"/>
                  <a:gd name="T22" fmla="*/ 20 w 710"/>
                  <a:gd name="T23" fmla="*/ 186 h 701"/>
                  <a:gd name="T24" fmla="*/ 20 w 710"/>
                  <a:gd name="T25" fmla="*/ 190 h 701"/>
                  <a:gd name="T26" fmla="*/ 21 w 710"/>
                  <a:gd name="T27" fmla="*/ 194 h 701"/>
                  <a:gd name="T28" fmla="*/ 21 w 710"/>
                  <a:gd name="T29" fmla="*/ 198 h 701"/>
                  <a:gd name="T30" fmla="*/ 21 w 710"/>
                  <a:gd name="T31" fmla="*/ 203 h 701"/>
                  <a:gd name="T32" fmla="*/ 21 w 710"/>
                  <a:gd name="T33" fmla="*/ 208 h 701"/>
                  <a:gd name="T34" fmla="*/ 21 w 710"/>
                  <a:gd name="T35" fmla="*/ 213 h 701"/>
                  <a:gd name="T36" fmla="*/ 21 w 710"/>
                  <a:gd name="T37" fmla="*/ 218 h 701"/>
                  <a:gd name="T38" fmla="*/ 21 w 710"/>
                  <a:gd name="T39" fmla="*/ 224 h 701"/>
                  <a:gd name="T40" fmla="*/ 21 w 710"/>
                  <a:gd name="T41" fmla="*/ 237 h 701"/>
                  <a:gd name="T42" fmla="*/ 21 w 710"/>
                  <a:gd name="T43" fmla="*/ 243 h 701"/>
                  <a:gd name="T44" fmla="*/ 21 w 710"/>
                  <a:gd name="T45" fmla="*/ 258 h 701"/>
                  <a:gd name="T46" fmla="*/ 21 w 710"/>
                  <a:gd name="T47" fmla="*/ 266 h 701"/>
                  <a:gd name="T48" fmla="*/ 21 w 710"/>
                  <a:gd name="T49" fmla="*/ 274 h 701"/>
                  <a:gd name="T50" fmla="*/ 21 w 710"/>
                  <a:gd name="T51" fmla="*/ 279 h 701"/>
                  <a:gd name="T52" fmla="*/ 21 w 710"/>
                  <a:gd name="T53" fmla="*/ 298 h 701"/>
                  <a:gd name="T54" fmla="*/ 21 w 710"/>
                  <a:gd name="T55" fmla="*/ 309 h 701"/>
                  <a:gd name="T56" fmla="*/ 21 w 710"/>
                  <a:gd name="T57" fmla="*/ 316 h 701"/>
                  <a:gd name="T58" fmla="*/ 21 w 710"/>
                  <a:gd name="T59" fmla="*/ 324 h 701"/>
                  <a:gd name="T60" fmla="*/ 21 w 710"/>
                  <a:gd name="T61" fmla="*/ 336 h 701"/>
                  <a:gd name="T62" fmla="*/ 21 w 710"/>
                  <a:gd name="T63" fmla="*/ 344 h 701"/>
                  <a:gd name="T64" fmla="*/ 21 w 710"/>
                  <a:gd name="T65" fmla="*/ 350 h 701"/>
                  <a:gd name="T66" fmla="*/ 21 w 710"/>
                  <a:gd name="T67" fmla="*/ 374 h 701"/>
                  <a:gd name="T68" fmla="*/ 21 w 710"/>
                  <a:gd name="T69" fmla="*/ 394 h 701"/>
                  <a:gd name="T70" fmla="*/ 21 w 710"/>
                  <a:gd name="T71" fmla="*/ 412 h 701"/>
                  <a:gd name="T72" fmla="*/ 21 w 710"/>
                  <a:gd name="T73" fmla="*/ 425 h 701"/>
                  <a:gd name="T74" fmla="*/ 20 w 710"/>
                  <a:gd name="T75" fmla="*/ 674 h 701"/>
                  <a:gd name="T76" fmla="*/ 427 w 710"/>
                  <a:gd name="T77" fmla="*/ 668 h 701"/>
                  <a:gd name="T78" fmla="*/ 472 w 710"/>
                  <a:gd name="T79" fmla="*/ 677 h 701"/>
                  <a:gd name="T80" fmla="*/ 587 w 710"/>
                  <a:gd name="T81" fmla="*/ 694 h 701"/>
                  <a:gd name="T82" fmla="*/ 648 w 710"/>
                  <a:gd name="T83" fmla="*/ 642 h 701"/>
                  <a:gd name="T84" fmla="*/ 686 w 710"/>
                  <a:gd name="T85" fmla="*/ 614 h 701"/>
                  <a:gd name="T86" fmla="*/ 692 w 710"/>
                  <a:gd name="T87" fmla="*/ 553 h 701"/>
                  <a:gd name="T88" fmla="*/ 665 w 710"/>
                  <a:gd name="T89" fmla="*/ 491 h 701"/>
                  <a:gd name="T90" fmla="*/ 608 w 710"/>
                  <a:gd name="T91" fmla="*/ 372 h 701"/>
                  <a:gd name="T92" fmla="*/ 544 w 710"/>
                  <a:gd name="T93" fmla="*/ 251 h 701"/>
                  <a:gd name="T94" fmla="*/ 503 w 710"/>
                  <a:gd name="T95" fmla="*/ 166 h 701"/>
                  <a:gd name="T96" fmla="*/ 493 w 710"/>
                  <a:gd name="T97" fmla="*/ 88 h 701"/>
                  <a:gd name="T98" fmla="*/ 465 w 710"/>
                  <a:gd name="T99" fmla="*/ 39 h 701"/>
                  <a:gd name="T100" fmla="*/ 444 w 710"/>
                  <a:gd name="T101" fmla="*/ 23 h 701"/>
                  <a:gd name="T102" fmla="*/ 354 w 710"/>
                  <a:gd name="T103" fmla="*/ 28 h 701"/>
                  <a:gd name="T104" fmla="*/ 270 w 710"/>
                  <a:gd name="T105" fmla="*/ 59 h 701"/>
                  <a:gd name="T106" fmla="*/ 118 w 710"/>
                  <a:gd name="T107" fmla="*/ 13 h 701"/>
                  <a:gd name="T108" fmla="*/ 40 w 710"/>
                  <a:gd name="T109" fmla="*/ 15 h 701"/>
                  <a:gd name="T110" fmla="*/ 25 w 710"/>
                  <a:gd name="T111" fmla="*/ 14 h 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10" h="701">
                    <a:moveTo>
                      <a:pt x="25" y="14"/>
                    </a:moveTo>
                    <a:cubicBezTo>
                      <a:pt x="21" y="16"/>
                      <a:pt x="23" y="24"/>
                      <a:pt x="16" y="26"/>
                    </a:cubicBezTo>
                    <a:cubicBezTo>
                      <a:pt x="9" y="28"/>
                      <a:pt x="2" y="37"/>
                      <a:pt x="11" y="44"/>
                    </a:cubicBezTo>
                    <a:cubicBezTo>
                      <a:pt x="20" y="51"/>
                      <a:pt x="14" y="60"/>
                      <a:pt x="20" y="64"/>
                    </a:cubicBezTo>
                    <a:cubicBezTo>
                      <a:pt x="26" y="68"/>
                      <a:pt x="31" y="77"/>
                      <a:pt x="24" y="80"/>
                    </a:cubicBezTo>
                    <a:cubicBezTo>
                      <a:pt x="17" y="83"/>
                      <a:pt x="16" y="95"/>
                      <a:pt x="16" y="99"/>
                    </a:cubicBezTo>
                    <a:cubicBezTo>
                      <a:pt x="16" y="103"/>
                      <a:pt x="0" y="109"/>
                      <a:pt x="5" y="119"/>
                    </a:cubicBezTo>
                    <a:cubicBezTo>
                      <a:pt x="10" y="129"/>
                      <a:pt x="6" y="140"/>
                      <a:pt x="13" y="143"/>
                    </a:cubicBezTo>
                    <a:cubicBezTo>
                      <a:pt x="20" y="146"/>
                      <a:pt x="17" y="162"/>
                      <a:pt x="20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20" y="172"/>
                      <a:pt x="20" y="172"/>
                      <a:pt x="20" y="172"/>
                    </a:cubicBezTo>
                    <a:cubicBezTo>
                      <a:pt x="20" y="172"/>
                      <a:pt x="20" y="172"/>
                      <a:pt x="20" y="172"/>
                    </a:cubicBezTo>
                    <a:cubicBezTo>
                      <a:pt x="20" y="173"/>
                      <a:pt x="20" y="173"/>
                      <a:pt x="20" y="174"/>
                    </a:cubicBezTo>
                    <a:cubicBezTo>
                      <a:pt x="20" y="174"/>
                      <a:pt x="20" y="174"/>
                      <a:pt x="20" y="174"/>
                    </a:cubicBezTo>
                    <a:cubicBezTo>
                      <a:pt x="20" y="174"/>
                      <a:pt x="20" y="175"/>
                      <a:pt x="20" y="175"/>
                    </a:cubicBezTo>
                    <a:cubicBezTo>
                      <a:pt x="20" y="175"/>
                      <a:pt x="20" y="175"/>
                      <a:pt x="20" y="176"/>
                    </a:cubicBezTo>
                    <a:cubicBezTo>
                      <a:pt x="20" y="176"/>
                      <a:pt x="20" y="177"/>
                      <a:pt x="20" y="178"/>
                    </a:cubicBezTo>
                    <a:cubicBezTo>
                      <a:pt x="20" y="178"/>
                      <a:pt x="20" y="178"/>
                      <a:pt x="20" y="178"/>
                    </a:cubicBezTo>
                    <a:cubicBezTo>
                      <a:pt x="20" y="179"/>
                      <a:pt x="20" y="179"/>
                      <a:pt x="20" y="180"/>
                    </a:cubicBezTo>
                    <a:cubicBezTo>
                      <a:pt x="20" y="180"/>
                      <a:pt x="20" y="180"/>
                      <a:pt x="20" y="181"/>
                    </a:cubicBezTo>
                    <a:cubicBezTo>
                      <a:pt x="20" y="181"/>
                      <a:pt x="20" y="182"/>
                      <a:pt x="20" y="183"/>
                    </a:cubicBezTo>
                    <a:cubicBezTo>
                      <a:pt x="20" y="183"/>
                      <a:pt x="20" y="183"/>
                      <a:pt x="20" y="183"/>
                    </a:cubicBezTo>
                    <a:cubicBezTo>
                      <a:pt x="20" y="184"/>
                      <a:pt x="20" y="185"/>
                      <a:pt x="20" y="186"/>
                    </a:cubicBezTo>
                    <a:cubicBezTo>
                      <a:pt x="20" y="187"/>
                      <a:pt x="20" y="187"/>
                      <a:pt x="20" y="188"/>
                    </a:cubicBezTo>
                    <a:cubicBezTo>
                      <a:pt x="20" y="188"/>
                      <a:pt x="20" y="189"/>
                      <a:pt x="20" y="190"/>
                    </a:cubicBezTo>
                    <a:cubicBezTo>
                      <a:pt x="20" y="190"/>
                      <a:pt x="20" y="190"/>
                      <a:pt x="20" y="191"/>
                    </a:cubicBezTo>
                    <a:cubicBezTo>
                      <a:pt x="20" y="192"/>
                      <a:pt x="20" y="193"/>
                      <a:pt x="21" y="194"/>
                    </a:cubicBezTo>
                    <a:cubicBezTo>
                      <a:pt x="21" y="195"/>
                      <a:pt x="21" y="195"/>
                      <a:pt x="21" y="196"/>
                    </a:cubicBezTo>
                    <a:cubicBezTo>
                      <a:pt x="21" y="197"/>
                      <a:pt x="21" y="197"/>
                      <a:pt x="21" y="198"/>
                    </a:cubicBezTo>
                    <a:cubicBezTo>
                      <a:pt x="21" y="199"/>
                      <a:pt x="21" y="199"/>
                      <a:pt x="21" y="200"/>
                    </a:cubicBezTo>
                    <a:cubicBezTo>
                      <a:pt x="21" y="201"/>
                      <a:pt x="21" y="202"/>
                      <a:pt x="21" y="203"/>
                    </a:cubicBezTo>
                    <a:cubicBezTo>
                      <a:pt x="21" y="203"/>
                      <a:pt x="21" y="204"/>
                      <a:pt x="21" y="204"/>
                    </a:cubicBezTo>
                    <a:cubicBezTo>
                      <a:pt x="21" y="205"/>
                      <a:pt x="21" y="207"/>
                      <a:pt x="21" y="208"/>
                    </a:cubicBezTo>
                    <a:cubicBezTo>
                      <a:pt x="21" y="209"/>
                      <a:pt x="21" y="210"/>
                      <a:pt x="21" y="210"/>
                    </a:cubicBezTo>
                    <a:cubicBezTo>
                      <a:pt x="21" y="211"/>
                      <a:pt x="21" y="212"/>
                      <a:pt x="21" y="213"/>
                    </a:cubicBezTo>
                    <a:cubicBezTo>
                      <a:pt x="21" y="213"/>
                      <a:pt x="21" y="214"/>
                      <a:pt x="21" y="215"/>
                    </a:cubicBezTo>
                    <a:cubicBezTo>
                      <a:pt x="21" y="216"/>
                      <a:pt x="21" y="217"/>
                      <a:pt x="21" y="218"/>
                    </a:cubicBezTo>
                    <a:cubicBezTo>
                      <a:pt x="21" y="220"/>
                      <a:pt x="21" y="221"/>
                      <a:pt x="21" y="223"/>
                    </a:cubicBezTo>
                    <a:cubicBezTo>
                      <a:pt x="21" y="223"/>
                      <a:pt x="21" y="224"/>
                      <a:pt x="21" y="224"/>
                    </a:cubicBezTo>
                    <a:cubicBezTo>
                      <a:pt x="21" y="228"/>
                      <a:pt x="21" y="232"/>
                      <a:pt x="21" y="237"/>
                    </a:cubicBezTo>
                    <a:cubicBezTo>
                      <a:pt x="21" y="237"/>
                      <a:pt x="21" y="237"/>
                      <a:pt x="21" y="237"/>
                    </a:cubicBezTo>
                    <a:cubicBezTo>
                      <a:pt x="21" y="239"/>
                      <a:pt x="21" y="240"/>
                      <a:pt x="21" y="241"/>
                    </a:cubicBezTo>
                    <a:cubicBezTo>
                      <a:pt x="21" y="242"/>
                      <a:pt x="21" y="243"/>
                      <a:pt x="21" y="243"/>
                    </a:cubicBezTo>
                    <a:cubicBezTo>
                      <a:pt x="21" y="248"/>
                      <a:pt x="21" y="252"/>
                      <a:pt x="21" y="257"/>
                    </a:cubicBezTo>
                    <a:cubicBezTo>
                      <a:pt x="21" y="257"/>
                      <a:pt x="21" y="257"/>
                      <a:pt x="21" y="258"/>
                    </a:cubicBezTo>
                    <a:cubicBezTo>
                      <a:pt x="21" y="259"/>
                      <a:pt x="21" y="261"/>
                      <a:pt x="21" y="262"/>
                    </a:cubicBezTo>
                    <a:cubicBezTo>
                      <a:pt x="21" y="263"/>
                      <a:pt x="21" y="264"/>
                      <a:pt x="21" y="266"/>
                    </a:cubicBezTo>
                    <a:cubicBezTo>
                      <a:pt x="21" y="268"/>
                      <a:pt x="21" y="270"/>
                      <a:pt x="21" y="272"/>
                    </a:cubicBezTo>
                    <a:cubicBezTo>
                      <a:pt x="21" y="273"/>
                      <a:pt x="21" y="273"/>
                      <a:pt x="21" y="274"/>
                    </a:cubicBezTo>
                    <a:cubicBezTo>
                      <a:pt x="21" y="276"/>
                      <a:pt x="21" y="277"/>
                      <a:pt x="21" y="279"/>
                    </a:cubicBezTo>
                    <a:cubicBezTo>
                      <a:pt x="21" y="279"/>
                      <a:pt x="21" y="279"/>
                      <a:pt x="21" y="279"/>
                    </a:cubicBezTo>
                    <a:cubicBezTo>
                      <a:pt x="21" y="285"/>
                      <a:pt x="21" y="290"/>
                      <a:pt x="21" y="296"/>
                    </a:cubicBezTo>
                    <a:cubicBezTo>
                      <a:pt x="21" y="297"/>
                      <a:pt x="21" y="297"/>
                      <a:pt x="21" y="298"/>
                    </a:cubicBezTo>
                    <a:cubicBezTo>
                      <a:pt x="21" y="299"/>
                      <a:pt x="21" y="301"/>
                      <a:pt x="21" y="303"/>
                    </a:cubicBezTo>
                    <a:cubicBezTo>
                      <a:pt x="21" y="305"/>
                      <a:pt x="21" y="307"/>
                      <a:pt x="21" y="309"/>
                    </a:cubicBezTo>
                    <a:cubicBezTo>
                      <a:pt x="21" y="310"/>
                      <a:pt x="21" y="311"/>
                      <a:pt x="21" y="312"/>
                    </a:cubicBezTo>
                    <a:cubicBezTo>
                      <a:pt x="21" y="314"/>
                      <a:pt x="21" y="315"/>
                      <a:pt x="21" y="316"/>
                    </a:cubicBezTo>
                    <a:cubicBezTo>
                      <a:pt x="21" y="318"/>
                      <a:pt x="21" y="319"/>
                      <a:pt x="21" y="321"/>
                    </a:cubicBezTo>
                    <a:cubicBezTo>
                      <a:pt x="21" y="322"/>
                      <a:pt x="21" y="323"/>
                      <a:pt x="21" y="324"/>
                    </a:cubicBezTo>
                    <a:cubicBezTo>
                      <a:pt x="21" y="326"/>
                      <a:pt x="21" y="329"/>
                      <a:pt x="21" y="331"/>
                    </a:cubicBezTo>
                    <a:cubicBezTo>
                      <a:pt x="21" y="333"/>
                      <a:pt x="21" y="334"/>
                      <a:pt x="21" y="336"/>
                    </a:cubicBezTo>
                    <a:cubicBezTo>
                      <a:pt x="21" y="337"/>
                      <a:pt x="21" y="338"/>
                      <a:pt x="21" y="339"/>
                    </a:cubicBezTo>
                    <a:cubicBezTo>
                      <a:pt x="21" y="340"/>
                      <a:pt x="21" y="342"/>
                      <a:pt x="21" y="344"/>
                    </a:cubicBezTo>
                    <a:cubicBezTo>
                      <a:pt x="21" y="345"/>
                      <a:pt x="21" y="347"/>
                      <a:pt x="21" y="348"/>
                    </a:cubicBezTo>
                    <a:cubicBezTo>
                      <a:pt x="21" y="349"/>
                      <a:pt x="21" y="349"/>
                      <a:pt x="21" y="350"/>
                    </a:cubicBezTo>
                    <a:cubicBezTo>
                      <a:pt x="21" y="353"/>
                      <a:pt x="21" y="355"/>
                      <a:pt x="21" y="358"/>
                    </a:cubicBezTo>
                    <a:cubicBezTo>
                      <a:pt x="21" y="363"/>
                      <a:pt x="21" y="369"/>
                      <a:pt x="21" y="374"/>
                    </a:cubicBezTo>
                    <a:cubicBezTo>
                      <a:pt x="21" y="375"/>
                      <a:pt x="21" y="375"/>
                      <a:pt x="21" y="376"/>
                    </a:cubicBezTo>
                    <a:cubicBezTo>
                      <a:pt x="21" y="382"/>
                      <a:pt x="21" y="388"/>
                      <a:pt x="21" y="394"/>
                    </a:cubicBezTo>
                    <a:cubicBezTo>
                      <a:pt x="21" y="394"/>
                      <a:pt x="21" y="395"/>
                      <a:pt x="21" y="395"/>
                    </a:cubicBezTo>
                    <a:cubicBezTo>
                      <a:pt x="21" y="401"/>
                      <a:pt x="21" y="406"/>
                      <a:pt x="21" y="412"/>
                    </a:cubicBezTo>
                    <a:cubicBezTo>
                      <a:pt x="21" y="414"/>
                      <a:pt x="21" y="415"/>
                      <a:pt x="21" y="416"/>
                    </a:cubicBezTo>
                    <a:cubicBezTo>
                      <a:pt x="21" y="419"/>
                      <a:pt x="21" y="422"/>
                      <a:pt x="21" y="425"/>
                    </a:cubicBezTo>
                    <a:cubicBezTo>
                      <a:pt x="21" y="425"/>
                      <a:pt x="21" y="425"/>
                      <a:pt x="21" y="425"/>
                    </a:cubicBezTo>
                    <a:cubicBezTo>
                      <a:pt x="21" y="511"/>
                      <a:pt x="21" y="602"/>
                      <a:pt x="20" y="674"/>
                    </a:cubicBezTo>
                    <a:cubicBezTo>
                      <a:pt x="415" y="674"/>
                      <a:pt x="415" y="674"/>
                      <a:pt x="415" y="674"/>
                    </a:cubicBezTo>
                    <a:cubicBezTo>
                      <a:pt x="415" y="674"/>
                      <a:pt x="422" y="676"/>
                      <a:pt x="427" y="668"/>
                    </a:cubicBezTo>
                    <a:cubicBezTo>
                      <a:pt x="432" y="660"/>
                      <a:pt x="439" y="658"/>
                      <a:pt x="442" y="667"/>
                    </a:cubicBezTo>
                    <a:cubicBezTo>
                      <a:pt x="445" y="676"/>
                      <a:pt x="454" y="678"/>
                      <a:pt x="472" y="677"/>
                    </a:cubicBezTo>
                    <a:cubicBezTo>
                      <a:pt x="490" y="676"/>
                      <a:pt x="550" y="669"/>
                      <a:pt x="557" y="685"/>
                    </a:cubicBezTo>
                    <a:cubicBezTo>
                      <a:pt x="564" y="701"/>
                      <a:pt x="574" y="699"/>
                      <a:pt x="587" y="694"/>
                    </a:cubicBezTo>
                    <a:cubicBezTo>
                      <a:pt x="600" y="689"/>
                      <a:pt x="590" y="676"/>
                      <a:pt x="606" y="670"/>
                    </a:cubicBezTo>
                    <a:cubicBezTo>
                      <a:pt x="622" y="664"/>
                      <a:pt x="646" y="654"/>
                      <a:pt x="648" y="642"/>
                    </a:cubicBezTo>
                    <a:cubicBezTo>
                      <a:pt x="650" y="630"/>
                      <a:pt x="649" y="619"/>
                      <a:pt x="662" y="620"/>
                    </a:cubicBezTo>
                    <a:cubicBezTo>
                      <a:pt x="675" y="621"/>
                      <a:pt x="681" y="620"/>
                      <a:pt x="686" y="614"/>
                    </a:cubicBezTo>
                    <a:cubicBezTo>
                      <a:pt x="688" y="610"/>
                      <a:pt x="694" y="603"/>
                      <a:pt x="701" y="596"/>
                    </a:cubicBezTo>
                    <a:cubicBezTo>
                      <a:pt x="692" y="575"/>
                      <a:pt x="685" y="567"/>
                      <a:pt x="692" y="553"/>
                    </a:cubicBezTo>
                    <a:cubicBezTo>
                      <a:pt x="700" y="539"/>
                      <a:pt x="710" y="544"/>
                      <a:pt x="696" y="526"/>
                    </a:cubicBezTo>
                    <a:cubicBezTo>
                      <a:pt x="682" y="508"/>
                      <a:pt x="675" y="517"/>
                      <a:pt x="665" y="491"/>
                    </a:cubicBezTo>
                    <a:cubicBezTo>
                      <a:pt x="654" y="466"/>
                      <a:pt x="660" y="448"/>
                      <a:pt x="638" y="428"/>
                    </a:cubicBezTo>
                    <a:cubicBezTo>
                      <a:pt x="615" y="408"/>
                      <a:pt x="615" y="403"/>
                      <a:pt x="608" y="372"/>
                    </a:cubicBezTo>
                    <a:cubicBezTo>
                      <a:pt x="600" y="341"/>
                      <a:pt x="575" y="322"/>
                      <a:pt x="573" y="297"/>
                    </a:cubicBezTo>
                    <a:cubicBezTo>
                      <a:pt x="571" y="272"/>
                      <a:pt x="555" y="266"/>
                      <a:pt x="544" y="251"/>
                    </a:cubicBezTo>
                    <a:cubicBezTo>
                      <a:pt x="533" y="236"/>
                      <a:pt x="515" y="219"/>
                      <a:pt x="510" y="201"/>
                    </a:cubicBezTo>
                    <a:cubicBezTo>
                      <a:pt x="504" y="183"/>
                      <a:pt x="511" y="180"/>
                      <a:pt x="503" y="166"/>
                    </a:cubicBezTo>
                    <a:cubicBezTo>
                      <a:pt x="496" y="152"/>
                      <a:pt x="493" y="145"/>
                      <a:pt x="495" y="132"/>
                    </a:cubicBezTo>
                    <a:cubicBezTo>
                      <a:pt x="497" y="119"/>
                      <a:pt x="496" y="98"/>
                      <a:pt x="493" y="88"/>
                    </a:cubicBezTo>
                    <a:cubicBezTo>
                      <a:pt x="489" y="79"/>
                      <a:pt x="489" y="54"/>
                      <a:pt x="482" y="50"/>
                    </a:cubicBezTo>
                    <a:cubicBezTo>
                      <a:pt x="474" y="45"/>
                      <a:pt x="465" y="46"/>
                      <a:pt x="465" y="39"/>
                    </a:cubicBezTo>
                    <a:cubicBezTo>
                      <a:pt x="465" y="31"/>
                      <a:pt x="480" y="25"/>
                      <a:pt x="471" y="19"/>
                    </a:cubicBezTo>
                    <a:cubicBezTo>
                      <a:pt x="462" y="14"/>
                      <a:pt x="455" y="19"/>
                      <a:pt x="444" y="23"/>
                    </a:cubicBezTo>
                    <a:cubicBezTo>
                      <a:pt x="433" y="26"/>
                      <a:pt x="424" y="3"/>
                      <a:pt x="409" y="10"/>
                    </a:cubicBezTo>
                    <a:cubicBezTo>
                      <a:pt x="394" y="16"/>
                      <a:pt x="367" y="13"/>
                      <a:pt x="354" y="28"/>
                    </a:cubicBezTo>
                    <a:cubicBezTo>
                      <a:pt x="341" y="43"/>
                      <a:pt x="325" y="44"/>
                      <a:pt x="313" y="54"/>
                    </a:cubicBezTo>
                    <a:cubicBezTo>
                      <a:pt x="301" y="64"/>
                      <a:pt x="296" y="69"/>
                      <a:pt x="270" y="59"/>
                    </a:cubicBezTo>
                    <a:cubicBezTo>
                      <a:pt x="244" y="50"/>
                      <a:pt x="209" y="45"/>
                      <a:pt x="192" y="39"/>
                    </a:cubicBezTo>
                    <a:cubicBezTo>
                      <a:pt x="174" y="32"/>
                      <a:pt x="141" y="13"/>
                      <a:pt x="118" y="13"/>
                    </a:cubicBezTo>
                    <a:cubicBezTo>
                      <a:pt x="96" y="13"/>
                      <a:pt x="81" y="0"/>
                      <a:pt x="69" y="8"/>
                    </a:cubicBezTo>
                    <a:cubicBezTo>
                      <a:pt x="57" y="15"/>
                      <a:pt x="58" y="24"/>
                      <a:pt x="40" y="15"/>
                    </a:cubicBezTo>
                    <a:cubicBezTo>
                      <a:pt x="35" y="13"/>
                      <a:pt x="32" y="10"/>
                      <a:pt x="29" y="7"/>
                    </a:cubicBezTo>
                    <a:cubicBezTo>
                      <a:pt x="27" y="10"/>
                      <a:pt x="26" y="13"/>
                      <a:pt x="25" y="1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39" name="Freeform 393">
                <a:extLst>
                  <a:ext uri="{FF2B5EF4-FFF2-40B4-BE49-F238E27FC236}">
                    <a16:creationId xmlns:a16="http://schemas.microsoft.com/office/drawing/2014/main" id="{7A78ABAB-514D-1D4F-99B6-1BC70B9A5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1" y="2199"/>
                <a:ext cx="270" cy="325"/>
              </a:xfrm>
              <a:custGeom>
                <a:avLst/>
                <a:gdLst>
                  <a:gd name="T0" fmla="*/ 768 w 1068"/>
                  <a:gd name="T1" fmla="*/ 98 h 1283"/>
                  <a:gd name="T2" fmla="*/ 608 w 1068"/>
                  <a:gd name="T3" fmla="*/ 72 h 1283"/>
                  <a:gd name="T4" fmla="*/ 201 w 1068"/>
                  <a:gd name="T5" fmla="*/ 206 h 1283"/>
                  <a:gd name="T6" fmla="*/ 135 w 1068"/>
                  <a:gd name="T7" fmla="*/ 237 h 1283"/>
                  <a:gd name="T8" fmla="*/ 68 w 1068"/>
                  <a:gd name="T9" fmla="*/ 514 h 1283"/>
                  <a:gd name="T10" fmla="*/ 36 w 1068"/>
                  <a:gd name="T11" fmla="*/ 575 h 1283"/>
                  <a:gd name="T12" fmla="*/ 15 w 1068"/>
                  <a:gd name="T13" fmla="*/ 657 h 1283"/>
                  <a:gd name="T14" fmla="*/ 40 w 1068"/>
                  <a:gd name="T15" fmla="*/ 725 h 1283"/>
                  <a:gd name="T16" fmla="*/ 70 w 1068"/>
                  <a:gd name="T17" fmla="*/ 788 h 1283"/>
                  <a:gd name="T18" fmla="*/ 66 w 1068"/>
                  <a:gd name="T19" fmla="*/ 806 h 1283"/>
                  <a:gd name="T20" fmla="*/ 66 w 1068"/>
                  <a:gd name="T21" fmla="*/ 811 h 1283"/>
                  <a:gd name="T22" fmla="*/ 69 w 1068"/>
                  <a:gd name="T23" fmla="*/ 817 h 1283"/>
                  <a:gd name="T24" fmla="*/ 74 w 1068"/>
                  <a:gd name="T25" fmla="*/ 823 h 1283"/>
                  <a:gd name="T26" fmla="*/ 111 w 1068"/>
                  <a:gd name="T27" fmla="*/ 911 h 1283"/>
                  <a:gd name="T28" fmla="*/ 163 w 1068"/>
                  <a:gd name="T29" fmla="*/ 979 h 1283"/>
                  <a:gd name="T30" fmla="*/ 235 w 1068"/>
                  <a:gd name="T31" fmla="*/ 1045 h 1283"/>
                  <a:gd name="T32" fmla="*/ 332 w 1068"/>
                  <a:gd name="T33" fmla="*/ 1137 h 1283"/>
                  <a:gd name="T34" fmla="*/ 350 w 1068"/>
                  <a:gd name="T35" fmla="*/ 1172 h 1283"/>
                  <a:gd name="T36" fmla="*/ 354 w 1068"/>
                  <a:gd name="T37" fmla="*/ 1179 h 1283"/>
                  <a:gd name="T38" fmla="*/ 430 w 1068"/>
                  <a:gd name="T39" fmla="*/ 1228 h 1283"/>
                  <a:gd name="T40" fmla="*/ 543 w 1068"/>
                  <a:gd name="T41" fmla="*/ 1256 h 1283"/>
                  <a:gd name="T42" fmla="*/ 570 w 1068"/>
                  <a:gd name="T43" fmla="*/ 1279 h 1283"/>
                  <a:gd name="T44" fmla="*/ 572 w 1068"/>
                  <a:gd name="T45" fmla="*/ 1277 h 1283"/>
                  <a:gd name="T46" fmla="*/ 583 w 1068"/>
                  <a:gd name="T47" fmla="*/ 1269 h 1283"/>
                  <a:gd name="T48" fmla="*/ 589 w 1068"/>
                  <a:gd name="T49" fmla="*/ 1267 h 1283"/>
                  <a:gd name="T50" fmla="*/ 642 w 1068"/>
                  <a:gd name="T51" fmla="*/ 1270 h 1283"/>
                  <a:gd name="T52" fmla="*/ 758 w 1068"/>
                  <a:gd name="T53" fmla="*/ 1250 h 1283"/>
                  <a:gd name="T54" fmla="*/ 763 w 1068"/>
                  <a:gd name="T55" fmla="*/ 1244 h 1283"/>
                  <a:gd name="T56" fmla="*/ 768 w 1068"/>
                  <a:gd name="T57" fmla="*/ 1241 h 1283"/>
                  <a:gd name="T58" fmla="*/ 778 w 1068"/>
                  <a:gd name="T59" fmla="*/ 1238 h 1283"/>
                  <a:gd name="T60" fmla="*/ 780 w 1068"/>
                  <a:gd name="T61" fmla="*/ 1237 h 1283"/>
                  <a:gd name="T62" fmla="*/ 782 w 1068"/>
                  <a:gd name="T63" fmla="*/ 1234 h 1283"/>
                  <a:gd name="T64" fmla="*/ 844 w 1068"/>
                  <a:gd name="T65" fmla="*/ 1191 h 1283"/>
                  <a:gd name="T66" fmla="*/ 889 w 1068"/>
                  <a:gd name="T67" fmla="*/ 1175 h 1283"/>
                  <a:gd name="T68" fmla="*/ 798 w 1068"/>
                  <a:gd name="T69" fmla="*/ 1064 h 1283"/>
                  <a:gd name="T70" fmla="*/ 721 w 1068"/>
                  <a:gd name="T71" fmla="*/ 1011 h 1283"/>
                  <a:gd name="T72" fmla="*/ 780 w 1068"/>
                  <a:gd name="T73" fmla="*/ 961 h 1283"/>
                  <a:gd name="T74" fmla="*/ 798 w 1068"/>
                  <a:gd name="T75" fmla="*/ 818 h 1283"/>
                  <a:gd name="T76" fmla="*/ 840 w 1068"/>
                  <a:gd name="T77" fmla="*/ 772 h 1283"/>
                  <a:gd name="T78" fmla="*/ 916 w 1068"/>
                  <a:gd name="T79" fmla="*/ 662 h 1283"/>
                  <a:gd name="T80" fmla="*/ 928 w 1068"/>
                  <a:gd name="T81" fmla="*/ 626 h 1283"/>
                  <a:gd name="T82" fmla="*/ 930 w 1068"/>
                  <a:gd name="T83" fmla="*/ 617 h 1283"/>
                  <a:gd name="T84" fmla="*/ 931 w 1068"/>
                  <a:gd name="T85" fmla="*/ 607 h 1283"/>
                  <a:gd name="T86" fmla="*/ 931 w 1068"/>
                  <a:gd name="T87" fmla="*/ 597 h 1283"/>
                  <a:gd name="T88" fmla="*/ 935 w 1068"/>
                  <a:gd name="T89" fmla="*/ 522 h 1283"/>
                  <a:gd name="T90" fmla="*/ 965 w 1068"/>
                  <a:gd name="T91" fmla="*/ 420 h 1283"/>
                  <a:gd name="T92" fmla="*/ 1044 w 1068"/>
                  <a:gd name="T93" fmla="*/ 370 h 1283"/>
                  <a:gd name="T94" fmla="*/ 993 w 1068"/>
                  <a:gd name="T95" fmla="*/ 272 h 1283"/>
                  <a:gd name="T96" fmla="*/ 954 w 1068"/>
                  <a:gd name="T97" fmla="*/ 63 h 1283"/>
                  <a:gd name="T98" fmla="*/ 867 w 1068"/>
                  <a:gd name="T99" fmla="*/ 18 h 1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68" h="1283">
                    <a:moveTo>
                      <a:pt x="843" y="24"/>
                    </a:moveTo>
                    <a:cubicBezTo>
                      <a:pt x="830" y="23"/>
                      <a:pt x="831" y="34"/>
                      <a:pt x="829" y="46"/>
                    </a:cubicBezTo>
                    <a:cubicBezTo>
                      <a:pt x="827" y="58"/>
                      <a:pt x="803" y="68"/>
                      <a:pt x="787" y="74"/>
                    </a:cubicBezTo>
                    <a:cubicBezTo>
                      <a:pt x="771" y="80"/>
                      <a:pt x="781" y="93"/>
                      <a:pt x="768" y="98"/>
                    </a:cubicBezTo>
                    <a:cubicBezTo>
                      <a:pt x="755" y="103"/>
                      <a:pt x="745" y="105"/>
                      <a:pt x="738" y="89"/>
                    </a:cubicBezTo>
                    <a:cubicBezTo>
                      <a:pt x="731" y="73"/>
                      <a:pt x="671" y="80"/>
                      <a:pt x="653" y="81"/>
                    </a:cubicBezTo>
                    <a:cubicBezTo>
                      <a:pt x="635" y="82"/>
                      <a:pt x="626" y="80"/>
                      <a:pt x="623" y="71"/>
                    </a:cubicBezTo>
                    <a:cubicBezTo>
                      <a:pt x="620" y="62"/>
                      <a:pt x="613" y="64"/>
                      <a:pt x="608" y="72"/>
                    </a:cubicBezTo>
                    <a:cubicBezTo>
                      <a:pt x="603" y="80"/>
                      <a:pt x="596" y="78"/>
                      <a:pt x="596" y="78"/>
                    </a:cubicBezTo>
                    <a:cubicBezTo>
                      <a:pt x="201" y="78"/>
                      <a:pt x="201" y="78"/>
                      <a:pt x="201" y="78"/>
                    </a:cubicBezTo>
                    <a:cubicBezTo>
                      <a:pt x="201" y="82"/>
                      <a:pt x="201" y="86"/>
                      <a:pt x="201" y="90"/>
                    </a:cubicBezTo>
                    <a:cubicBezTo>
                      <a:pt x="201" y="150"/>
                      <a:pt x="201" y="195"/>
                      <a:pt x="201" y="206"/>
                    </a:cubicBezTo>
                    <a:cubicBezTo>
                      <a:pt x="201" y="207"/>
                      <a:pt x="201" y="208"/>
                      <a:pt x="201" y="209"/>
                    </a:cubicBezTo>
                    <a:cubicBezTo>
                      <a:pt x="201" y="209"/>
                      <a:pt x="201" y="209"/>
                      <a:pt x="201" y="209"/>
                    </a:cubicBezTo>
                    <a:cubicBezTo>
                      <a:pt x="135" y="211"/>
                      <a:pt x="135" y="211"/>
                      <a:pt x="135" y="211"/>
                    </a:cubicBezTo>
                    <a:cubicBezTo>
                      <a:pt x="135" y="237"/>
                      <a:pt x="135" y="237"/>
                      <a:pt x="135" y="237"/>
                    </a:cubicBezTo>
                    <a:cubicBezTo>
                      <a:pt x="135" y="491"/>
                      <a:pt x="135" y="491"/>
                      <a:pt x="135" y="491"/>
                    </a:cubicBezTo>
                    <a:cubicBezTo>
                      <a:pt x="135" y="491"/>
                      <a:pt x="112" y="483"/>
                      <a:pt x="105" y="491"/>
                    </a:cubicBezTo>
                    <a:cubicBezTo>
                      <a:pt x="98" y="499"/>
                      <a:pt x="93" y="499"/>
                      <a:pt x="81" y="499"/>
                    </a:cubicBezTo>
                    <a:cubicBezTo>
                      <a:pt x="69" y="499"/>
                      <a:pt x="62" y="505"/>
                      <a:pt x="68" y="514"/>
                    </a:cubicBezTo>
                    <a:cubicBezTo>
                      <a:pt x="74" y="523"/>
                      <a:pt x="76" y="532"/>
                      <a:pt x="66" y="535"/>
                    </a:cubicBezTo>
                    <a:cubicBezTo>
                      <a:pt x="56" y="538"/>
                      <a:pt x="53" y="543"/>
                      <a:pt x="53" y="550"/>
                    </a:cubicBezTo>
                    <a:cubicBezTo>
                      <a:pt x="53" y="557"/>
                      <a:pt x="56" y="563"/>
                      <a:pt x="47" y="563"/>
                    </a:cubicBezTo>
                    <a:cubicBezTo>
                      <a:pt x="38" y="563"/>
                      <a:pt x="36" y="568"/>
                      <a:pt x="36" y="575"/>
                    </a:cubicBezTo>
                    <a:cubicBezTo>
                      <a:pt x="36" y="582"/>
                      <a:pt x="51" y="597"/>
                      <a:pt x="38" y="601"/>
                    </a:cubicBezTo>
                    <a:cubicBezTo>
                      <a:pt x="25" y="605"/>
                      <a:pt x="18" y="604"/>
                      <a:pt x="18" y="617"/>
                    </a:cubicBezTo>
                    <a:cubicBezTo>
                      <a:pt x="18" y="630"/>
                      <a:pt x="13" y="632"/>
                      <a:pt x="19" y="635"/>
                    </a:cubicBezTo>
                    <a:cubicBezTo>
                      <a:pt x="25" y="638"/>
                      <a:pt x="26" y="652"/>
                      <a:pt x="15" y="657"/>
                    </a:cubicBezTo>
                    <a:cubicBezTo>
                      <a:pt x="4" y="662"/>
                      <a:pt x="2" y="668"/>
                      <a:pt x="2" y="675"/>
                    </a:cubicBezTo>
                    <a:cubicBezTo>
                      <a:pt x="2" y="682"/>
                      <a:pt x="0" y="691"/>
                      <a:pt x="11" y="691"/>
                    </a:cubicBezTo>
                    <a:cubicBezTo>
                      <a:pt x="22" y="691"/>
                      <a:pt x="38" y="693"/>
                      <a:pt x="36" y="701"/>
                    </a:cubicBezTo>
                    <a:cubicBezTo>
                      <a:pt x="34" y="709"/>
                      <a:pt x="38" y="713"/>
                      <a:pt x="40" y="725"/>
                    </a:cubicBezTo>
                    <a:cubicBezTo>
                      <a:pt x="42" y="737"/>
                      <a:pt x="39" y="761"/>
                      <a:pt x="51" y="766"/>
                    </a:cubicBezTo>
                    <a:cubicBezTo>
                      <a:pt x="63" y="771"/>
                      <a:pt x="74" y="779"/>
                      <a:pt x="71" y="786"/>
                    </a:cubicBezTo>
                    <a:cubicBezTo>
                      <a:pt x="70" y="786"/>
                      <a:pt x="70" y="787"/>
                      <a:pt x="70" y="788"/>
                    </a:cubicBezTo>
                    <a:cubicBezTo>
                      <a:pt x="70" y="788"/>
                      <a:pt x="70" y="788"/>
                      <a:pt x="70" y="788"/>
                    </a:cubicBezTo>
                    <a:cubicBezTo>
                      <a:pt x="69" y="789"/>
                      <a:pt x="69" y="790"/>
                      <a:pt x="68" y="792"/>
                    </a:cubicBezTo>
                    <a:cubicBezTo>
                      <a:pt x="68" y="792"/>
                      <a:pt x="68" y="792"/>
                      <a:pt x="68" y="792"/>
                    </a:cubicBezTo>
                    <a:cubicBezTo>
                      <a:pt x="68" y="794"/>
                      <a:pt x="67" y="797"/>
                      <a:pt x="66" y="800"/>
                    </a:cubicBezTo>
                    <a:cubicBezTo>
                      <a:pt x="66" y="802"/>
                      <a:pt x="66" y="804"/>
                      <a:pt x="66" y="806"/>
                    </a:cubicBezTo>
                    <a:cubicBezTo>
                      <a:pt x="66" y="806"/>
                      <a:pt x="66" y="806"/>
                      <a:pt x="66" y="806"/>
                    </a:cubicBezTo>
                    <a:cubicBezTo>
                      <a:pt x="66" y="807"/>
                      <a:pt x="66" y="808"/>
                      <a:pt x="66" y="809"/>
                    </a:cubicBezTo>
                    <a:cubicBezTo>
                      <a:pt x="66" y="809"/>
                      <a:pt x="66" y="809"/>
                      <a:pt x="66" y="809"/>
                    </a:cubicBezTo>
                    <a:cubicBezTo>
                      <a:pt x="66" y="810"/>
                      <a:pt x="66" y="811"/>
                      <a:pt x="66" y="811"/>
                    </a:cubicBezTo>
                    <a:cubicBezTo>
                      <a:pt x="66" y="812"/>
                      <a:pt x="67" y="812"/>
                      <a:pt x="67" y="812"/>
                    </a:cubicBezTo>
                    <a:cubicBezTo>
                      <a:pt x="67" y="813"/>
                      <a:pt x="67" y="814"/>
                      <a:pt x="67" y="814"/>
                    </a:cubicBezTo>
                    <a:cubicBezTo>
                      <a:pt x="67" y="814"/>
                      <a:pt x="68" y="815"/>
                      <a:pt x="68" y="815"/>
                    </a:cubicBezTo>
                    <a:cubicBezTo>
                      <a:pt x="68" y="816"/>
                      <a:pt x="68" y="816"/>
                      <a:pt x="69" y="817"/>
                    </a:cubicBezTo>
                    <a:cubicBezTo>
                      <a:pt x="69" y="817"/>
                      <a:pt x="69" y="818"/>
                      <a:pt x="69" y="818"/>
                    </a:cubicBezTo>
                    <a:cubicBezTo>
                      <a:pt x="70" y="818"/>
                      <a:pt x="70" y="819"/>
                      <a:pt x="71" y="820"/>
                    </a:cubicBezTo>
                    <a:cubicBezTo>
                      <a:pt x="71" y="820"/>
                      <a:pt x="71" y="820"/>
                      <a:pt x="71" y="820"/>
                    </a:cubicBezTo>
                    <a:cubicBezTo>
                      <a:pt x="72" y="821"/>
                      <a:pt x="73" y="822"/>
                      <a:pt x="74" y="823"/>
                    </a:cubicBezTo>
                    <a:cubicBezTo>
                      <a:pt x="88" y="834"/>
                      <a:pt x="101" y="844"/>
                      <a:pt x="101" y="853"/>
                    </a:cubicBezTo>
                    <a:cubicBezTo>
                      <a:pt x="101" y="862"/>
                      <a:pt x="108" y="868"/>
                      <a:pt x="114" y="869"/>
                    </a:cubicBezTo>
                    <a:cubicBezTo>
                      <a:pt x="120" y="870"/>
                      <a:pt x="118" y="882"/>
                      <a:pt x="118" y="890"/>
                    </a:cubicBezTo>
                    <a:cubicBezTo>
                      <a:pt x="118" y="898"/>
                      <a:pt x="121" y="906"/>
                      <a:pt x="111" y="911"/>
                    </a:cubicBezTo>
                    <a:cubicBezTo>
                      <a:pt x="101" y="916"/>
                      <a:pt x="97" y="922"/>
                      <a:pt x="98" y="930"/>
                    </a:cubicBezTo>
                    <a:cubicBezTo>
                      <a:pt x="99" y="938"/>
                      <a:pt x="93" y="948"/>
                      <a:pt x="113" y="948"/>
                    </a:cubicBezTo>
                    <a:cubicBezTo>
                      <a:pt x="133" y="948"/>
                      <a:pt x="147" y="943"/>
                      <a:pt x="147" y="954"/>
                    </a:cubicBezTo>
                    <a:cubicBezTo>
                      <a:pt x="147" y="965"/>
                      <a:pt x="144" y="979"/>
                      <a:pt x="163" y="979"/>
                    </a:cubicBezTo>
                    <a:cubicBezTo>
                      <a:pt x="182" y="979"/>
                      <a:pt x="187" y="972"/>
                      <a:pt x="190" y="983"/>
                    </a:cubicBezTo>
                    <a:cubicBezTo>
                      <a:pt x="193" y="994"/>
                      <a:pt x="198" y="999"/>
                      <a:pt x="209" y="1000"/>
                    </a:cubicBezTo>
                    <a:cubicBezTo>
                      <a:pt x="220" y="1001"/>
                      <a:pt x="219" y="1013"/>
                      <a:pt x="219" y="1022"/>
                    </a:cubicBezTo>
                    <a:cubicBezTo>
                      <a:pt x="219" y="1031"/>
                      <a:pt x="225" y="1039"/>
                      <a:pt x="235" y="1045"/>
                    </a:cubicBezTo>
                    <a:cubicBezTo>
                      <a:pt x="245" y="1051"/>
                      <a:pt x="251" y="1057"/>
                      <a:pt x="262" y="1059"/>
                    </a:cubicBezTo>
                    <a:cubicBezTo>
                      <a:pt x="273" y="1061"/>
                      <a:pt x="287" y="1070"/>
                      <a:pt x="287" y="1082"/>
                    </a:cubicBezTo>
                    <a:cubicBezTo>
                      <a:pt x="287" y="1094"/>
                      <a:pt x="281" y="1105"/>
                      <a:pt x="293" y="1113"/>
                    </a:cubicBezTo>
                    <a:cubicBezTo>
                      <a:pt x="305" y="1121"/>
                      <a:pt x="329" y="1130"/>
                      <a:pt x="332" y="1137"/>
                    </a:cubicBezTo>
                    <a:cubicBezTo>
                      <a:pt x="334" y="1143"/>
                      <a:pt x="347" y="1147"/>
                      <a:pt x="344" y="1169"/>
                    </a:cubicBezTo>
                    <a:cubicBezTo>
                      <a:pt x="345" y="1169"/>
                      <a:pt x="346" y="1170"/>
                      <a:pt x="347" y="1170"/>
                    </a:cubicBezTo>
                    <a:cubicBezTo>
                      <a:pt x="347" y="1170"/>
                      <a:pt x="347" y="1170"/>
                      <a:pt x="347" y="1171"/>
                    </a:cubicBezTo>
                    <a:cubicBezTo>
                      <a:pt x="348" y="1171"/>
                      <a:pt x="349" y="1172"/>
                      <a:pt x="350" y="1172"/>
                    </a:cubicBezTo>
                    <a:cubicBezTo>
                      <a:pt x="350" y="1173"/>
                      <a:pt x="350" y="1173"/>
                      <a:pt x="350" y="1173"/>
                    </a:cubicBezTo>
                    <a:cubicBezTo>
                      <a:pt x="351" y="1174"/>
                      <a:pt x="351" y="1174"/>
                      <a:pt x="352" y="1175"/>
                    </a:cubicBezTo>
                    <a:cubicBezTo>
                      <a:pt x="352" y="1175"/>
                      <a:pt x="352" y="1176"/>
                      <a:pt x="352" y="1176"/>
                    </a:cubicBezTo>
                    <a:cubicBezTo>
                      <a:pt x="353" y="1177"/>
                      <a:pt x="353" y="1178"/>
                      <a:pt x="354" y="1179"/>
                    </a:cubicBezTo>
                    <a:cubicBezTo>
                      <a:pt x="358" y="1191"/>
                      <a:pt x="372" y="1186"/>
                      <a:pt x="372" y="1198"/>
                    </a:cubicBezTo>
                    <a:cubicBezTo>
                      <a:pt x="372" y="1210"/>
                      <a:pt x="380" y="1218"/>
                      <a:pt x="387" y="1219"/>
                    </a:cubicBezTo>
                    <a:cubicBezTo>
                      <a:pt x="394" y="1220"/>
                      <a:pt x="391" y="1232"/>
                      <a:pt x="403" y="1232"/>
                    </a:cubicBezTo>
                    <a:cubicBezTo>
                      <a:pt x="415" y="1232"/>
                      <a:pt x="427" y="1238"/>
                      <a:pt x="430" y="1228"/>
                    </a:cubicBezTo>
                    <a:cubicBezTo>
                      <a:pt x="432" y="1219"/>
                      <a:pt x="438" y="1207"/>
                      <a:pt x="450" y="1216"/>
                    </a:cubicBezTo>
                    <a:cubicBezTo>
                      <a:pt x="462" y="1226"/>
                      <a:pt x="468" y="1231"/>
                      <a:pt x="478" y="1219"/>
                    </a:cubicBezTo>
                    <a:cubicBezTo>
                      <a:pt x="487" y="1207"/>
                      <a:pt x="495" y="1198"/>
                      <a:pt x="507" y="1219"/>
                    </a:cubicBezTo>
                    <a:cubicBezTo>
                      <a:pt x="519" y="1240"/>
                      <a:pt x="520" y="1254"/>
                      <a:pt x="543" y="1256"/>
                    </a:cubicBezTo>
                    <a:cubicBezTo>
                      <a:pt x="566" y="1259"/>
                      <a:pt x="552" y="1279"/>
                      <a:pt x="566" y="1279"/>
                    </a:cubicBezTo>
                    <a:cubicBezTo>
                      <a:pt x="566" y="1279"/>
                      <a:pt x="567" y="1279"/>
                      <a:pt x="568" y="1279"/>
                    </a:cubicBezTo>
                    <a:cubicBezTo>
                      <a:pt x="568" y="1279"/>
                      <a:pt x="568" y="1279"/>
                      <a:pt x="569" y="1279"/>
                    </a:cubicBezTo>
                    <a:cubicBezTo>
                      <a:pt x="569" y="1279"/>
                      <a:pt x="569" y="1279"/>
                      <a:pt x="570" y="1279"/>
                    </a:cubicBezTo>
                    <a:cubicBezTo>
                      <a:pt x="570" y="1278"/>
                      <a:pt x="570" y="1278"/>
                      <a:pt x="571" y="1278"/>
                    </a:cubicBezTo>
                    <a:cubicBezTo>
                      <a:pt x="571" y="1278"/>
                      <a:pt x="571" y="1278"/>
                      <a:pt x="571" y="1278"/>
                    </a:cubicBezTo>
                    <a:cubicBezTo>
                      <a:pt x="572" y="1278"/>
                      <a:pt x="572" y="1278"/>
                      <a:pt x="572" y="1277"/>
                    </a:cubicBezTo>
                    <a:cubicBezTo>
                      <a:pt x="572" y="1277"/>
                      <a:pt x="572" y="1277"/>
                      <a:pt x="572" y="1277"/>
                    </a:cubicBezTo>
                    <a:cubicBezTo>
                      <a:pt x="576" y="1275"/>
                      <a:pt x="578" y="1272"/>
                      <a:pt x="581" y="1270"/>
                    </a:cubicBezTo>
                    <a:cubicBezTo>
                      <a:pt x="581" y="1270"/>
                      <a:pt x="581" y="1270"/>
                      <a:pt x="581" y="1270"/>
                    </a:cubicBezTo>
                    <a:cubicBezTo>
                      <a:pt x="582" y="1269"/>
                      <a:pt x="582" y="1269"/>
                      <a:pt x="583" y="1269"/>
                    </a:cubicBezTo>
                    <a:cubicBezTo>
                      <a:pt x="583" y="1269"/>
                      <a:pt x="583" y="1269"/>
                      <a:pt x="583" y="1269"/>
                    </a:cubicBezTo>
                    <a:cubicBezTo>
                      <a:pt x="584" y="1268"/>
                      <a:pt x="585" y="1268"/>
                      <a:pt x="586" y="1267"/>
                    </a:cubicBezTo>
                    <a:cubicBezTo>
                      <a:pt x="587" y="1267"/>
                      <a:pt x="587" y="1267"/>
                      <a:pt x="587" y="1267"/>
                    </a:cubicBezTo>
                    <a:cubicBezTo>
                      <a:pt x="587" y="1267"/>
                      <a:pt x="588" y="1267"/>
                      <a:pt x="589" y="1267"/>
                    </a:cubicBezTo>
                    <a:cubicBezTo>
                      <a:pt x="589" y="1267"/>
                      <a:pt x="589" y="1267"/>
                      <a:pt x="589" y="1267"/>
                    </a:cubicBezTo>
                    <a:cubicBezTo>
                      <a:pt x="590" y="1267"/>
                      <a:pt x="591" y="1267"/>
                      <a:pt x="591" y="1267"/>
                    </a:cubicBezTo>
                    <a:cubicBezTo>
                      <a:pt x="592" y="1267"/>
                      <a:pt x="592" y="1267"/>
                      <a:pt x="592" y="1267"/>
                    </a:cubicBezTo>
                    <a:cubicBezTo>
                      <a:pt x="593" y="1267"/>
                      <a:pt x="594" y="1267"/>
                      <a:pt x="595" y="1267"/>
                    </a:cubicBezTo>
                    <a:cubicBezTo>
                      <a:pt x="614" y="1270"/>
                      <a:pt x="634" y="1260"/>
                      <a:pt x="642" y="1270"/>
                    </a:cubicBezTo>
                    <a:cubicBezTo>
                      <a:pt x="650" y="1279"/>
                      <a:pt x="658" y="1283"/>
                      <a:pt x="664" y="1276"/>
                    </a:cubicBezTo>
                    <a:cubicBezTo>
                      <a:pt x="671" y="1270"/>
                      <a:pt x="670" y="1263"/>
                      <a:pt x="684" y="1263"/>
                    </a:cubicBezTo>
                    <a:cubicBezTo>
                      <a:pt x="699" y="1263"/>
                      <a:pt x="711" y="1251"/>
                      <a:pt x="720" y="1259"/>
                    </a:cubicBezTo>
                    <a:cubicBezTo>
                      <a:pt x="730" y="1267"/>
                      <a:pt x="743" y="1268"/>
                      <a:pt x="758" y="1250"/>
                    </a:cubicBezTo>
                    <a:cubicBezTo>
                      <a:pt x="759" y="1249"/>
                      <a:pt x="759" y="1248"/>
                      <a:pt x="760" y="1247"/>
                    </a:cubicBezTo>
                    <a:cubicBezTo>
                      <a:pt x="760" y="1247"/>
                      <a:pt x="761" y="1246"/>
                      <a:pt x="761" y="1246"/>
                    </a:cubicBezTo>
                    <a:cubicBezTo>
                      <a:pt x="761" y="1246"/>
                      <a:pt x="762" y="1245"/>
                      <a:pt x="762" y="1245"/>
                    </a:cubicBezTo>
                    <a:cubicBezTo>
                      <a:pt x="763" y="1244"/>
                      <a:pt x="763" y="1244"/>
                      <a:pt x="763" y="1244"/>
                    </a:cubicBezTo>
                    <a:cubicBezTo>
                      <a:pt x="764" y="1243"/>
                      <a:pt x="764" y="1243"/>
                      <a:pt x="765" y="1242"/>
                    </a:cubicBezTo>
                    <a:cubicBezTo>
                      <a:pt x="765" y="1242"/>
                      <a:pt x="765" y="1242"/>
                      <a:pt x="765" y="1242"/>
                    </a:cubicBezTo>
                    <a:cubicBezTo>
                      <a:pt x="766" y="1242"/>
                      <a:pt x="767" y="1241"/>
                      <a:pt x="767" y="1241"/>
                    </a:cubicBezTo>
                    <a:cubicBezTo>
                      <a:pt x="767" y="1241"/>
                      <a:pt x="767" y="1241"/>
                      <a:pt x="768" y="1241"/>
                    </a:cubicBezTo>
                    <a:cubicBezTo>
                      <a:pt x="768" y="1241"/>
                      <a:pt x="769" y="1240"/>
                      <a:pt x="769" y="1240"/>
                    </a:cubicBezTo>
                    <a:cubicBezTo>
                      <a:pt x="769" y="1240"/>
                      <a:pt x="769" y="1240"/>
                      <a:pt x="769" y="1240"/>
                    </a:cubicBezTo>
                    <a:cubicBezTo>
                      <a:pt x="773" y="1239"/>
                      <a:pt x="776" y="1239"/>
                      <a:pt x="778" y="1238"/>
                    </a:cubicBezTo>
                    <a:cubicBezTo>
                      <a:pt x="778" y="1238"/>
                      <a:pt x="778" y="1238"/>
                      <a:pt x="778" y="1238"/>
                    </a:cubicBezTo>
                    <a:cubicBezTo>
                      <a:pt x="778" y="1238"/>
                      <a:pt x="778" y="1238"/>
                      <a:pt x="779" y="1238"/>
                    </a:cubicBezTo>
                    <a:cubicBezTo>
                      <a:pt x="779" y="1237"/>
                      <a:pt x="779" y="1237"/>
                      <a:pt x="779" y="1237"/>
                    </a:cubicBezTo>
                    <a:cubicBezTo>
                      <a:pt x="779" y="1237"/>
                      <a:pt x="779" y="1237"/>
                      <a:pt x="780" y="1237"/>
                    </a:cubicBezTo>
                    <a:cubicBezTo>
                      <a:pt x="780" y="1237"/>
                      <a:pt x="780" y="1237"/>
                      <a:pt x="780" y="1237"/>
                    </a:cubicBezTo>
                    <a:cubicBezTo>
                      <a:pt x="780" y="1237"/>
                      <a:pt x="780" y="1236"/>
                      <a:pt x="781" y="1236"/>
                    </a:cubicBezTo>
                    <a:cubicBezTo>
                      <a:pt x="781" y="1236"/>
                      <a:pt x="781" y="1236"/>
                      <a:pt x="781" y="1236"/>
                    </a:cubicBezTo>
                    <a:cubicBezTo>
                      <a:pt x="781" y="1235"/>
                      <a:pt x="781" y="1235"/>
                      <a:pt x="781" y="1234"/>
                    </a:cubicBezTo>
                    <a:cubicBezTo>
                      <a:pt x="782" y="1234"/>
                      <a:pt x="782" y="1234"/>
                      <a:pt x="782" y="1234"/>
                    </a:cubicBezTo>
                    <a:cubicBezTo>
                      <a:pt x="782" y="1233"/>
                      <a:pt x="782" y="1233"/>
                      <a:pt x="782" y="1232"/>
                    </a:cubicBezTo>
                    <a:cubicBezTo>
                      <a:pt x="783" y="1232"/>
                      <a:pt x="783" y="1231"/>
                      <a:pt x="783" y="1230"/>
                    </a:cubicBezTo>
                    <a:cubicBezTo>
                      <a:pt x="787" y="1214"/>
                      <a:pt x="794" y="1204"/>
                      <a:pt x="808" y="1204"/>
                    </a:cubicBezTo>
                    <a:cubicBezTo>
                      <a:pt x="823" y="1204"/>
                      <a:pt x="828" y="1191"/>
                      <a:pt x="844" y="1191"/>
                    </a:cubicBezTo>
                    <a:cubicBezTo>
                      <a:pt x="860" y="1191"/>
                      <a:pt x="859" y="1196"/>
                      <a:pt x="864" y="1204"/>
                    </a:cubicBezTo>
                    <a:cubicBezTo>
                      <a:pt x="870" y="1212"/>
                      <a:pt x="882" y="1215"/>
                      <a:pt x="887" y="1214"/>
                    </a:cubicBezTo>
                    <a:cubicBezTo>
                      <a:pt x="887" y="1214"/>
                      <a:pt x="888" y="1214"/>
                      <a:pt x="888" y="1214"/>
                    </a:cubicBezTo>
                    <a:cubicBezTo>
                      <a:pt x="888" y="1201"/>
                      <a:pt x="889" y="1182"/>
                      <a:pt x="889" y="1175"/>
                    </a:cubicBezTo>
                    <a:cubicBezTo>
                      <a:pt x="889" y="1164"/>
                      <a:pt x="882" y="1164"/>
                      <a:pt x="863" y="1161"/>
                    </a:cubicBezTo>
                    <a:cubicBezTo>
                      <a:pt x="844" y="1158"/>
                      <a:pt x="848" y="1153"/>
                      <a:pt x="843" y="1146"/>
                    </a:cubicBezTo>
                    <a:cubicBezTo>
                      <a:pt x="838" y="1139"/>
                      <a:pt x="836" y="1118"/>
                      <a:pt x="831" y="1102"/>
                    </a:cubicBezTo>
                    <a:cubicBezTo>
                      <a:pt x="826" y="1086"/>
                      <a:pt x="812" y="1068"/>
                      <a:pt x="798" y="1064"/>
                    </a:cubicBezTo>
                    <a:cubicBezTo>
                      <a:pt x="784" y="1060"/>
                      <a:pt x="775" y="1049"/>
                      <a:pt x="773" y="1040"/>
                    </a:cubicBezTo>
                    <a:cubicBezTo>
                      <a:pt x="771" y="1031"/>
                      <a:pt x="770" y="1026"/>
                      <a:pt x="758" y="1026"/>
                    </a:cubicBezTo>
                    <a:cubicBezTo>
                      <a:pt x="746" y="1026"/>
                      <a:pt x="747" y="1016"/>
                      <a:pt x="743" y="1013"/>
                    </a:cubicBezTo>
                    <a:cubicBezTo>
                      <a:pt x="739" y="1010"/>
                      <a:pt x="731" y="1011"/>
                      <a:pt x="721" y="1011"/>
                    </a:cubicBezTo>
                    <a:cubicBezTo>
                      <a:pt x="711" y="1011"/>
                      <a:pt x="705" y="998"/>
                      <a:pt x="714" y="993"/>
                    </a:cubicBezTo>
                    <a:cubicBezTo>
                      <a:pt x="723" y="988"/>
                      <a:pt x="718" y="979"/>
                      <a:pt x="721" y="970"/>
                    </a:cubicBezTo>
                    <a:cubicBezTo>
                      <a:pt x="724" y="961"/>
                      <a:pt x="735" y="962"/>
                      <a:pt x="747" y="968"/>
                    </a:cubicBezTo>
                    <a:cubicBezTo>
                      <a:pt x="759" y="974"/>
                      <a:pt x="772" y="969"/>
                      <a:pt x="780" y="961"/>
                    </a:cubicBezTo>
                    <a:cubicBezTo>
                      <a:pt x="788" y="953"/>
                      <a:pt x="783" y="906"/>
                      <a:pt x="782" y="890"/>
                    </a:cubicBezTo>
                    <a:cubicBezTo>
                      <a:pt x="781" y="874"/>
                      <a:pt x="786" y="868"/>
                      <a:pt x="794" y="860"/>
                    </a:cubicBezTo>
                    <a:cubicBezTo>
                      <a:pt x="802" y="852"/>
                      <a:pt x="797" y="846"/>
                      <a:pt x="793" y="839"/>
                    </a:cubicBezTo>
                    <a:cubicBezTo>
                      <a:pt x="789" y="832"/>
                      <a:pt x="796" y="822"/>
                      <a:pt x="798" y="818"/>
                    </a:cubicBezTo>
                    <a:cubicBezTo>
                      <a:pt x="800" y="814"/>
                      <a:pt x="805" y="808"/>
                      <a:pt x="816" y="809"/>
                    </a:cubicBezTo>
                    <a:cubicBezTo>
                      <a:pt x="827" y="810"/>
                      <a:pt x="818" y="827"/>
                      <a:pt x="831" y="821"/>
                    </a:cubicBezTo>
                    <a:cubicBezTo>
                      <a:pt x="844" y="815"/>
                      <a:pt x="838" y="802"/>
                      <a:pt x="834" y="793"/>
                    </a:cubicBezTo>
                    <a:cubicBezTo>
                      <a:pt x="830" y="784"/>
                      <a:pt x="841" y="780"/>
                      <a:pt x="840" y="772"/>
                    </a:cubicBezTo>
                    <a:cubicBezTo>
                      <a:pt x="839" y="764"/>
                      <a:pt x="842" y="756"/>
                      <a:pt x="850" y="751"/>
                    </a:cubicBezTo>
                    <a:cubicBezTo>
                      <a:pt x="858" y="746"/>
                      <a:pt x="862" y="731"/>
                      <a:pt x="870" y="713"/>
                    </a:cubicBezTo>
                    <a:cubicBezTo>
                      <a:pt x="878" y="695"/>
                      <a:pt x="888" y="693"/>
                      <a:pt x="904" y="693"/>
                    </a:cubicBezTo>
                    <a:cubicBezTo>
                      <a:pt x="920" y="693"/>
                      <a:pt x="914" y="673"/>
                      <a:pt x="916" y="662"/>
                    </a:cubicBezTo>
                    <a:cubicBezTo>
                      <a:pt x="918" y="651"/>
                      <a:pt x="917" y="645"/>
                      <a:pt x="925" y="634"/>
                    </a:cubicBezTo>
                    <a:cubicBezTo>
                      <a:pt x="925" y="633"/>
                      <a:pt x="926" y="632"/>
                      <a:pt x="927" y="631"/>
                    </a:cubicBezTo>
                    <a:cubicBezTo>
                      <a:pt x="927" y="630"/>
                      <a:pt x="927" y="630"/>
                      <a:pt x="927" y="630"/>
                    </a:cubicBezTo>
                    <a:cubicBezTo>
                      <a:pt x="927" y="629"/>
                      <a:pt x="928" y="628"/>
                      <a:pt x="928" y="626"/>
                    </a:cubicBezTo>
                    <a:cubicBezTo>
                      <a:pt x="928" y="626"/>
                      <a:pt x="928" y="626"/>
                      <a:pt x="928" y="626"/>
                    </a:cubicBezTo>
                    <a:cubicBezTo>
                      <a:pt x="929" y="625"/>
                      <a:pt x="929" y="624"/>
                      <a:pt x="929" y="622"/>
                    </a:cubicBezTo>
                    <a:cubicBezTo>
                      <a:pt x="929" y="622"/>
                      <a:pt x="929" y="622"/>
                      <a:pt x="930" y="621"/>
                    </a:cubicBezTo>
                    <a:cubicBezTo>
                      <a:pt x="930" y="620"/>
                      <a:pt x="930" y="619"/>
                      <a:pt x="930" y="617"/>
                    </a:cubicBezTo>
                    <a:cubicBezTo>
                      <a:pt x="930" y="617"/>
                      <a:pt x="930" y="617"/>
                      <a:pt x="930" y="617"/>
                    </a:cubicBezTo>
                    <a:cubicBezTo>
                      <a:pt x="930" y="615"/>
                      <a:pt x="931" y="614"/>
                      <a:pt x="931" y="612"/>
                    </a:cubicBezTo>
                    <a:cubicBezTo>
                      <a:pt x="931" y="612"/>
                      <a:pt x="931" y="612"/>
                      <a:pt x="931" y="612"/>
                    </a:cubicBezTo>
                    <a:cubicBezTo>
                      <a:pt x="931" y="610"/>
                      <a:pt x="931" y="609"/>
                      <a:pt x="931" y="607"/>
                    </a:cubicBezTo>
                    <a:cubicBezTo>
                      <a:pt x="931" y="607"/>
                      <a:pt x="931" y="607"/>
                      <a:pt x="931" y="606"/>
                    </a:cubicBezTo>
                    <a:cubicBezTo>
                      <a:pt x="931" y="605"/>
                      <a:pt x="931" y="603"/>
                      <a:pt x="931" y="602"/>
                    </a:cubicBezTo>
                    <a:cubicBezTo>
                      <a:pt x="931" y="602"/>
                      <a:pt x="931" y="602"/>
                      <a:pt x="931" y="602"/>
                    </a:cubicBezTo>
                    <a:cubicBezTo>
                      <a:pt x="931" y="600"/>
                      <a:pt x="931" y="598"/>
                      <a:pt x="931" y="597"/>
                    </a:cubicBezTo>
                    <a:cubicBezTo>
                      <a:pt x="931" y="597"/>
                      <a:pt x="931" y="597"/>
                      <a:pt x="931" y="597"/>
                    </a:cubicBezTo>
                    <a:cubicBezTo>
                      <a:pt x="931" y="593"/>
                      <a:pt x="931" y="589"/>
                      <a:pt x="931" y="586"/>
                    </a:cubicBezTo>
                    <a:cubicBezTo>
                      <a:pt x="931" y="572"/>
                      <a:pt x="935" y="553"/>
                      <a:pt x="929" y="542"/>
                    </a:cubicBezTo>
                    <a:cubicBezTo>
                      <a:pt x="923" y="531"/>
                      <a:pt x="929" y="527"/>
                      <a:pt x="935" y="522"/>
                    </a:cubicBezTo>
                    <a:cubicBezTo>
                      <a:pt x="941" y="517"/>
                      <a:pt x="945" y="508"/>
                      <a:pt x="945" y="500"/>
                    </a:cubicBezTo>
                    <a:cubicBezTo>
                      <a:pt x="945" y="492"/>
                      <a:pt x="950" y="485"/>
                      <a:pt x="955" y="477"/>
                    </a:cubicBezTo>
                    <a:cubicBezTo>
                      <a:pt x="960" y="469"/>
                      <a:pt x="968" y="459"/>
                      <a:pt x="965" y="451"/>
                    </a:cubicBezTo>
                    <a:cubicBezTo>
                      <a:pt x="962" y="443"/>
                      <a:pt x="964" y="431"/>
                      <a:pt x="965" y="420"/>
                    </a:cubicBezTo>
                    <a:cubicBezTo>
                      <a:pt x="966" y="409"/>
                      <a:pt x="972" y="409"/>
                      <a:pt x="983" y="407"/>
                    </a:cubicBezTo>
                    <a:cubicBezTo>
                      <a:pt x="994" y="405"/>
                      <a:pt x="998" y="404"/>
                      <a:pt x="998" y="395"/>
                    </a:cubicBezTo>
                    <a:cubicBezTo>
                      <a:pt x="998" y="386"/>
                      <a:pt x="1003" y="383"/>
                      <a:pt x="1012" y="383"/>
                    </a:cubicBezTo>
                    <a:cubicBezTo>
                      <a:pt x="1021" y="383"/>
                      <a:pt x="1031" y="374"/>
                      <a:pt x="1044" y="370"/>
                    </a:cubicBezTo>
                    <a:cubicBezTo>
                      <a:pt x="1057" y="366"/>
                      <a:pt x="1061" y="354"/>
                      <a:pt x="1061" y="348"/>
                    </a:cubicBezTo>
                    <a:cubicBezTo>
                      <a:pt x="1061" y="345"/>
                      <a:pt x="1064" y="341"/>
                      <a:pt x="1068" y="338"/>
                    </a:cubicBezTo>
                    <a:cubicBezTo>
                      <a:pt x="1064" y="334"/>
                      <a:pt x="1061" y="331"/>
                      <a:pt x="1058" y="328"/>
                    </a:cubicBezTo>
                    <a:cubicBezTo>
                      <a:pt x="1047" y="316"/>
                      <a:pt x="998" y="299"/>
                      <a:pt x="993" y="272"/>
                    </a:cubicBezTo>
                    <a:cubicBezTo>
                      <a:pt x="987" y="245"/>
                      <a:pt x="984" y="208"/>
                      <a:pt x="984" y="185"/>
                    </a:cubicBezTo>
                    <a:cubicBezTo>
                      <a:pt x="984" y="161"/>
                      <a:pt x="994" y="149"/>
                      <a:pt x="984" y="133"/>
                    </a:cubicBezTo>
                    <a:cubicBezTo>
                      <a:pt x="975" y="117"/>
                      <a:pt x="967" y="116"/>
                      <a:pt x="967" y="100"/>
                    </a:cubicBezTo>
                    <a:cubicBezTo>
                      <a:pt x="967" y="84"/>
                      <a:pt x="968" y="72"/>
                      <a:pt x="954" y="63"/>
                    </a:cubicBezTo>
                    <a:cubicBezTo>
                      <a:pt x="940" y="55"/>
                      <a:pt x="926" y="33"/>
                      <a:pt x="911" y="31"/>
                    </a:cubicBezTo>
                    <a:cubicBezTo>
                      <a:pt x="896" y="29"/>
                      <a:pt x="891" y="22"/>
                      <a:pt x="882" y="1"/>
                    </a:cubicBezTo>
                    <a:cubicBezTo>
                      <a:pt x="882" y="1"/>
                      <a:pt x="882" y="0"/>
                      <a:pt x="882" y="0"/>
                    </a:cubicBezTo>
                    <a:cubicBezTo>
                      <a:pt x="875" y="7"/>
                      <a:pt x="869" y="14"/>
                      <a:pt x="867" y="18"/>
                    </a:cubicBezTo>
                    <a:cubicBezTo>
                      <a:pt x="862" y="24"/>
                      <a:pt x="856" y="25"/>
                      <a:pt x="843" y="2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0" name="Freeform 394">
                <a:extLst>
                  <a:ext uri="{FF2B5EF4-FFF2-40B4-BE49-F238E27FC236}">
                    <a16:creationId xmlns:a16="http://schemas.microsoft.com/office/drawing/2014/main" id="{077CB00C-00FD-2148-9708-3AB7AA405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9" y="2337"/>
                <a:ext cx="248" cy="191"/>
              </a:xfrm>
              <a:custGeom>
                <a:avLst/>
                <a:gdLst>
                  <a:gd name="T0" fmla="*/ 226 w 981"/>
                  <a:gd name="T1" fmla="*/ 61 h 754"/>
                  <a:gd name="T2" fmla="*/ 226 w 981"/>
                  <a:gd name="T3" fmla="*/ 67 h 754"/>
                  <a:gd name="T4" fmla="*/ 225 w 981"/>
                  <a:gd name="T5" fmla="*/ 76 h 754"/>
                  <a:gd name="T6" fmla="*/ 223 w 981"/>
                  <a:gd name="T7" fmla="*/ 81 h 754"/>
                  <a:gd name="T8" fmla="*/ 220 w 981"/>
                  <a:gd name="T9" fmla="*/ 89 h 754"/>
                  <a:gd name="T10" fmla="*/ 165 w 981"/>
                  <a:gd name="T11" fmla="*/ 168 h 754"/>
                  <a:gd name="T12" fmla="*/ 129 w 981"/>
                  <a:gd name="T13" fmla="*/ 248 h 754"/>
                  <a:gd name="T14" fmla="*/ 93 w 981"/>
                  <a:gd name="T15" fmla="*/ 273 h 754"/>
                  <a:gd name="T16" fmla="*/ 77 w 981"/>
                  <a:gd name="T17" fmla="*/ 345 h 754"/>
                  <a:gd name="T18" fmla="*/ 16 w 981"/>
                  <a:gd name="T19" fmla="*/ 425 h 754"/>
                  <a:gd name="T20" fmla="*/ 38 w 981"/>
                  <a:gd name="T21" fmla="*/ 468 h 754"/>
                  <a:gd name="T22" fmla="*/ 93 w 981"/>
                  <a:gd name="T23" fmla="*/ 519 h 754"/>
                  <a:gd name="T24" fmla="*/ 158 w 981"/>
                  <a:gd name="T25" fmla="*/ 616 h 754"/>
                  <a:gd name="T26" fmla="*/ 183 w 981"/>
                  <a:gd name="T27" fmla="*/ 669 h 754"/>
                  <a:gd name="T28" fmla="*/ 185 w 981"/>
                  <a:gd name="T29" fmla="*/ 669 h 754"/>
                  <a:gd name="T30" fmla="*/ 186 w 981"/>
                  <a:gd name="T31" fmla="*/ 670 h 754"/>
                  <a:gd name="T32" fmla="*/ 187 w 981"/>
                  <a:gd name="T33" fmla="*/ 672 h 754"/>
                  <a:gd name="T34" fmla="*/ 188 w 981"/>
                  <a:gd name="T35" fmla="*/ 674 h 754"/>
                  <a:gd name="T36" fmla="*/ 190 w 981"/>
                  <a:gd name="T37" fmla="*/ 676 h 754"/>
                  <a:gd name="T38" fmla="*/ 192 w 981"/>
                  <a:gd name="T39" fmla="*/ 677 h 754"/>
                  <a:gd name="T40" fmla="*/ 195 w 981"/>
                  <a:gd name="T41" fmla="*/ 679 h 754"/>
                  <a:gd name="T42" fmla="*/ 199 w 981"/>
                  <a:gd name="T43" fmla="*/ 680 h 754"/>
                  <a:gd name="T44" fmla="*/ 203 w 981"/>
                  <a:gd name="T45" fmla="*/ 681 h 754"/>
                  <a:gd name="T46" fmla="*/ 330 w 981"/>
                  <a:gd name="T47" fmla="*/ 729 h 754"/>
                  <a:gd name="T48" fmla="*/ 470 w 981"/>
                  <a:gd name="T49" fmla="*/ 703 h 754"/>
                  <a:gd name="T50" fmla="*/ 537 w 981"/>
                  <a:gd name="T51" fmla="*/ 709 h 754"/>
                  <a:gd name="T52" fmla="*/ 565 w 981"/>
                  <a:gd name="T53" fmla="*/ 713 h 754"/>
                  <a:gd name="T54" fmla="*/ 571 w 981"/>
                  <a:gd name="T55" fmla="*/ 711 h 754"/>
                  <a:gd name="T56" fmla="*/ 575 w 981"/>
                  <a:gd name="T57" fmla="*/ 707 h 754"/>
                  <a:gd name="T58" fmla="*/ 715 w 981"/>
                  <a:gd name="T59" fmla="*/ 647 h 754"/>
                  <a:gd name="T60" fmla="*/ 929 w 981"/>
                  <a:gd name="T61" fmla="*/ 490 h 754"/>
                  <a:gd name="T62" fmla="*/ 715 w 981"/>
                  <a:gd name="T63" fmla="*/ 390 h 754"/>
                  <a:gd name="T64" fmla="*/ 629 w 981"/>
                  <a:gd name="T65" fmla="*/ 273 h 754"/>
                  <a:gd name="T66" fmla="*/ 636 w 981"/>
                  <a:gd name="T67" fmla="*/ 266 h 754"/>
                  <a:gd name="T68" fmla="*/ 638 w 981"/>
                  <a:gd name="T69" fmla="*/ 262 h 754"/>
                  <a:gd name="T70" fmla="*/ 642 w 981"/>
                  <a:gd name="T71" fmla="*/ 256 h 754"/>
                  <a:gd name="T72" fmla="*/ 644 w 981"/>
                  <a:gd name="T73" fmla="*/ 251 h 754"/>
                  <a:gd name="T74" fmla="*/ 622 w 981"/>
                  <a:gd name="T75" fmla="*/ 249 h 754"/>
                  <a:gd name="T76" fmla="*/ 572 w 981"/>
                  <a:gd name="T77" fmla="*/ 258 h 754"/>
                  <a:gd name="T78" fmla="*/ 599 w 981"/>
                  <a:gd name="T79" fmla="*/ 176 h 754"/>
                  <a:gd name="T80" fmla="*/ 562 w 981"/>
                  <a:gd name="T81" fmla="*/ 114 h 754"/>
                  <a:gd name="T82" fmla="*/ 494 w 981"/>
                  <a:gd name="T83" fmla="*/ 50 h 754"/>
                  <a:gd name="T84" fmla="*/ 401 w 981"/>
                  <a:gd name="T85" fmla="*/ 30 h 754"/>
                  <a:gd name="T86" fmla="*/ 330 w 981"/>
                  <a:gd name="T87" fmla="*/ 13 h 754"/>
                  <a:gd name="T88" fmla="*/ 299 w 981"/>
                  <a:gd name="T89" fmla="*/ 60 h 754"/>
                  <a:gd name="T90" fmla="*/ 261 w 981"/>
                  <a:gd name="T91" fmla="*/ 43 h 754"/>
                  <a:gd name="T92" fmla="*/ 226 w 981"/>
                  <a:gd name="T93" fmla="*/ 57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81" h="754">
                    <a:moveTo>
                      <a:pt x="226" y="57"/>
                    </a:moveTo>
                    <a:cubicBezTo>
                      <a:pt x="226" y="57"/>
                      <a:pt x="226" y="57"/>
                      <a:pt x="226" y="57"/>
                    </a:cubicBezTo>
                    <a:cubicBezTo>
                      <a:pt x="226" y="58"/>
                      <a:pt x="226" y="60"/>
                      <a:pt x="226" y="61"/>
                    </a:cubicBezTo>
                    <a:cubicBezTo>
                      <a:pt x="226" y="62"/>
                      <a:pt x="226" y="62"/>
                      <a:pt x="226" y="62"/>
                    </a:cubicBezTo>
                    <a:cubicBezTo>
                      <a:pt x="226" y="64"/>
                      <a:pt x="226" y="65"/>
                      <a:pt x="226" y="67"/>
                    </a:cubicBezTo>
                    <a:cubicBezTo>
                      <a:pt x="226" y="67"/>
                      <a:pt x="226" y="67"/>
                      <a:pt x="226" y="67"/>
                    </a:cubicBezTo>
                    <a:cubicBezTo>
                      <a:pt x="226" y="69"/>
                      <a:pt x="225" y="70"/>
                      <a:pt x="225" y="72"/>
                    </a:cubicBezTo>
                    <a:cubicBezTo>
                      <a:pt x="225" y="72"/>
                      <a:pt x="225" y="72"/>
                      <a:pt x="225" y="72"/>
                    </a:cubicBezTo>
                    <a:cubicBezTo>
                      <a:pt x="225" y="74"/>
                      <a:pt x="225" y="75"/>
                      <a:pt x="225" y="76"/>
                    </a:cubicBezTo>
                    <a:cubicBezTo>
                      <a:pt x="224" y="77"/>
                      <a:pt x="224" y="77"/>
                      <a:pt x="224" y="77"/>
                    </a:cubicBezTo>
                    <a:cubicBezTo>
                      <a:pt x="224" y="79"/>
                      <a:pt x="224" y="80"/>
                      <a:pt x="223" y="81"/>
                    </a:cubicBezTo>
                    <a:cubicBezTo>
                      <a:pt x="223" y="81"/>
                      <a:pt x="223" y="81"/>
                      <a:pt x="223" y="81"/>
                    </a:cubicBezTo>
                    <a:cubicBezTo>
                      <a:pt x="223" y="83"/>
                      <a:pt x="222" y="84"/>
                      <a:pt x="222" y="85"/>
                    </a:cubicBezTo>
                    <a:cubicBezTo>
                      <a:pt x="222" y="85"/>
                      <a:pt x="222" y="85"/>
                      <a:pt x="222" y="86"/>
                    </a:cubicBezTo>
                    <a:cubicBezTo>
                      <a:pt x="221" y="87"/>
                      <a:pt x="220" y="88"/>
                      <a:pt x="220" y="89"/>
                    </a:cubicBezTo>
                    <a:cubicBezTo>
                      <a:pt x="212" y="100"/>
                      <a:pt x="213" y="106"/>
                      <a:pt x="211" y="117"/>
                    </a:cubicBezTo>
                    <a:cubicBezTo>
                      <a:pt x="209" y="128"/>
                      <a:pt x="215" y="148"/>
                      <a:pt x="199" y="148"/>
                    </a:cubicBezTo>
                    <a:cubicBezTo>
                      <a:pt x="183" y="148"/>
                      <a:pt x="173" y="150"/>
                      <a:pt x="165" y="168"/>
                    </a:cubicBezTo>
                    <a:cubicBezTo>
                      <a:pt x="157" y="186"/>
                      <a:pt x="153" y="201"/>
                      <a:pt x="145" y="206"/>
                    </a:cubicBezTo>
                    <a:cubicBezTo>
                      <a:pt x="137" y="211"/>
                      <a:pt x="134" y="219"/>
                      <a:pt x="135" y="227"/>
                    </a:cubicBezTo>
                    <a:cubicBezTo>
                      <a:pt x="136" y="235"/>
                      <a:pt x="125" y="239"/>
                      <a:pt x="129" y="248"/>
                    </a:cubicBezTo>
                    <a:cubicBezTo>
                      <a:pt x="133" y="257"/>
                      <a:pt x="139" y="270"/>
                      <a:pt x="126" y="276"/>
                    </a:cubicBezTo>
                    <a:cubicBezTo>
                      <a:pt x="113" y="282"/>
                      <a:pt x="122" y="265"/>
                      <a:pt x="111" y="264"/>
                    </a:cubicBezTo>
                    <a:cubicBezTo>
                      <a:pt x="100" y="263"/>
                      <a:pt x="95" y="269"/>
                      <a:pt x="93" y="273"/>
                    </a:cubicBezTo>
                    <a:cubicBezTo>
                      <a:pt x="91" y="277"/>
                      <a:pt x="84" y="287"/>
                      <a:pt x="88" y="294"/>
                    </a:cubicBezTo>
                    <a:cubicBezTo>
                      <a:pt x="92" y="301"/>
                      <a:pt x="97" y="307"/>
                      <a:pt x="89" y="315"/>
                    </a:cubicBezTo>
                    <a:cubicBezTo>
                      <a:pt x="81" y="323"/>
                      <a:pt x="76" y="329"/>
                      <a:pt x="77" y="345"/>
                    </a:cubicBezTo>
                    <a:cubicBezTo>
                      <a:pt x="78" y="361"/>
                      <a:pt x="83" y="408"/>
                      <a:pt x="75" y="416"/>
                    </a:cubicBezTo>
                    <a:cubicBezTo>
                      <a:pt x="67" y="424"/>
                      <a:pt x="54" y="429"/>
                      <a:pt x="42" y="423"/>
                    </a:cubicBezTo>
                    <a:cubicBezTo>
                      <a:pt x="30" y="417"/>
                      <a:pt x="19" y="416"/>
                      <a:pt x="16" y="425"/>
                    </a:cubicBezTo>
                    <a:cubicBezTo>
                      <a:pt x="13" y="434"/>
                      <a:pt x="18" y="443"/>
                      <a:pt x="9" y="448"/>
                    </a:cubicBezTo>
                    <a:cubicBezTo>
                      <a:pt x="0" y="453"/>
                      <a:pt x="6" y="466"/>
                      <a:pt x="16" y="466"/>
                    </a:cubicBezTo>
                    <a:cubicBezTo>
                      <a:pt x="26" y="466"/>
                      <a:pt x="34" y="465"/>
                      <a:pt x="38" y="468"/>
                    </a:cubicBezTo>
                    <a:cubicBezTo>
                      <a:pt x="42" y="471"/>
                      <a:pt x="41" y="481"/>
                      <a:pt x="53" y="481"/>
                    </a:cubicBezTo>
                    <a:cubicBezTo>
                      <a:pt x="65" y="481"/>
                      <a:pt x="66" y="486"/>
                      <a:pt x="68" y="495"/>
                    </a:cubicBezTo>
                    <a:cubicBezTo>
                      <a:pt x="70" y="504"/>
                      <a:pt x="79" y="515"/>
                      <a:pt x="93" y="519"/>
                    </a:cubicBezTo>
                    <a:cubicBezTo>
                      <a:pt x="107" y="523"/>
                      <a:pt x="121" y="541"/>
                      <a:pt x="126" y="557"/>
                    </a:cubicBezTo>
                    <a:cubicBezTo>
                      <a:pt x="131" y="573"/>
                      <a:pt x="133" y="594"/>
                      <a:pt x="138" y="601"/>
                    </a:cubicBezTo>
                    <a:cubicBezTo>
                      <a:pt x="143" y="608"/>
                      <a:pt x="139" y="613"/>
                      <a:pt x="158" y="616"/>
                    </a:cubicBezTo>
                    <a:cubicBezTo>
                      <a:pt x="177" y="619"/>
                      <a:pt x="184" y="619"/>
                      <a:pt x="184" y="630"/>
                    </a:cubicBezTo>
                    <a:cubicBezTo>
                      <a:pt x="184" y="637"/>
                      <a:pt x="183" y="656"/>
                      <a:pt x="183" y="669"/>
                    </a:cubicBezTo>
                    <a:cubicBezTo>
                      <a:pt x="183" y="669"/>
                      <a:pt x="183" y="669"/>
                      <a:pt x="183" y="669"/>
                    </a:cubicBezTo>
                    <a:cubicBezTo>
                      <a:pt x="183" y="669"/>
                      <a:pt x="184" y="669"/>
                      <a:pt x="184" y="669"/>
                    </a:cubicBezTo>
                    <a:cubicBezTo>
                      <a:pt x="184" y="669"/>
                      <a:pt x="184" y="669"/>
                      <a:pt x="184" y="669"/>
                    </a:cubicBezTo>
                    <a:cubicBezTo>
                      <a:pt x="184" y="669"/>
                      <a:pt x="184" y="669"/>
                      <a:pt x="185" y="669"/>
                    </a:cubicBezTo>
                    <a:cubicBezTo>
                      <a:pt x="185" y="669"/>
                      <a:pt x="185" y="670"/>
                      <a:pt x="185" y="670"/>
                    </a:cubicBezTo>
                    <a:cubicBezTo>
                      <a:pt x="185" y="670"/>
                      <a:pt x="185" y="670"/>
                      <a:pt x="185" y="670"/>
                    </a:cubicBezTo>
                    <a:cubicBezTo>
                      <a:pt x="185" y="670"/>
                      <a:pt x="185" y="670"/>
                      <a:pt x="186" y="670"/>
                    </a:cubicBezTo>
                    <a:cubicBezTo>
                      <a:pt x="186" y="671"/>
                      <a:pt x="186" y="671"/>
                      <a:pt x="186" y="671"/>
                    </a:cubicBezTo>
                    <a:cubicBezTo>
                      <a:pt x="186" y="671"/>
                      <a:pt x="186" y="671"/>
                      <a:pt x="186" y="672"/>
                    </a:cubicBezTo>
                    <a:cubicBezTo>
                      <a:pt x="187" y="672"/>
                      <a:pt x="187" y="672"/>
                      <a:pt x="187" y="672"/>
                    </a:cubicBezTo>
                    <a:cubicBezTo>
                      <a:pt x="187" y="672"/>
                      <a:pt x="187" y="673"/>
                      <a:pt x="187" y="673"/>
                    </a:cubicBezTo>
                    <a:cubicBezTo>
                      <a:pt x="188" y="673"/>
                      <a:pt x="188" y="673"/>
                      <a:pt x="188" y="673"/>
                    </a:cubicBezTo>
                    <a:cubicBezTo>
                      <a:pt x="188" y="674"/>
                      <a:pt x="188" y="674"/>
                      <a:pt x="188" y="674"/>
                    </a:cubicBezTo>
                    <a:cubicBezTo>
                      <a:pt x="188" y="674"/>
                      <a:pt x="189" y="674"/>
                      <a:pt x="189" y="674"/>
                    </a:cubicBezTo>
                    <a:cubicBezTo>
                      <a:pt x="189" y="675"/>
                      <a:pt x="189" y="675"/>
                      <a:pt x="189" y="675"/>
                    </a:cubicBezTo>
                    <a:cubicBezTo>
                      <a:pt x="190" y="675"/>
                      <a:pt x="190" y="675"/>
                      <a:pt x="190" y="676"/>
                    </a:cubicBezTo>
                    <a:cubicBezTo>
                      <a:pt x="190" y="676"/>
                      <a:pt x="190" y="676"/>
                      <a:pt x="191" y="676"/>
                    </a:cubicBezTo>
                    <a:cubicBezTo>
                      <a:pt x="191" y="676"/>
                      <a:pt x="191" y="677"/>
                      <a:pt x="191" y="677"/>
                    </a:cubicBezTo>
                    <a:cubicBezTo>
                      <a:pt x="192" y="677"/>
                      <a:pt x="192" y="677"/>
                      <a:pt x="192" y="677"/>
                    </a:cubicBezTo>
                    <a:cubicBezTo>
                      <a:pt x="192" y="678"/>
                      <a:pt x="193" y="678"/>
                      <a:pt x="193" y="678"/>
                    </a:cubicBezTo>
                    <a:cubicBezTo>
                      <a:pt x="193" y="678"/>
                      <a:pt x="194" y="678"/>
                      <a:pt x="194" y="678"/>
                    </a:cubicBezTo>
                    <a:cubicBezTo>
                      <a:pt x="194" y="679"/>
                      <a:pt x="195" y="679"/>
                      <a:pt x="195" y="679"/>
                    </a:cubicBezTo>
                    <a:cubicBezTo>
                      <a:pt x="195" y="679"/>
                      <a:pt x="196" y="679"/>
                      <a:pt x="196" y="679"/>
                    </a:cubicBezTo>
                    <a:cubicBezTo>
                      <a:pt x="196" y="679"/>
                      <a:pt x="197" y="679"/>
                      <a:pt x="197" y="680"/>
                    </a:cubicBezTo>
                    <a:cubicBezTo>
                      <a:pt x="198" y="680"/>
                      <a:pt x="198" y="680"/>
                      <a:pt x="199" y="680"/>
                    </a:cubicBezTo>
                    <a:cubicBezTo>
                      <a:pt x="199" y="680"/>
                      <a:pt x="199" y="680"/>
                      <a:pt x="200" y="680"/>
                    </a:cubicBezTo>
                    <a:cubicBezTo>
                      <a:pt x="200" y="680"/>
                      <a:pt x="201" y="680"/>
                      <a:pt x="202" y="680"/>
                    </a:cubicBezTo>
                    <a:cubicBezTo>
                      <a:pt x="202" y="681"/>
                      <a:pt x="202" y="681"/>
                      <a:pt x="203" y="681"/>
                    </a:cubicBezTo>
                    <a:cubicBezTo>
                      <a:pt x="204" y="681"/>
                      <a:pt x="205" y="681"/>
                      <a:pt x="206" y="681"/>
                    </a:cubicBezTo>
                    <a:cubicBezTo>
                      <a:pt x="226" y="681"/>
                      <a:pt x="253" y="667"/>
                      <a:pt x="277" y="691"/>
                    </a:cubicBezTo>
                    <a:cubicBezTo>
                      <a:pt x="301" y="715"/>
                      <a:pt x="307" y="722"/>
                      <a:pt x="330" y="729"/>
                    </a:cubicBezTo>
                    <a:cubicBezTo>
                      <a:pt x="353" y="735"/>
                      <a:pt x="361" y="733"/>
                      <a:pt x="378" y="735"/>
                    </a:cubicBezTo>
                    <a:cubicBezTo>
                      <a:pt x="395" y="738"/>
                      <a:pt x="425" y="754"/>
                      <a:pt x="441" y="730"/>
                    </a:cubicBezTo>
                    <a:cubicBezTo>
                      <a:pt x="457" y="706"/>
                      <a:pt x="450" y="705"/>
                      <a:pt x="470" y="703"/>
                    </a:cubicBezTo>
                    <a:cubicBezTo>
                      <a:pt x="490" y="702"/>
                      <a:pt x="485" y="686"/>
                      <a:pt x="503" y="689"/>
                    </a:cubicBezTo>
                    <a:cubicBezTo>
                      <a:pt x="522" y="691"/>
                      <a:pt x="515" y="706"/>
                      <a:pt x="533" y="709"/>
                    </a:cubicBezTo>
                    <a:cubicBezTo>
                      <a:pt x="534" y="709"/>
                      <a:pt x="535" y="709"/>
                      <a:pt x="537" y="709"/>
                    </a:cubicBezTo>
                    <a:cubicBezTo>
                      <a:pt x="537" y="710"/>
                      <a:pt x="538" y="710"/>
                      <a:pt x="538" y="710"/>
                    </a:cubicBezTo>
                    <a:cubicBezTo>
                      <a:pt x="539" y="710"/>
                      <a:pt x="539" y="710"/>
                      <a:pt x="540" y="710"/>
                    </a:cubicBezTo>
                    <a:cubicBezTo>
                      <a:pt x="549" y="712"/>
                      <a:pt x="558" y="714"/>
                      <a:pt x="565" y="713"/>
                    </a:cubicBezTo>
                    <a:cubicBezTo>
                      <a:pt x="565" y="713"/>
                      <a:pt x="565" y="713"/>
                      <a:pt x="565" y="713"/>
                    </a:cubicBezTo>
                    <a:cubicBezTo>
                      <a:pt x="567" y="713"/>
                      <a:pt x="569" y="712"/>
                      <a:pt x="571" y="712"/>
                    </a:cubicBezTo>
                    <a:cubicBezTo>
                      <a:pt x="571" y="712"/>
                      <a:pt x="571" y="711"/>
                      <a:pt x="571" y="711"/>
                    </a:cubicBezTo>
                    <a:cubicBezTo>
                      <a:pt x="572" y="711"/>
                      <a:pt x="572" y="711"/>
                      <a:pt x="573" y="710"/>
                    </a:cubicBezTo>
                    <a:cubicBezTo>
                      <a:pt x="573" y="710"/>
                      <a:pt x="573" y="710"/>
                      <a:pt x="574" y="710"/>
                    </a:cubicBezTo>
                    <a:cubicBezTo>
                      <a:pt x="574" y="709"/>
                      <a:pt x="575" y="708"/>
                      <a:pt x="575" y="707"/>
                    </a:cubicBezTo>
                    <a:cubicBezTo>
                      <a:pt x="582" y="697"/>
                      <a:pt x="591" y="694"/>
                      <a:pt x="611" y="694"/>
                    </a:cubicBezTo>
                    <a:cubicBezTo>
                      <a:pt x="631" y="694"/>
                      <a:pt x="641" y="682"/>
                      <a:pt x="650" y="675"/>
                    </a:cubicBezTo>
                    <a:cubicBezTo>
                      <a:pt x="659" y="669"/>
                      <a:pt x="666" y="643"/>
                      <a:pt x="715" y="647"/>
                    </a:cubicBezTo>
                    <a:cubicBezTo>
                      <a:pt x="765" y="651"/>
                      <a:pt x="770" y="654"/>
                      <a:pt x="791" y="623"/>
                    </a:cubicBezTo>
                    <a:cubicBezTo>
                      <a:pt x="813" y="593"/>
                      <a:pt x="833" y="577"/>
                      <a:pt x="854" y="561"/>
                    </a:cubicBezTo>
                    <a:cubicBezTo>
                      <a:pt x="875" y="545"/>
                      <a:pt x="907" y="503"/>
                      <a:pt x="929" y="490"/>
                    </a:cubicBezTo>
                    <a:cubicBezTo>
                      <a:pt x="950" y="477"/>
                      <a:pt x="981" y="446"/>
                      <a:pt x="938" y="451"/>
                    </a:cubicBezTo>
                    <a:cubicBezTo>
                      <a:pt x="895" y="457"/>
                      <a:pt x="886" y="449"/>
                      <a:pt x="863" y="439"/>
                    </a:cubicBezTo>
                    <a:cubicBezTo>
                      <a:pt x="841" y="430"/>
                      <a:pt x="739" y="405"/>
                      <a:pt x="715" y="390"/>
                    </a:cubicBezTo>
                    <a:cubicBezTo>
                      <a:pt x="691" y="375"/>
                      <a:pt x="666" y="367"/>
                      <a:pt x="665" y="353"/>
                    </a:cubicBezTo>
                    <a:cubicBezTo>
                      <a:pt x="663" y="338"/>
                      <a:pt x="649" y="329"/>
                      <a:pt x="641" y="321"/>
                    </a:cubicBezTo>
                    <a:cubicBezTo>
                      <a:pt x="633" y="313"/>
                      <a:pt x="614" y="285"/>
                      <a:pt x="629" y="273"/>
                    </a:cubicBezTo>
                    <a:cubicBezTo>
                      <a:pt x="630" y="272"/>
                      <a:pt x="631" y="271"/>
                      <a:pt x="632" y="270"/>
                    </a:cubicBezTo>
                    <a:cubicBezTo>
                      <a:pt x="632" y="269"/>
                      <a:pt x="633" y="269"/>
                      <a:pt x="633" y="269"/>
                    </a:cubicBezTo>
                    <a:cubicBezTo>
                      <a:pt x="634" y="268"/>
                      <a:pt x="635" y="267"/>
                      <a:pt x="636" y="266"/>
                    </a:cubicBezTo>
                    <a:cubicBezTo>
                      <a:pt x="636" y="266"/>
                      <a:pt x="636" y="266"/>
                      <a:pt x="636" y="266"/>
                    </a:cubicBezTo>
                    <a:cubicBezTo>
                      <a:pt x="637" y="265"/>
                      <a:pt x="637" y="264"/>
                      <a:pt x="638" y="263"/>
                    </a:cubicBezTo>
                    <a:cubicBezTo>
                      <a:pt x="638" y="263"/>
                      <a:pt x="638" y="262"/>
                      <a:pt x="638" y="262"/>
                    </a:cubicBezTo>
                    <a:cubicBezTo>
                      <a:pt x="639" y="261"/>
                      <a:pt x="640" y="260"/>
                      <a:pt x="640" y="259"/>
                    </a:cubicBezTo>
                    <a:cubicBezTo>
                      <a:pt x="640" y="259"/>
                      <a:pt x="640" y="259"/>
                      <a:pt x="641" y="258"/>
                    </a:cubicBezTo>
                    <a:cubicBezTo>
                      <a:pt x="641" y="258"/>
                      <a:pt x="641" y="257"/>
                      <a:pt x="642" y="256"/>
                    </a:cubicBezTo>
                    <a:cubicBezTo>
                      <a:pt x="642" y="256"/>
                      <a:pt x="642" y="256"/>
                      <a:pt x="642" y="255"/>
                    </a:cubicBezTo>
                    <a:cubicBezTo>
                      <a:pt x="643" y="254"/>
                      <a:pt x="643" y="254"/>
                      <a:pt x="643" y="253"/>
                    </a:cubicBezTo>
                    <a:cubicBezTo>
                      <a:pt x="643" y="252"/>
                      <a:pt x="644" y="252"/>
                      <a:pt x="644" y="251"/>
                    </a:cubicBezTo>
                    <a:cubicBezTo>
                      <a:pt x="644" y="251"/>
                      <a:pt x="644" y="251"/>
                      <a:pt x="644" y="250"/>
                    </a:cubicBezTo>
                    <a:cubicBezTo>
                      <a:pt x="645" y="249"/>
                      <a:pt x="645" y="247"/>
                      <a:pt x="646" y="246"/>
                    </a:cubicBezTo>
                    <a:cubicBezTo>
                      <a:pt x="638" y="247"/>
                      <a:pt x="630" y="249"/>
                      <a:pt x="622" y="249"/>
                    </a:cubicBezTo>
                    <a:cubicBezTo>
                      <a:pt x="613" y="249"/>
                      <a:pt x="615" y="257"/>
                      <a:pt x="607" y="256"/>
                    </a:cubicBezTo>
                    <a:cubicBezTo>
                      <a:pt x="599" y="256"/>
                      <a:pt x="592" y="252"/>
                      <a:pt x="589" y="263"/>
                    </a:cubicBezTo>
                    <a:cubicBezTo>
                      <a:pt x="586" y="274"/>
                      <a:pt x="580" y="265"/>
                      <a:pt x="572" y="258"/>
                    </a:cubicBezTo>
                    <a:cubicBezTo>
                      <a:pt x="564" y="251"/>
                      <a:pt x="566" y="230"/>
                      <a:pt x="566" y="219"/>
                    </a:cubicBezTo>
                    <a:cubicBezTo>
                      <a:pt x="566" y="208"/>
                      <a:pt x="579" y="197"/>
                      <a:pt x="587" y="192"/>
                    </a:cubicBezTo>
                    <a:cubicBezTo>
                      <a:pt x="595" y="187"/>
                      <a:pt x="597" y="184"/>
                      <a:pt x="599" y="176"/>
                    </a:cubicBezTo>
                    <a:cubicBezTo>
                      <a:pt x="600" y="172"/>
                      <a:pt x="602" y="167"/>
                      <a:pt x="603" y="162"/>
                    </a:cubicBezTo>
                    <a:cubicBezTo>
                      <a:pt x="595" y="156"/>
                      <a:pt x="589" y="146"/>
                      <a:pt x="585" y="141"/>
                    </a:cubicBezTo>
                    <a:cubicBezTo>
                      <a:pt x="579" y="134"/>
                      <a:pt x="568" y="121"/>
                      <a:pt x="562" y="114"/>
                    </a:cubicBezTo>
                    <a:cubicBezTo>
                      <a:pt x="556" y="106"/>
                      <a:pt x="539" y="97"/>
                      <a:pt x="534" y="92"/>
                    </a:cubicBezTo>
                    <a:cubicBezTo>
                      <a:pt x="528" y="88"/>
                      <a:pt x="517" y="70"/>
                      <a:pt x="513" y="63"/>
                    </a:cubicBezTo>
                    <a:cubicBezTo>
                      <a:pt x="510" y="55"/>
                      <a:pt x="498" y="50"/>
                      <a:pt x="494" y="50"/>
                    </a:cubicBezTo>
                    <a:cubicBezTo>
                      <a:pt x="490" y="50"/>
                      <a:pt x="483" y="54"/>
                      <a:pt x="477" y="41"/>
                    </a:cubicBezTo>
                    <a:cubicBezTo>
                      <a:pt x="471" y="28"/>
                      <a:pt x="437" y="33"/>
                      <a:pt x="424" y="33"/>
                    </a:cubicBezTo>
                    <a:cubicBezTo>
                      <a:pt x="411" y="33"/>
                      <a:pt x="405" y="37"/>
                      <a:pt x="401" y="30"/>
                    </a:cubicBezTo>
                    <a:cubicBezTo>
                      <a:pt x="397" y="23"/>
                      <a:pt x="385" y="19"/>
                      <a:pt x="380" y="27"/>
                    </a:cubicBezTo>
                    <a:cubicBezTo>
                      <a:pt x="375" y="35"/>
                      <a:pt x="370" y="35"/>
                      <a:pt x="356" y="33"/>
                    </a:cubicBezTo>
                    <a:cubicBezTo>
                      <a:pt x="342" y="31"/>
                      <a:pt x="339" y="26"/>
                      <a:pt x="330" y="13"/>
                    </a:cubicBezTo>
                    <a:cubicBezTo>
                      <a:pt x="321" y="0"/>
                      <a:pt x="310" y="9"/>
                      <a:pt x="312" y="23"/>
                    </a:cubicBezTo>
                    <a:cubicBezTo>
                      <a:pt x="314" y="37"/>
                      <a:pt x="307" y="33"/>
                      <a:pt x="304" y="44"/>
                    </a:cubicBezTo>
                    <a:cubicBezTo>
                      <a:pt x="301" y="55"/>
                      <a:pt x="309" y="59"/>
                      <a:pt x="299" y="60"/>
                    </a:cubicBezTo>
                    <a:cubicBezTo>
                      <a:pt x="289" y="61"/>
                      <a:pt x="296" y="50"/>
                      <a:pt x="289" y="45"/>
                    </a:cubicBezTo>
                    <a:cubicBezTo>
                      <a:pt x="282" y="40"/>
                      <a:pt x="297" y="38"/>
                      <a:pt x="281" y="32"/>
                    </a:cubicBezTo>
                    <a:cubicBezTo>
                      <a:pt x="265" y="26"/>
                      <a:pt x="272" y="47"/>
                      <a:pt x="261" y="43"/>
                    </a:cubicBezTo>
                    <a:cubicBezTo>
                      <a:pt x="250" y="39"/>
                      <a:pt x="239" y="36"/>
                      <a:pt x="234" y="44"/>
                    </a:cubicBezTo>
                    <a:cubicBezTo>
                      <a:pt x="231" y="48"/>
                      <a:pt x="228" y="50"/>
                      <a:pt x="226" y="52"/>
                    </a:cubicBezTo>
                    <a:cubicBezTo>
                      <a:pt x="226" y="53"/>
                      <a:pt x="226" y="55"/>
                      <a:pt x="226" y="5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1" name="Freeform 395">
                <a:extLst>
                  <a:ext uri="{FF2B5EF4-FFF2-40B4-BE49-F238E27FC236}">
                    <a16:creationId xmlns:a16="http://schemas.microsoft.com/office/drawing/2014/main" id="{752354A1-B7D4-4D48-8A86-8AA801287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5" y="1973"/>
                <a:ext cx="197" cy="147"/>
              </a:xfrm>
              <a:custGeom>
                <a:avLst/>
                <a:gdLst>
                  <a:gd name="T0" fmla="*/ 291 w 779"/>
                  <a:gd name="T1" fmla="*/ 581 h 583"/>
                  <a:gd name="T2" fmla="*/ 291 w 779"/>
                  <a:gd name="T3" fmla="*/ 573 h 583"/>
                  <a:gd name="T4" fmla="*/ 291 w 779"/>
                  <a:gd name="T5" fmla="*/ 569 h 583"/>
                  <a:gd name="T6" fmla="*/ 291 w 779"/>
                  <a:gd name="T7" fmla="*/ 564 h 583"/>
                  <a:gd name="T8" fmla="*/ 291 w 779"/>
                  <a:gd name="T9" fmla="*/ 560 h 583"/>
                  <a:gd name="T10" fmla="*/ 291 w 779"/>
                  <a:gd name="T11" fmla="*/ 556 h 583"/>
                  <a:gd name="T12" fmla="*/ 291 w 779"/>
                  <a:gd name="T13" fmla="*/ 552 h 583"/>
                  <a:gd name="T14" fmla="*/ 291 w 779"/>
                  <a:gd name="T15" fmla="*/ 547 h 583"/>
                  <a:gd name="T16" fmla="*/ 336 w 779"/>
                  <a:gd name="T17" fmla="*/ 487 h 583"/>
                  <a:gd name="T18" fmla="*/ 381 w 779"/>
                  <a:gd name="T19" fmla="*/ 453 h 583"/>
                  <a:gd name="T20" fmla="*/ 435 w 779"/>
                  <a:gd name="T21" fmla="*/ 439 h 583"/>
                  <a:gd name="T22" fmla="*/ 511 w 779"/>
                  <a:gd name="T23" fmla="*/ 417 h 583"/>
                  <a:gd name="T24" fmla="*/ 553 w 779"/>
                  <a:gd name="T25" fmla="*/ 378 h 583"/>
                  <a:gd name="T26" fmla="*/ 606 w 779"/>
                  <a:gd name="T27" fmla="*/ 358 h 583"/>
                  <a:gd name="T28" fmla="*/ 603 w 779"/>
                  <a:gd name="T29" fmla="*/ 321 h 583"/>
                  <a:gd name="T30" fmla="*/ 636 w 779"/>
                  <a:gd name="T31" fmla="*/ 302 h 583"/>
                  <a:gd name="T32" fmla="*/ 676 w 779"/>
                  <a:gd name="T33" fmla="*/ 272 h 583"/>
                  <a:gd name="T34" fmla="*/ 761 w 779"/>
                  <a:gd name="T35" fmla="*/ 278 h 583"/>
                  <a:gd name="T36" fmla="*/ 765 w 779"/>
                  <a:gd name="T37" fmla="*/ 237 h 583"/>
                  <a:gd name="T38" fmla="*/ 743 w 779"/>
                  <a:gd name="T39" fmla="*/ 199 h 583"/>
                  <a:gd name="T40" fmla="*/ 735 w 779"/>
                  <a:gd name="T41" fmla="*/ 150 h 583"/>
                  <a:gd name="T42" fmla="*/ 735 w 779"/>
                  <a:gd name="T43" fmla="*/ 87 h 583"/>
                  <a:gd name="T44" fmla="*/ 705 w 779"/>
                  <a:gd name="T45" fmla="*/ 58 h 583"/>
                  <a:gd name="T46" fmla="*/ 614 w 779"/>
                  <a:gd name="T47" fmla="*/ 42 h 583"/>
                  <a:gd name="T48" fmla="*/ 516 w 779"/>
                  <a:gd name="T49" fmla="*/ 21 h 583"/>
                  <a:gd name="T50" fmla="*/ 464 w 779"/>
                  <a:gd name="T51" fmla="*/ 14 h 583"/>
                  <a:gd name="T52" fmla="*/ 422 w 779"/>
                  <a:gd name="T53" fmla="*/ 108 h 583"/>
                  <a:gd name="T54" fmla="*/ 297 w 779"/>
                  <a:gd name="T55" fmla="*/ 199 h 583"/>
                  <a:gd name="T56" fmla="*/ 249 w 779"/>
                  <a:gd name="T57" fmla="*/ 271 h 583"/>
                  <a:gd name="T58" fmla="*/ 223 w 779"/>
                  <a:gd name="T59" fmla="*/ 332 h 583"/>
                  <a:gd name="T60" fmla="*/ 232 w 779"/>
                  <a:gd name="T61" fmla="*/ 409 h 583"/>
                  <a:gd name="T62" fmla="*/ 135 w 779"/>
                  <a:gd name="T63" fmla="*/ 513 h 583"/>
                  <a:gd name="T64" fmla="*/ 3 w 779"/>
                  <a:gd name="T65" fmla="*/ 577 h 583"/>
                  <a:gd name="T66" fmla="*/ 291 w 779"/>
                  <a:gd name="T67" fmla="*/ 583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79" h="583">
                    <a:moveTo>
                      <a:pt x="291" y="582"/>
                    </a:moveTo>
                    <a:cubicBezTo>
                      <a:pt x="291" y="582"/>
                      <a:pt x="291" y="581"/>
                      <a:pt x="291" y="581"/>
                    </a:cubicBezTo>
                    <a:cubicBezTo>
                      <a:pt x="291" y="579"/>
                      <a:pt x="291" y="577"/>
                      <a:pt x="291" y="575"/>
                    </a:cubicBezTo>
                    <a:cubicBezTo>
                      <a:pt x="291" y="574"/>
                      <a:pt x="291" y="574"/>
                      <a:pt x="291" y="573"/>
                    </a:cubicBezTo>
                    <a:cubicBezTo>
                      <a:pt x="291" y="572"/>
                      <a:pt x="291" y="571"/>
                      <a:pt x="291" y="571"/>
                    </a:cubicBezTo>
                    <a:cubicBezTo>
                      <a:pt x="291" y="570"/>
                      <a:pt x="291" y="569"/>
                      <a:pt x="291" y="569"/>
                    </a:cubicBezTo>
                    <a:cubicBezTo>
                      <a:pt x="291" y="568"/>
                      <a:pt x="291" y="567"/>
                      <a:pt x="291" y="566"/>
                    </a:cubicBezTo>
                    <a:cubicBezTo>
                      <a:pt x="291" y="566"/>
                      <a:pt x="291" y="565"/>
                      <a:pt x="291" y="564"/>
                    </a:cubicBezTo>
                    <a:cubicBezTo>
                      <a:pt x="291" y="564"/>
                      <a:pt x="291" y="563"/>
                      <a:pt x="291" y="562"/>
                    </a:cubicBezTo>
                    <a:cubicBezTo>
                      <a:pt x="291" y="561"/>
                      <a:pt x="291" y="561"/>
                      <a:pt x="291" y="560"/>
                    </a:cubicBezTo>
                    <a:cubicBezTo>
                      <a:pt x="291" y="559"/>
                      <a:pt x="291" y="559"/>
                      <a:pt x="291" y="558"/>
                    </a:cubicBezTo>
                    <a:cubicBezTo>
                      <a:pt x="291" y="557"/>
                      <a:pt x="291" y="557"/>
                      <a:pt x="291" y="556"/>
                    </a:cubicBezTo>
                    <a:cubicBezTo>
                      <a:pt x="291" y="556"/>
                      <a:pt x="291" y="555"/>
                      <a:pt x="291" y="554"/>
                    </a:cubicBezTo>
                    <a:cubicBezTo>
                      <a:pt x="291" y="554"/>
                      <a:pt x="291" y="553"/>
                      <a:pt x="291" y="552"/>
                    </a:cubicBezTo>
                    <a:cubicBezTo>
                      <a:pt x="291" y="552"/>
                      <a:pt x="291" y="551"/>
                      <a:pt x="291" y="551"/>
                    </a:cubicBezTo>
                    <a:cubicBezTo>
                      <a:pt x="291" y="550"/>
                      <a:pt x="291" y="548"/>
                      <a:pt x="291" y="547"/>
                    </a:cubicBezTo>
                    <a:cubicBezTo>
                      <a:pt x="293" y="506"/>
                      <a:pt x="292" y="511"/>
                      <a:pt x="304" y="506"/>
                    </a:cubicBezTo>
                    <a:cubicBezTo>
                      <a:pt x="316" y="501"/>
                      <a:pt x="325" y="493"/>
                      <a:pt x="336" y="487"/>
                    </a:cubicBezTo>
                    <a:cubicBezTo>
                      <a:pt x="347" y="481"/>
                      <a:pt x="347" y="471"/>
                      <a:pt x="355" y="470"/>
                    </a:cubicBezTo>
                    <a:cubicBezTo>
                      <a:pt x="363" y="469"/>
                      <a:pt x="373" y="466"/>
                      <a:pt x="381" y="453"/>
                    </a:cubicBezTo>
                    <a:cubicBezTo>
                      <a:pt x="389" y="439"/>
                      <a:pt x="402" y="451"/>
                      <a:pt x="412" y="452"/>
                    </a:cubicBezTo>
                    <a:cubicBezTo>
                      <a:pt x="422" y="453"/>
                      <a:pt x="428" y="448"/>
                      <a:pt x="435" y="439"/>
                    </a:cubicBezTo>
                    <a:cubicBezTo>
                      <a:pt x="443" y="431"/>
                      <a:pt x="471" y="430"/>
                      <a:pt x="485" y="430"/>
                    </a:cubicBezTo>
                    <a:cubicBezTo>
                      <a:pt x="499" y="430"/>
                      <a:pt x="509" y="424"/>
                      <a:pt x="511" y="417"/>
                    </a:cubicBezTo>
                    <a:cubicBezTo>
                      <a:pt x="514" y="411"/>
                      <a:pt x="519" y="403"/>
                      <a:pt x="525" y="393"/>
                    </a:cubicBezTo>
                    <a:cubicBezTo>
                      <a:pt x="531" y="383"/>
                      <a:pt x="544" y="380"/>
                      <a:pt x="553" y="378"/>
                    </a:cubicBezTo>
                    <a:cubicBezTo>
                      <a:pt x="561" y="376"/>
                      <a:pt x="571" y="377"/>
                      <a:pt x="578" y="368"/>
                    </a:cubicBezTo>
                    <a:cubicBezTo>
                      <a:pt x="585" y="359"/>
                      <a:pt x="597" y="361"/>
                      <a:pt x="606" y="358"/>
                    </a:cubicBezTo>
                    <a:cubicBezTo>
                      <a:pt x="615" y="355"/>
                      <a:pt x="611" y="345"/>
                      <a:pt x="607" y="341"/>
                    </a:cubicBezTo>
                    <a:cubicBezTo>
                      <a:pt x="603" y="337"/>
                      <a:pt x="604" y="327"/>
                      <a:pt x="603" y="321"/>
                    </a:cubicBezTo>
                    <a:cubicBezTo>
                      <a:pt x="601" y="316"/>
                      <a:pt x="601" y="307"/>
                      <a:pt x="607" y="305"/>
                    </a:cubicBezTo>
                    <a:cubicBezTo>
                      <a:pt x="613" y="304"/>
                      <a:pt x="631" y="309"/>
                      <a:pt x="636" y="302"/>
                    </a:cubicBezTo>
                    <a:cubicBezTo>
                      <a:pt x="641" y="295"/>
                      <a:pt x="653" y="295"/>
                      <a:pt x="655" y="288"/>
                    </a:cubicBezTo>
                    <a:cubicBezTo>
                      <a:pt x="656" y="281"/>
                      <a:pt x="669" y="277"/>
                      <a:pt x="676" y="272"/>
                    </a:cubicBezTo>
                    <a:cubicBezTo>
                      <a:pt x="683" y="267"/>
                      <a:pt x="704" y="269"/>
                      <a:pt x="715" y="275"/>
                    </a:cubicBezTo>
                    <a:cubicBezTo>
                      <a:pt x="727" y="281"/>
                      <a:pt x="743" y="277"/>
                      <a:pt x="761" y="278"/>
                    </a:cubicBezTo>
                    <a:cubicBezTo>
                      <a:pt x="779" y="279"/>
                      <a:pt x="773" y="263"/>
                      <a:pt x="775" y="253"/>
                    </a:cubicBezTo>
                    <a:cubicBezTo>
                      <a:pt x="777" y="243"/>
                      <a:pt x="769" y="240"/>
                      <a:pt x="765" y="237"/>
                    </a:cubicBezTo>
                    <a:cubicBezTo>
                      <a:pt x="760" y="233"/>
                      <a:pt x="753" y="228"/>
                      <a:pt x="753" y="221"/>
                    </a:cubicBezTo>
                    <a:cubicBezTo>
                      <a:pt x="753" y="213"/>
                      <a:pt x="750" y="207"/>
                      <a:pt x="743" y="199"/>
                    </a:cubicBezTo>
                    <a:cubicBezTo>
                      <a:pt x="737" y="191"/>
                      <a:pt x="742" y="175"/>
                      <a:pt x="739" y="168"/>
                    </a:cubicBezTo>
                    <a:cubicBezTo>
                      <a:pt x="735" y="161"/>
                      <a:pt x="729" y="155"/>
                      <a:pt x="735" y="150"/>
                    </a:cubicBezTo>
                    <a:cubicBezTo>
                      <a:pt x="742" y="145"/>
                      <a:pt x="735" y="124"/>
                      <a:pt x="739" y="117"/>
                    </a:cubicBezTo>
                    <a:cubicBezTo>
                      <a:pt x="743" y="109"/>
                      <a:pt x="736" y="94"/>
                      <a:pt x="735" y="87"/>
                    </a:cubicBezTo>
                    <a:cubicBezTo>
                      <a:pt x="733" y="81"/>
                      <a:pt x="725" y="75"/>
                      <a:pt x="713" y="70"/>
                    </a:cubicBezTo>
                    <a:cubicBezTo>
                      <a:pt x="708" y="68"/>
                      <a:pt x="706" y="63"/>
                      <a:pt x="705" y="58"/>
                    </a:cubicBezTo>
                    <a:cubicBezTo>
                      <a:pt x="693" y="57"/>
                      <a:pt x="683" y="55"/>
                      <a:pt x="672" y="47"/>
                    </a:cubicBezTo>
                    <a:cubicBezTo>
                      <a:pt x="659" y="37"/>
                      <a:pt x="631" y="39"/>
                      <a:pt x="614" y="42"/>
                    </a:cubicBezTo>
                    <a:cubicBezTo>
                      <a:pt x="598" y="45"/>
                      <a:pt x="577" y="60"/>
                      <a:pt x="554" y="47"/>
                    </a:cubicBezTo>
                    <a:cubicBezTo>
                      <a:pt x="532" y="35"/>
                      <a:pt x="521" y="30"/>
                      <a:pt x="516" y="21"/>
                    </a:cubicBezTo>
                    <a:cubicBezTo>
                      <a:pt x="510" y="11"/>
                      <a:pt x="510" y="2"/>
                      <a:pt x="492" y="1"/>
                    </a:cubicBezTo>
                    <a:cubicBezTo>
                      <a:pt x="474" y="0"/>
                      <a:pt x="467" y="0"/>
                      <a:pt x="464" y="14"/>
                    </a:cubicBezTo>
                    <a:cubicBezTo>
                      <a:pt x="461" y="28"/>
                      <a:pt x="461" y="46"/>
                      <a:pt x="450" y="67"/>
                    </a:cubicBezTo>
                    <a:cubicBezTo>
                      <a:pt x="439" y="87"/>
                      <a:pt x="432" y="98"/>
                      <a:pt x="422" y="108"/>
                    </a:cubicBezTo>
                    <a:cubicBezTo>
                      <a:pt x="412" y="117"/>
                      <a:pt x="390" y="143"/>
                      <a:pt x="374" y="148"/>
                    </a:cubicBezTo>
                    <a:cubicBezTo>
                      <a:pt x="358" y="154"/>
                      <a:pt x="310" y="178"/>
                      <a:pt x="297" y="199"/>
                    </a:cubicBezTo>
                    <a:cubicBezTo>
                      <a:pt x="297" y="199"/>
                      <a:pt x="276" y="225"/>
                      <a:pt x="269" y="232"/>
                    </a:cubicBezTo>
                    <a:cubicBezTo>
                      <a:pt x="263" y="240"/>
                      <a:pt x="252" y="255"/>
                      <a:pt x="249" y="271"/>
                    </a:cubicBezTo>
                    <a:cubicBezTo>
                      <a:pt x="246" y="287"/>
                      <a:pt x="232" y="280"/>
                      <a:pt x="229" y="296"/>
                    </a:cubicBezTo>
                    <a:cubicBezTo>
                      <a:pt x="225" y="312"/>
                      <a:pt x="229" y="319"/>
                      <a:pt x="223" y="332"/>
                    </a:cubicBezTo>
                    <a:cubicBezTo>
                      <a:pt x="218" y="345"/>
                      <a:pt x="215" y="355"/>
                      <a:pt x="223" y="370"/>
                    </a:cubicBezTo>
                    <a:cubicBezTo>
                      <a:pt x="232" y="385"/>
                      <a:pt x="237" y="394"/>
                      <a:pt x="232" y="409"/>
                    </a:cubicBezTo>
                    <a:cubicBezTo>
                      <a:pt x="226" y="424"/>
                      <a:pt x="209" y="455"/>
                      <a:pt x="190" y="475"/>
                    </a:cubicBezTo>
                    <a:cubicBezTo>
                      <a:pt x="170" y="496"/>
                      <a:pt x="151" y="497"/>
                      <a:pt x="135" y="513"/>
                    </a:cubicBezTo>
                    <a:cubicBezTo>
                      <a:pt x="119" y="529"/>
                      <a:pt x="113" y="545"/>
                      <a:pt x="80" y="549"/>
                    </a:cubicBezTo>
                    <a:cubicBezTo>
                      <a:pt x="47" y="554"/>
                      <a:pt x="16" y="561"/>
                      <a:pt x="3" y="577"/>
                    </a:cubicBezTo>
                    <a:cubicBezTo>
                      <a:pt x="2" y="578"/>
                      <a:pt x="1" y="580"/>
                      <a:pt x="0" y="581"/>
                    </a:cubicBezTo>
                    <a:cubicBezTo>
                      <a:pt x="291" y="583"/>
                      <a:pt x="291" y="583"/>
                      <a:pt x="291" y="583"/>
                    </a:cubicBezTo>
                    <a:cubicBezTo>
                      <a:pt x="291" y="582"/>
                      <a:pt x="291" y="582"/>
                      <a:pt x="291" y="582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2" name="Freeform 396">
                <a:extLst>
                  <a:ext uri="{FF2B5EF4-FFF2-40B4-BE49-F238E27FC236}">
                    <a16:creationId xmlns:a16="http://schemas.microsoft.com/office/drawing/2014/main" id="{E6E2A02E-769E-5B49-9B08-4A39BE038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1945"/>
                <a:ext cx="66" cy="130"/>
              </a:xfrm>
              <a:custGeom>
                <a:avLst/>
                <a:gdLst>
                  <a:gd name="T0" fmla="*/ 73 w 261"/>
                  <a:gd name="T1" fmla="*/ 44 h 513"/>
                  <a:gd name="T2" fmla="*/ 56 w 261"/>
                  <a:gd name="T3" fmla="*/ 56 h 513"/>
                  <a:gd name="T4" fmla="*/ 47 w 261"/>
                  <a:gd name="T5" fmla="*/ 69 h 513"/>
                  <a:gd name="T6" fmla="*/ 57 w 261"/>
                  <a:gd name="T7" fmla="*/ 93 h 513"/>
                  <a:gd name="T8" fmla="*/ 53 w 261"/>
                  <a:gd name="T9" fmla="*/ 121 h 513"/>
                  <a:gd name="T10" fmla="*/ 59 w 261"/>
                  <a:gd name="T11" fmla="*/ 145 h 513"/>
                  <a:gd name="T12" fmla="*/ 59 w 261"/>
                  <a:gd name="T13" fmla="*/ 179 h 513"/>
                  <a:gd name="T14" fmla="*/ 43 w 261"/>
                  <a:gd name="T15" fmla="*/ 214 h 513"/>
                  <a:gd name="T16" fmla="*/ 22 w 261"/>
                  <a:gd name="T17" fmla="*/ 226 h 513"/>
                  <a:gd name="T18" fmla="*/ 0 w 261"/>
                  <a:gd name="T19" fmla="*/ 245 h 513"/>
                  <a:gd name="T20" fmla="*/ 10 w 261"/>
                  <a:gd name="T21" fmla="*/ 277 h 513"/>
                  <a:gd name="T22" fmla="*/ 30 w 261"/>
                  <a:gd name="T23" fmla="*/ 314 h 513"/>
                  <a:gd name="T24" fmla="*/ 54 w 261"/>
                  <a:gd name="T25" fmla="*/ 330 h 513"/>
                  <a:gd name="T26" fmla="*/ 75 w 261"/>
                  <a:gd name="T27" fmla="*/ 368 h 513"/>
                  <a:gd name="T28" fmla="*/ 106 w 261"/>
                  <a:gd name="T29" fmla="*/ 395 h 513"/>
                  <a:gd name="T30" fmla="*/ 111 w 261"/>
                  <a:gd name="T31" fmla="*/ 431 h 513"/>
                  <a:gd name="T32" fmla="*/ 121 w 261"/>
                  <a:gd name="T33" fmla="*/ 463 h 513"/>
                  <a:gd name="T34" fmla="*/ 131 w 261"/>
                  <a:gd name="T35" fmla="*/ 495 h 513"/>
                  <a:gd name="T36" fmla="*/ 131 w 261"/>
                  <a:gd name="T37" fmla="*/ 496 h 513"/>
                  <a:gd name="T38" fmla="*/ 131 w 261"/>
                  <a:gd name="T39" fmla="*/ 496 h 513"/>
                  <a:gd name="T40" fmla="*/ 132 w 261"/>
                  <a:gd name="T41" fmla="*/ 497 h 513"/>
                  <a:gd name="T42" fmla="*/ 132 w 261"/>
                  <a:gd name="T43" fmla="*/ 497 h 513"/>
                  <a:gd name="T44" fmla="*/ 135 w 261"/>
                  <a:gd name="T45" fmla="*/ 512 h 513"/>
                  <a:gd name="T46" fmla="*/ 135 w 261"/>
                  <a:gd name="T47" fmla="*/ 512 h 513"/>
                  <a:gd name="T48" fmla="*/ 156 w 261"/>
                  <a:gd name="T49" fmla="*/ 507 h 513"/>
                  <a:gd name="T50" fmla="*/ 170 w 261"/>
                  <a:gd name="T51" fmla="*/ 492 h 513"/>
                  <a:gd name="T52" fmla="*/ 182 w 261"/>
                  <a:gd name="T53" fmla="*/ 472 h 513"/>
                  <a:gd name="T54" fmla="*/ 178 w 261"/>
                  <a:gd name="T55" fmla="*/ 451 h 513"/>
                  <a:gd name="T56" fmla="*/ 171 w 261"/>
                  <a:gd name="T57" fmla="*/ 431 h 513"/>
                  <a:gd name="T58" fmla="*/ 180 w 261"/>
                  <a:gd name="T59" fmla="*/ 416 h 513"/>
                  <a:gd name="T60" fmla="*/ 200 w 261"/>
                  <a:gd name="T61" fmla="*/ 404 h 513"/>
                  <a:gd name="T62" fmla="*/ 225 w 261"/>
                  <a:gd name="T63" fmla="*/ 383 h 513"/>
                  <a:gd name="T64" fmla="*/ 257 w 261"/>
                  <a:gd name="T65" fmla="*/ 363 h 513"/>
                  <a:gd name="T66" fmla="*/ 261 w 261"/>
                  <a:gd name="T67" fmla="*/ 303 h 513"/>
                  <a:gd name="T68" fmla="*/ 257 w 261"/>
                  <a:gd name="T69" fmla="*/ 303 h 513"/>
                  <a:gd name="T70" fmla="*/ 236 w 261"/>
                  <a:gd name="T71" fmla="*/ 284 h 513"/>
                  <a:gd name="T72" fmla="*/ 198 w 261"/>
                  <a:gd name="T73" fmla="*/ 273 h 513"/>
                  <a:gd name="T74" fmla="*/ 182 w 261"/>
                  <a:gd name="T75" fmla="*/ 233 h 513"/>
                  <a:gd name="T76" fmla="*/ 216 w 261"/>
                  <a:gd name="T77" fmla="*/ 191 h 513"/>
                  <a:gd name="T78" fmla="*/ 236 w 261"/>
                  <a:gd name="T79" fmla="*/ 159 h 513"/>
                  <a:gd name="T80" fmla="*/ 219 w 261"/>
                  <a:gd name="T81" fmla="*/ 120 h 513"/>
                  <a:gd name="T82" fmla="*/ 198 w 261"/>
                  <a:gd name="T83" fmla="*/ 81 h 513"/>
                  <a:gd name="T84" fmla="*/ 233 w 261"/>
                  <a:gd name="T85" fmla="*/ 45 h 513"/>
                  <a:gd name="T86" fmla="*/ 222 w 261"/>
                  <a:gd name="T87" fmla="*/ 25 h 513"/>
                  <a:gd name="T88" fmla="*/ 191 w 261"/>
                  <a:gd name="T89" fmla="*/ 44 h 513"/>
                  <a:gd name="T90" fmla="*/ 164 w 261"/>
                  <a:gd name="T91" fmla="*/ 8 h 513"/>
                  <a:gd name="T92" fmla="*/ 123 w 261"/>
                  <a:gd name="T93" fmla="*/ 8 h 513"/>
                  <a:gd name="T94" fmla="*/ 77 w 261"/>
                  <a:gd name="T95" fmla="*/ 28 h 513"/>
                  <a:gd name="T96" fmla="*/ 73 w 261"/>
                  <a:gd name="T97" fmla="*/ 44 h 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61" h="513">
                    <a:moveTo>
                      <a:pt x="73" y="44"/>
                    </a:moveTo>
                    <a:cubicBezTo>
                      <a:pt x="61" y="45"/>
                      <a:pt x="55" y="50"/>
                      <a:pt x="56" y="56"/>
                    </a:cubicBezTo>
                    <a:cubicBezTo>
                      <a:pt x="57" y="62"/>
                      <a:pt x="41" y="62"/>
                      <a:pt x="47" y="69"/>
                    </a:cubicBezTo>
                    <a:cubicBezTo>
                      <a:pt x="53" y="76"/>
                      <a:pt x="57" y="81"/>
                      <a:pt x="57" y="93"/>
                    </a:cubicBezTo>
                    <a:cubicBezTo>
                      <a:pt x="57" y="105"/>
                      <a:pt x="50" y="115"/>
                      <a:pt x="53" y="121"/>
                    </a:cubicBezTo>
                    <a:cubicBezTo>
                      <a:pt x="56" y="127"/>
                      <a:pt x="57" y="129"/>
                      <a:pt x="59" y="145"/>
                    </a:cubicBezTo>
                    <a:cubicBezTo>
                      <a:pt x="61" y="161"/>
                      <a:pt x="65" y="171"/>
                      <a:pt x="59" y="179"/>
                    </a:cubicBezTo>
                    <a:cubicBezTo>
                      <a:pt x="53" y="187"/>
                      <a:pt x="56" y="214"/>
                      <a:pt x="43" y="214"/>
                    </a:cubicBezTo>
                    <a:cubicBezTo>
                      <a:pt x="30" y="214"/>
                      <a:pt x="24" y="220"/>
                      <a:pt x="22" y="226"/>
                    </a:cubicBezTo>
                    <a:cubicBezTo>
                      <a:pt x="20" y="232"/>
                      <a:pt x="0" y="232"/>
                      <a:pt x="0" y="245"/>
                    </a:cubicBezTo>
                    <a:cubicBezTo>
                      <a:pt x="0" y="258"/>
                      <a:pt x="3" y="272"/>
                      <a:pt x="10" y="277"/>
                    </a:cubicBezTo>
                    <a:cubicBezTo>
                      <a:pt x="17" y="282"/>
                      <a:pt x="15" y="313"/>
                      <a:pt x="30" y="314"/>
                    </a:cubicBezTo>
                    <a:cubicBezTo>
                      <a:pt x="45" y="315"/>
                      <a:pt x="54" y="315"/>
                      <a:pt x="54" y="330"/>
                    </a:cubicBezTo>
                    <a:cubicBezTo>
                      <a:pt x="54" y="345"/>
                      <a:pt x="56" y="362"/>
                      <a:pt x="75" y="368"/>
                    </a:cubicBezTo>
                    <a:cubicBezTo>
                      <a:pt x="94" y="374"/>
                      <a:pt x="102" y="383"/>
                      <a:pt x="106" y="395"/>
                    </a:cubicBezTo>
                    <a:cubicBezTo>
                      <a:pt x="110" y="407"/>
                      <a:pt x="106" y="417"/>
                      <a:pt x="111" y="431"/>
                    </a:cubicBezTo>
                    <a:cubicBezTo>
                      <a:pt x="116" y="445"/>
                      <a:pt x="118" y="449"/>
                      <a:pt x="121" y="463"/>
                    </a:cubicBezTo>
                    <a:cubicBezTo>
                      <a:pt x="124" y="477"/>
                      <a:pt x="128" y="488"/>
                      <a:pt x="131" y="495"/>
                    </a:cubicBezTo>
                    <a:cubicBezTo>
                      <a:pt x="131" y="495"/>
                      <a:pt x="131" y="496"/>
                      <a:pt x="131" y="496"/>
                    </a:cubicBezTo>
                    <a:cubicBezTo>
                      <a:pt x="131" y="496"/>
                      <a:pt x="131" y="496"/>
                      <a:pt x="131" y="496"/>
                    </a:cubicBezTo>
                    <a:cubicBezTo>
                      <a:pt x="132" y="497"/>
                      <a:pt x="132" y="497"/>
                      <a:pt x="132" y="497"/>
                    </a:cubicBezTo>
                    <a:cubicBezTo>
                      <a:pt x="132" y="497"/>
                      <a:pt x="132" y="497"/>
                      <a:pt x="132" y="497"/>
                    </a:cubicBezTo>
                    <a:cubicBezTo>
                      <a:pt x="135" y="502"/>
                      <a:pt x="139" y="507"/>
                      <a:pt x="135" y="512"/>
                    </a:cubicBezTo>
                    <a:cubicBezTo>
                      <a:pt x="135" y="512"/>
                      <a:pt x="135" y="512"/>
                      <a:pt x="135" y="512"/>
                    </a:cubicBezTo>
                    <a:cubicBezTo>
                      <a:pt x="143" y="513"/>
                      <a:pt x="155" y="513"/>
                      <a:pt x="156" y="507"/>
                    </a:cubicBezTo>
                    <a:cubicBezTo>
                      <a:pt x="158" y="499"/>
                      <a:pt x="161" y="498"/>
                      <a:pt x="170" y="492"/>
                    </a:cubicBezTo>
                    <a:cubicBezTo>
                      <a:pt x="179" y="487"/>
                      <a:pt x="183" y="483"/>
                      <a:pt x="182" y="472"/>
                    </a:cubicBezTo>
                    <a:cubicBezTo>
                      <a:pt x="182" y="460"/>
                      <a:pt x="185" y="457"/>
                      <a:pt x="178" y="451"/>
                    </a:cubicBezTo>
                    <a:cubicBezTo>
                      <a:pt x="171" y="446"/>
                      <a:pt x="169" y="437"/>
                      <a:pt x="171" y="431"/>
                    </a:cubicBezTo>
                    <a:cubicBezTo>
                      <a:pt x="173" y="424"/>
                      <a:pt x="171" y="418"/>
                      <a:pt x="180" y="416"/>
                    </a:cubicBezTo>
                    <a:cubicBezTo>
                      <a:pt x="189" y="414"/>
                      <a:pt x="195" y="412"/>
                      <a:pt x="200" y="404"/>
                    </a:cubicBezTo>
                    <a:cubicBezTo>
                      <a:pt x="205" y="397"/>
                      <a:pt x="210" y="388"/>
                      <a:pt x="225" y="383"/>
                    </a:cubicBezTo>
                    <a:cubicBezTo>
                      <a:pt x="240" y="378"/>
                      <a:pt x="255" y="371"/>
                      <a:pt x="257" y="363"/>
                    </a:cubicBezTo>
                    <a:cubicBezTo>
                      <a:pt x="259" y="356"/>
                      <a:pt x="261" y="320"/>
                      <a:pt x="261" y="303"/>
                    </a:cubicBezTo>
                    <a:cubicBezTo>
                      <a:pt x="260" y="303"/>
                      <a:pt x="259" y="303"/>
                      <a:pt x="257" y="303"/>
                    </a:cubicBezTo>
                    <a:cubicBezTo>
                      <a:pt x="240" y="301"/>
                      <a:pt x="245" y="292"/>
                      <a:pt x="236" y="284"/>
                    </a:cubicBezTo>
                    <a:cubicBezTo>
                      <a:pt x="227" y="277"/>
                      <a:pt x="209" y="277"/>
                      <a:pt x="198" y="273"/>
                    </a:cubicBezTo>
                    <a:cubicBezTo>
                      <a:pt x="188" y="268"/>
                      <a:pt x="169" y="251"/>
                      <a:pt x="182" y="233"/>
                    </a:cubicBezTo>
                    <a:cubicBezTo>
                      <a:pt x="195" y="215"/>
                      <a:pt x="211" y="205"/>
                      <a:pt x="216" y="191"/>
                    </a:cubicBezTo>
                    <a:cubicBezTo>
                      <a:pt x="220" y="177"/>
                      <a:pt x="241" y="178"/>
                      <a:pt x="236" y="159"/>
                    </a:cubicBezTo>
                    <a:cubicBezTo>
                      <a:pt x="231" y="139"/>
                      <a:pt x="239" y="126"/>
                      <a:pt x="219" y="120"/>
                    </a:cubicBezTo>
                    <a:cubicBezTo>
                      <a:pt x="198" y="114"/>
                      <a:pt x="187" y="101"/>
                      <a:pt x="198" y="81"/>
                    </a:cubicBezTo>
                    <a:cubicBezTo>
                      <a:pt x="210" y="62"/>
                      <a:pt x="231" y="53"/>
                      <a:pt x="233" y="45"/>
                    </a:cubicBezTo>
                    <a:cubicBezTo>
                      <a:pt x="235" y="36"/>
                      <a:pt x="233" y="14"/>
                      <a:pt x="222" y="25"/>
                    </a:cubicBezTo>
                    <a:cubicBezTo>
                      <a:pt x="211" y="37"/>
                      <a:pt x="198" y="64"/>
                      <a:pt x="191" y="44"/>
                    </a:cubicBezTo>
                    <a:cubicBezTo>
                      <a:pt x="183" y="23"/>
                      <a:pt x="175" y="12"/>
                      <a:pt x="164" y="8"/>
                    </a:cubicBezTo>
                    <a:cubicBezTo>
                      <a:pt x="153" y="4"/>
                      <a:pt x="135" y="0"/>
                      <a:pt x="123" y="8"/>
                    </a:cubicBezTo>
                    <a:cubicBezTo>
                      <a:pt x="114" y="15"/>
                      <a:pt x="97" y="25"/>
                      <a:pt x="77" y="28"/>
                    </a:cubicBezTo>
                    <a:cubicBezTo>
                      <a:pt x="79" y="35"/>
                      <a:pt x="79" y="43"/>
                      <a:pt x="73" y="44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3" name="Freeform 397">
                <a:extLst>
                  <a:ext uri="{FF2B5EF4-FFF2-40B4-BE49-F238E27FC236}">
                    <a16:creationId xmlns:a16="http://schemas.microsoft.com/office/drawing/2014/main" id="{50551684-A40A-6040-A179-34AA73438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" y="2022"/>
                <a:ext cx="255" cy="237"/>
              </a:xfrm>
              <a:custGeom>
                <a:avLst/>
                <a:gdLst>
                  <a:gd name="T0" fmla="*/ 60 w 1009"/>
                  <a:gd name="T1" fmla="*/ 113 h 939"/>
                  <a:gd name="T2" fmla="*/ 62 w 1009"/>
                  <a:gd name="T3" fmla="*/ 169 h 939"/>
                  <a:gd name="T4" fmla="*/ 15 w 1009"/>
                  <a:gd name="T5" fmla="*/ 209 h 939"/>
                  <a:gd name="T6" fmla="*/ 14 w 1009"/>
                  <a:gd name="T7" fmla="*/ 211 h 939"/>
                  <a:gd name="T8" fmla="*/ 27 w 1009"/>
                  <a:gd name="T9" fmla="*/ 264 h 939"/>
                  <a:gd name="T10" fmla="*/ 35 w 1009"/>
                  <a:gd name="T11" fmla="*/ 360 h 939"/>
                  <a:gd name="T12" fmla="*/ 26 w 1009"/>
                  <a:gd name="T13" fmla="*/ 427 h 939"/>
                  <a:gd name="T14" fmla="*/ 13 w 1009"/>
                  <a:gd name="T15" fmla="*/ 484 h 939"/>
                  <a:gd name="T16" fmla="*/ 49 w 1009"/>
                  <a:gd name="T17" fmla="*/ 571 h 939"/>
                  <a:gd name="T18" fmla="*/ 172 w 1009"/>
                  <a:gd name="T19" fmla="*/ 679 h 939"/>
                  <a:gd name="T20" fmla="*/ 225 w 1009"/>
                  <a:gd name="T21" fmla="*/ 692 h 939"/>
                  <a:gd name="T22" fmla="*/ 343 w 1009"/>
                  <a:gd name="T23" fmla="*/ 720 h 939"/>
                  <a:gd name="T24" fmla="*/ 351 w 1009"/>
                  <a:gd name="T25" fmla="*/ 717 h 939"/>
                  <a:gd name="T26" fmla="*/ 355 w 1009"/>
                  <a:gd name="T27" fmla="*/ 715 h 939"/>
                  <a:gd name="T28" fmla="*/ 358 w 1009"/>
                  <a:gd name="T29" fmla="*/ 713 h 939"/>
                  <a:gd name="T30" fmla="*/ 361 w 1009"/>
                  <a:gd name="T31" fmla="*/ 711 h 939"/>
                  <a:gd name="T32" fmla="*/ 364 w 1009"/>
                  <a:gd name="T33" fmla="*/ 708 h 939"/>
                  <a:gd name="T34" fmla="*/ 366 w 1009"/>
                  <a:gd name="T35" fmla="*/ 706 h 939"/>
                  <a:gd name="T36" fmla="*/ 369 w 1009"/>
                  <a:gd name="T37" fmla="*/ 703 h 939"/>
                  <a:gd name="T38" fmla="*/ 372 w 1009"/>
                  <a:gd name="T39" fmla="*/ 701 h 939"/>
                  <a:gd name="T40" fmla="*/ 376 w 1009"/>
                  <a:gd name="T41" fmla="*/ 699 h 939"/>
                  <a:gd name="T42" fmla="*/ 383 w 1009"/>
                  <a:gd name="T43" fmla="*/ 696 h 939"/>
                  <a:gd name="T44" fmla="*/ 932 w 1009"/>
                  <a:gd name="T45" fmla="*/ 913 h 939"/>
                  <a:gd name="T46" fmla="*/ 998 w 1009"/>
                  <a:gd name="T47" fmla="*/ 908 h 939"/>
                  <a:gd name="T48" fmla="*/ 999 w 1009"/>
                  <a:gd name="T49" fmla="*/ 531 h 939"/>
                  <a:gd name="T50" fmla="*/ 999 w 1009"/>
                  <a:gd name="T51" fmla="*/ 518 h 939"/>
                  <a:gd name="T52" fmla="*/ 999 w 1009"/>
                  <a:gd name="T53" fmla="*/ 482 h 939"/>
                  <a:gd name="T54" fmla="*/ 999 w 1009"/>
                  <a:gd name="T55" fmla="*/ 456 h 939"/>
                  <a:gd name="T56" fmla="*/ 999 w 1009"/>
                  <a:gd name="T57" fmla="*/ 445 h 939"/>
                  <a:gd name="T58" fmla="*/ 999 w 1009"/>
                  <a:gd name="T59" fmla="*/ 430 h 939"/>
                  <a:gd name="T60" fmla="*/ 999 w 1009"/>
                  <a:gd name="T61" fmla="*/ 418 h 939"/>
                  <a:gd name="T62" fmla="*/ 999 w 1009"/>
                  <a:gd name="T63" fmla="*/ 404 h 939"/>
                  <a:gd name="T64" fmla="*/ 999 w 1009"/>
                  <a:gd name="T65" fmla="*/ 385 h 939"/>
                  <a:gd name="T66" fmla="*/ 999 w 1009"/>
                  <a:gd name="T67" fmla="*/ 372 h 939"/>
                  <a:gd name="T68" fmla="*/ 999 w 1009"/>
                  <a:gd name="T69" fmla="*/ 363 h 939"/>
                  <a:gd name="T70" fmla="*/ 999 w 1009"/>
                  <a:gd name="T71" fmla="*/ 343 h 939"/>
                  <a:gd name="T72" fmla="*/ 999 w 1009"/>
                  <a:gd name="T73" fmla="*/ 329 h 939"/>
                  <a:gd name="T74" fmla="*/ 999 w 1009"/>
                  <a:gd name="T75" fmla="*/ 319 h 939"/>
                  <a:gd name="T76" fmla="*/ 999 w 1009"/>
                  <a:gd name="T77" fmla="*/ 310 h 939"/>
                  <a:gd name="T78" fmla="*/ 999 w 1009"/>
                  <a:gd name="T79" fmla="*/ 304 h 939"/>
                  <a:gd name="T80" fmla="*/ 998 w 1009"/>
                  <a:gd name="T81" fmla="*/ 297 h 939"/>
                  <a:gd name="T82" fmla="*/ 998 w 1009"/>
                  <a:gd name="T83" fmla="*/ 292 h 939"/>
                  <a:gd name="T84" fmla="*/ 998 w 1009"/>
                  <a:gd name="T85" fmla="*/ 287 h 939"/>
                  <a:gd name="T86" fmla="*/ 998 w 1009"/>
                  <a:gd name="T87" fmla="*/ 284 h 939"/>
                  <a:gd name="T88" fmla="*/ 998 w 1009"/>
                  <a:gd name="T89" fmla="*/ 280 h 939"/>
                  <a:gd name="T90" fmla="*/ 998 w 1009"/>
                  <a:gd name="T91" fmla="*/ 278 h 939"/>
                  <a:gd name="T92" fmla="*/ 998 w 1009"/>
                  <a:gd name="T93" fmla="*/ 277 h 939"/>
                  <a:gd name="T94" fmla="*/ 994 w 1009"/>
                  <a:gd name="T95" fmla="*/ 205 h 939"/>
                  <a:gd name="T96" fmla="*/ 989 w 1009"/>
                  <a:gd name="T97" fmla="*/ 150 h 939"/>
                  <a:gd name="T98" fmla="*/ 1007 w 1009"/>
                  <a:gd name="T99" fmla="*/ 113 h 939"/>
                  <a:gd name="T100" fmla="*/ 893 w 1009"/>
                  <a:gd name="T101" fmla="*/ 74 h 939"/>
                  <a:gd name="T102" fmla="*/ 707 w 1009"/>
                  <a:gd name="T103" fmla="*/ 58 h 939"/>
                  <a:gd name="T104" fmla="*/ 686 w 1009"/>
                  <a:gd name="T105" fmla="*/ 171 h 939"/>
                  <a:gd name="T106" fmla="*/ 456 w 1009"/>
                  <a:gd name="T107" fmla="*/ 142 h 939"/>
                  <a:gd name="T108" fmla="*/ 320 w 1009"/>
                  <a:gd name="T109" fmla="*/ 42 h 939"/>
                  <a:gd name="T110" fmla="*/ 141 w 1009"/>
                  <a:gd name="T111" fmla="*/ 0 h 9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9" h="939">
                    <a:moveTo>
                      <a:pt x="105" y="80"/>
                    </a:moveTo>
                    <a:cubicBezTo>
                      <a:pt x="90" y="85"/>
                      <a:pt x="85" y="94"/>
                      <a:pt x="80" y="101"/>
                    </a:cubicBezTo>
                    <a:cubicBezTo>
                      <a:pt x="75" y="109"/>
                      <a:pt x="69" y="111"/>
                      <a:pt x="60" y="113"/>
                    </a:cubicBezTo>
                    <a:cubicBezTo>
                      <a:pt x="51" y="115"/>
                      <a:pt x="53" y="121"/>
                      <a:pt x="51" y="128"/>
                    </a:cubicBezTo>
                    <a:cubicBezTo>
                      <a:pt x="49" y="134"/>
                      <a:pt x="51" y="143"/>
                      <a:pt x="58" y="148"/>
                    </a:cubicBezTo>
                    <a:cubicBezTo>
                      <a:pt x="65" y="154"/>
                      <a:pt x="62" y="157"/>
                      <a:pt x="62" y="169"/>
                    </a:cubicBezTo>
                    <a:cubicBezTo>
                      <a:pt x="63" y="180"/>
                      <a:pt x="59" y="184"/>
                      <a:pt x="50" y="189"/>
                    </a:cubicBezTo>
                    <a:cubicBezTo>
                      <a:pt x="41" y="195"/>
                      <a:pt x="38" y="196"/>
                      <a:pt x="36" y="204"/>
                    </a:cubicBezTo>
                    <a:cubicBezTo>
                      <a:pt x="35" y="210"/>
                      <a:pt x="23" y="210"/>
                      <a:pt x="15" y="209"/>
                    </a:cubicBezTo>
                    <a:cubicBezTo>
                      <a:pt x="15" y="209"/>
                      <a:pt x="15" y="209"/>
                      <a:pt x="15" y="209"/>
                    </a:cubicBezTo>
                    <a:cubicBezTo>
                      <a:pt x="15" y="210"/>
                      <a:pt x="14" y="210"/>
                      <a:pt x="14" y="211"/>
                    </a:cubicBezTo>
                    <a:cubicBezTo>
                      <a:pt x="14" y="211"/>
                      <a:pt x="14" y="211"/>
                      <a:pt x="14" y="211"/>
                    </a:cubicBezTo>
                    <a:cubicBezTo>
                      <a:pt x="13" y="212"/>
                      <a:pt x="13" y="212"/>
                      <a:pt x="12" y="213"/>
                    </a:cubicBezTo>
                    <a:cubicBezTo>
                      <a:pt x="2" y="221"/>
                      <a:pt x="2" y="234"/>
                      <a:pt x="13" y="241"/>
                    </a:cubicBezTo>
                    <a:cubicBezTo>
                      <a:pt x="24" y="248"/>
                      <a:pt x="25" y="257"/>
                      <a:pt x="27" y="264"/>
                    </a:cubicBezTo>
                    <a:cubicBezTo>
                      <a:pt x="29" y="271"/>
                      <a:pt x="39" y="281"/>
                      <a:pt x="37" y="296"/>
                    </a:cubicBezTo>
                    <a:cubicBezTo>
                      <a:pt x="35" y="311"/>
                      <a:pt x="42" y="323"/>
                      <a:pt x="35" y="334"/>
                    </a:cubicBezTo>
                    <a:cubicBezTo>
                      <a:pt x="28" y="345"/>
                      <a:pt x="29" y="355"/>
                      <a:pt x="35" y="360"/>
                    </a:cubicBezTo>
                    <a:cubicBezTo>
                      <a:pt x="41" y="365"/>
                      <a:pt x="47" y="376"/>
                      <a:pt x="42" y="386"/>
                    </a:cubicBezTo>
                    <a:cubicBezTo>
                      <a:pt x="37" y="396"/>
                      <a:pt x="35" y="403"/>
                      <a:pt x="30" y="405"/>
                    </a:cubicBezTo>
                    <a:cubicBezTo>
                      <a:pt x="25" y="407"/>
                      <a:pt x="19" y="420"/>
                      <a:pt x="26" y="427"/>
                    </a:cubicBezTo>
                    <a:cubicBezTo>
                      <a:pt x="33" y="434"/>
                      <a:pt x="35" y="437"/>
                      <a:pt x="36" y="446"/>
                    </a:cubicBezTo>
                    <a:cubicBezTo>
                      <a:pt x="37" y="455"/>
                      <a:pt x="43" y="468"/>
                      <a:pt x="31" y="470"/>
                    </a:cubicBezTo>
                    <a:cubicBezTo>
                      <a:pt x="19" y="472"/>
                      <a:pt x="20" y="482"/>
                      <a:pt x="13" y="484"/>
                    </a:cubicBezTo>
                    <a:cubicBezTo>
                      <a:pt x="6" y="486"/>
                      <a:pt x="0" y="497"/>
                      <a:pt x="11" y="508"/>
                    </a:cubicBezTo>
                    <a:cubicBezTo>
                      <a:pt x="22" y="519"/>
                      <a:pt x="29" y="537"/>
                      <a:pt x="36" y="541"/>
                    </a:cubicBezTo>
                    <a:cubicBezTo>
                      <a:pt x="43" y="545"/>
                      <a:pt x="49" y="554"/>
                      <a:pt x="49" y="571"/>
                    </a:cubicBezTo>
                    <a:cubicBezTo>
                      <a:pt x="49" y="588"/>
                      <a:pt x="57" y="613"/>
                      <a:pt x="84" y="614"/>
                    </a:cubicBezTo>
                    <a:cubicBezTo>
                      <a:pt x="111" y="615"/>
                      <a:pt x="136" y="617"/>
                      <a:pt x="143" y="627"/>
                    </a:cubicBezTo>
                    <a:cubicBezTo>
                      <a:pt x="148" y="634"/>
                      <a:pt x="163" y="663"/>
                      <a:pt x="172" y="679"/>
                    </a:cubicBezTo>
                    <a:cubicBezTo>
                      <a:pt x="173" y="679"/>
                      <a:pt x="173" y="679"/>
                      <a:pt x="173" y="679"/>
                    </a:cubicBezTo>
                    <a:cubicBezTo>
                      <a:pt x="174" y="679"/>
                      <a:pt x="175" y="678"/>
                      <a:pt x="176" y="678"/>
                    </a:cubicBezTo>
                    <a:cubicBezTo>
                      <a:pt x="207" y="678"/>
                      <a:pt x="213" y="686"/>
                      <a:pt x="225" y="692"/>
                    </a:cubicBezTo>
                    <a:cubicBezTo>
                      <a:pt x="237" y="697"/>
                      <a:pt x="267" y="690"/>
                      <a:pt x="279" y="705"/>
                    </a:cubicBezTo>
                    <a:cubicBezTo>
                      <a:pt x="291" y="720"/>
                      <a:pt x="300" y="734"/>
                      <a:pt x="312" y="736"/>
                    </a:cubicBezTo>
                    <a:cubicBezTo>
                      <a:pt x="324" y="737"/>
                      <a:pt x="319" y="726"/>
                      <a:pt x="343" y="720"/>
                    </a:cubicBezTo>
                    <a:cubicBezTo>
                      <a:pt x="344" y="719"/>
                      <a:pt x="346" y="719"/>
                      <a:pt x="347" y="718"/>
                    </a:cubicBezTo>
                    <a:cubicBezTo>
                      <a:pt x="347" y="718"/>
                      <a:pt x="348" y="718"/>
                      <a:pt x="348" y="718"/>
                    </a:cubicBezTo>
                    <a:cubicBezTo>
                      <a:pt x="349" y="718"/>
                      <a:pt x="350" y="717"/>
                      <a:pt x="351" y="717"/>
                    </a:cubicBezTo>
                    <a:cubicBezTo>
                      <a:pt x="351" y="717"/>
                      <a:pt x="351" y="717"/>
                      <a:pt x="352" y="717"/>
                    </a:cubicBezTo>
                    <a:cubicBezTo>
                      <a:pt x="352" y="716"/>
                      <a:pt x="353" y="716"/>
                      <a:pt x="354" y="716"/>
                    </a:cubicBezTo>
                    <a:cubicBezTo>
                      <a:pt x="354" y="715"/>
                      <a:pt x="354" y="715"/>
                      <a:pt x="355" y="715"/>
                    </a:cubicBezTo>
                    <a:cubicBezTo>
                      <a:pt x="355" y="715"/>
                      <a:pt x="356" y="715"/>
                      <a:pt x="356" y="714"/>
                    </a:cubicBezTo>
                    <a:cubicBezTo>
                      <a:pt x="357" y="714"/>
                      <a:pt x="357" y="714"/>
                      <a:pt x="357" y="714"/>
                    </a:cubicBezTo>
                    <a:cubicBezTo>
                      <a:pt x="358" y="713"/>
                      <a:pt x="358" y="713"/>
                      <a:pt x="358" y="713"/>
                    </a:cubicBezTo>
                    <a:cubicBezTo>
                      <a:pt x="359" y="713"/>
                      <a:pt x="359" y="712"/>
                      <a:pt x="359" y="712"/>
                    </a:cubicBezTo>
                    <a:cubicBezTo>
                      <a:pt x="360" y="712"/>
                      <a:pt x="360" y="712"/>
                      <a:pt x="360" y="711"/>
                    </a:cubicBezTo>
                    <a:cubicBezTo>
                      <a:pt x="361" y="711"/>
                      <a:pt x="361" y="711"/>
                      <a:pt x="361" y="711"/>
                    </a:cubicBezTo>
                    <a:cubicBezTo>
                      <a:pt x="362" y="710"/>
                      <a:pt x="362" y="710"/>
                      <a:pt x="362" y="710"/>
                    </a:cubicBezTo>
                    <a:cubicBezTo>
                      <a:pt x="362" y="709"/>
                      <a:pt x="363" y="709"/>
                      <a:pt x="363" y="709"/>
                    </a:cubicBezTo>
                    <a:cubicBezTo>
                      <a:pt x="363" y="709"/>
                      <a:pt x="364" y="708"/>
                      <a:pt x="364" y="708"/>
                    </a:cubicBezTo>
                    <a:cubicBezTo>
                      <a:pt x="364" y="708"/>
                      <a:pt x="364" y="708"/>
                      <a:pt x="364" y="708"/>
                    </a:cubicBezTo>
                    <a:cubicBezTo>
                      <a:pt x="365" y="707"/>
                      <a:pt x="365" y="707"/>
                      <a:pt x="365" y="707"/>
                    </a:cubicBezTo>
                    <a:cubicBezTo>
                      <a:pt x="366" y="706"/>
                      <a:pt x="366" y="706"/>
                      <a:pt x="366" y="706"/>
                    </a:cubicBezTo>
                    <a:cubicBezTo>
                      <a:pt x="367" y="705"/>
                      <a:pt x="367" y="705"/>
                      <a:pt x="367" y="705"/>
                    </a:cubicBezTo>
                    <a:cubicBezTo>
                      <a:pt x="367" y="705"/>
                      <a:pt x="368" y="704"/>
                      <a:pt x="368" y="704"/>
                    </a:cubicBezTo>
                    <a:cubicBezTo>
                      <a:pt x="368" y="704"/>
                      <a:pt x="369" y="704"/>
                      <a:pt x="369" y="703"/>
                    </a:cubicBezTo>
                    <a:cubicBezTo>
                      <a:pt x="369" y="703"/>
                      <a:pt x="370" y="703"/>
                      <a:pt x="370" y="703"/>
                    </a:cubicBezTo>
                    <a:cubicBezTo>
                      <a:pt x="370" y="702"/>
                      <a:pt x="371" y="702"/>
                      <a:pt x="371" y="702"/>
                    </a:cubicBezTo>
                    <a:cubicBezTo>
                      <a:pt x="371" y="702"/>
                      <a:pt x="372" y="701"/>
                      <a:pt x="372" y="701"/>
                    </a:cubicBezTo>
                    <a:cubicBezTo>
                      <a:pt x="373" y="701"/>
                      <a:pt x="373" y="701"/>
                      <a:pt x="373" y="700"/>
                    </a:cubicBezTo>
                    <a:cubicBezTo>
                      <a:pt x="374" y="700"/>
                      <a:pt x="374" y="700"/>
                      <a:pt x="375" y="699"/>
                    </a:cubicBezTo>
                    <a:cubicBezTo>
                      <a:pt x="375" y="699"/>
                      <a:pt x="376" y="699"/>
                      <a:pt x="376" y="699"/>
                    </a:cubicBezTo>
                    <a:cubicBezTo>
                      <a:pt x="377" y="698"/>
                      <a:pt x="377" y="698"/>
                      <a:pt x="378" y="698"/>
                    </a:cubicBezTo>
                    <a:cubicBezTo>
                      <a:pt x="379" y="698"/>
                      <a:pt x="379" y="697"/>
                      <a:pt x="379" y="697"/>
                    </a:cubicBezTo>
                    <a:cubicBezTo>
                      <a:pt x="380" y="697"/>
                      <a:pt x="381" y="696"/>
                      <a:pt x="383" y="696"/>
                    </a:cubicBezTo>
                    <a:cubicBezTo>
                      <a:pt x="404" y="688"/>
                      <a:pt x="415" y="670"/>
                      <a:pt x="443" y="686"/>
                    </a:cubicBezTo>
                    <a:cubicBezTo>
                      <a:pt x="468" y="701"/>
                      <a:pt x="861" y="903"/>
                      <a:pt x="932" y="939"/>
                    </a:cubicBezTo>
                    <a:cubicBezTo>
                      <a:pt x="932" y="913"/>
                      <a:pt x="932" y="913"/>
                      <a:pt x="932" y="913"/>
                    </a:cubicBezTo>
                    <a:cubicBezTo>
                      <a:pt x="998" y="911"/>
                      <a:pt x="998" y="911"/>
                      <a:pt x="998" y="911"/>
                    </a:cubicBezTo>
                    <a:cubicBezTo>
                      <a:pt x="998" y="911"/>
                      <a:pt x="998" y="911"/>
                      <a:pt x="998" y="911"/>
                    </a:cubicBezTo>
                    <a:cubicBezTo>
                      <a:pt x="998" y="910"/>
                      <a:pt x="998" y="909"/>
                      <a:pt x="998" y="908"/>
                    </a:cubicBezTo>
                    <a:cubicBezTo>
                      <a:pt x="998" y="897"/>
                      <a:pt x="998" y="852"/>
                      <a:pt x="998" y="792"/>
                    </a:cubicBezTo>
                    <a:cubicBezTo>
                      <a:pt x="998" y="788"/>
                      <a:pt x="998" y="784"/>
                      <a:pt x="998" y="780"/>
                    </a:cubicBezTo>
                    <a:cubicBezTo>
                      <a:pt x="999" y="708"/>
                      <a:pt x="999" y="617"/>
                      <a:pt x="999" y="531"/>
                    </a:cubicBezTo>
                    <a:cubicBezTo>
                      <a:pt x="999" y="531"/>
                      <a:pt x="999" y="531"/>
                      <a:pt x="999" y="531"/>
                    </a:cubicBezTo>
                    <a:cubicBezTo>
                      <a:pt x="999" y="528"/>
                      <a:pt x="999" y="525"/>
                      <a:pt x="999" y="522"/>
                    </a:cubicBezTo>
                    <a:cubicBezTo>
                      <a:pt x="999" y="521"/>
                      <a:pt x="999" y="520"/>
                      <a:pt x="999" y="518"/>
                    </a:cubicBezTo>
                    <a:cubicBezTo>
                      <a:pt x="999" y="512"/>
                      <a:pt x="999" y="507"/>
                      <a:pt x="999" y="501"/>
                    </a:cubicBezTo>
                    <a:cubicBezTo>
                      <a:pt x="999" y="501"/>
                      <a:pt x="999" y="500"/>
                      <a:pt x="999" y="500"/>
                    </a:cubicBezTo>
                    <a:cubicBezTo>
                      <a:pt x="999" y="494"/>
                      <a:pt x="999" y="488"/>
                      <a:pt x="999" y="482"/>
                    </a:cubicBezTo>
                    <a:cubicBezTo>
                      <a:pt x="999" y="481"/>
                      <a:pt x="999" y="481"/>
                      <a:pt x="999" y="480"/>
                    </a:cubicBezTo>
                    <a:cubicBezTo>
                      <a:pt x="999" y="475"/>
                      <a:pt x="999" y="469"/>
                      <a:pt x="999" y="464"/>
                    </a:cubicBezTo>
                    <a:cubicBezTo>
                      <a:pt x="999" y="461"/>
                      <a:pt x="999" y="459"/>
                      <a:pt x="999" y="456"/>
                    </a:cubicBezTo>
                    <a:cubicBezTo>
                      <a:pt x="999" y="455"/>
                      <a:pt x="999" y="455"/>
                      <a:pt x="999" y="454"/>
                    </a:cubicBezTo>
                    <a:cubicBezTo>
                      <a:pt x="999" y="453"/>
                      <a:pt x="999" y="451"/>
                      <a:pt x="999" y="450"/>
                    </a:cubicBezTo>
                    <a:cubicBezTo>
                      <a:pt x="999" y="448"/>
                      <a:pt x="999" y="446"/>
                      <a:pt x="999" y="445"/>
                    </a:cubicBezTo>
                    <a:cubicBezTo>
                      <a:pt x="999" y="444"/>
                      <a:pt x="999" y="443"/>
                      <a:pt x="999" y="442"/>
                    </a:cubicBezTo>
                    <a:cubicBezTo>
                      <a:pt x="999" y="440"/>
                      <a:pt x="999" y="439"/>
                      <a:pt x="999" y="437"/>
                    </a:cubicBezTo>
                    <a:cubicBezTo>
                      <a:pt x="999" y="435"/>
                      <a:pt x="999" y="432"/>
                      <a:pt x="999" y="430"/>
                    </a:cubicBezTo>
                    <a:cubicBezTo>
                      <a:pt x="999" y="429"/>
                      <a:pt x="999" y="428"/>
                      <a:pt x="999" y="427"/>
                    </a:cubicBezTo>
                    <a:cubicBezTo>
                      <a:pt x="999" y="425"/>
                      <a:pt x="999" y="424"/>
                      <a:pt x="999" y="422"/>
                    </a:cubicBezTo>
                    <a:cubicBezTo>
                      <a:pt x="999" y="421"/>
                      <a:pt x="999" y="420"/>
                      <a:pt x="999" y="418"/>
                    </a:cubicBezTo>
                    <a:cubicBezTo>
                      <a:pt x="999" y="417"/>
                      <a:pt x="999" y="416"/>
                      <a:pt x="999" y="415"/>
                    </a:cubicBezTo>
                    <a:cubicBezTo>
                      <a:pt x="999" y="413"/>
                      <a:pt x="999" y="411"/>
                      <a:pt x="999" y="409"/>
                    </a:cubicBezTo>
                    <a:cubicBezTo>
                      <a:pt x="999" y="407"/>
                      <a:pt x="999" y="405"/>
                      <a:pt x="999" y="404"/>
                    </a:cubicBezTo>
                    <a:cubicBezTo>
                      <a:pt x="999" y="403"/>
                      <a:pt x="999" y="403"/>
                      <a:pt x="999" y="402"/>
                    </a:cubicBezTo>
                    <a:cubicBezTo>
                      <a:pt x="999" y="396"/>
                      <a:pt x="999" y="391"/>
                      <a:pt x="999" y="385"/>
                    </a:cubicBezTo>
                    <a:cubicBezTo>
                      <a:pt x="999" y="385"/>
                      <a:pt x="999" y="385"/>
                      <a:pt x="999" y="385"/>
                    </a:cubicBezTo>
                    <a:cubicBezTo>
                      <a:pt x="999" y="383"/>
                      <a:pt x="999" y="382"/>
                      <a:pt x="999" y="380"/>
                    </a:cubicBezTo>
                    <a:cubicBezTo>
                      <a:pt x="999" y="379"/>
                      <a:pt x="999" y="379"/>
                      <a:pt x="999" y="378"/>
                    </a:cubicBezTo>
                    <a:cubicBezTo>
                      <a:pt x="999" y="376"/>
                      <a:pt x="999" y="374"/>
                      <a:pt x="999" y="372"/>
                    </a:cubicBezTo>
                    <a:cubicBezTo>
                      <a:pt x="999" y="370"/>
                      <a:pt x="999" y="369"/>
                      <a:pt x="999" y="368"/>
                    </a:cubicBezTo>
                    <a:cubicBezTo>
                      <a:pt x="999" y="367"/>
                      <a:pt x="999" y="365"/>
                      <a:pt x="999" y="364"/>
                    </a:cubicBezTo>
                    <a:cubicBezTo>
                      <a:pt x="999" y="363"/>
                      <a:pt x="999" y="363"/>
                      <a:pt x="999" y="363"/>
                    </a:cubicBezTo>
                    <a:cubicBezTo>
                      <a:pt x="999" y="358"/>
                      <a:pt x="999" y="354"/>
                      <a:pt x="999" y="349"/>
                    </a:cubicBezTo>
                    <a:cubicBezTo>
                      <a:pt x="999" y="349"/>
                      <a:pt x="999" y="348"/>
                      <a:pt x="999" y="347"/>
                    </a:cubicBezTo>
                    <a:cubicBezTo>
                      <a:pt x="999" y="346"/>
                      <a:pt x="999" y="345"/>
                      <a:pt x="999" y="343"/>
                    </a:cubicBezTo>
                    <a:cubicBezTo>
                      <a:pt x="999" y="343"/>
                      <a:pt x="999" y="343"/>
                      <a:pt x="999" y="343"/>
                    </a:cubicBezTo>
                    <a:cubicBezTo>
                      <a:pt x="999" y="338"/>
                      <a:pt x="999" y="334"/>
                      <a:pt x="999" y="330"/>
                    </a:cubicBezTo>
                    <a:cubicBezTo>
                      <a:pt x="999" y="330"/>
                      <a:pt x="999" y="329"/>
                      <a:pt x="999" y="329"/>
                    </a:cubicBezTo>
                    <a:cubicBezTo>
                      <a:pt x="999" y="327"/>
                      <a:pt x="999" y="326"/>
                      <a:pt x="999" y="324"/>
                    </a:cubicBezTo>
                    <a:cubicBezTo>
                      <a:pt x="999" y="323"/>
                      <a:pt x="999" y="322"/>
                      <a:pt x="999" y="321"/>
                    </a:cubicBezTo>
                    <a:cubicBezTo>
                      <a:pt x="999" y="320"/>
                      <a:pt x="999" y="319"/>
                      <a:pt x="999" y="319"/>
                    </a:cubicBezTo>
                    <a:cubicBezTo>
                      <a:pt x="999" y="318"/>
                      <a:pt x="999" y="317"/>
                      <a:pt x="999" y="316"/>
                    </a:cubicBezTo>
                    <a:cubicBezTo>
                      <a:pt x="999" y="316"/>
                      <a:pt x="999" y="315"/>
                      <a:pt x="999" y="314"/>
                    </a:cubicBezTo>
                    <a:cubicBezTo>
                      <a:pt x="999" y="313"/>
                      <a:pt x="999" y="311"/>
                      <a:pt x="999" y="310"/>
                    </a:cubicBezTo>
                    <a:cubicBezTo>
                      <a:pt x="999" y="310"/>
                      <a:pt x="999" y="309"/>
                      <a:pt x="999" y="309"/>
                    </a:cubicBezTo>
                    <a:cubicBezTo>
                      <a:pt x="999" y="308"/>
                      <a:pt x="999" y="307"/>
                      <a:pt x="999" y="306"/>
                    </a:cubicBezTo>
                    <a:cubicBezTo>
                      <a:pt x="999" y="305"/>
                      <a:pt x="999" y="305"/>
                      <a:pt x="999" y="304"/>
                    </a:cubicBezTo>
                    <a:cubicBezTo>
                      <a:pt x="999" y="303"/>
                      <a:pt x="999" y="303"/>
                      <a:pt x="999" y="302"/>
                    </a:cubicBezTo>
                    <a:cubicBezTo>
                      <a:pt x="999" y="301"/>
                      <a:pt x="999" y="301"/>
                      <a:pt x="999" y="300"/>
                    </a:cubicBezTo>
                    <a:cubicBezTo>
                      <a:pt x="998" y="299"/>
                      <a:pt x="998" y="298"/>
                      <a:pt x="998" y="297"/>
                    </a:cubicBezTo>
                    <a:cubicBezTo>
                      <a:pt x="998" y="296"/>
                      <a:pt x="998" y="296"/>
                      <a:pt x="998" y="296"/>
                    </a:cubicBezTo>
                    <a:cubicBezTo>
                      <a:pt x="998" y="295"/>
                      <a:pt x="998" y="294"/>
                      <a:pt x="998" y="294"/>
                    </a:cubicBezTo>
                    <a:cubicBezTo>
                      <a:pt x="998" y="293"/>
                      <a:pt x="998" y="293"/>
                      <a:pt x="998" y="292"/>
                    </a:cubicBezTo>
                    <a:cubicBezTo>
                      <a:pt x="998" y="291"/>
                      <a:pt x="998" y="290"/>
                      <a:pt x="998" y="289"/>
                    </a:cubicBezTo>
                    <a:cubicBezTo>
                      <a:pt x="998" y="289"/>
                      <a:pt x="998" y="289"/>
                      <a:pt x="998" y="289"/>
                    </a:cubicBezTo>
                    <a:cubicBezTo>
                      <a:pt x="998" y="288"/>
                      <a:pt x="998" y="287"/>
                      <a:pt x="998" y="287"/>
                    </a:cubicBezTo>
                    <a:cubicBezTo>
                      <a:pt x="998" y="286"/>
                      <a:pt x="998" y="286"/>
                      <a:pt x="998" y="286"/>
                    </a:cubicBezTo>
                    <a:cubicBezTo>
                      <a:pt x="998" y="285"/>
                      <a:pt x="998" y="285"/>
                      <a:pt x="998" y="284"/>
                    </a:cubicBezTo>
                    <a:cubicBezTo>
                      <a:pt x="998" y="284"/>
                      <a:pt x="998" y="284"/>
                      <a:pt x="998" y="284"/>
                    </a:cubicBezTo>
                    <a:cubicBezTo>
                      <a:pt x="998" y="283"/>
                      <a:pt x="998" y="282"/>
                      <a:pt x="998" y="282"/>
                    </a:cubicBezTo>
                    <a:cubicBezTo>
                      <a:pt x="998" y="281"/>
                      <a:pt x="998" y="281"/>
                      <a:pt x="998" y="281"/>
                    </a:cubicBezTo>
                    <a:cubicBezTo>
                      <a:pt x="998" y="281"/>
                      <a:pt x="998" y="280"/>
                      <a:pt x="998" y="280"/>
                    </a:cubicBezTo>
                    <a:cubicBezTo>
                      <a:pt x="998" y="280"/>
                      <a:pt x="998" y="280"/>
                      <a:pt x="998" y="280"/>
                    </a:cubicBezTo>
                    <a:cubicBezTo>
                      <a:pt x="998" y="279"/>
                      <a:pt x="998" y="279"/>
                      <a:pt x="998" y="278"/>
                    </a:cubicBezTo>
                    <a:cubicBezTo>
                      <a:pt x="998" y="278"/>
                      <a:pt x="998" y="278"/>
                      <a:pt x="998" y="278"/>
                    </a:cubicBezTo>
                    <a:cubicBezTo>
                      <a:pt x="998" y="278"/>
                      <a:pt x="998" y="278"/>
                      <a:pt x="998" y="277"/>
                    </a:cubicBezTo>
                    <a:cubicBezTo>
                      <a:pt x="998" y="277"/>
                      <a:pt x="998" y="277"/>
                      <a:pt x="998" y="277"/>
                    </a:cubicBezTo>
                    <a:cubicBezTo>
                      <a:pt x="998" y="277"/>
                      <a:pt x="998" y="277"/>
                      <a:pt x="998" y="277"/>
                    </a:cubicBezTo>
                    <a:cubicBezTo>
                      <a:pt x="995" y="268"/>
                      <a:pt x="998" y="252"/>
                      <a:pt x="991" y="249"/>
                    </a:cubicBezTo>
                    <a:cubicBezTo>
                      <a:pt x="984" y="246"/>
                      <a:pt x="988" y="235"/>
                      <a:pt x="983" y="225"/>
                    </a:cubicBezTo>
                    <a:cubicBezTo>
                      <a:pt x="978" y="215"/>
                      <a:pt x="994" y="209"/>
                      <a:pt x="994" y="205"/>
                    </a:cubicBezTo>
                    <a:cubicBezTo>
                      <a:pt x="994" y="201"/>
                      <a:pt x="995" y="189"/>
                      <a:pt x="1002" y="186"/>
                    </a:cubicBezTo>
                    <a:cubicBezTo>
                      <a:pt x="1009" y="183"/>
                      <a:pt x="1004" y="174"/>
                      <a:pt x="998" y="170"/>
                    </a:cubicBezTo>
                    <a:cubicBezTo>
                      <a:pt x="992" y="166"/>
                      <a:pt x="998" y="157"/>
                      <a:pt x="989" y="150"/>
                    </a:cubicBezTo>
                    <a:cubicBezTo>
                      <a:pt x="980" y="143"/>
                      <a:pt x="987" y="134"/>
                      <a:pt x="994" y="132"/>
                    </a:cubicBezTo>
                    <a:cubicBezTo>
                      <a:pt x="1001" y="130"/>
                      <a:pt x="999" y="122"/>
                      <a:pt x="1003" y="120"/>
                    </a:cubicBezTo>
                    <a:cubicBezTo>
                      <a:pt x="1004" y="119"/>
                      <a:pt x="1005" y="116"/>
                      <a:pt x="1007" y="113"/>
                    </a:cubicBezTo>
                    <a:cubicBezTo>
                      <a:pt x="997" y="102"/>
                      <a:pt x="991" y="88"/>
                      <a:pt x="976" y="88"/>
                    </a:cubicBezTo>
                    <a:cubicBezTo>
                      <a:pt x="957" y="88"/>
                      <a:pt x="949" y="95"/>
                      <a:pt x="936" y="87"/>
                    </a:cubicBezTo>
                    <a:cubicBezTo>
                      <a:pt x="923" y="78"/>
                      <a:pt x="905" y="74"/>
                      <a:pt x="893" y="74"/>
                    </a:cubicBezTo>
                    <a:cubicBezTo>
                      <a:pt x="881" y="74"/>
                      <a:pt x="895" y="48"/>
                      <a:pt x="863" y="41"/>
                    </a:cubicBezTo>
                    <a:cubicBezTo>
                      <a:pt x="831" y="33"/>
                      <a:pt x="816" y="19"/>
                      <a:pt x="788" y="27"/>
                    </a:cubicBezTo>
                    <a:cubicBezTo>
                      <a:pt x="760" y="34"/>
                      <a:pt x="718" y="43"/>
                      <a:pt x="707" y="58"/>
                    </a:cubicBezTo>
                    <a:cubicBezTo>
                      <a:pt x="697" y="73"/>
                      <a:pt x="676" y="78"/>
                      <a:pt x="676" y="93"/>
                    </a:cubicBezTo>
                    <a:cubicBezTo>
                      <a:pt x="676" y="108"/>
                      <a:pt x="675" y="119"/>
                      <a:pt x="683" y="132"/>
                    </a:cubicBezTo>
                    <a:cubicBezTo>
                      <a:pt x="690" y="145"/>
                      <a:pt x="702" y="153"/>
                      <a:pt x="686" y="171"/>
                    </a:cubicBezTo>
                    <a:cubicBezTo>
                      <a:pt x="670" y="188"/>
                      <a:pt x="649" y="221"/>
                      <a:pt x="626" y="209"/>
                    </a:cubicBezTo>
                    <a:cubicBezTo>
                      <a:pt x="602" y="198"/>
                      <a:pt x="563" y="161"/>
                      <a:pt x="526" y="153"/>
                    </a:cubicBezTo>
                    <a:cubicBezTo>
                      <a:pt x="488" y="146"/>
                      <a:pt x="477" y="142"/>
                      <a:pt x="456" y="142"/>
                    </a:cubicBezTo>
                    <a:cubicBezTo>
                      <a:pt x="434" y="142"/>
                      <a:pt x="415" y="151"/>
                      <a:pt x="404" y="125"/>
                    </a:cubicBezTo>
                    <a:cubicBezTo>
                      <a:pt x="393" y="100"/>
                      <a:pt x="396" y="66"/>
                      <a:pt x="369" y="60"/>
                    </a:cubicBezTo>
                    <a:cubicBezTo>
                      <a:pt x="342" y="53"/>
                      <a:pt x="336" y="52"/>
                      <a:pt x="320" y="42"/>
                    </a:cubicBezTo>
                    <a:cubicBezTo>
                      <a:pt x="304" y="31"/>
                      <a:pt x="279" y="21"/>
                      <a:pt x="258" y="26"/>
                    </a:cubicBezTo>
                    <a:cubicBezTo>
                      <a:pt x="236" y="30"/>
                      <a:pt x="211" y="35"/>
                      <a:pt x="191" y="24"/>
                    </a:cubicBezTo>
                    <a:cubicBezTo>
                      <a:pt x="173" y="15"/>
                      <a:pt x="157" y="4"/>
                      <a:pt x="141" y="0"/>
                    </a:cubicBezTo>
                    <a:cubicBezTo>
                      <a:pt x="141" y="17"/>
                      <a:pt x="139" y="53"/>
                      <a:pt x="137" y="60"/>
                    </a:cubicBezTo>
                    <a:cubicBezTo>
                      <a:pt x="135" y="68"/>
                      <a:pt x="120" y="75"/>
                      <a:pt x="105" y="8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4" name="Freeform 398">
                <a:extLst>
                  <a:ext uri="{FF2B5EF4-FFF2-40B4-BE49-F238E27FC236}">
                    <a16:creationId xmlns:a16="http://schemas.microsoft.com/office/drawing/2014/main" id="{B90B70D5-A0FD-2F42-9EAC-6C729EC3C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4" y="2415"/>
                <a:ext cx="48" cy="51"/>
              </a:xfrm>
              <a:custGeom>
                <a:avLst/>
                <a:gdLst>
                  <a:gd name="T0" fmla="*/ 133 w 188"/>
                  <a:gd name="T1" fmla="*/ 181 h 199"/>
                  <a:gd name="T2" fmla="*/ 149 w 188"/>
                  <a:gd name="T3" fmla="*/ 162 h 199"/>
                  <a:gd name="T4" fmla="*/ 167 w 188"/>
                  <a:gd name="T5" fmla="*/ 146 h 199"/>
                  <a:gd name="T6" fmla="*/ 187 w 188"/>
                  <a:gd name="T7" fmla="*/ 122 h 199"/>
                  <a:gd name="T8" fmla="*/ 188 w 188"/>
                  <a:gd name="T9" fmla="*/ 120 h 199"/>
                  <a:gd name="T10" fmla="*/ 188 w 188"/>
                  <a:gd name="T11" fmla="*/ 119 h 199"/>
                  <a:gd name="T12" fmla="*/ 188 w 188"/>
                  <a:gd name="T13" fmla="*/ 118 h 199"/>
                  <a:gd name="T14" fmla="*/ 188 w 188"/>
                  <a:gd name="T15" fmla="*/ 117 h 199"/>
                  <a:gd name="T16" fmla="*/ 188 w 188"/>
                  <a:gd name="T17" fmla="*/ 116 h 199"/>
                  <a:gd name="T18" fmla="*/ 188 w 188"/>
                  <a:gd name="T19" fmla="*/ 116 h 199"/>
                  <a:gd name="T20" fmla="*/ 188 w 188"/>
                  <a:gd name="T21" fmla="*/ 114 h 199"/>
                  <a:gd name="T22" fmla="*/ 188 w 188"/>
                  <a:gd name="T23" fmla="*/ 113 h 199"/>
                  <a:gd name="T24" fmla="*/ 188 w 188"/>
                  <a:gd name="T25" fmla="*/ 112 h 199"/>
                  <a:gd name="T26" fmla="*/ 188 w 188"/>
                  <a:gd name="T27" fmla="*/ 112 h 199"/>
                  <a:gd name="T28" fmla="*/ 187 w 188"/>
                  <a:gd name="T29" fmla="*/ 110 h 199"/>
                  <a:gd name="T30" fmla="*/ 187 w 188"/>
                  <a:gd name="T31" fmla="*/ 110 h 199"/>
                  <a:gd name="T32" fmla="*/ 186 w 188"/>
                  <a:gd name="T33" fmla="*/ 109 h 199"/>
                  <a:gd name="T34" fmla="*/ 186 w 188"/>
                  <a:gd name="T35" fmla="*/ 108 h 199"/>
                  <a:gd name="T36" fmla="*/ 185 w 188"/>
                  <a:gd name="T37" fmla="*/ 107 h 199"/>
                  <a:gd name="T38" fmla="*/ 185 w 188"/>
                  <a:gd name="T39" fmla="*/ 107 h 199"/>
                  <a:gd name="T40" fmla="*/ 184 w 188"/>
                  <a:gd name="T41" fmla="*/ 106 h 199"/>
                  <a:gd name="T42" fmla="*/ 184 w 188"/>
                  <a:gd name="T43" fmla="*/ 106 h 199"/>
                  <a:gd name="T44" fmla="*/ 183 w 188"/>
                  <a:gd name="T45" fmla="*/ 104 h 199"/>
                  <a:gd name="T46" fmla="*/ 183 w 188"/>
                  <a:gd name="T47" fmla="*/ 104 h 199"/>
                  <a:gd name="T48" fmla="*/ 182 w 188"/>
                  <a:gd name="T49" fmla="*/ 103 h 199"/>
                  <a:gd name="T50" fmla="*/ 182 w 188"/>
                  <a:gd name="T51" fmla="*/ 103 h 199"/>
                  <a:gd name="T52" fmla="*/ 181 w 188"/>
                  <a:gd name="T53" fmla="*/ 102 h 199"/>
                  <a:gd name="T54" fmla="*/ 181 w 188"/>
                  <a:gd name="T55" fmla="*/ 102 h 199"/>
                  <a:gd name="T56" fmla="*/ 179 w 188"/>
                  <a:gd name="T57" fmla="*/ 100 h 199"/>
                  <a:gd name="T58" fmla="*/ 177 w 188"/>
                  <a:gd name="T59" fmla="*/ 98 h 199"/>
                  <a:gd name="T60" fmla="*/ 174 w 188"/>
                  <a:gd name="T61" fmla="*/ 66 h 199"/>
                  <a:gd name="T62" fmla="*/ 163 w 188"/>
                  <a:gd name="T63" fmla="*/ 50 h 199"/>
                  <a:gd name="T64" fmla="*/ 151 w 188"/>
                  <a:gd name="T65" fmla="*/ 25 h 199"/>
                  <a:gd name="T66" fmla="*/ 132 w 188"/>
                  <a:gd name="T67" fmla="*/ 7 h 199"/>
                  <a:gd name="T68" fmla="*/ 106 w 188"/>
                  <a:gd name="T69" fmla="*/ 3 h 199"/>
                  <a:gd name="T70" fmla="*/ 85 w 188"/>
                  <a:gd name="T71" fmla="*/ 10 h 199"/>
                  <a:gd name="T72" fmla="*/ 62 w 188"/>
                  <a:gd name="T73" fmla="*/ 11 h 199"/>
                  <a:gd name="T74" fmla="*/ 46 w 188"/>
                  <a:gd name="T75" fmla="*/ 22 h 199"/>
                  <a:gd name="T76" fmla="*/ 29 w 188"/>
                  <a:gd name="T77" fmla="*/ 45 h 199"/>
                  <a:gd name="T78" fmla="*/ 15 w 188"/>
                  <a:gd name="T79" fmla="*/ 60 h 199"/>
                  <a:gd name="T80" fmla="*/ 0 w 188"/>
                  <a:gd name="T81" fmla="*/ 65 h 199"/>
                  <a:gd name="T82" fmla="*/ 5 w 188"/>
                  <a:gd name="T83" fmla="*/ 85 h 199"/>
                  <a:gd name="T84" fmla="*/ 44 w 188"/>
                  <a:gd name="T85" fmla="*/ 156 h 199"/>
                  <a:gd name="T86" fmla="*/ 98 w 188"/>
                  <a:gd name="T87" fmla="*/ 188 h 199"/>
                  <a:gd name="T88" fmla="*/ 117 w 188"/>
                  <a:gd name="T89" fmla="*/ 199 h 199"/>
                  <a:gd name="T90" fmla="*/ 133 w 188"/>
                  <a:gd name="T91" fmla="*/ 181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8" h="199">
                    <a:moveTo>
                      <a:pt x="133" y="181"/>
                    </a:moveTo>
                    <a:cubicBezTo>
                      <a:pt x="137" y="176"/>
                      <a:pt x="143" y="165"/>
                      <a:pt x="149" y="162"/>
                    </a:cubicBezTo>
                    <a:cubicBezTo>
                      <a:pt x="155" y="158"/>
                      <a:pt x="165" y="152"/>
                      <a:pt x="167" y="146"/>
                    </a:cubicBezTo>
                    <a:cubicBezTo>
                      <a:pt x="168" y="139"/>
                      <a:pt x="181" y="133"/>
                      <a:pt x="187" y="122"/>
                    </a:cubicBezTo>
                    <a:cubicBezTo>
                      <a:pt x="187" y="121"/>
                      <a:pt x="187" y="120"/>
                      <a:pt x="188" y="120"/>
                    </a:cubicBezTo>
                    <a:cubicBezTo>
                      <a:pt x="188" y="120"/>
                      <a:pt x="188" y="119"/>
                      <a:pt x="188" y="119"/>
                    </a:cubicBezTo>
                    <a:cubicBezTo>
                      <a:pt x="188" y="119"/>
                      <a:pt x="188" y="118"/>
                      <a:pt x="188" y="118"/>
                    </a:cubicBezTo>
                    <a:cubicBezTo>
                      <a:pt x="188" y="118"/>
                      <a:pt x="188" y="118"/>
                      <a:pt x="188" y="117"/>
                    </a:cubicBezTo>
                    <a:cubicBezTo>
                      <a:pt x="188" y="117"/>
                      <a:pt x="188" y="116"/>
                      <a:pt x="188" y="116"/>
                    </a:cubicBezTo>
                    <a:cubicBezTo>
                      <a:pt x="188" y="116"/>
                      <a:pt x="188" y="116"/>
                      <a:pt x="188" y="116"/>
                    </a:cubicBezTo>
                    <a:cubicBezTo>
                      <a:pt x="188" y="115"/>
                      <a:pt x="188" y="115"/>
                      <a:pt x="188" y="114"/>
                    </a:cubicBezTo>
                    <a:cubicBezTo>
                      <a:pt x="188" y="114"/>
                      <a:pt x="188" y="114"/>
                      <a:pt x="188" y="113"/>
                    </a:cubicBezTo>
                    <a:cubicBezTo>
                      <a:pt x="188" y="113"/>
                      <a:pt x="188" y="113"/>
                      <a:pt x="188" y="112"/>
                    </a:cubicBezTo>
                    <a:cubicBezTo>
                      <a:pt x="188" y="112"/>
                      <a:pt x="188" y="112"/>
                      <a:pt x="188" y="112"/>
                    </a:cubicBezTo>
                    <a:cubicBezTo>
                      <a:pt x="188" y="111"/>
                      <a:pt x="187" y="111"/>
                      <a:pt x="187" y="110"/>
                    </a:cubicBezTo>
                    <a:cubicBezTo>
                      <a:pt x="187" y="110"/>
                      <a:pt x="187" y="110"/>
                      <a:pt x="187" y="110"/>
                    </a:cubicBezTo>
                    <a:cubicBezTo>
                      <a:pt x="187" y="110"/>
                      <a:pt x="187" y="109"/>
                      <a:pt x="186" y="109"/>
                    </a:cubicBezTo>
                    <a:cubicBezTo>
                      <a:pt x="186" y="109"/>
                      <a:pt x="186" y="109"/>
                      <a:pt x="186" y="108"/>
                    </a:cubicBezTo>
                    <a:cubicBezTo>
                      <a:pt x="186" y="108"/>
                      <a:pt x="186" y="108"/>
                      <a:pt x="185" y="107"/>
                    </a:cubicBezTo>
                    <a:cubicBezTo>
                      <a:pt x="185" y="107"/>
                      <a:pt x="185" y="107"/>
                      <a:pt x="185" y="107"/>
                    </a:cubicBezTo>
                    <a:cubicBezTo>
                      <a:pt x="185" y="107"/>
                      <a:pt x="185" y="106"/>
                      <a:pt x="184" y="106"/>
                    </a:cubicBezTo>
                    <a:cubicBezTo>
                      <a:pt x="184" y="106"/>
                      <a:pt x="184" y="106"/>
                      <a:pt x="184" y="106"/>
                    </a:cubicBezTo>
                    <a:cubicBezTo>
                      <a:pt x="184" y="105"/>
                      <a:pt x="184" y="105"/>
                      <a:pt x="183" y="104"/>
                    </a:cubicBezTo>
                    <a:cubicBezTo>
                      <a:pt x="183" y="104"/>
                      <a:pt x="183" y="104"/>
                      <a:pt x="183" y="104"/>
                    </a:cubicBezTo>
                    <a:cubicBezTo>
                      <a:pt x="183" y="104"/>
                      <a:pt x="182" y="103"/>
                      <a:pt x="182" y="103"/>
                    </a:cubicBezTo>
                    <a:cubicBezTo>
                      <a:pt x="182" y="103"/>
                      <a:pt x="182" y="103"/>
                      <a:pt x="182" y="103"/>
                    </a:cubicBezTo>
                    <a:cubicBezTo>
                      <a:pt x="182" y="103"/>
                      <a:pt x="181" y="102"/>
                      <a:pt x="181" y="102"/>
                    </a:cubicBezTo>
                    <a:cubicBezTo>
                      <a:pt x="181" y="102"/>
                      <a:pt x="181" y="102"/>
                      <a:pt x="181" y="102"/>
                    </a:cubicBezTo>
                    <a:cubicBezTo>
                      <a:pt x="180" y="101"/>
                      <a:pt x="179" y="100"/>
                      <a:pt x="179" y="100"/>
                    </a:cubicBezTo>
                    <a:cubicBezTo>
                      <a:pt x="178" y="99"/>
                      <a:pt x="178" y="99"/>
                      <a:pt x="177" y="98"/>
                    </a:cubicBezTo>
                    <a:cubicBezTo>
                      <a:pt x="175" y="95"/>
                      <a:pt x="175" y="71"/>
                      <a:pt x="174" y="66"/>
                    </a:cubicBezTo>
                    <a:cubicBezTo>
                      <a:pt x="173" y="62"/>
                      <a:pt x="170" y="54"/>
                      <a:pt x="163" y="50"/>
                    </a:cubicBezTo>
                    <a:cubicBezTo>
                      <a:pt x="155" y="45"/>
                      <a:pt x="153" y="32"/>
                      <a:pt x="151" y="25"/>
                    </a:cubicBezTo>
                    <a:cubicBezTo>
                      <a:pt x="150" y="18"/>
                      <a:pt x="135" y="14"/>
                      <a:pt x="132" y="7"/>
                    </a:cubicBezTo>
                    <a:cubicBezTo>
                      <a:pt x="129" y="0"/>
                      <a:pt x="113" y="3"/>
                      <a:pt x="106" y="3"/>
                    </a:cubicBezTo>
                    <a:cubicBezTo>
                      <a:pt x="99" y="3"/>
                      <a:pt x="91" y="5"/>
                      <a:pt x="85" y="10"/>
                    </a:cubicBezTo>
                    <a:cubicBezTo>
                      <a:pt x="79" y="14"/>
                      <a:pt x="73" y="14"/>
                      <a:pt x="62" y="11"/>
                    </a:cubicBezTo>
                    <a:cubicBezTo>
                      <a:pt x="51" y="8"/>
                      <a:pt x="48" y="11"/>
                      <a:pt x="46" y="22"/>
                    </a:cubicBezTo>
                    <a:cubicBezTo>
                      <a:pt x="44" y="32"/>
                      <a:pt x="39" y="41"/>
                      <a:pt x="29" y="45"/>
                    </a:cubicBezTo>
                    <a:cubicBezTo>
                      <a:pt x="20" y="49"/>
                      <a:pt x="21" y="52"/>
                      <a:pt x="15" y="60"/>
                    </a:cubicBezTo>
                    <a:cubicBezTo>
                      <a:pt x="13" y="64"/>
                      <a:pt x="6" y="65"/>
                      <a:pt x="0" y="65"/>
                    </a:cubicBezTo>
                    <a:cubicBezTo>
                      <a:pt x="2" y="71"/>
                      <a:pt x="3" y="78"/>
                      <a:pt x="5" y="85"/>
                    </a:cubicBezTo>
                    <a:cubicBezTo>
                      <a:pt x="11" y="116"/>
                      <a:pt x="21" y="149"/>
                      <a:pt x="44" y="156"/>
                    </a:cubicBezTo>
                    <a:cubicBezTo>
                      <a:pt x="68" y="164"/>
                      <a:pt x="76" y="179"/>
                      <a:pt x="98" y="188"/>
                    </a:cubicBezTo>
                    <a:cubicBezTo>
                      <a:pt x="105" y="191"/>
                      <a:pt x="111" y="195"/>
                      <a:pt x="117" y="199"/>
                    </a:cubicBezTo>
                    <a:cubicBezTo>
                      <a:pt x="122" y="189"/>
                      <a:pt x="131" y="185"/>
                      <a:pt x="133" y="18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5" name="Freeform 399">
                <a:extLst>
                  <a:ext uri="{FF2B5EF4-FFF2-40B4-BE49-F238E27FC236}">
                    <a16:creationId xmlns:a16="http://schemas.microsoft.com/office/drawing/2014/main" id="{2557BC7B-CF07-A443-9198-E570B5890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8" y="2372"/>
                <a:ext cx="118" cy="92"/>
              </a:xfrm>
              <a:custGeom>
                <a:avLst/>
                <a:gdLst>
                  <a:gd name="T0" fmla="*/ 134 w 466"/>
                  <a:gd name="T1" fmla="*/ 215 h 362"/>
                  <a:gd name="T2" fmla="*/ 167 w 466"/>
                  <a:gd name="T3" fmla="*/ 181 h 362"/>
                  <a:gd name="T4" fmla="*/ 211 w 466"/>
                  <a:gd name="T5" fmla="*/ 173 h 362"/>
                  <a:gd name="T6" fmla="*/ 256 w 466"/>
                  <a:gd name="T7" fmla="*/ 195 h 362"/>
                  <a:gd name="T8" fmla="*/ 279 w 466"/>
                  <a:gd name="T9" fmla="*/ 236 h 362"/>
                  <a:gd name="T10" fmla="*/ 284 w 466"/>
                  <a:gd name="T11" fmla="*/ 270 h 362"/>
                  <a:gd name="T12" fmla="*/ 296 w 466"/>
                  <a:gd name="T13" fmla="*/ 269 h 362"/>
                  <a:gd name="T14" fmla="*/ 336 w 466"/>
                  <a:gd name="T15" fmla="*/ 270 h 362"/>
                  <a:gd name="T16" fmla="*/ 349 w 466"/>
                  <a:gd name="T17" fmla="*/ 308 h 362"/>
                  <a:gd name="T18" fmla="*/ 351 w 466"/>
                  <a:gd name="T19" fmla="*/ 345 h 362"/>
                  <a:gd name="T20" fmla="*/ 393 w 466"/>
                  <a:gd name="T21" fmla="*/ 340 h 362"/>
                  <a:gd name="T22" fmla="*/ 406 w 466"/>
                  <a:gd name="T23" fmla="*/ 327 h 362"/>
                  <a:gd name="T24" fmla="*/ 407 w 466"/>
                  <a:gd name="T25" fmla="*/ 328 h 362"/>
                  <a:gd name="T26" fmla="*/ 408 w 466"/>
                  <a:gd name="T27" fmla="*/ 329 h 362"/>
                  <a:gd name="T28" fmla="*/ 416 w 466"/>
                  <a:gd name="T29" fmla="*/ 339 h 362"/>
                  <a:gd name="T30" fmla="*/ 432 w 466"/>
                  <a:gd name="T31" fmla="*/ 324 h 362"/>
                  <a:gd name="T32" fmla="*/ 447 w 466"/>
                  <a:gd name="T33" fmla="*/ 303 h 362"/>
                  <a:gd name="T34" fmla="*/ 432 w 466"/>
                  <a:gd name="T35" fmla="*/ 274 h 362"/>
                  <a:gd name="T36" fmla="*/ 464 w 466"/>
                  <a:gd name="T37" fmla="*/ 277 h 362"/>
                  <a:gd name="T38" fmla="*/ 447 w 466"/>
                  <a:gd name="T39" fmla="*/ 252 h 362"/>
                  <a:gd name="T40" fmla="*/ 453 w 466"/>
                  <a:gd name="T41" fmla="*/ 227 h 362"/>
                  <a:gd name="T42" fmla="*/ 428 w 466"/>
                  <a:gd name="T43" fmla="*/ 198 h 362"/>
                  <a:gd name="T44" fmla="*/ 435 w 466"/>
                  <a:gd name="T45" fmla="*/ 156 h 362"/>
                  <a:gd name="T46" fmla="*/ 425 w 466"/>
                  <a:gd name="T47" fmla="*/ 139 h 362"/>
                  <a:gd name="T48" fmla="*/ 405 w 466"/>
                  <a:gd name="T49" fmla="*/ 110 h 362"/>
                  <a:gd name="T50" fmla="*/ 406 w 466"/>
                  <a:gd name="T51" fmla="*/ 79 h 362"/>
                  <a:gd name="T52" fmla="*/ 388 w 466"/>
                  <a:gd name="T53" fmla="*/ 44 h 362"/>
                  <a:gd name="T54" fmla="*/ 358 w 466"/>
                  <a:gd name="T55" fmla="*/ 22 h 362"/>
                  <a:gd name="T56" fmla="*/ 332 w 466"/>
                  <a:gd name="T57" fmla="*/ 46 h 362"/>
                  <a:gd name="T58" fmla="*/ 296 w 466"/>
                  <a:gd name="T59" fmla="*/ 33 h 362"/>
                  <a:gd name="T60" fmla="*/ 268 w 466"/>
                  <a:gd name="T61" fmla="*/ 52 h 362"/>
                  <a:gd name="T62" fmla="*/ 247 w 466"/>
                  <a:gd name="T63" fmla="*/ 40 h 362"/>
                  <a:gd name="T64" fmla="*/ 221 w 466"/>
                  <a:gd name="T65" fmla="*/ 24 h 362"/>
                  <a:gd name="T66" fmla="*/ 219 w 466"/>
                  <a:gd name="T67" fmla="*/ 21 h 362"/>
                  <a:gd name="T68" fmla="*/ 218 w 466"/>
                  <a:gd name="T69" fmla="*/ 20 h 362"/>
                  <a:gd name="T70" fmla="*/ 216 w 466"/>
                  <a:gd name="T71" fmla="*/ 19 h 362"/>
                  <a:gd name="T72" fmla="*/ 214 w 466"/>
                  <a:gd name="T73" fmla="*/ 18 h 362"/>
                  <a:gd name="T74" fmla="*/ 212 w 466"/>
                  <a:gd name="T75" fmla="*/ 18 h 362"/>
                  <a:gd name="T76" fmla="*/ 210 w 466"/>
                  <a:gd name="T77" fmla="*/ 18 h 362"/>
                  <a:gd name="T78" fmla="*/ 207 w 466"/>
                  <a:gd name="T79" fmla="*/ 18 h 362"/>
                  <a:gd name="T80" fmla="*/ 204 w 466"/>
                  <a:gd name="T81" fmla="*/ 18 h 362"/>
                  <a:gd name="T82" fmla="*/ 200 w 466"/>
                  <a:gd name="T83" fmla="*/ 18 h 362"/>
                  <a:gd name="T84" fmla="*/ 197 w 466"/>
                  <a:gd name="T85" fmla="*/ 18 h 362"/>
                  <a:gd name="T86" fmla="*/ 195 w 466"/>
                  <a:gd name="T87" fmla="*/ 18 h 362"/>
                  <a:gd name="T88" fmla="*/ 191 w 466"/>
                  <a:gd name="T89" fmla="*/ 18 h 362"/>
                  <a:gd name="T90" fmla="*/ 188 w 466"/>
                  <a:gd name="T91" fmla="*/ 19 h 362"/>
                  <a:gd name="T92" fmla="*/ 186 w 466"/>
                  <a:gd name="T93" fmla="*/ 19 h 362"/>
                  <a:gd name="T94" fmla="*/ 163 w 466"/>
                  <a:gd name="T95" fmla="*/ 29 h 362"/>
                  <a:gd name="T96" fmla="*/ 126 w 466"/>
                  <a:gd name="T97" fmla="*/ 13 h 362"/>
                  <a:gd name="T98" fmla="*/ 93 w 466"/>
                  <a:gd name="T99" fmla="*/ 0 h 362"/>
                  <a:gd name="T100" fmla="*/ 91 w 466"/>
                  <a:gd name="T101" fmla="*/ 0 h 362"/>
                  <a:gd name="T102" fmla="*/ 84 w 466"/>
                  <a:gd name="T103" fmla="*/ 1 h 362"/>
                  <a:gd name="T104" fmla="*/ 68 w 466"/>
                  <a:gd name="T105" fmla="*/ 34 h 362"/>
                  <a:gd name="T106" fmla="*/ 65 w 466"/>
                  <a:gd name="T107" fmla="*/ 66 h 362"/>
                  <a:gd name="T108" fmla="*/ 14 w 466"/>
                  <a:gd name="T109" fmla="*/ 88 h 362"/>
                  <a:gd name="T110" fmla="*/ 16 w 466"/>
                  <a:gd name="T111" fmla="*/ 120 h 362"/>
                  <a:gd name="T112" fmla="*/ 88 w 466"/>
                  <a:gd name="T113" fmla="*/ 188 h 362"/>
                  <a:gd name="T114" fmla="*/ 120 w 466"/>
                  <a:gd name="T115" fmla="*/ 230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66" h="362">
                    <a:moveTo>
                      <a:pt x="120" y="230"/>
                    </a:moveTo>
                    <a:cubicBezTo>
                      <a:pt x="126" y="222"/>
                      <a:pt x="125" y="219"/>
                      <a:pt x="134" y="215"/>
                    </a:cubicBezTo>
                    <a:cubicBezTo>
                      <a:pt x="144" y="211"/>
                      <a:pt x="149" y="202"/>
                      <a:pt x="151" y="192"/>
                    </a:cubicBezTo>
                    <a:cubicBezTo>
                      <a:pt x="153" y="181"/>
                      <a:pt x="156" y="178"/>
                      <a:pt x="167" y="181"/>
                    </a:cubicBezTo>
                    <a:cubicBezTo>
                      <a:pt x="178" y="184"/>
                      <a:pt x="184" y="184"/>
                      <a:pt x="190" y="180"/>
                    </a:cubicBezTo>
                    <a:cubicBezTo>
                      <a:pt x="196" y="175"/>
                      <a:pt x="204" y="173"/>
                      <a:pt x="211" y="173"/>
                    </a:cubicBezTo>
                    <a:cubicBezTo>
                      <a:pt x="218" y="173"/>
                      <a:pt x="234" y="170"/>
                      <a:pt x="237" y="177"/>
                    </a:cubicBezTo>
                    <a:cubicBezTo>
                      <a:pt x="240" y="184"/>
                      <a:pt x="255" y="188"/>
                      <a:pt x="256" y="195"/>
                    </a:cubicBezTo>
                    <a:cubicBezTo>
                      <a:pt x="258" y="202"/>
                      <a:pt x="260" y="215"/>
                      <a:pt x="268" y="220"/>
                    </a:cubicBezTo>
                    <a:cubicBezTo>
                      <a:pt x="275" y="224"/>
                      <a:pt x="278" y="232"/>
                      <a:pt x="279" y="236"/>
                    </a:cubicBezTo>
                    <a:cubicBezTo>
                      <a:pt x="280" y="241"/>
                      <a:pt x="280" y="265"/>
                      <a:pt x="282" y="268"/>
                    </a:cubicBezTo>
                    <a:cubicBezTo>
                      <a:pt x="283" y="269"/>
                      <a:pt x="283" y="269"/>
                      <a:pt x="284" y="270"/>
                    </a:cubicBezTo>
                    <a:cubicBezTo>
                      <a:pt x="284" y="270"/>
                      <a:pt x="285" y="271"/>
                      <a:pt x="286" y="272"/>
                    </a:cubicBezTo>
                    <a:cubicBezTo>
                      <a:pt x="289" y="269"/>
                      <a:pt x="292" y="268"/>
                      <a:pt x="296" y="269"/>
                    </a:cubicBezTo>
                    <a:cubicBezTo>
                      <a:pt x="304" y="272"/>
                      <a:pt x="307" y="278"/>
                      <a:pt x="314" y="274"/>
                    </a:cubicBezTo>
                    <a:cubicBezTo>
                      <a:pt x="320" y="270"/>
                      <a:pt x="328" y="265"/>
                      <a:pt x="336" y="270"/>
                    </a:cubicBezTo>
                    <a:cubicBezTo>
                      <a:pt x="343" y="274"/>
                      <a:pt x="349" y="280"/>
                      <a:pt x="348" y="288"/>
                    </a:cubicBezTo>
                    <a:cubicBezTo>
                      <a:pt x="346" y="297"/>
                      <a:pt x="343" y="304"/>
                      <a:pt x="349" y="308"/>
                    </a:cubicBezTo>
                    <a:cubicBezTo>
                      <a:pt x="355" y="312"/>
                      <a:pt x="355" y="316"/>
                      <a:pt x="354" y="322"/>
                    </a:cubicBezTo>
                    <a:cubicBezTo>
                      <a:pt x="354" y="328"/>
                      <a:pt x="340" y="347"/>
                      <a:pt x="351" y="345"/>
                    </a:cubicBezTo>
                    <a:cubicBezTo>
                      <a:pt x="362" y="343"/>
                      <a:pt x="367" y="362"/>
                      <a:pt x="371" y="356"/>
                    </a:cubicBezTo>
                    <a:cubicBezTo>
                      <a:pt x="375" y="349"/>
                      <a:pt x="392" y="352"/>
                      <a:pt x="393" y="340"/>
                    </a:cubicBezTo>
                    <a:cubicBezTo>
                      <a:pt x="394" y="329"/>
                      <a:pt x="395" y="317"/>
                      <a:pt x="404" y="325"/>
                    </a:cubicBezTo>
                    <a:cubicBezTo>
                      <a:pt x="405" y="326"/>
                      <a:pt x="405" y="326"/>
                      <a:pt x="406" y="327"/>
                    </a:cubicBezTo>
                    <a:cubicBezTo>
                      <a:pt x="406" y="327"/>
                      <a:pt x="406" y="327"/>
                      <a:pt x="406" y="327"/>
                    </a:cubicBezTo>
                    <a:cubicBezTo>
                      <a:pt x="407" y="327"/>
                      <a:pt x="407" y="328"/>
                      <a:pt x="407" y="328"/>
                    </a:cubicBezTo>
                    <a:cubicBezTo>
                      <a:pt x="407" y="328"/>
                      <a:pt x="407" y="328"/>
                      <a:pt x="407" y="328"/>
                    </a:cubicBezTo>
                    <a:cubicBezTo>
                      <a:pt x="408" y="329"/>
                      <a:pt x="408" y="329"/>
                      <a:pt x="408" y="329"/>
                    </a:cubicBezTo>
                    <a:cubicBezTo>
                      <a:pt x="408" y="330"/>
                      <a:pt x="408" y="330"/>
                      <a:pt x="408" y="330"/>
                    </a:cubicBezTo>
                    <a:cubicBezTo>
                      <a:pt x="412" y="335"/>
                      <a:pt x="410" y="340"/>
                      <a:pt x="416" y="339"/>
                    </a:cubicBezTo>
                    <a:cubicBezTo>
                      <a:pt x="416" y="339"/>
                      <a:pt x="417" y="339"/>
                      <a:pt x="417" y="338"/>
                    </a:cubicBezTo>
                    <a:cubicBezTo>
                      <a:pt x="426" y="336"/>
                      <a:pt x="424" y="324"/>
                      <a:pt x="432" y="324"/>
                    </a:cubicBezTo>
                    <a:cubicBezTo>
                      <a:pt x="440" y="324"/>
                      <a:pt x="433" y="314"/>
                      <a:pt x="437" y="312"/>
                    </a:cubicBezTo>
                    <a:cubicBezTo>
                      <a:pt x="441" y="310"/>
                      <a:pt x="448" y="312"/>
                      <a:pt x="447" y="303"/>
                    </a:cubicBezTo>
                    <a:cubicBezTo>
                      <a:pt x="446" y="294"/>
                      <a:pt x="436" y="301"/>
                      <a:pt x="431" y="291"/>
                    </a:cubicBezTo>
                    <a:cubicBezTo>
                      <a:pt x="426" y="281"/>
                      <a:pt x="416" y="270"/>
                      <a:pt x="432" y="274"/>
                    </a:cubicBezTo>
                    <a:cubicBezTo>
                      <a:pt x="447" y="277"/>
                      <a:pt x="445" y="268"/>
                      <a:pt x="452" y="278"/>
                    </a:cubicBezTo>
                    <a:cubicBezTo>
                      <a:pt x="460" y="287"/>
                      <a:pt x="464" y="283"/>
                      <a:pt x="464" y="277"/>
                    </a:cubicBezTo>
                    <a:cubicBezTo>
                      <a:pt x="464" y="271"/>
                      <a:pt x="466" y="265"/>
                      <a:pt x="458" y="262"/>
                    </a:cubicBezTo>
                    <a:cubicBezTo>
                      <a:pt x="451" y="258"/>
                      <a:pt x="454" y="253"/>
                      <a:pt x="447" y="252"/>
                    </a:cubicBezTo>
                    <a:cubicBezTo>
                      <a:pt x="440" y="250"/>
                      <a:pt x="438" y="242"/>
                      <a:pt x="446" y="240"/>
                    </a:cubicBezTo>
                    <a:cubicBezTo>
                      <a:pt x="453" y="238"/>
                      <a:pt x="453" y="233"/>
                      <a:pt x="453" y="227"/>
                    </a:cubicBezTo>
                    <a:cubicBezTo>
                      <a:pt x="453" y="221"/>
                      <a:pt x="455" y="211"/>
                      <a:pt x="446" y="211"/>
                    </a:cubicBezTo>
                    <a:cubicBezTo>
                      <a:pt x="436" y="211"/>
                      <a:pt x="426" y="204"/>
                      <a:pt x="428" y="198"/>
                    </a:cubicBezTo>
                    <a:cubicBezTo>
                      <a:pt x="430" y="192"/>
                      <a:pt x="432" y="190"/>
                      <a:pt x="432" y="181"/>
                    </a:cubicBezTo>
                    <a:cubicBezTo>
                      <a:pt x="432" y="173"/>
                      <a:pt x="431" y="164"/>
                      <a:pt x="435" y="156"/>
                    </a:cubicBezTo>
                    <a:cubicBezTo>
                      <a:pt x="435" y="155"/>
                      <a:pt x="435" y="155"/>
                      <a:pt x="435" y="155"/>
                    </a:cubicBezTo>
                    <a:cubicBezTo>
                      <a:pt x="428" y="145"/>
                      <a:pt x="437" y="143"/>
                      <a:pt x="425" y="139"/>
                    </a:cubicBezTo>
                    <a:cubicBezTo>
                      <a:pt x="413" y="134"/>
                      <a:pt x="424" y="124"/>
                      <a:pt x="422" y="115"/>
                    </a:cubicBezTo>
                    <a:cubicBezTo>
                      <a:pt x="421" y="107"/>
                      <a:pt x="414" y="111"/>
                      <a:pt x="405" y="110"/>
                    </a:cubicBezTo>
                    <a:cubicBezTo>
                      <a:pt x="396" y="108"/>
                      <a:pt x="410" y="95"/>
                      <a:pt x="414" y="90"/>
                    </a:cubicBezTo>
                    <a:cubicBezTo>
                      <a:pt x="418" y="85"/>
                      <a:pt x="419" y="80"/>
                      <a:pt x="406" y="79"/>
                    </a:cubicBezTo>
                    <a:cubicBezTo>
                      <a:pt x="393" y="78"/>
                      <a:pt x="396" y="70"/>
                      <a:pt x="396" y="65"/>
                    </a:cubicBezTo>
                    <a:cubicBezTo>
                      <a:pt x="396" y="60"/>
                      <a:pt x="395" y="47"/>
                      <a:pt x="388" y="44"/>
                    </a:cubicBezTo>
                    <a:cubicBezTo>
                      <a:pt x="380" y="41"/>
                      <a:pt x="384" y="33"/>
                      <a:pt x="379" y="21"/>
                    </a:cubicBezTo>
                    <a:cubicBezTo>
                      <a:pt x="374" y="9"/>
                      <a:pt x="358" y="16"/>
                      <a:pt x="358" y="22"/>
                    </a:cubicBezTo>
                    <a:cubicBezTo>
                      <a:pt x="358" y="28"/>
                      <a:pt x="354" y="28"/>
                      <a:pt x="348" y="28"/>
                    </a:cubicBezTo>
                    <a:cubicBezTo>
                      <a:pt x="342" y="28"/>
                      <a:pt x="340" y="45"/>
                      <a:pt x="332" y="46"/>
                    </a:cubicBezTo>
                    <a:cubicBezTo>
                      <a:pt x="324" y="47"/>
                      <a:pt x="321" y="46"/>
                      <a:pt x="316" y="40"/>
                    </a:cubicBezTo>
                    <a:cubicBezTo>
                      <a:pt x="311" y="34"/>
                      <a:pt x="309" y="34"/>
                      <a:pt x="296" y="33"/>
                    </a:cubicBezTo>
                    <a:cubicBezTo>
                      <a:pt x="283" y="32"/>
                      <a:pt x="286" y="36"/>
                      <a:pt x="284" y="44"/>
                    </a:cubicBezTo>
                    <a:cubicBezTo>
                      <a:pt x="282" y="52"/>
                      <a:pt x="277" y="54"/>
                      <a:pt x="268" y="52"/>
                    </a:cubicBezTo>
                    <a:cubicBezTo>
                      <a:pt x="259" y="50"/>
                      <a:pt x="263" y="45"/>
                      <a:pt x="262" y="37"/>
                    </a:cubicBezTo>
                    <a:cubicBezTo>
                      <a:pt x="261" y="29"/>
                      <a:pt x="249" y="31"/>
                      <a:pt x="247" y="40"/>
                    </a:cubicBezTo>
                    <a:cubicBezTo>
                      <a:pt x="245" y="49"/>
                      <a:pt x="234" y="46"/>
                      <a:pt x="227" y="45"/>
                    </a:cubicBezTo>
                    <a:cubicBezTo>
                      <a:pt x="220" y="44"/>
                      <a:pt x="222" y="34"/>
                      <a:pt x="221" y="24"/>
                    </a:cubicBezTo>
                    <a:cubicBezTo>
                      <a:pt x="221" y="23"/>
                      <a:pt x="221" y="23"/>
                      <a:pt x="220" y="22"/>
                    </a:cubicBezTo>
                    <a:cubicBezTo>
                      <a:pt x="220" y="22"/>
                      <a:pt x="220" y="21"/>
                      <a:pt x="219" y="21"/>
                    </a:cubicBezTo>
                    <a:cubicBezTo>
                      <a:pt x="219" y="21"/>
                      <a:pt x="219" y="20"/>
                      <a:pt x="219" y="20"/>
                    </a:cubicBezTo>
                    <a:cubicBezTo>
                      <a:pt x="219" y="20"/>
                      <a:pt x="218" y="20"/>
                      <a:pt x="218" y="20"/>
                    </a:cubicBezTo>
                    <a:cubicBezTo>
                      <a:pt x="218" y="20"/>
                      <a:pt x="218" y="19"/>
                      <a:pt x="217" y="19"/>
                    </a:cubicBezTo>
                    <a:cubicBezTo>
                      <a:pt x="217" y="19"/>
                      <a:pt x="217" y="19"/>
                      <a:pt x="216" y="19"/>
                    </a:cubicBezTo>
                    <a:cubicBezTo>
                      <a:pt x="216" y="19"/>
                      <a:pt x="216" y="19"/>
                      <a:pt x="215" y="19"/>
                    </a:cubicBezTo>
                    <a:cubicBezTo>
                      <a:pt x="215" y="18"/>
                      <a:pt x="215" y="18"/>
                      <a:pt x="214" y="18"/>
                    </a:cubicBezTo>
                    <a:cubicBezTo>
                      <a:pt x="214" y="18"/>
                      <a:pt x="214" y="18"/>
                      <a:pt x="213" y="18"/>
                    </a:cubicBezTo>
                    <a:cubicBezTo>
                      <a:pt x="213" y="18"/>
                      <a:pt x="213" y="18"/>
                      <a:pt x="212" y="18"/>
                    </a:cubicBezTo>
                    <a:cubicBezTo>
                      <a:pt x="212" y="18"/>
                      <a:pt x="211" y="18"/>
                      <a:pt x="211" y="18"/>
                    </a:cubicBezTo>
                    <a:cubicBezTo>
                      <a:pt x="211" y="18"/>
                      <a:pt x="210" y="18"/>
                      <a:pt x="210" y="18"/>
                    </a:cubicBezTo>
                    <a:cubicBezTo>
                      <a:pt x="209" y="18"/>
                      <a:pt x="209" y="18"/>
                      <a:pt x="208" y="18"/>
                    </a:cubicBezTo>
                    <a:cubicBezTo>
                      <a:pt x="208" y="18"/>
                      <a:pt x="208" y="18"/>
                      <a:pt x="207" y="18"/>
                    </a:cubicBezTo>
                    <a:cubicBezTo>
                      <a:pt x="207" y="18"/>
                      <a:pt x="206" y="18"/>
                      <a:pt x="206" y="18"/>
                    </a:cubicBezTo>
                    <a:cubicBezTo>
                      <a:pt x="205" y="18"/>
                      <a:pt x="205" y="18"/>
                      <a:pt x="204" y="18"/>
                    </a:cubicBezTo>
                    <a:cubicBezTo>
                      <a:pt x="203" y="18"/>
                      <a:pt x="202" y="18"/>
                      <a:pt x="202" y="18"/>
                    </a:cubicBezTo>
                    <a:cubicBezTo>
                      <a:pt x="201" y="18"/>
                      <a:pt x="201" y="18"/>
                      <a:pt x="200" y="18"/>
                    </a:cubicBezTo>
                    <a:cubicBezTo>
                      <a:pt x="200" y="18"/>
                      <a:pt x="199" y="18"/>
                      <a:pt x="199" y="18"/>
                    </a:cubicBezTo>
                    <a:cubicBezTo>
                      <a:pt x="198" y="18"/>
                      <a:pt x="198" y="18"/>
                      <a:pt x="197" y="18"/>
                    </a:cubicBezTo>
                    <a:cubicBezTo>
                      <a:pt x="197" y="18"/>
                      <a:pt x="196" y="18"/>
                      <a:pt x="196" y="18"/>
                    </a:cubicBezTo>
                    <a:cubicBezTo>
                      <a:pt x="195" y="18"/>
                      <a:pt x="195" y="18"/>
                      <a:pt x="195" y="18"/>
                    </a:cubicBezTo>
                    <a:cubicBezTo>
                      <a:pt x="194" y="18"/>
                      <a:pt x="193" y="18"/>
                      <a:pt x="192" y="18"/>
                    </a:cubicBezTo>
                    <a:cubicBezTo>
                      <a:pt x="192" y="18"/>
                      <a:pt x="191" y="18"/>
                      <a:pt x="191" y="18"/>
                    </a:cubicBezTo>
                    <a:cubicBezTo>
                      <a:pt x="190" y="18"/>
                      <a:pt x="190" y="18"/>
                      <a:pt x="189" y="19"/>
                    </a:cubicBezTo>
                    <a:cubicBezTo>
                      <a:pt x="189" y="19"/>
                      <a:pt x="189" y="19"/>
                      <a:pt x="188" y="19"/>
                    </a:cubicBezTo>
                    <a:cubicBezTo>
                      <a:pt x="188" y="19"/>
                      <a:pt x="187" y="19"/>
                      <a:pt x="187" y="19"/>
                    </a:cubicBezTo>
                    <a:cubicBezTo>
                      <a:pt x="186" y="19"/>
                      <a:pt x="186" y="19"/>
                      <a:pt x="186" y="19"/>
                    </a:cubicBezTo>
                    <a:cubicBezTo>
                      <a:pt x="185" y="19"/>
                      <a:pt x="184" y="19"/>
                      <a:pt x="184" y="19"/>
                    </a:cubicBezTo>
                    <a:cubicBezTo>
                      <a:pt x="173" y="19"/>
                      <a:pt x="169" y="30"/>
                      <a:pt x="163" y="29"/>
                    </a:cubicBezTo>
                    <a:cubicBezTo>
                      <a:pt x="157" y="28"/>
                      <a:pt x="157" y="21"/>
                      <a:pt x="147" y="21"/>
                    </a:cubicBezTo>
                    <a:cubicBezTo>
                      <a:pt x="137" y="21"/>
                      <a:pt x="133" y="21"/>
                      <a:pt x="126" y="13"/>
                    </a:cubicBezTo>
                    <a:cubicBezTo>
                      <a:pt x="119" y="5"/>
                      <a:pt x="107" y="3"/>
                      <a:pt x="95" y="1"/>
                    </a:cubicBezTo>
                    <a:cubicBezTo>
                      <a:pt x="94" y="1"/>
                      <a:pt x="93" y="1"/>
                      <a:pt x="93" y="0"/>
                    </a:cubicBezTo>
                    <a:cubicBezTo>
                      <a:pt x="92" y="0"/>
                      <a:pt x="92" y="0"/>
                      <a:pt x="9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87" y="0"/>
                      <a:pt x="85" y="0"/>
                      <a:pt x="84" y="1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2" y="3"/>
                      <a:pt x="82" y="7"/>
                      <a:pt x="82" y="14"/>
                    </a:cubicBezTo>
                    <a:cubicBezTo>
                      <a:pt x="82" y="27"/>
                      <a:pt x="77" y="28"/>
                      <a:pt x="68" y="34"/>
                    </a:cubicBezTo>
                    <a:cubicBezTo>
                      <a:pt x="59" y="40"/>
                      <a:pt x="73" y="43"/>
                      <a:pt x="78" y="51"/>
                    </a:cubicBezTo>
                    <a:cubicBezTo>
                      <a:pt x="83" y="59"/>
                      <a:pt x="74" y="66"/>
                      <a:pt x="65" y="66"/>
                    </a:cubicBezTo>
                    <a:cubicBezTo>
                      <a:pt x="56" y="66"/>
                      <a:pt x="50" y="70"/>
                      <a:pt x="35" y="72"/>
                    </a:cubicBezTo>
                    <a:cubicBezTo>
                      <a:pt x="20" y="74"/>
                      <a:pt x="31" y="82"/>
                      <a:pt x="14" y="88"/>
                    </a:cubicBezTo>
                    <a:cubicBezTo>
                      <a:pt x="6" y="90"/>
                      <a:pt x="2" y="97"/>
                      <a:pt x="0" y="103"/>
                    </a:cubicBezTo>
                    <a:cubicBezTo>
                      <a:pt x="8" y="106"/>
                      <a:pt x="15" y="111"/>
                      <a:pt x="16" y="120"/>
                    </a:cubicBezTo>
                    <a:cubicBezTo>
                      <a:pt x="18" y="135"/>
                      <a:pt x="26" y="149"/>
                      <a:pt x="41" y="156"/>
                    </a:cubicBezTo>
                    <a:cubicBezTo>
                      <a:pt x="56" y="164"/>
                      <a:pt x="77" y="171"/>
                      <a:pt x="88" y="188"/>
                    </a:cubicBezTo>
                    <a:cubicBezTo>
                      <a:pt x="96" y="200"/>
                      <a:pt x="101" y="215"/>
                      <a:pt x="105" y="235"/>
                    </a:cubicBezTo>
                    <a:cubicBezTo>
                      <a:pt x="111" y="235"/>
                      <a:pt x="118" y="234"/>
                      <a:pt x="120" y="23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6" name="Freeform 400">
                <a:extLst>
                  <a:ext uri="{FF2B5EF4-FFF2-40B4-BE49-F238E27FC236}">
                    <a16:creationId xmlns:a16="http://schemas.microsoft.com/office/drawing/2014/main" id="{93272D85-C91C-A546-B032-36FC0BD0E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4" y="2440"/>
                <a:ext cx="67" cy="67"/>
              </a:xfrm>
              <a:custGeom>
                <a:avLst/>
                <a:gdLst>
                  <a:gd name="T0" fmla="*/ 255 w 264"/>
                  <a:gd name="T1" fmla="*/ 218 h 268"/>
                  <a:gd name="T2" fmla="*/ 259 w 264"/>
                  <a:gd name="T3" fmla="*/ 187 h 268"/>
                  <a:gd name="T4" fmla="*/ 244 w 264"/>
                  <a:gd name="T5" fmla="*/ 174 h 268"/>
                  <a:gd name="T6" fmla="*/ 230 w 264"/>
                  <a:gd name="T7" fmla="*/ 159 h 268"/>
                  <a:gd name="T8" fmla="*/ 208 w 264"/>
                  <a:gd name="T9" fmla="*/ 151 h 268"/>
                  <a:gd name="T10" fmla="*/ 189 w 264"/>
                  <a:gd name="T11" fmla="*/ 140 h 268"/>
                  <a:gd name="T12" fmla="*/ 188 w 264"/>
                  <a:gd name="T13" fmla="*/ 127 h 268"/>
                  <a:gd name="T14" fmla="*/ 200 w 264"/>
                  <a:gd name="T15" fmla="*/ 109 h 268"/>
                  <a:gd name="T16" fmla="*/ 198 w 264"/>
                  <a:gd name="T17" fmla="*/ 90 h 268"/>
                  <a:gd name="T18" fmla="*/ 194 w 264"/>
                  <a:gd name="T19" fmla="*/ 74 h 268"/>
                  <a:gd name="T20" fmla="*/ 186 w 264"/>
                  <a:gd name="T21" fmla="*/ 65 h 268"/>
                  <a:gd name="T22" fmla="*/ 186 w 264"/>
                  <a:gd name="T23" fmla="*/ 64 h 268"/>
                  <a:gd name="T24" fmla="*/ 185 w 264"/>
                  <a:gd name="T25" fmla="*/ 63 h 268"/>
                  <a:gd name="T26" fmla="*/ 185 w 264"/>
                  <a:gd name="T27" fmla="*/ 63 h 268"/>
                  <a:gd name="T28" fmla="*/ 184 w 264"/>
                  <a:gd name="T29" fmla="*/ 62 h 268"/>
                  <a:gd name="T30" fmla="*/ 184 w 264"/>
                  <a:gd name="T31" fmla="*/ 62 h 268"/>
                  <a:gd name="T32" fmla="*/ 182 w 264"/>
                  <a:gd name="T33" fmla="*/ 60 h 268"/>
                  <a:gd name="T34" fmla="*/ 171 w 264"/>
                  <a:gd name="T35" fmla="*/ 75 h 268"/>
                  <a:gd name="T36" fmla="*/ 149 w 264"/>
                  <a:gd name="T37" fmla="*/ 91 h 268"/>
                  <a:gd name="T38" fmla="*/ 129 w 264"/>
                  <a:gd name="T39" fmla="*/ 80 h 268"/>
                  <a:gd name="T40" fmla="*/ 132 w 264"/>
                  <a:gd name="T41" fmla="*/ 57 h 268"/>
                  <a:gd name="T42" fmla="*/ 127 w 264"/>
                  <a:gd name="T43" fmla="*/ 43 h 268"/>
                  <a:gd name="T44" fmla="*/ 126 w 264"/>
                  <a:gd name="T45" fmla="*/ 23 h 268"/>
                  <a:gd name="T46" fmla="*/ 114 w 264"/>
                  <a:gd name="T47" fmla="*/ 5 h 268"/>
                  <a:gd name="T48" fmla="*/ 92 w 264"/>
                  <a:gd name="T49" fmla="*/ 9 h 268"/>
                  <a:gd name="T50" fmla="*/ 74 w 264"/>
                  <a:gd name="T51" fmla="*/ 4 h 268"/>
                  <a:gd name="T52" fmla="*/ 64 w 264"/>
                  <a:gd name="T53" fmla="*/ 7 h 268"/>
                  <a:gd name="T54" fmla="*/ 64 w 264"/>
                  <a:gd name="T55" fmla="*/ 7 h 268"/>
                  <a:gd name="T56" fmla="*/ 65 w 264"/>
                  <a:gd name="T57" fmla="*/ 8 h 268"/>
                  <a:gd name="T58" fmla="*/ 65 w 264"/>
                  <a:gd name="T59" fmla="*/ 8 h 268"/>
                  <a:gd name="T60" fmla="*/ 66 w 264"/>
                  <a:gd name="T61" fmla="*/ 9 h 268"/>
                  <a:gd name="T62" fmla="*/ 66 w 264"/>
                  <a:gd name="T63" fmla="*/ 9 h 268"/>
                  <a:gd name="T64" fmla="*/ 67 w 264"/>
                  <a:gd name="T65" fmla="*/ 11 h 268"/>
                  <a:gd name="T66" fmla="*/ 67 w 264"/>
                  <a:gd name="T67" fmla="*/ 11 h 268"/>
                  <a:gd name="T68" fmla="*/ 68 w 264"/>
                  <a:gd name="T69" fmla="*/ 12 h 268"/>
                  <a:gd name="T70" fmla="*/ 68 w 264"/>
                  <a:gd name="T71" fmla="*/ 12 h 268"/>
                  <a:gd name="T72" fmla="*/ 69 w 264"/>
                  <a:gd name="T73" fmla="*/ 13 h 268"/>
                  <a:gd name="T74" fmla="*/ 69 w 264"/>
                  <a:gd name="T75" fmla="*/ 14 h 268"/>
                  <a:gd name="T76" fmla="*/ 70 w 264"/>
                  <a:gd name="T77" fmla="*/ 15 h 268"/>
                  <a:gd name="T78" fmla="*/ 70 w 264"/>
                  <a:gd name="T79" fmla="*/ 15 h 268"/>
                  <a:gd name="T80" fmla="*/ 71 w 264"/>
                  <a:gd name="T81" fmla="*/ 17 h 268"/>
                  <a:gd name="T82" fmla="*/ 71 w 264"/>
                  <a:gd name="T83" fmla="*/ 17 h 268"/>
                  <a:gd name="T84" fmla="*/ 71 w 264"/>
                  <a:gd name="T85" fmla="*/ 18 h 268"/>
                  <a:gd name="T86" fmla="*/ 71 w 264"/>
                  <a:gd name="T87" fmla="*/ 19 h 268"/>
                  <a:gd name="T88" fmla="*/ 71 w 264"/>
                  <a:gd name="T89" fmla="*/ 21 h 268"/>
                  <a:gd name="T90" fmla="*/ 71 w 264"/>
                  <a:gd name="T91" fmla="*/ 21 h 268"/>
                  <a:gd name="T92" fmla="*/ 71 w 264"/>
                  <a:gd name="T93" fmla="*/ 22 h 268"/>
                  <a:gd name="T94" fmla="*/ 71 w 264"/>
                  <a:gd name="T95" fmla="*/ 23 h 268"/>
                  <a:gd name="T96" fmla="*/ 71 w 264"/>
                  <a:gd name="T97" fmla="*/ 24 h 268"/>
                  <a:gd name="T98" fmla="*/ 71 w 264"/>
                  <a:gd name="T99" fmla="*/ 25 h 268"/>
                  <a:gd name="T100" fmla="*/ 70 w 264"/>
                  <a:gd name="T101" fmla="*/ 27 h 268"/>
                  <a:gd name="T102" fmla="*/ 50 w 264"/>
                  <a:gd name="T103" fmla="*/ 51 h 268"/>
                  <a:gd name="T104" fmla="*/ 32 w 264"/>
                  <a:gd name="T105" fmla="*/ 67 h 268"/>
                  <a:gd name="T106" fmla="*/ 16 w 264"/>
                  <a:gd name="T107" fmla="*/ 86 h 268"/>
                  <a:gd name="T108" fmla="*/ 0 w 264"/>
                  <a:gd name="T109" fmla="*/ 104 h 268"/>
                  <a:gd name="T110" fmla="*/ 49 w 264"/>
                  <a:gd name="T111" fmla="*/ 145 h 268"/>
                  <a:gd name="T112" fmla="*/ 133 w 264"/>
                  <a:gd name="T113" fmla="*/ 213 h 268"/>
                  <a:gd name="T114" fmla="*/ 210 w 264"/>
                  <a:gd name="T115" fmla="*/ 257 h 268"/>
                  <a:gd name="T116" fmla="*/ 247 w 264"/>
                  <a:gd name="T117" fmla="*/ 268 h 268"/>
                  <a:gd name="T118" fmla="*/ 245 w 264"/>
                  <a:gd name="T119" fmla="*/ 236 h 268"/>
                  <a:gd name="T120" fmla="*/ 255 w 264"/>
                  <a:gd name="T121" fmla="*/ 218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64" h="268">
                    <a:moveTo>
                      <a:pt x="255" y="218"/>
                    </a:moveTo>
                    <a:cubicBezTo>
                      <a:pt x="264" y="215"/>
                      <a:pt x="259" y="192"/>
                      <a:pt x="259" y="187"/>
                    </a:cubicBezTo>
                    <a:cubicBezTo>
                      <a:pt x="259" y="181"/>
                      <a:pt x="254" y="176"/>
                      <a:pt x="244" y="174"/>
                    </a:cubicBezTo>
                    <a:cubicBezTo>
                      <a:pt x="235" y="172"/>
                      <a:pt x="231" y="165"/>
                      <a:pt x="230" y="159"/>
                    </a:cubicBezTo>
                    <a:cubicBezTo>
                      <a:pt x="228" y="152"/>
                      <a:pt x="219" y="153"/>
                      <a:pt x="208" y="151"/>
                    </a:cubicBezTo>
                    <a:cubicBezTo>
                      <a:pt x="196" y="150"/>
                      <a:pt x="203" y="141"/>
                      <a:pt x="189" y="140"/>
                    </a:cubicBezTo>
                    <a:cubicBezTo>
                      <a:pt x="175" y="139"/>
                      <a:pt x="180" y="129"/>
                      <a:pt x="188" y="127"/>
                    </a:cubicBezTo>
                    <a:cubicBezTo>
                      <a:pt x="197" y="124"/>
                      <a:pt x="196" y="115"/>
                      <a:pt x="200" y="109"/>
                    </a:cubicBezTo>
                    <a:cubicBezTo>
                      <a:pt x="203" y="103"/>
                      <a:pt x="204" y="95"/>
                      <a:pt x="198" y="90"/>
                    </a:cubicBezTo>
                    <a:cubicBezTo>
                      <a:pt x="195" y="88"/>
                      <a:pt x="194" y="81"/>
                      <a:pt x="194" y="74"/>
                    </a:cubicBezTo>
                    <a:cubicBezTo>
                      <a:pt x="188" y="75"/>
                      <a:pt x="190" y="70"/>
                      <a:pt x="186" y="65"/>
                    </a:cubicBezTo>
                    <a:cubicBezTo>
                      <a:pt x="186" y="65"/>
                      <a:pt x="186" y="65"/>
                      <a:pt x="186" y="64"/>
                    </a:cubicBezTo>
                    <a:cubicBezTo>
                      <a:pt x="186" y="64"/>
                      <a:pt x="186" y="64"/>
                      <a:pt x="185" y="63"/>
                    </a:cubicBezTo>
                    <a:cubicBezTo>
                      <a:pt x="185" y="63"/>
                      <a:pt x="185" y="63"/>
                      <a:pt x="185" y="63"/>
                    </a:cubicBezTo>
                    <a:cubicBezTo>
                      <a:pt x="185" y="63"/>
                      <a:pt x="185" y="62"/>
                      <a:pt x="184" y="62"/>
                    </a:cubicBezTo>
                    <a:cubicBezTo>
                      <a:pt x="184" y="62"/>
                      <a:pt x="184" y="62"/>
                      <a:pt x="184" y="62"/>
                    </a:cubicBezTo>
                    <a:cubicBezTo>
                      <a:pt x="183" y="61"/>
                      <a:pt x="183" y="61"/>
                      <a:pt x="182" y="60"/>
                    </a:cubicBezTo>
                    <a:cubicBezTo>
                      <a:pt x="173" y="52"/>
                      <a:pt x="172" y="64"/>
                      <a:pt x="171" y="75"/>
                    </a:cubicBezTo>
                    <a:cubicBezTo>
                      <a:pt x="170" y="87"/>
                      <a:pt x="153" y="84"/>
                      <a:pt x="149" y="91"/>
                    </a:cubicBezTo>
                    <a:cubicBezTo>
                      <a:pt x="145" y="97"/>
                      <a:pt x="140" y="78"/>
                      <a:pt x="129" y="80"/>
                    </a:cubicBezTo>
                    <a:cubicBezTo>
                      <a:pt x="118" y="82"/>
                      <a:pt x="132" y="63"/>
                      <a:pt x="132" y="57"/>
                    </a:cubicBezTo>
                    <a:cubicBezTo>
                      <a:pt x="133" y="51"/>
                      <a:pt x="133" y="47"/>
                      <a:pt x="127" y="43"/>
                    </a:cubicBezTo>
                    <a:cubicBezTo>
                      <a:pt x="121" y="39"/>
                      <a:pt x="124" y="32"/>
                      <a:pt x="126" y="23"/>
                    </a:cubicBezTo>
                    <a:cubicBezTo>
                      <a:pt x="127" y="15"/>
                      <a:pt x="121" y="9"/>
                      <a:pt x="114" y="5"/>
                    </a:cubicBezTo>
                    <a:cubicBezTo>
                      <a:pt x="106" y="0"/>
                      <a:pt x="98" y="5"/>
                      <a:pt x="92" y="9"/>
                    </a:cubicBezTo>
                    <a:cubicBezTo>
                      <a:pt x="85" y="13"/>
                      <a:pt x="82" y="7"/>
                      <a:pt x="74" y="4"/>
                    </a:cubicBezTo>
                    <a:cubicBezTo>
                      <a:pt x="70" y="3"/>
                      <a:pt x="67" y="4"/>
                      <a:pt x="64" y="7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4" y="7"/>
                      <a:pt x="65" y="8"/>
                      <a:pt x="65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8"/>
                      <a:pt x="66" y="9"/>
                      <a:pt x="66" y="9"/>
                    </a:cubicBezTo>
                    <a:cubicBezTo>
                      <a:pt x="66" y="9"/>
                      <a:pt x="66" y="9"/>
                      <a:pt x="66" y="9"/>
                    </a:cubicBezTo>
                    <a:cubicBezTo>
                      <a:pt x="67" y="10"/>
                      <a:pt x="67" y="10"/>
                      <a:pt x="67" y="11"/>
                    </a:cubicBezTo>
                    <a:cubicBezTo>
                      <a:pt x="67" y="11"/>
                      <a:pt x="67" y="11"/>
                      <a:pt x="67" y="11"/>
                    </a:cubicBezTo>
                    <a:cubicBezTo>
                      <a:pt x="68" y="11"/>
                      <a:pt x="68" y="12"/>
                      <a:pt x="68" y="12"/>
                    </a:cubicBezTo>
                    <a:cubicBezTo>
                      <a:pt x="68" y="12"/>
                      <a:pt x="68" y="12"/>
                      <a:pt x="68" y="12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69" y="14"/>
                      <a:pt x="69" y="14"/>
                      <a:pt x="69" y="14"/>
                    </a:cubicBezTo>
                    <a:cubicBezTo>
                      <a:pt x="70" y="14"/>
                      <a:pt x="70" y="15"/>
                      <a:pt x="70" y="15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70" y="16"/>
                      <a:pt x="71" y="16"/>
                      <a:pt x="71" y="17"/>
                    </a:cubicBezTo>
                    <a:cubicBezTo>
                      <a:pt x="71" y="17"/>
                      <a:pt x="71" y="17"/>
                      <a:pt x="71" y="17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1" y="19"/>
                      <a:pt x="71" y="19"/>
                      <a:pt x="71" y="19"/>
                    </a:cubicBezTo>
                    <a:cubicBezTo>
                      <a:pt x="71" y="20"/>
                      <a:pt x="71" y="20"/>
                      <a:pt x="71" y="21"/>
                    </a:cubicBezTo>
                    <a:cubicBezTo>
                      <a:pt x="71" y="21"/>
                      <a:pt x="71" y="21"/>
                      <a:pt x="71" y="21"/>
                    </a:cubicBezTo>
                    <a:cubicBezTo>
                      <a:pt x="71" y="21"/>
                      <a:pt x="71" y="22"/>
                      <a:pt x="71" y="22"/>
                    </a:cubicBezTo>
                    <a:cubicBezTo>
                      <a:pt x="71" y="23"/>
                      <a:pt x="71" y="23"/>
                      <a:pt x="71" y="23"/>
                    </a:cubicBezTo>
                    <a:cubicBezTo>
                      <a:pt x="71" y="23"/>
                      <a:pt x="71" y="24"/>
                      <a:pt x="71" y="24"/>
                    </a:cubicBezTo>
                    <a:cubicBezTo>
                      <a:pt x="71" y="24"/>
                      <a:pt x="71" y="25"/>
                      <a:pt x="71" y="25"/>
                    </a:cubicBezTo>
                    <a:cubicBezTo>
                      <a:pt x="70" y="25"/>
                      <a:pt x="70" y="26"/>
                      <a:pt x="70" y="27"/>
                    </a:cubicBezTo>
                    <a:cubicBezTo>
                      <a:pt x="64" y="38"/>
                      <a:pt x="51" y="44"/>
                      <a:pt x="50" y="51"/>
                    </a:cubicBezTo>
                    <a:cubicBezTo>
                      <a:pt x="48" y="57"/>
                      <a:pt x="38" y="63"/>
                      <a:pt x="32" y="67"/>
                    </a:cubicBezTo>
                    <a:cubicBezTo>
                      <a:pt x="26" y="70"/>
                      <a:pt x="20" y="81"/>
                      <a:pt x="16" y="86"/>
                    </a:cubicBezTo>
                    <a:cubicBezTo>
                      <a:pt x="14" y="90"/>
                      <a:pt x="5" y="94"/>
                      <a:pt x="0" y="104"/>
                    </a:cubicBezTo>
                    <a:cubicBezTo>
                      <a:pt x="14" y="114"/>
                      <a:pt x="28" y="127"/>
                      <a:pt x="49" y="145"/>
                    </a:cubicBezTo>
                    <a:cubicBezTo>
                      <a:pt x="79" y="171"/>
                      <a:pt x="112" y="196"/>
                      <a:pt x="133" y="213"/>
                    </a:cubicBezTo>
                    <a:cubicBezTo>
                      <a:pt x="153" y="230"/>
                      <a:pt x="189" y="244"/>
                      <a:pt x="210" y="257"/>
                    </a:cubicBezTo>
                    <a:cubicBezTo>
                      <a:pt x="221" y="264"/>
                      <a:pt x="234" y="267"/>
                      <a:pt x="247" y="268"/>
                    </a:cubicBezTo>
                    <a:cubicBezTo>
                      <a:pt x="247" y="257"/>
                      <a:pt x="246" y="240"/>
                      <a:pt x="245" y="236"/>
                    </a:cubicBezTo>
                    <a:cubicBezTo>
                      <a:pt x="244" y="230"/>
                      <a:pt x="246" y="221"/>
                      <a:pt x="255" y="218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7" name="Freeform 401">
                <a:extLst>
                  <a:ext uri="{FF2B5EF4-FFF2-40B4-BE49-F238E27FC236}">
                    <a16:creationId xmlns:a16="http://schemas.microsoft.com/office/drawing/2014/main" id="{A0C7BB98-A0FC-DD42-A4D0-4385EF6BA3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8" y="2407"/>
                <a:ext cx="101" cy="100"/>
              </a:xfrm>
              <a:custGeom>
                <a:avLst/>
                <a:gdLst>
                  <a:gd name="T0" fmla="*/ 382 w 398"/>
                  <a:gd name="T1" fmla="*/ 330 h 398"/>
                  <a:gd name="T2" fmla="*/ 361 w 398"/>
                  <a:gd name="T3" fmla="*/ 307 h 398"/>
                  <a:gd name="T4" fmla="*/ 348 w 398"/>
                  <a:gd name="T5" fmla="*/ 272 h 398"/>
                  <a:gd name="T6" fmla="*/ 359 w 398"/>
                  <a:gd name="T7" fmla="*/ 230 h 398"/>
                  <a:gd name="T8" fmla="*/ 371 w 398"/>
                  <a:gd name="T9" fmla="*/ 189 h 398"/>
                  <a:gd name="T10" fmla="*/ 396 w 398"/>
                  <a:gd name="T11" fmla="*/ 135 h 398"/>
                  <a:gd name="T12" fmla="*/ 383 w 398"/>
                  <a:gd name="T13" fmla="*/ 104 h 398"/>
                  <a:gd name="T14" fmla="*/ 374 w 398"/>
                  <a:gd name="T15" fmla="*/ 73 h 398"/>
                  <a:gd name="T16" fmla="*/ 360 w 398"/>
                  <a:gd name="T17" fmla="*/ 57 h 398"/>
                  <a:gd name="T18" fmla="*/ 333 w 398"/>
                  <a:gd name="T19" fmla="*/ 43 h 398"/>
                  <a:gd name="T20" fmla="*/ 299 w 398"/>
                  <a:gd name="T21" fmla="*/ 49 h 398"/>
                  <a:gd name="T22" fmla="*/ 270 w 398"/>
                  <a:gd name="T23" fmla="*/ 66 h 398"/>
                  <a:gd name="T24" fmla="*/ 245 w 398"/>
                  <a:gd name="T25" fmla="*/ 51 h 398"/>
                  <a:gd name="T26" fmla="*/ 225 w 398"/>
                  <a:gd name="T27" fmla="*/ 27 h 398"/>
                  <a:gd name="T28" fmla="*/ 214 w 398"/>
                  <a:gd name="T29" fmla="*/ 17 h 398"/>
                  <a:gd name="T30" fmla="*/ 213 w 398"/>
                  <a:gd name="T31" fmla="*/ 16 h 398"/>
                  <a:gd name="T32" fmla="*/ 211 w 398"/>
                  <a:gd name="T33" fmla="*/ 15 h 398"/>
                  <a:gd name="T34" fmla="*/ 209 w 398"/>
                  <a:gd name="T35" fmla="*/ 14 h 398"/>
                  <a:gd name="T36" fmla="*/ 199 w 398"/>
                  <a:gd name="T37" fmla="*/ 12 h 398"/>
                  <a:gd name="T38" fmla="*/ 194 w 398"/>
                  <a:gd name="T39" fmla="*/ 11 h 398"/>
                  <a:gd name="T40" fmla="*/ 160 w 398"/>
                  <a:gd name="T41" fmla="*/ 25 h 398"/>
                  <a:gd name="T42" fmla="*/ 138 w 398"/>
                  <a:gd name="T43" fmla="*/ 1 h 398"/>
                  <a:gd name="T44" fmla="*/ 113 w 398"/>
                  <a:gd name="T45" fmla="*/ 20 h 398"/>
                  <a:gd name="T46" fmla="*/ 82 w 398"/>
                  <a:gd name="T47" fmla="*/ 18 h 398"/>
                  <a:gd name="T48" fmla="*/ 56 w 398"/>
                  <a:gd name="T49" fmla="*/ 24 h 398"/>
                  <a:gd name="T50" fmla="*/ 54 w 398"/>
                  <a:gd name="T51" fmla="*/ 26 h 398"/>
                  <a:gd name="T52" fmla="*/ 53 w 398"/>
                  <a:gd name="T53" fmla="*/ 27 h 398"/>
                  <a:gd name="T54" fmla="*/ 52 w 398"/>
                  <a:gd name="T55" fmla="*/ 28 h 398"/>
                  <a:gd name="T56" fmla="*/ 51 w 398"/>
                  <a:gd name="T57" fmla="*/ 29 h 398"/>
                  <a:gd name="T58" fmla="*/ 50 w 398"/>
                  <a:gd name="T59" fmla="*/ 29 h 398"/>
                  <a:gd name="T60" fmla="*/ 49 w 398"/>
                  <a:gd name="T61" fmla="*/ 29 h 398"/>
                  <a:gd name="T62" fmla="*/ 48 w 398"/>
                  <a:gd name="T63" fmla="*/ 29 h 398"/>
                  <a:gd name="T64" fmla="*/ 47 w 398"/>
                  <a:gd name="T65" fmla="*/ 29 h 398"/>
                  <a:gd name="T66" fmla="*/ 46 w 398"/>
                  <a:gd name="T67" fmla="*/ 28 h 398"/>
                  <a:gd name="T68" fmla="*/ 45 w 398"/>
                  <a:gd name="T69" fmla="*/ 27 h 398"/>
                  <a:gd name="T70" fmla="*/ 38 w 398"/>
                  <a:gd name="T71" fmla="*/ 21 h 398"/>
                  <a:gd name="T72" fmla="*/ 31 w 398"/>
                  <a:gd name="T73" fmla="*/ 63 h 398"/>
                  <a:gd name="T74" fmla="*/ 56 w 398"/>
                  <a:gd name="T75" fmla="*/ 92 h 398"/>
                  <a:gd name="T76" fmla="*/ 50 w 398"/>
                  <a:gd name="T77" fmla="*/ 117 h 398"/>
                  <a:gd name="T78" fmla="*/ 67 w 398"/>
                  <a:gd name="T79" fmla="*/ 142 h 398"/>
                  <a:gd name="T80" fmla="*/ 35 w 398"/>
                  <a:gd name="T81" fmla="*/ 139 h 398"/>
                  <a:gd name="T82" fmla="*/ 50 w 398"/>
                  <a:gd name="T83" fmla="*/ 168 h 398"/>
                  <a:gd name="T84" fmla="*/ 35 w 398"/>
                  <a:gd name="T85" fmla="*/ 189 h 398"/>
                  <a:gd name="T86" fmla="*/ 19 w 398"/>
                  <a:gd name="T87" fmla="*/ 204 h 398"/>
                  <a:gd name="T88" fmla="*/ 25 w 398"/>
                  <a:gd name="T89" fmla="*/ 239 h 398"/>
                  <a:gd name="T90" fmla="*/ 14 w 398"/>
                  <a:gd name="T91" fmla="*/ 270 h 398"/>
                  <a:gd name="T92" fmla="*/ 55 w 398"/>
                  <a:gd name="T93" fmla="*/ 289 h 398"/>
                  <a:gd name="T94" fmla="*/ 84 w 398"/>
                  <a:gd name="T95" fmla="*/ 317 h 398"/>
                  <a:gd name="T96" fmla="*/ 70 w 398"/>
                  <a:gd name="T97" fmla="*/ 366 h 398"/>
                  <a:gd name="T98" fmla="*/ 106 w 398"/>
                  <a:gd name="T99" fmla="*/ 391 h 398"/>
                  <a:gd name="T100" fmla="*/ 232 w 398"/>
                  <a:gd name="T101" fmla="*/ 346 h 398"/>
                  <a:gd name="T102" fmla="*/ 365 w 398"/>
                  <a:gd name="T103" fmla="*/ 354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8" h="398">
                    <a:moveTo>
                      <a:pt x="374" y="345"/>
                    </a:moveTo>
                    <a:cubicBezTo>
                      <a:pt x="382" y="344"/>
                      <a:pt x="382" y="336"/>
                      <a:pt x="382" y="330"/>
                    </a:cubicBezTo>
                    <a:cubicBezTo>
                      <a:pt x="382" y="324"/>
                      <a:pt x="372" y="323"/>
                      <a:pt x="365" y="323"/>
                    </a:cubicBezTo>
                    <a:cubicBezTo>
                      <a:pt x="359" y="323"/>
                      <a:pt x="361" y="312"/>
                      <a:pt x="361" y="307"/>
                    </a:cubicBezTo>
                    <a:cubicBezTo>
                      <a:pt x="361" y="303"/>
                      <a:pt x="361" y="297"/>
                      <a:pt x="354" y="292"/>
                    </a:cubicBezTo>
                    <a:cubicBezTo>
                      <a:pt x="348" y="287"/>
                      <a:pt x="352" y="276"/>
                      <a:pt x="348" y="272"/>
                    </a:cubicBezTo>
                    <a:cubicBezTo>
                      <a:pt x="344" y="267"/>
                      <a:pt x="348" y="256"/>
                      <a:pt x="348" y="250"/>
                    </a:cubicBezTo>
                    <a:cubicBezTo>
                      <a:pt x="348" y="245"/>
                      <a:pt x="359" y="234"/>
                      <a:pt x="359" y="230"/>
                    </a:cubicBezTo>
                    <a:cubicBezTo>
                      <a:pt x="359" y="226"/>
                      <a:pt x="360" y="218"/>
                      <a:pt x="365" y="213"/>
                    </a:cubicBezTo>
                    <a:cubicBezTo>
                      <a:pt x="369" y="209"/>
                      <a:pt x="370" y="199"/>
                      <a:pt x="371" y="189"/>
                    </a:cubicBezTo>
                    <a:cubicBezTo>
                      <a:pt x="371" y="179"/>
                      <a:pt x="384" y="165"/>
                      <a:pt x="391" y="160"/>
                    </a:cubicBezTo>
                    <a:cubicBezTo>
                      <a:pt x="398" y="155"/>
                      <a:pt x="396" y="143"/>
                      <a:pt x="396" y="135"/>
                    </a:cubicBezTo>
                    <a:cubicBezTo>
                      <a:pt x="396" y="128"/>
                      <a:pt x="392" y="126"/>
                      <a:pt x="387" y="123"/>
                    </a:cubicBezTo>
                    <a:cubicBezTo>
                      <a:pt x="382" y="120"/>
                      <a:pt x="387" y="107"/>
                      <a:pt x="383" y="104"/>
                    </a:cubicBezTo>
                    <a:cubicBezTo>
                      <a:pt x="379" y="101"/>
                      <a:pt x="380" y="94"/>
                      <a:pt x="379" y="87"/>
                    </a:cubicBezTo>
                    <a:cubicBezTo>
                      <a:pt x="379" y="80"/>
                      <a:pt x="379" y="74"/>
                      <a:pt x="374" y="73"/>
                    </a:cubicBezTo>
                    <a:cubicBezTo>
                      <a:pt x="369" y="72"/>
                      <a:pt x="363" y="64"/>
                      <a:pt x="361" y="59"/>
                    </a:cubicBezTo>
                    <a:cubicBezTo>
                      <a:pt x="361" y="58"/>
                      <a:pt x="360" y="58"/>
                      <a:pt x="360" y="57"/>
                    </a:cubicBezTo>
                    <a:cubicBezTo>
                      <a:pt x="359" y="53"/>
                      <a:pt x="354" y="52"/>
                      <a:pt x="347" y="52"/>
                    </a:cubicBezTo>
                    <a:cubicBezTo>
                      <a:pt x="339" y="51"/>
                      <a:pt x="337" y="51"/>
                      <a:pt x="333" y="43"/>
                    </a:cubicBezTo>
                    <a:cubicBezTo>
                      <a:pt x="330" y="36"/>
                      <a:pt x="322" y="36"/>
                      <a:pt x="317" y="40"/>
                    </a:cubicBezTo>
                    <a:cubicBezTo>
                      <a:pt x="312" y="45"/>
                      <a:pt x="305" y="48"/>
                      <a:pt x="299" y="49"/>
                    </a:cubicBezTo>
                    <a:cubicBezTo>
                      <a:pt x="293" y="50"/>
                      <a:pt x="288" y="53"/>
                      <a:pt x="286" y="63"/>
                    </a:cubicBezTo>
                    <a:cubicBezTo>
                      <a:pt x="284" y="73"/>
                      <a:pt x="275" y="71"/>
                      <a:pt x="270" y="66"/>
                    </a:cubicBezTo>
                    <a:cubicBezTo>
                      <a:pt x="264" y="60"/>
                      <a:pt x="263" y="57"/>
                      <a:pt x="258" y="57"/>
                    </a:cubicBezTo>
                    <a:cubicBezTo>
                      <a:pt x="254" y="57"/>
                      <a:pt x="248" y="51"/>
                      <a:pt x="245" y="51"/>
                    </a:cubicBezTo>
                    <a:cubicBezTo>
                      <a:pt x="242" y="51"/>
                      <a:pt x="236" y="41"/>
                      <a:pt x="234" y="38"/>
                    </a:cubicBezTo>
                    <a:cubicBezTo>
                      <a:pt x="232" y="34"/>
                      <a:pt x="228" y="27"/>
                      <a:pt x="225" y="27"/>
                    </a:cubicBezTo>
                    <a:cubicBezTo>
                      <a:pt x="223" y="27"/>
                      <a:pt x="217" y="24"/>
                      <a:pt x="215" y="19"/>
                    </a:cubicBezTo>
                    <a:cubicBezTo>
                      <a:pt x="215" y="18"/>
                      <a:pt x="215" y="18"/>
                      <a:pt x="214" y="17"/>
                    </a:cubicBezTo>
                    <a:cubicBezTo>
                      <a:pt x="214" y="17"/>
                      <a:pt x="214" y="17"/>
                      <a:pt x="214" y="17"/>
                    </a:cubicBezTo>
                    <a:cubicBezTo>
                      <a:pt x="214" y="16"/>
                      <a:pt x="213" y="16"/>
                      <a:pt x="213" y="16"/>
                    </a:cubicBezTo>
                    <a:cubicBezTo>
                      <a:pt x="213" y="16"/>
                      <a:pt x="213" y="16"/>
                      <a:pt x="212" y="15"/>
                    </a:cubicBezTo>
                    <a:cubicBezTo>
                      <a:pt x="212" y="15"/>
                      <a:pt x="211" y="15"/>
                      <a:pt x="211" y="15"/>
                    </a:cubicBezTo>
                    <a:cubicBezTo>
                      <a:pt x="210" y="14"/>
                      <a:pt x="210" y="14"/>
                      <a:pt x="210" y="14"/>
                    </a:cubicBezTo>
                    <a:cubicBezTo>
                      <a:pt x="209" y="14"/>
                      <a:pt x="209" y="14"/>
                      <a:pt x="209" y="14"/>
                    </a:cubicBezTo>
                    <a:cubicBezTo>
                      <a:pt x="207" y="13"/>
                      <a:pt x="205" y="13"/>
                      <a:pt x="203" y="12"/>
                    </a:cubicBezTo>
                    <a:cubicBezTo>
                      <a:pt x="202" y="12"/>
                      <a:pt x="200" y="12"/>
                      <a:pt x="199" y="12"/>
                    </a:cubicBezTo>
                    <a:cubicBezTo>
                      <a:pt x="199" y="12"/>
                      <a:pt x="199" y="12"/>
                      <a:pt x="199" y="12"/>
                    </a:cubicBezTo>
                    <a:cubicBezTo>
                      <a:pt x="197" y="11"/>
                      <a:pt x="196" y="11"/>
                      <a:pt x="194" y="11"/>
                    </a:cubicBezTo>
                    <a:cubicBezTo>
                      <a:pt x="184" y="11"/>
                      <a:pt x="179" y="12"/>
                      <a:pt x="177" y="19"/>
                    </a:cubicBezTo>
                    <a:cubicBezTo>
                      <a:pt x="175" y="27"/>
                      <a:pt x="168" y="25"/>
                      <a:pt x="160" y="25"/>
                    </a:cubicBezTo>
                    <a:cubicBezTo>
                      <a:pt x="151" y="25"/>
                      <a:pt x="154" y="21"/>
                      <a:pt x="154" y="11"/>
                    </a:cubicBezTo>
                    <a:cubicBezTo>
                      <a:pt x="155" y="0"/>
                      <a:pt x="148" y="1"/>
                      <a:pt x="138" y="1"/>
                    </a:cubicBezTo>
                    <a:cubicBezTo>
                      <a:pt x="128" y="1"/>
                      <a:pt x="128" y="2"/>
                      <a:pt x="128" y="11"/>
                    </a:cubicBezTo>
                    <a:cubicBezTo>
                      <a:pt x="128" y="21"/>
                      <a:pt x="114" y="12"/>
                      <a:pt x="113" y="20"/>
                    </a:cubicBezTo>
                    <a:cubicBezTo>
                      <a:pt x="113" y="28"/>
                      <a:pt x="101" y="25"/>
                      <a:pt x="92" y="25"/>
                    </a:cubicBezTo>
                    <a:cubicBezTo>
                      <a:pt x="83" y="25"/>
                      <a:pt x="82" y="22"/>
                      <a:pt x="82" y="18"/>
                    </a:cubicBezTo>
                    <a:cubicBezTo>
                      <a:pt x="82" y="14"/>
                      <a:pt x="78" y="11"/>
                      <a:pt x="72" y="11"/>
                    </a:cubicBezTo>
                    <a:cubicBezTo>
                      <a:pt x="66" y="11"/>
                      <a:pt x="61" y="15"/>
                      <a:pt x="56" y="24"/>
                    </a:cubicBezTo>
                    <a:cubicBezTo>
                      <a:pt x="55" y="24"/>
                      <a:pt x="55" y="25"/>
                      <a:pt x="55" y="25"/>
                    </a:cubicBezTo>
                    <a:cubicBezTo>
                      <a:pt x="55" y="26"/>
                      <a:pt x="55" y="26"/>
                      <a:pt x="54" y="26"/>
                    </a:cubicBezTo>
                    <a:cubicBezTo>
                      <a:pt x="54" y="26"/>
                      <a:pt x="54" y="26"/>
                      <a:pt x="54" y="27"/>
                    </a:cubicBezTo>
                    <a:cubicBezTo>
                      <a:pt x="54" y="27"/>
                      <a:pt x="53" y="27"/>
                      <a:pt x="53" y="27"/>
                    </a:cubicBezTo>
                    <a:cubicBezTo>
                      <a:pt x="53" y="27"/>
                      <a:pt x="53" y="27"/>
                      <a:pt x="53" y="28"/>
                    </a:cubicBezTo>
                    <a:cubicBezTo>
                      <a:pt x="53" y="28"/>
                      <a:pt x="52" y="28"/>
                      <a:pt x="52" y="28"/>
                    </a:cubicBezTo>
                    <a:cubicBezTo>
                      <a:pt x="52" y="28"/>
                      <a:pt x="52" y="28"/>
                      <a:pt x="52" y="28"/>
                    </a:cubicBezTo>
                    <a:cubicBezTo>
                      <a:pt x="52" y="29"/>
                      <a:pt x="51" y="29"/>
                      <a:pt x="51" y="29"/>
                    </a:cubicBezTo>
                    <a:cubicBezTo>
                      <a:pt x="51" y="29"/>
                      <a:pt x="51" y="29"/>
                      <a:pt x="51" y="29"/>
                    </a:cubicBezTo>
                    <a:cubicBezTo>
                      <a:pt x="51" y="29"/>
                      <a:pt x="50" y="29"/>
                      <a:pt x="50" y="29"/>
                    </a:cubicBezTo>
                    <a:cubicBezTo>
                      <a:pt x="50" y="29"/>
                      <a:pt x="50" y="29"/>
                      <a:pt x="50" y="29"/>
                    </a:cubicBezTo>
                    <a:cubicBezTo>
                      <a:pt x="50" y="29"/>
                      <a:pt x="49" y="29"/>
                      <a:pt x="49" y="29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49" y="29"/>
                      <a:pt x="48" y="29"/>
                      <a:pt x="48" y="29"/>
                    </a:cubicBezTo>
                    <a:cubicBezTo>
                      <a:pt x="48" y="29"/>
                      <a:pt x="48" y="29"/>
                      <a:pt x="48" y="29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6" y="29"/>
                      <a:pt x="46" y="28"/>
                      <a:pt x="46" y="28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5" y="28"/>
                      <a:pt x="45" y="28"/>
                      <a:pt x="45" y="27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3" y="26"/>
                      <a:pt x="41" y="24"/>
                      <a:pt x="38" y="21"/>
                    </a:cubicBezTo>
                    <a:cubicBezTo>
                      <a:pt x="34" y="29"/>
                      <a:pt x="35" y="38"/>
                      <a:pt x="35" y="46"/>
                    </a:cubicBezTo>
                    <a:cubicBezTo>
                      <a:pt x="35" y="55"/>
                      <a:pt x="33" y="57"/>
                      <a:pt x="31" y="63"/>
                    </a:cubicBezTo>
                    <a:cubicBezTo>
                      <a:pt x="29" y="69"/>
                      <a:pt x="39" y="76"/>
                      <a:pt x="49" y="76"/>
                    </a:cubicBezTo>
                    <a:cubicBezTo>
                      <a:pt x="58" y="76"/>
                      <a:pt x="56" y="86"/>
                      <a:pt x="56" y="92"/>
                    </a:cubicBezTo>
                    <a:cubicBezTo>
                      <a:pt x="56" y="98"/>
                      <a:pt x="56" y="103"/>
                      <a:pt x="49" y="105"/>
                    </a:cubicBezTo>
                    <a:cubicBezTo>
                      <a:pt x="41" y="107"/>
                      <a:pt x="43" y="115"/>
                      <a:pt x="50" y="117"/>
                    </a:cubicBezTo>
                    <a:cubicBezTo>
                      <a:pt x="57" y="118"/>
                      <a:pt x="54" y="123"/>
                      <a:pt x="61" y="127"/>
                    </a:cubicBezTo>
                    <a:cubicBezTo>
                      <a:pt x="69" y="130"/>
                      <a:pt x="67" y="136"/>
                      <a:pt x="67" y="142"/>
                    </a:cubicBezTo>
                    <a:cubicBezTo>
                      <a:pt x="67" y="148"/>
                      <a:pt x="63" y="152"/>
                      <a:pt x="55" y="143"/>
                    </a:cubicBezTo>
                    <a:cubicBezTo>
                      <a:pt x="48" y="133"/>
                      <a:pt x="50" y="142"/>
                      <a:pt x="35" y="139"/>
                    </a:cubicBezTo>
                    <a:cubicBezTo>
                      <a:pt x="19" y="135"/>
                      <a:pt x="29" y="146"/>
                      <a:pt x="34" y="156"/>
                    </a:cubicBezTo>
                    <a:cubicBezTo>
                      <a:pt x="39" y="166"/>
                      <a:pt x="49" y="159"/>
                      <a:pt x="50" y="168"/>
                    </a:cubicBezTo>
                    <a:cubicBezTo>
                      <a:pt x="51" y="177"/>
                      <a:pt x="44" y="175"/>
                      <a:pt x="40" y="177"/>
                    </a:cubicBezTo>
                    <a:cubicBezTo>
                      <a:pt x="36" y="179"/>
                      <a:pt x="43" y="189"/>
                      <a:pt x="35" y="189"/>
                    </a:cubicBezTo>
                    <a:cubicBezTo>
                      <a:pt x="27" y="189"/>
                      <a:pt x="29" y="201"/>
                      <a:pt x="20" y="203"/>
                    </a:cubicBezTo>
                    <a:cubicBezTo>
                      <a:pt x="20" y="204"/>
                      <a:pt x="19" y="204"/>
                      <a:pt x="19" y="204"/>
                    </a:cubicBezTo>
                    <a:cubicBezTo>
                      <a:pt x="19" y="211"/>
                      <a:pt x="20" y="218"/>
                      <a:pt x="23" y="220"/>
                    </a:cubicBezTo>
                    <a:cubicBezTo>
                      <a:pt x="29" y="225"/>
                      <a:pt x="28" y="233"/>
                      <a:pt x="25" y="239"/>
                    </a:cubicBezTo>
                    <a:cubicBezTo>
                      <a:pt x="21" y="245"/>
                      <a:pt x="22" y="254"/>
                      <a:pt x="13" y="257"/>
                    </a:cubicBezTo>
                    <a:cubicBezTo>
                      <a:pt x="5" y="259"/>
                      <a:pt x="0" y="269"/>
                      <a:pt x="14" y="270"/>
                    </a:cubicBezTo>
                    <a:cubicBezTo>
                      <a:pt x="28" y="271"/>
                      <a:pt x="21" y="280"/>
                      <a:pt x="33" y="281"/>
                    </a:cubicBezTo>
                    <a:cubicBezTo>
                      <a:pt x="44" y="283"/>
                      <a:pt x="53" y="282"/>
                      <a:pt x="55" y="289"/>
                    </a:cubicBezTo>
                    <a:cubicBezTo>
                      <a:pt x="56" y="295"/>
                      <a:pt x="60" y="302"/>
                      <a:pt x="69" y="304"/>
                    </a:cubicBezTo>
                    <a:cubicBezTo>
                      <a:pt x="79" y="306"/>
                      <a:pt x="84" y="311"/>
                      <a:pt x="84" y="317"/>
                    </a:cubicBezTo>
                    <a:cubicBezTo>
                      <a:pt x="84" y="322"/>
                      <a:pt x="89" y="345"/>
                      <a:pt x="80" y="348"/>
                    </a:cubicBezTo>
                    <a:cubicBezTo>
                      <a:pt x="71" y="351"/>
                      <a:pt x="69" y="360"/>
                      <a:pt x="70" y="366"/>
                    </a:cubicBezTo>
                    <a:cubicBezTo>
                      <a:pt x="71" y="370"/>
                      <a:pt x="72" y="387"/>
                      <a:pt x="72" y="398"/>
                    </a:cubicBezTo>
                    <a:cubicBezTo>
                      <a:pt x="84" y="398"/>
                      <a:pt x="96" y="396"/>
                      <a:pt x="106" y="391"/>
                    </a:cubicBezTo>
                    <a:cubicBezTo>
                      <a:pt x="126" y="380"/>
                      <a:pt x="138" y="375"/>
                      <a:pt x="160" y="367"/>
                    </a:cubicBezTo>
                    <a:cubicBezTo>
                      <a:pt x="181" y="360"/>
                      <a:pt x="194" y="348"/>
                      <a:pt x="232" y="346"/>
                    </a:cubicBezTo>
                    <a:cubicBezTo>
                      <a:pt x="269" y="344"/>
                      <a:pt x="292" y="335"/>
                      <a:pt x="314" y="345"/>
                    </a:cubicBezTo>
                    <a:cubicBezTo>
                      <a:pt x="331" y="353"/>
                      <a:pt x="348" y="349"/>
                      <a:pt x="365" y="354"/>
                    </a:cubicBezTo>
                    <a:cubicBezTo>
                      <a:pt x="366" y="348"/>
                      <a:pt x="368" y="346"/>
                      <a:pt x="374" y="345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8" name="Freeform 402">
                <a:extLst>
                  <a:ext uri="{FF2B5EF4-FFF2-40B4-BE49-F238E27FC236}">
                    <a16:creationId xmlns:a16="http://schemas.microsoft.com/office/drawing/2014/main" id="{81AE3EC7-76FA-1645-966E-78C8E61E8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9" y="2332"/>
                <a:ext cx="127" cy="93"/>
              </a:xfrm>
              <a:custGeom>
                <a:avLst/>
                <a:gdLst>
                  <a:gd name="T0" fmla="*/ 492 w 502"/>
                  <a:gd name="T1" fmla="*/ 181 h 367"/>
                  <a:gd name="T2" fmla="*/ 470 w 502"/>
                  <a:gd name="T3" fmla="*/ 165 h 367"/>
                  <a:gd name="T4" fmla="*/ 435 w 502"/>
                  <a:gd name="T5" fmla="*/ 152 h 367"/>
                  <a:gd name="T6" fmla="*/ 427 w 502"/>
                  <a:gd name="T7" fmla="*/ 121 h 367"/>
                  <a:gd name="T8" fmla="*/ 393 w 502"/>
                  <a:gd name="T9" fmla="*/ 93 h 367"/>
                  <a:gd name="T10" fmla="*/ 365 w 502"/>
                  <a:gd name="T11" fmla="*/ 50 h 367"/>
                  <a:gd name="T12" fmla="*/ 368 w 502"/>
                  <a:gd name="T13" fmla="*/ 14 h 367"/>
                  <a:gd name="T14" fmla="*/ 347 w 502"/>
                  <a:gd name="T15" fmla="*/ 13 h 367"/>
                  <a:gd name="T16" fmla="*/ 330 w 502"/>
                  <a:gd name="T17" fmla="*/ 5 h 367"/>
                  <a:gd name="T18" fmla="*/ 287 w 502"/>
                  <a:gd name="T19" fmla="*/ 19 h 367"/>
                  <a:gd name="T20" fmla="*/ 250 w 502"/>
                  <a:gd name="T21" fmla="*/ 41 h 367"/>
                  <a:gd name="T22" fmla="*/ 224 w 502"/>
                  <a:gd name="T23" fmla="*/ 55 h 367"/>
                  <a:gd name="T24" fmla="*/ 194 w 502"/>
                  <a:gd name="T25" fmla="*/ 57 h 367"/>
                  <a:gd name="T26" fmla="*/ 168 w 502"/>
                  <a:gd name="T27" fmla="*/ 87 h 367"/>
                  <a:gd name="T28" fmla="*/ 144 w 502"/>
                  <a:gd name="T29" fmla="*/ 117 h 367"/>
                  <a:gd name="T30" fmla="*/ 114 w 502"/>
                  <a:gd name="T31" fmla="*/ 119 h 367"/>
                  <a:gd name="T32" fmla="*/ 88 w 502"/>
                  <a:gd name="T33" fmla="*/ 120 h 367"/>
                  <a:gd name="T34" fmla="*/ 72 w 502"/>
                  <a:gd name="T35" fmla="*/ 160 h 367"/>
                  <a:gd name="T36" fmla="*/ 38 w 502"/>
                  <a:gd name="T37" fmla="*/ 207 h 367"/>
                  <a:gd name="T38" fmla="*/ 8 w 502"/>
                  <a:gd name="T39" fmla="*/ 220 h 367"/>
                  <a:gd name="T40" fmla="*/ 1 w 502"/>
                  <a:gd name="T41" fmla="*/ 283 h 367"/>
                  <a:gd name="T42" fmla="*/ 6 w 502"/>
                  <a:gd name="T43" fmla="*/ 308 h 367"/>
                  <a:gd name="T44" fmla="*/ 8 w 502"/>
                  <a:gd name="T45" fmla="*/ 309 h 367"/>
                  <a:gd name="T46" fmla="*/ 10 w 502"/>
                  <a:gd name="T47" fmla="*/ 310 h 367"/>
                  <a:gd name="T48" fmla="*/ 11 w 502"/>
                  <a:gd name="T49" fmla="*/ 311 h 367"/>
                  <a:gd name="T50" fmla="*/ 22 w 502"/>
                  <a:gd name="T51" fmla="*/ 321 h 367"/>
                  <a:gd name="T52" fmla="*/ 42 w 502"/>
                  <a:gd name="T53" fmla="*/ 345 h 367"/>
                  <a:gd name="T54" fmla="*/ 67 w 502"/>
                  <a:gd name="T55" fmla="*/ 360 h 367"/>
                  <a:gd name="T56" fmla="*/ 96 w 502"/>
                  <a:gd name="T57" fmla="*/ 343 h 367"/>
                  <a:gd name="T58" fmla="*/ 130 w 502"/>
                  <a:gd name="T59" fmla="*/ 337 h 367"/>
                  <a:gd name="T60" fmla="*/ 157 w 502"/>
                  <a:gd name="T61" fmla="*/ 351 h 367"/>
                  <a:gd name="T62" fmla="*/ 171 w 502"/>
                  <a:gd name="T63" fmla="*/ 367 h 367"/>
                  <a:gd name="T64" fmla="*/ 172 w 502"/>
                  <a:gd name="T65" fmla="*/ 314 h 367"/>
                  <a:gd name="T66" fmla="*/ 173 w 502"/>
                  <a:gd name="T67" fmla="*/ 269 h 367"/>
                  <a:gd name="T68" fmla="*/ 307 w 502"/>
                  <a:gd name="T69" fmla="*/ 274 h 367"/>
                  <a:gd name="T70" fmla="*/ 343 w 502"/>
                  <a:gd name="T71" fmla="*/ 260 h 367"/>
                  <a:gd name="T72" fmla="*/ 344 w 502"/>
                  <a:gd name="T73" fmla="*/ 260 h 367"/>
                  <a:gd name="T74" fmla="*/ 346 w 502"/>
                  <a:gd name="T75" fmla="*/ 261 h 367"/>
                  <a:gd name="T76" fmla="*/ 347 w 502"/>
                  <a:gd name="T77" fmla="*/ 262 h 367"/>
                  <a:gd name="T78" fmla="*/ 352 w 502"/>
                  <a:gd name="T79" fmla="*/ 267 h 367"/>
                  <a:gd name="T80" fmla="*/ 354 w 502"/>
                  <a:gd name="T81" fmla="*/ 268 h 367"/>
                  <a:gd name="T82" fmla="*/ 355 w 502"/>
                  <a:gd name="T83" fmla="*/ 269 h 367"/>
                  <a:gd name="T84" fmla="*/ 356 w 502"/>
                  <a:gd name="T85" fmla="*/ 269 h 367"/>
                  <a:gd name="T86" fmla="*/ 357 w 502"/>
                  <a:gd name="T87" fmla="*/ 270 h 367"/>
                  <a:gd name="T88" fmla="*/ 359 w 502"/>
                  <a:gd name="T89" fmla="*/ 270 h 367"/>
                  <a:gd name="T90" fmla="*/ 395 w 502"/>
                  <a:gd name="T91" fmla="*/ 271 h 367"/>
                  <a:gd name="T92" fmla="*/ 400 w 502"/>
                  <a:gd name="T93" fmla="*/ 271 h 367"/>
                  <a:gd name="T94" fmla="*/ 405 w 502"/>
                  <a:gd name="T95" fmla="*/ 272 h 367"/>
                  <a:gd name="T96" fmla="*/ 412 w 502"/>
                  <a:gd name="T97" fmla="*/ 271 h 367"/>
                  <a:gd name="T98" fmla="*/ 415 w 502"/>
                  <a:gd name="T99" fmla="*/ 270 h 367"/>
                  <a:gd name="T100" fmla="*/ 418 w 502"/>
                  <a:gd name="T101" fmla="*/ 269 h 367"/>
                  <a:gd name="T102" fmla="*/ 421 w 502"/>
                  <a:gd name="T103" fmla="*/ 266 h 367"/>
                  <a:gd name="T104" fmla="*/ 484 w 502"/>
                  <a:gd name="T105" fmla="*/ 240 h 367"/>
                  <a:gd name="T106" fmla="*/ 502 w 502"/>
                  <a:gd name="T107" fmla="*/ 220 h 367"/>
                  <a:gd name="T108" fmla="*/ 502 w 502"/>
                  <a:gd name="T109" fmla="*/ 218 h 367"/>
                  <a:gd name="T110" fmla="*/ 502 w 502"/>
                  <a:gd name="T111" fmla="*/ 216 h 367"/>
                  <a:gd name="T112" fmla="*/ 501 w 502"/>
                  <a:gd name="T113" fmla="*/ 208 h 367"/>
                  <a:gd name="T114" fmla="*/ 502 w 502"/>
                  <a:gd name="T115" fmla="*/ 206 h 367"/>
                  <a:gd name="T116" fmla="*/ 502 w 502"/>
                  <a:gd name="T117" fmla="*/ 204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02" h="367">
                    <a:moveTo>
                      <a:pt x="495" y="200"/>
                    </a:moveTo>
                    <a:cubicBezTo>
                      <a:pt x="490" y="197"/>
                      <a:pt x="490" y="187"/>
                      <a:pt x="492" y="181"/>
                    </a:cubicBezTo>
                    <a:cubicBezTo>
                      <a:pt x="493" y="175"/>
                      <a:pt x="491" y="169"/>
                      <a:pt x="487" y="166"/>
                    </a:cubicBezTo>
                    <a:cubicBezTo>
                      <a:pt x="483" y="163"/>
                      <a:pt x="474" y="155"/>
                      <a:pt x="470" y="165"/>
                    </a:cubicBezTo>
                    <a:cubicBezTo>
                      <a:pt x="467" y="174"/>
                      <a:pt x="464" y="171"/>
                      <a:pt x="455" y="168"/>
                    </a:cubicBezTo>
                    <a:cubicBezTo>
                      <a:pt x="446" y="165"/>
                      <a:pt x="442" y="162"/>
                      <a:pt x="435" y="152"/>
                    </a:cubicBezTo>
                    <a:cubicBezTo>
                      <a:pt x="428" y="142"/>
                      <a:pt x="422" y="145"/>
                      <a:pt x="417" y="137"/>
                    </a:cubicBezTo>
                    <a:cubicBezTo>
                      <a:pt x="412" y="130"/>
                      <a:pt x="423" y="123"/>
                      <a:pt x="427" y="121"/>
                    </a:cubicBezTo>
                    <a:cubicBezTo>
                      <a:pt x="431" y="118"/>
                      <a:pt x="426" y="111"/>
                      <a:pt x="414" y="107"/>
                    </a:cubicBezTo>
                    <a:cubicBezTo>
                      <a:pt x="402" y="103"/>
                      <a:pt x="404" y="97"/>
                      <a:pt x="393" y="93"/>
                    </a:cubicBezTo>
                    <a:cubicBezTo>
                      <a:pt x="382" y="89"/>
                      <a:pt x="377" y="81"/>
                      <a:pt x="376" y="74"/>
                    </a:cubicBezTo>
                    <a:cubicBezTo>
                      <a:pt x="376" y="67"/>
                      <a:pt x="376" y="55"/>
                      <a:pt x="365" y="50"/>
                    </a:cubicBezTo>
                    <a:cubicBezTo>
                      <a:pt x="354" y="45"/>
                      <a:pt x="364" y="35"/>
                      <a:pt x="367" y="26"/>
                    </a:cubicBezTo>
                    <a:cubicBezTo>
                      <a:pt x="368" y="23"/>
                      <a:pt x="368" y="18"/>
                      <a:pt x="368" y="14"/>
                    </a:cubicBezTo>
                    <a:cubicBezTo>
                      <a:pt x="360" y="14"/>
                      <a:pt x="353" y="14"/>
                      <a:pt x="348" y="13"/>
                    </a:cubicBezTo>
                    <a:cubicBezTo>
                      <a:pt x="347" y="13"/>
                      <a:pt x="347" y="13"/>
                      <a:pt x="347" y="13"/>
                    </a:cubicBezTo>
                    <a:cubicBezTo>
                      <a:pt x="346" y="13"/>
                      <a:pt x="345" y="13"/>
                      <a:pt x="344" y="13"/>
                    </a:cubicBezTo>
                    <a:cubicBezTo>
                      <a:pt x="335" y="13"/>
                      <a:pt x="332" y="11"/>
                      <a:pt x="330" y="5"/>
                    </a:cubicBezTo>
                    <a:cubicBezTo>
                      <a:pt x="328" y="0"/>
                      <a:pt x="320" y="3"/>
                      <a:pt x="309" y="3"/>
                    </a:cubicBezTo>
                    <a:cubicBezTo>
                      <a:pt x="298" y="3"/>
                      <a:pt x="294" y="9"/>
                      <a:pt x="287" y="19"/>
                    </a:cubicBezTo>
                    <a:cubicBezTo>
                      <a:pt x="280" y="29"/>
                      <a:pt x="284" y="31"/>
                      <a:pt x="271" y="28"/>
                    </a:cubicBezTo>
                    <a:cubicBezTo>
                      <a:pt x="258" y="25"/>
                      <a:pt x="254" y="35"/>
                      <a:pt x="250" y="41"/>
                    </a:cubicBezTo>
                    <a:cubicBezTo>
                      <a:pt x="246" y="46"/>
                      <a:pt x="244" y="46"/>
                      <a:pt x="236" y="45"/>
                    </a:cubicBezTo>
                    <a:cubicBezTo>
                      <a:pt x="228" y="43"/>
                      <a:pt x="224" y="47"/>
                      <a:pt x="224" y="55"/>
                    </a:cubicBezTo>
                    <a:cubicBezTo>
                      <a:pt x="224" y="63"/>
                      <a:pt x="218" y="64"/>
                      <a:pt x="212" y="64"/>
                    </a:cubicBezTo>
                    <a:cubicBezTo>
                      <a:pt x="205" y="64"/>
                      <a:pt x="205" y="58"/>
                      <a:pt x="194" y="57"/>
                    </a:cubicBezTo>
                    <a:cubicBezTo>
                      <a:pt x="184" y="57"/>
                      <a:pt x="188" y="65"/>
                      <a:pt x="180" y="67"/>
                    </a:cubicBezTo>
                    <a:cubicBezTo>
                      <a:pt x="172" y="70"/>
                      <a:pt x="170" y="78"/>
                      <a:pt x="168" y="87"/>
                    </a:cubicBezTo>
                    <a:cubicBezTo>
                      <a:pt x="167" y="97"/>
                      <a:pt x="161" y="103"/>
                      <a:pt x="152" y="103"/>
                    </a:cubicBezTo>
                    <a:cubicBezTo>
                      <a:pt x="144" y="103"/>
                      <a:pt x="144" y="107"/>
                      <a:pt x="144" y="117"/>
                    </a:cubicBezTo>
                    <a:cubicBezTo>
                      <a:pt x="144" y="127"/>
                      <a:pt x="138" y="128"/>
                      <a:pt x="131" y="128"/>
                    </a:cubicBezTo>
                    <a:cubicBezTo>
                      <a:pt x="124" y="128"/>
                      <a:pt x="121" y="120"/>
                      <a:pt x="114" y="119"/>
                    </a:cubicBezTo>
                    <a:cubicBezTo>
                      <a:pt x="108" y="119"/>
                      <a:pt x="111" y="112"/>
                      <a:pt x="102" y="108"/>
                    </a:cubicBezTo>
                    <a:cubicBezTo>
                      <a:pt x="94" y="104"/>
                      <a:pt x="97" y="112"/>
                      <a:pt x="88" y="120"/>
                    </a:cubicBezTo>
                    <a:cubicBezTo>
                      <a:pt x="78" y="128"/>
                      <a:pt x="82" y="135"/>
                      <a:pt x="84" y="145"/>
                    </a:cubicBezTo>
                    <a:cubicBezTo>
                      <a:pt x="86" y="154"/>
                      <a:pt x="82" y="158"/>
                      <a:pt x="72" y="160"/>
                    </a:cubicBezTo>
                    <a:cubicBezTo>
                      <a:pt x="63" y="162"/>
                      <a:pt x="64" y="185"/>
                      <a:pt x="62" y="194"/>
                    </a:cubicBezTo>
                    <a:cubicBezTo>
                      <a:pt x="59" y="203"/>
                      <a:pt x="41" y="201"/>
                      <a:pt x="38" y="207"/>
                    </a:cubicBezTo>
                    <a:cubicBezTo>
                      <a:pt x="34" y="213"/>
                      <a:pt x="26" y="210"/>
                      <a:pt x="17" y="209"/>
                    </a:cubicBezTo>
                    <a:cubicBezTo>
                      <a:pt x="8" y="209"/>
                      <a:pt x="4" y="219"/>
                      <a:pt x="8" y="220"/>
                    </a:cubicBezTo>
                    <a:cubicBezTo>
                      <a:pt x="12" y="221"/>
                      <a:pt x="16" y="236"/>
                      <a:pt x="18" y="248"/>
                    </a:cubicBezTo>
                    <a:cubicBezTo>
                      <a:pt x="19" y="260"/>
                      <a:pt x="1" y="274"/>
                      <a:pt x="1" y="283"/>
                    </a:cubicBezTo>
                    <a:cubicBezTo>
                      <a:pt x="1" y="288"/>
                      <a:pt x="1" y="298"/>
                      <a:pt x="0" y="306"/>
                    </a:cubicBezTo>
                    <a:cubicBezTo>
                      <a:pt x="2" y="307"/>
                      <a:pt x="4" y="307"/>
                      <a:pt x="6" y="308"/>
                    </a:cubicBezTo>
                    <a:cubicBezTo>
                      <a:pt x="6" y="308"/>
                      <a:pt x="6" y="308"/>
                      <a:pt x="7" y="308"/>
                    </a:cubicBezTo>
                    <a:cubicBezTo>
                      <a:pt x="7" y="308"/>
                      <a:pt x="7" y="308"/>
                      <a:pt x="8" y="309"/>
                    </a:cubicBezTo>
                    <a:cubicBezTo>
                      <a:pt x="8" y="309"/>
                      <a:pt x="9" y="309"/>
                      <a:pt x="9" y="309"/>
                    </a:cubicBezTo>
                    <a:cubicBezTo>
                      <a:pt x="10" y="310"/>
                      <a:pt x="10" y="310"/>
                      <a:pt x="10" y="310"/>
                    </a:cubicBezTo>
                    <a:cubicBezTo>
                      <a:pt x="10" y="310"/>
                      <a:pt x="11" y="310"/>
                      <a:pt x="11" y="311"/>
                    </a:cubicBezTo>
                    <a:cubicBezTo>
                      <a:pt x="11" y="311"/>
                      <a:pt x="11" y="311"/>
                      <a:pt x="11" y="311"/>
                    </a:cubicBezTo>
                    <a:cubicBezTo>
                      <a:pt x="12" y="312"/>
                      <a:pt x="12" y="312"/>
                      <a:pt x="12" y="313"/>
                    </a:cubicBezTo>
                    <a:cubicBezTo>
                      <a:pt x="14" y="318"/>
                      <a:pt x="20" y="321"/>
                      <a:pt x="22" y="321"/>
                    </a:cubicBezTo>
                    <a:cubicBezTo>
                      <a:pt x="25" y="321"/>
                      <a:pt x="29" y="328"/>
                      <a:pt x="31" y="332"/>
                    </a:cubicBezTo>
                    <a:cubicBezTo>
                      <a:pt x="33" y="335"/>
                      <a:pt x="39" y="345"/>
                      <a:pt x="42" y="345"/>
                    </a:cubicBezTo>
                    <a:cubicBezTo>
                      <a:pt x="45" y="345"/>
                      <a:pt x="51" y="351"/>
                      <a:pt x="55" y="351"/>
                    </a:cubicBezTo>
                    <a:cubicBezTo>
                      <a:pt x="60" y="351"/>
                      <a:pt x="61" y="354"/>
                      <a:pt x="67" y="360"/>
                    </a:cubicBezTo>
                    <a:cubicBezTo>
                      <a:pt x="72" y="365"/>
                      <a:pt x="81" y="367"/>
                      <a:pt x="83" y="357"/>
                    </a:cubicBezTo>
                    <a:cubicBezTo>
                      <a:pt x="85" y="347"/>
                      <a:pt x="90" y="344"/>
                      <a:pt x="96" y="343"/>
                    </a:cubicBezTo>
                    <a:cubicBezTo>
                      <a:pt x="102" y="342"/>
                      <a:pt x="109" y="339"/>
                      <a:pt x="114" y="334"/>
                    </a:cubicBezTo>
                    <a:cubicBezTo>
                      <a:pt x="119" y="330"/>
                      <a:pt x="127" y="330"/>
                      <a:pt x="130" y="337"/>
                    </a:cubicBezTo>
                    <a:cubicBezTo>
                      <a:pt x="134" y="345"/>
                      <a:pt x="136" y="345"/>
                      <a:pt x="144" y="346"/>
                    </a:cubicBezTo>
                    <a:cubicBezTo>
                      <a:pt x="151" y="346"/>
                      <a:pt x="156" y="347"/>
                      <a:pt x="157" y="351"/>
                    </a:cubicBezTo>
                    <a:cubicBezTo>
                      <a:pt x="157" y="352"/>
                      <a:pt x="158" y="352"/>
                      <a:pt x="158" y="353"/>
                    </a:cubicBezTo>
                    <a:cubicBezTo>
                      <a:pt x="160" y="358"/>
                      <a:pt x="166" y="366"/>
                      <a:pt x="171" y="367"/>
                    </a:cubicBezTo>
                    <a:cubicBezTo>
                      <a:pt x="173" y="364"/>
                      <a:pt x="175" y="359"/>
                      <a:pt x="175" y="351"/>
                    </a:cubicBezTo>
                    <a:cubicBezTo>
                      <a:pt x="175" y="336"/>
                      <a:pt x="180" y="318"/>
                      <a:pt x="172" y="314"/>
                    </a:cubicBezTo>
                    <a:cubicBezTo>
                      <a:pt x="163" y="309"/>
                      <a:pt x="165" y="307"/>
                      <a:pt x="166" y="298"/>
                    </a:cubicBezTo>
                    <a:cubicBezTo>
                      <a:pt x="166" y="288"/>
                      <a:pt x="158" y="268"/>
                      <a:pt x="173" y="269"/>
                    </a:cubicBezTo>
                    <a:cubicBezTo>
                      <a:pt x="188" y="270"/>
                      <a:pt x="245" y="270"/>
                      <a:pt x="260" y="269"/>
                    </a:cubicBezTo>
                    <a:cubicBezTo>
                      <a:pt x="275" y="269"/>
                      <a:pt x="299" y="268"/>
                      <a:pt x="307" y="274"/>
                    </a:cubicBezTo>
                    <a:cubicBezTo>
                      <a:pt x="315" y="281"/>
                      <a:pt x="317" y="280"/>
                      <a:pt x="322" y="273"/>
                    </a:cubicBezTo>
                    <a:cubicBezTo>
                      <a:pt x="326" y="265"/>
                      <a:pt x="337" y="260"/>
                      <a:pt x="343" y="260"/>
                    </a:cubicBezTo>
                    <a:cubicBezTo>
                      <a:pt x="343" y="260"/>
                      <a:pt x="344" y="260"/>
                      <a:pt x="344" y="260"/>
                    </a:cubicBezTo>
                    <a:cubicBezTo>
                      <a:pt x="344" y="260"/>
                      <a:pt x="344" y="260"/>
                      <a:pt x="344" y="260"/>
                    </a:cubicBezTo>
                    <a:cubicBezTo>
                      <a:pt x="345" y="260"/>
                      <a:pt x="345" y="260"/>
                      <a:pt x="346" y="261"/>
                    </a:cubicBezTo>
                    <a:cubicBezTo>
                      <a:pt x="346" y="261"/>
                      <a:pt x="346" y="261"/>
                      <a:pt x="346" y="261"/>
                    </a:cubicBezTo>
                    <a:cubicBezTo>
                      <a:pt x="346" y="261"/>
                      <a:pt x="346" y="261"/>
                      <a:pt x="347" y="262"/>
                    </a:cubicBezTo>
                    <a:cubicBezTo>
                      <a:pt x="347" y="262"/>
                      <a:pt x="347" y="262"/>
                      <a:pt x="347" y="262"/>
                    </a:cubicBezTo>
                    <a:cubicBezTo>
                      <a:pt x="347" y="262"/>
                      <a:pt x="348" y="262"/>
                      <a:pt x="348" y="263"/>
                    </a:cubicBezTo>
                    <a:cubicBezTo>
                      <a:pt x="349" y="264"/>
                      <a:pt x="350" y="266"/>
                      <a:pt x="352" y="267"/>
                    </a:cubicBezTo>
                    <a:cubicBezTo>
                      <a:pt x="352" y="267"/>
                      <a:pt x="352" y="267"/>
                      <a:pt x="352" y="267"/>
                    </a:cubicBezTo>
                    <a:cubicBezTo>
                      <a:pt x="353" y="267"/>
                      <a:pt x="353" y="268"/>
                      <a:pt x="354" y="268"/>
                    </a:cubicBezTo>
                    <a:cubicBezTo>
                      <a:pt x="354" y="268"/>
                      <a:pt x="354" y="268"/>
                      <a:pt x="354" y="268"/>
                    </a:cubicBezTo>
                    <a:cubicBezTo>
                      <a:pt x="354" y="268"/>
                      <a:pt x="354" y="269"/>
                      <a:pt x="355" y="269"/>
                    </a:cubicBezTo>
                    <a:cubicBezTo>
                      <a:pt x="355" y="269"/>
                      <a:pt x="355" y="269"/>
                      <a:pt x="355" y="269"/>
                    </a:cubicBezTo>
                    <a:cubicBezTo>
                      <a:pt x="355" y="269"/>
                      <a:pt x="356" y="269"/>
                      <a:pt x="356" y="269"/>
                    </a:cubicBezTo>
                    <a:cubicBezTo>
                      <a:pt x="356" y="269"/>
                      <a:pt x="356" y="269"/>
                      <a:pt x="356" y="269"/>
                    </a:cubicBezTo>
                    <a:cubicBezTo>
                      <a:pt x="356" y="269"/>
                      <a:pt x="357" y="269"/>
                      <a:pt x="357" y="270"/>
                    </a:cubicBezTo>
                    <a:cubicBezTo>
                      <a:pt x="357" y="270"/>
                      <a:pt x="357" y="270"/>
                      <a:pt x="358" y="270"/>
                    </a:cubicBezTo>
                    <a:cubicBezTo>
                      <a:pt x="358" y="270"/>
                      <a:pt x="359" y="270"/>
                      <a:pt x="359" y="270"/>
                    </a:cubicBezTo>
                    <a:cubicBezTo>
                      <a:pt x="368" y="270"/>
                      <a:pt x="375" y="270"/>
                      <a:pt x="389" y="270"/>
                    </a:cubicBezTo>
                    <a:cubicBezTo>
                      <a:pt x="391" y="270"/>
                      <a:pt x="393" y="270"/>
                      <a:pt x="395" y="271"/>
                    </a:cubicBezTo>
                    <a:cubicBezTo>
                      <a:pt x="395" y="271"/>
                      <a:pt x="395" y="271"/>
                      <a:pt x="395" y="271"/>
                    </a:cubicBezTo>
                    <a:cubicBezTo>
                      <a:pt x="397" y="271"/>
                      <a:pt x="398" y="271"/>
                      <a:pt x="400" y="271"/>
                    </a:cubicBezTo>
                    <a:cubicBezTo>
                      <a:pt x="401" y="271"/>
                      <a:pt x="403" y="271"/>
                      <a:pt x="404" y="272"/>
                    </a:cubicBezTo>
                    <a:cubicBezTo>
                      <a:pt x="404" y="272"/>
                      <a:pt x="405" y="272"/>
                      <a:pt x="405" y="272"/>
                    </a:cubicBezTo>
                    <a:cubicBezTo>
                      <a:pt x="406" y="272"/>
                      <a:pt x="407" y="272"/>
                      <a:pt x="409" y="272"/>
                    </a:cubicBezTo>
                    <a:cubicBezTo>
                      <a:pt x="410" y="272"/>
                      <a:pt x="411" y="271"/>
                      <a:pt x="412" y="271"/>
                    </a:cubicBezTo>
                    <a:cubicBezTo>
                      <a:pt x="412" y="271"/>
                      <a:pt x="412" y="271"/>
                      <a:pt x="412" y="271"/>
                    </a:cubicBezTo>
                    <a:cubicBezTo>
                      <a:pt x="413" y="271"/>
                      <a:pt x="414" y="271"/>
                      <a:pt x="415" y="270"/>
                    </a:cubicBezTo>
                    <a:cubicBezTo>
                      <a:pt x="415" y="270"/>
                      <a:pt x="415" y="270"/>
                      <a:pt x="415" y="270"/>
                    </a:cubicBezTo>
                    <a:cubicBezTo>
                      <a:pt x="416" y="270"/>
                      <a:pt x="417" y="269"/>
                      <a:pt x="418" y="269"/>
                    </a:cubicBezTo>
                    <a:cubicBezTo>
                      <a:pt x="418" y="269"/>
                      <a:pt x="418" y="269"/>
                      <a:pt x="418" y="268"/>
                    </a:cubicBezTo>
                    <a:cubicBezTo>
                      <a:pt x="419" y="268"/>
                      <a:pt x="420" y="267"/>
                      <a:pt x="421" y="266"/>
                    </a:cubicBezTo>
                    <a:cubicBezTo>
                      <a:pt x="431" y="258"/>
                      <a:pt x="433" y="243"/>
                      <a:pt x="449" y="243"/>
                    </a:cubicBezTo>
                    <a:cubicBezTo>
                      <a:pt x="465" y="243"/>
                      <a:pt x="478" y="247"/>
                      <a:pt x="484" y="240"/>
                    </a:cubicBezTo>
                    <a:cubicBezTo>
                      <a:pt x="491" y="233"/>
                      <a:pt x="502" y="230"/>
                      <a:pt x="502" y="222"/>
                    </a:cubicBezTo>
                    <a:cubicBezTo>
                      <a:pt x="502" y="221"/>
                      <a:pt x="502" y="220"/>
                      <a:pt x="502" y="220"/>
                    </a:cubicBezTo>
                    <a:cubicBezTo>
                      <a:pt x="502" y="220"/>
                      <a:pt x="502" y="219"/>
                      <a:pt x="502" y="219"/>
                    </a:cubicBezTo>
                    <a:cubicBezTo>
                      <a:pt x="502" y="219"/>
                      <a:pt x="502" y="218"/>
                      <a:pt x="502" y="218"/>
                    </a:cubicBezTo>
                    <a:cubicBezTo>
                      <a:pt x="502" y="218"/>
                      <a:pt x="502" y="217"/>
                      <a:pt x="502" y="217"/>
                    </a:cubicBezTo>
                    <a:cubicBezTo>
                      <a:pt x="502" y="217"/>
                      <a:pt x="502" y="216"/>
                      <a:pt x="502" y="216"/>
                    </a:cubicBezTo>
                    <a:cubicBezTo>
                      <a:pt x="502" y="213"/>
                      <a:pt x="501" y="211"/>
                      <a:pt x="501" y="208"/>
                    </a:cubicBezTo>
                    <a:cubicBezTo>
                      <a:pt x="501" y="208"/>
                      <a:pt x="501" y="208"/>
                      <a:pt x="501" y="208"/>
                    </a:cubicBezTo>
                    <a:cubicBezTo>
                      <a:pt x="501" y="207"/>
                      <a:pt x="501" y="207"/>
                      <a:pt x="502" y="206"/>
                    </a:cubicBezTo>
                    <a:cubicBezTo>
                      <a:pt x="502" y="206"/>
                      <a:pt x="502" y="206"/>
                      <a:pt x="502" y="206"/>
                    </a:cubicBezTo>
                    <a:cubicBezTo>
                      <a:pt x="502" y="205"/>
                      <a:pt x="502" y="204"/>
                      <a:pt x="502" y="204"/>
                    </a:cubicBezTo>
                    <a:cubicBezTo>
                      <a:pt x="502" y="204"/>
                      <a:pt x="502" y="204"/>
                      <a:pt x="502" y="204"/>
                    </a:cubicBezTo>
                    <a:cubicBezTo>
                      <a:pt x="499" y="202"/>
                      <a:pt x="497" y="201"/>
                      <a:pt x="495" y="200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49" name="Freeform 403">
                <a:extLst>
                  <a:ext uri="{FF2B5EF4-FFF2-40B4-BE49-F238E27FC236}">
                    <a16:creationId xmlns:a16="http://schemas.microsoft.com/office/drawing/2014/main" id="{6B5F0749-9F1F-BD46-AB5B-D66D70C7A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9" y="2193"/>
                <a:ext cx="257" cy="194"/>
              </a:xfrm>
              <a:custGeom>
                <a:avLst/>
                <a:gdLst>
                  <a:gd name="T0" fmla="*/ 860 w 1017"/>
                  <a:gd name="T1" fmla="*/ 638 h 767"/>
                  <a:gd name="T2" fmla="*/ 862 w 1017"/>
                  <a:gd name="T3" fmla="*/ 632 h 767"/>
                  <a:gd name="T4" fmla="*/ 860 w 1017"/>
                  <a:gd name="T5" fmla="*/ 606 h 767"/>
                  <a:gd name="T6" fmla="*/ 969 w 1017"/>
                  <a:gd name="T7" fmla="*/ 457 h 767"/>
                  <a:gd name="T8" fmla="*/ 996 w 1017"/>
                  <a:gd name="T9" fmla="*/ 268 h 767"/>
                  <a:gd name="T10" fmla="*/ 1007 w 1017"/>
                  <a:gd name="T11" fmla="*/ 194 h 767"/>
                  <a:gd name="T12" fmla="*/ 965 w 1017"/>
                  <a:gd name="T13" fmla="*/ 117 h 767"/>
                  <a:gd name="T14" fmla="*/ 957 w 1017"/>
                  <a:gd name="T15" fmla="*/ 30 h 767"/>
                  <a:gd name="T16" fmla="*/ 954 w 1017"/>
                  <a:gd name="T17" fmla="*/ 33 h 767"/>
                  <a:gd name="T18" fmla="*/ 951 w 1017"/>
                  <a:gd name="T19" fmla="*/ 35 h 767"/>
                  <a:gd name="T20" fmla="*/ 948 w 1017"/>
                  <a:gd name="T21" fmla="*/ 37 h 767"/>
                  <a:gd name="T22" fmla="*/ 944 w 1017"/>
                  <a:gd name="T23" fmla="*/ 39 h 767"/>
                  <a:gd name="T24" fmla="*/ 936 w 1017"/>
                  <a:gd name="T25" fmla="*/ 42 h 767"/>
                  <a:gd name="T26" fmla="*/ 818 w 1017"/>
                  <a:gd name="T27" fmla="*/ 14 h 767"/>
                  <a:gd name="T28" fmla="*/ 765 w 1017"/>
                  <a:gd name="T29" fmla="*/ 1 h 767"/>
                  <a:gd name="T30" fmla="*/ 563 w 1017"/>
                  <a:gd name="T31" fmla="*/ 118 h 767"/>
                  <a:gd name="T32" fmla="*/ 554 w 1017"/>
                  <a:gd name="T33" fmla="*/ 124 h 767"/>
                  <a:gd name="T34" fmla="*/ 544 w 1017"/>
                  <a:gd name="T35" fmla="*/ 130 h 767"/>
                  <a:gd name="T36" fmla="*/ 537 w 1017"/>
                  <a:gd name="T37" fmla="*/ 135 h 767"/>
                  <a:gd name="T38" fmla="*/ 529 w 1017"/>
                  <a:gd name="T39" fmla="*/ 139 h 767"/>
                  <a:gd name="T40" fmla="*/ 304 w 1017"/>
                  <a:gd name="T41" fmla="*/ 278 h 767"/>
                  <a:gd name="T42" fmla="*/ 299 w 1017"/>
                  <a:gd name="T43" fmla="*/ 278 h 767"/>
                  <a:gd name="T44" fmla="*/ 293 w 1017"/>
                  <a:gd name="T45" fmla="*/ 280 h 767"/>
                  <a:gd name="T46" fmla="*/ 290 w 1017"/>
                  <a:gd name="T47" fmla="*/ 281 h 767"/>
                  <a:gd name="T48" fmla="*/ 285 w 1017"/>
                  <a:gd name="T49" fmla="*/ 282 h 767"/>
                  <a:gd name="T50" fmla="*/ 278 w 1017"/>
                  <a:gd name="T51" fmla="*/ 286 h 767"/>
                  <a:gd name="T52" fmla="*/ 274 w 1017"/>
                  <a:gd name="T53" fmla="*/ 287 h 767"/>
                  <a:gd name="T54" fmla="*/ 261 w 1017"/>
                  <a:gd name="T55" fmla="*/ 471 h 767"/>
                  <a:gd name="T56" fmla="*/ 147 w 1017"/>
                  <a:gd name="T57" fmla="*/ 536 h 767"/>
                  <a:gd name="T58" fmla="*/ 28 w 1017"/>
                  <a:gd name="T59" fmla="*/ 563 h 767"/>
                  <a:gd name="T60" fmla="*/ 14 w 1017"/>
                  <a:gd name="T61" fmla="*/ 563 h 767"/>
                  <a:gd name="T62" fmla="*/ 22 w 1017"/>
                  <a:gd name="T63" fmla="*/ 623 h 767"/>
                  <a:gd name="T64" fmla="*/ 73 w 1017"/>
                  <a:gd name="T65" fmla="*/ 670 h 767"/>
                  <a:gd name="T66" fmla="*/ 101 w 1017"/>
                  <a:gd name="T67" fmla="*/ 717 h 767"/>
                  <a:gd name="T68" fmla="*/ 138 w 1017"/>
                  <a:gd name="T69" fmla="*/ 730 h 767"/>
                  <a:gd name="T70" fmla="*/ 148 w 1017"/>
                  <a:gd name="T71" fmla="*/ 753 h 767"/>
                  <a:gd name="T72" fmla="*/ 149 w 1017"/>
                  <a:gd name="T73" fmla="*/ 750 h 767"/>
                  <a:gd name="T74" fmla="*/ 151 w 1017"/>
                  <a:gd name="T75" fmla="*/ 748 h 767"/>
                  <a:gd name="T76" fmla="*/ 186 w 1017"/>
                  <a:gd name="T77" fmla="*/ 733 h 767"/>
                  <a:gd name="T78" fmla="*/ 225 w 1017"/>
                  <a:gd name="T79" fmla="*/ 767 h 767"/>
                  <a:gd name="T80" fmla="*/ 229 w 1017"/>
                  <a:gd name="T81" fmla="*/ 767 h 767"/>
                  <a:gd name="T82" fmla="*/ 244 w 1017"/>
                  <a:gd name="T83" fmla="*/ 715 h 767"/>
                  <a:gd name="T84" fmla="*/ 298 w 1017"/>
                  <a:gd name="T85" fmla="*/ 642 h 767"/>
                  <a:gd name="T86" fmla="*/ 368 w 1017"/>
                  <a:gd name="T87" fmla="*/ 640 h 767"/>
                  <a:gd name="T88" fmla="*/ 419 w 1017"/>
                  <a:gd name="T89" fmla="*/ 663 h 767"/>
                  <a:gd name="T90" fmla="*/ 472 w 1017"/>
                  <a:gd name="T91" fmla="*/ 685 h 767"/>
                  <a:gd name="T92" fmla="*/ 544 w 1017"/>
                  <a:gd name="T93" fmla="*/ 691 h 767"/>
                  <a:gd name="T94" fmla="*/ 639 w 1017"/>
                  <a:gd name="T95" fmla="*/ 682 h 767"/>
                  <a:gd name="T96" fmla="*/ 766 w 1017"/>
                  <a:gd name="T97" fmla="*/ 682 h 767"/>
                  <a:gd name="T98" fmla="*/ 850 w 1017"/>
                  <a:gd name="T99" fmla="*/ 649 h 7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17" h="767">
                    <a:moveTo>
                      <a:pt x="859" y="641"/>
                    </a:moveTo>
                    <a:cubicBezTo>
                      <a:pt x="859" y="640"/>
                      <a:pt x="860" y="639"/>
                      <a:pt x="860" y="638"/>
                    </a:cubicBezTo>
                    <a:cubicBezTo>
                      <a:pt x="860" y="638"/>
                      <a:pt x="860" y="638"/>
                      <a:pt x="860" y="638"/>
                    </a:cubicBezTo>
                    <a:cubicBezTo>
                      <a:pt x="861" y="637"/>
                      <a:pt x="861" y="637"/>
                      <a:pt x="861" y="636"/>
                    </a:cubicBezTo>
                    <a:cubicBezTo>
                      <a:pt x="861" y="635"/>
                      <a:pt x="861" y="635"/>
                      <a:pt x="861" y="635"/>
                    </a:cubicBezTo>
                    <a:cubicBezTo>
                      <a:pt x="862" y="634"/>
                      <a:pt x="862" y="633"/>
                      <a:pt x="862" y="632"/>
                    </a:cubicBezTo>
                    <a:cubicBezTo>
                      <a:pt x="862" y="632"/>
                      <a:pt x="862" y="632"/>
                      <a:pt x="862" y="632"/>
                    </a:cubicBezTo>
                    <a:cubicBezTo>
                      <a:pt x="862" y="631"/>
                      <a:pt x="862" y="629"/>
                      <a:pt x="862" y="628"/>
                    </a:cubicBezTo>
                    <a:cubicBezTo>
                      <a:pt x="862" y="617"/>
                      <a:pt x="864" y="612"/>
                      <a:pt x="860" y="606"/>
                    </a:cubicBezTo>
                    <a:cubicBezTo>
                      <a:pt x="856" y="601"/>
                      <a:pt x="849" y="596"/>
                      <a:pt x="858" y="592"/>
                    </a:cubicBezTo>
                    <a:cubicBezTo>
                      <a:pt x="868" y="587"/>
                      <a:pt x="878" y="562"/>
                      <a:pt x="886" y="552"/>
                    </a:cubicBezTo>
                    <a:cubicBezTo>
                      <a:pt x="894" y="541"/>
                      <a:pt x="952" y="470"/>
                      <a:pt x="969" y="457"/>
                    </a:cubicBezTo>
                    <a:cubicBezTo>
                      <a:pt x="986" y="444"/>
                      <a:pt x="985" y="430"/>
                      <a:pt x="985" y="410"/>
                    </a:cubicBezTo>
                    <a:cubicBezTo>
                      <a:pt x="985" y="391"/>
                      <a:pt x="993" y="372"/>
                      <a:pt x="993" y="355"/>
                    </a:cubicBezTo>
                    <a:cubicBezTo>
                      <a:pt x="993" y="337"/>
                      <a:pt x="994" y="280"/>
                      <a:pt x="996" y="268"/>
                    </a:cubicBezTo>
                    <a:cubicBezTo>
                      <a:pt x="998" y="257"/>
                      <a:pt x="998" y="244"/>
                      <a:pt x="1003" y="237"/>
                    </a:cubicBezTo>
                    <a:cubicBezTo>
                      <a:pt x="1008" y="230"/>
                      <a:pt x="1015" y="224"/>
                      <a:pt x="1015" y="215"/>
                    </a:cubicBezTo>
                    <a:cubicBezTo>
                      <a:pt x="1014" y="205"/>
                      <a:pt x="1017" y="199"/>
                      <a:pt x="1007" y="194"/>
                    </a:cubicBezTo>
                    <a:cubicBezTo>
                      <a:pt x="998" y="189"/>
                      <a:pt x="990" y="188"/>
                      <a:pt x="990" y="176"/>
                    </a:cubicBezTo>
                    <a:cubicBezTo>
                      <a:pt x="990" y="164"/>
                      <a:pt x="985" y="150"/>
                      <a:pt x="979" y="144"/>
                    </a:cubicBezTo>
                    <a:cubicBezTo>
                      <a:pt x="974" y="137"/>
                      <a:pt x="966" y="128"/>
                      <a:pt x="965" y="117"/>
                    </a:cubicBezTo>
                    <a:cubicBezTo>
                      <a:pt x="964" y="107"/>
                      <a:pt x="970" y="96"/>
                      <a:pt x="964" y="86"/>
                    </a:cubicBezTo>
                    <a:cubicBezTo>
                      <a:pt x="959" y="76"/>
                      <a:pt x="959" y="62"/>
                      <a:pt x="959" y="51"/>
                    </a:cubicBezTo>
                    <a:cubicBezTo>
                      <a:pt x="959" y="46"/>
                      <a:pt x="958" y="37"/>
                      <a:pt x="957" y="30"/>
                    </a:cubicBezTo>
                    <a:cubicBezTo>
                      <a:pt x="957" y="30"/>
                      <a:pt x="956" y="31"/>
                      <a:pt x="956" y="31"/>
                    </a:cubicBezTo>
                    <a:cubicBezTo>
                      <a:pt x="956" y="31"/>
                      <a:pt x="955" y="31"/>
                      <a:pt x="955" y="32"/>
                    </a:cubicBezTo>
                    <a:cubicBezTo>
                      <a:pt x="955" y="32"/>
                      <a:pt x="955" y="32"/>
                      <a:pt x="954" y="33"/>
                    </a:cubicBezTo>
                    <a:cubicBezTo>
                      <a:pt x="954" y="33"/>
                      <a:pt x="954" y="33"/>
                      <a:pt x="953" y="33"/>
                    </a:cubicBezTo>
                    <a:cubicBezTo>
                      <a:pt x="953" y="34"/>
                      <a:pt x="953" y="34"/>
                      <a:pt x="952" y="34"/>
                    </a:cubicBezTo>
                    <a:cubicBezTo>
                      <a:pt x="952" y="34"/>
                      <a:pt x="952" y="35"/>
                      <a:pt x="951" y="35"/>
                    </a:cubicBezTo>
                    <a:cubicBezTo>
                      <a:pt x="951" y="35"/>
                      <a:pt x="951" y="35"/>
                      <a:pt x="950" y="36"/>
                    </a:cubicBezTo>
                    <a:cubicBezTo>
                      <a:pt x="950" y="36"/>
                      <a:pt x="950" y="36"/>
                      <a:pt x="949" y="36"/>
                    </a:cubicBezTo>
                    <a:cubicBezTo>
                      <a:pt x="949" y="37"/>
                      <a:pt x="948" y="37"/>
                      <a:pt x="948" y="37"/>
                    </a:cubicBezTo>
                    <a:cubicBezTo>
                      <a:pt x="947" y="37"/>
                      <a:pt x="947" y="37"/>
                      <a:pt x="947" y="38"/>
                    </a:cubicBezTo>
                    <a:cubicBezTo>
                      <a:pt x="946" y="38"/>
                      <a:pt x="945" y="38"/>
                      <a:pt x="945" y="39"/>
                    </a:cubicBezTo>
                    <a:cubicBezTo>
                      <a:pt x="944" y="39"/>
                      <a:pt x="944" y="39"/>
                      <a:pt x="944" y="39"/>
                    </a:cubicBezTo>
                    <a:cubicBezTo>
                      <a:pt x="943" y="39"/>
                      <a:pt x="942" y="40"/>
                      <a:pt x="941" y="40"/>
                    </a:cubicBezTo>
                    <a:cubicBezTo>
                      <a:pt x="941" y="40"/>
                      <a:pt x="940" y="40"/>
                      <a:pt x="940" y="40"/>
                    </a:cubicBezTo>
                    <a:cubicBezTo>
                      <a:pt x="939" y="41"/>
                      <a:pt x="937" y="41"/>
                      <a:pt x="936" y="42"/>
                    </a:cubicBezTo>
                    <a:cubicBezTo>
                      <a:pt x="912" y="48"/>
                      <a:pt x="917" y="59"/>
                      <a:pt x="905" y="58"/>
                    </a:cubicBezTo>
                    <a:cubicBezTo>
                      <a:pt x="893" y="56"/>
                      <a:pt x="884" y="42"/>
                      <a:pt x="872" y="27"/>
                    </a:cubicBezTo>
                    <a:cubicBezTo>
                      <a:pt x="860" y="12"/>
                      <a:pt x="830" y="19"/>
                      <a:pt x="818" y="14"/>
                    </a:cubicBezTo>
                    <a:cubicBezTo>
                      <a:pt x="806" y="8"/>
                      <a:pt x="800" y="0"/>
                      <a:pt x="769" y="0"/>
                    </a:cubicBezTo>
                    <a:cubicBezTo>
                      <a:pt x="768" y="0"/>
                      <a:pt x="767" y="1"/>
                      <a:pt x="766" y="1"/>
                    </a:cubicBezTo>
                    <a:cubicBezTo>
                      <a:pt x="766" y="1"/>
                      <a:pt x="766" y="1"/>
                      <a:pt x="765" y="1"/>
                    </a:cubicBezTo>
                    <a:cubicBezTo>
                      <a:pt x="735" y="7"/>
                      <a:pt x="631" y="75"/>
                      <a:pt x="570" y="114"/>
                    </a:cubicBezTo>
                    <a:cubicBezTo>
                      <a:pt x="569" y="114"/>
                      <a:pt x="569" y="115"/>
                      <a:pt x="569" y="115"/>
                    </a:cubicBezTo>
                    <a:cubicBezTo>
                      <a:pt x="567" y="116"/>
                      <a:pt x="565" y="117"/>
                      <a:pt x="563" y="118"/>
                    </a:cubicBezTo>
                    <a:cubicBezTo>
                      <a:pt x="562" y="119"/>
                      <a:pt x="562" y="119"/>
                      <a:pt x="561" y="120"/>
                    </a:cubicBezTo>
                    <a:cubicBezTo>
                      <a:pt x="559" y="121"/>
                      <a:pt x="558" y="122"/>
                      <a:pt x="557" y="122"/>
                    </a:cubicBezTo>
                    <a:cubicBezTo>
                      <a:pt x="556" y="123"/>
                      <a:pt x="555" y="124"/>
                      <a:pt x="554" y="124"/>
                    </a:cubicBezTo>
                    <a:cubicBezTo>
                      <a:pt x="553" y="125"/>
                      <a:pt x="551" y="126"/>
                      <a:pt x="550" y="126"/>
                    </a:cubicBezTo>
                    <a:cubicBezTo>
                      <a:pt x="549" y="127"/>
                      <a:pt x="548" y="128"/>
                      <a:pt x="548" y="128"/>
                    </a:cubicBezTo>
                    <a:cubicBezTo>
                      <a:pt x="547" y="129"/>
                      <a:pt x="545" y="129"/>
                      <a:pt x="544" y="130"/>
                    </a:cubicBezTo>
                    <a:cubicBezTo>
                      <a:pt x="544" y="131"/>
                      <a:pt x="543" y="131"/>
                      <a:pt x="542" y="132"/>
                    </a:cubicBezTo>
                    <a:cubicBezTo>
                      <a:pt x="541" y="132"/>
                      <a:pt x="540" y="133"/>
                      <a:pt x="539" y="133"/>
                    </a:cubicBezTo>
                    <a:cubicBezTo>
                      <a:pt x="538" y="134"/>
                      <a:pt x="538" y="134"/>
                      <a:pt x="537" y="135"/>
                    </a:cubicBezTo>
                    <a:cubicBezTo>
                      <a:pt x="536" y="135"/>
                      <a:pt x="535" y="136"/>
                      <a:pt x="534" y="136"/>
                    </a:cubicBezTo>
                    <a:cubicBezTo>
                      <a:pt x="534" y="137"/>
                      <a:pt x="533" y="137"/>
                      <a:pt x="533" y="137"/>
                    </a:cubicBezTo>
                    <a:cubicBezTo>
                      <a:pt x="531" y="138"/>
                      <a:pt x="530" y="139"/>
                      <a:pt x="529" y="139"/>
                    </a:cubicBezTo>
                    <a:cubicBezTo>
                      <a:pt x="494" y="158"/>
                      <a:pt x="392" y="243"/>
                      <a:pt x="373" y="259"/>
                    </a:cubicBezTo>
                    <a:cubicBezTo>
                      <a:pt x="354" y="275"/>
                      <a:pt x="332" y="278"/>
                      <a:pt x="308" y="278"/>
                    </a:cubicBezTo>
                    <a:cubicBezTo>
                      <a:pt x="306" y="278"/>
                      <a:pt x="305" y="278"/>
                      <a:pt x="304" y="278"/>
                    </a:cubicBezTo>
                    <a:cubicBezTo>
                      <a:pt x="303" y="278"/>
                      <a:pt x="303" y="278"/>
                      <a:pt x="302" y="278"/>
                    </a:cubicBezTo>
                    <a:cubicBezTo>
                      <a:pt x="302" y="278"/>
                      <a:pt x="301" y="278"/>
                      <a:pt x="300" y="278"/>
                    </a:cubicBezTo>
                    <a:cubicBezTo>
                      <a:pt x="299" y="278"/>
                      <a:pt x="299" y="278"/>
                      <a:pt x="299" y="278"/>
                    </a:cubicBezTo>
                    <a:cubicBezTo>
                      <a:pt x="298" y="279"/>
                      <a:pt x="297" y="279"/>
                      <a:pt x="297" y="279"/>
                    </a:cubicBezTo>
                    <a:cubicBezTo>
                      <a:pt x="296" y="279"/>
                      <a:pt x="296" y="279"/>
                      <a:pt x="295" y="279"/>
                    </a:cubicBezTo>
                    <a:cubicBezTo>
                      <a:pt x="295" y="279"/>
                      <a:pt x="294" y="279"/>
                      <a:pt x="293" y="280"/>
                    </a:cubicBezTo>
                    <a:cubicBezTo>
                      <a:pt x="293" y="280"/>
                      <a:pt x="293" y="280"/>
                      <a:pt x="292" y="280"/>
                    </a:cubicBezTo>
                    <a:cubicBezTo>
                      <a:pt x="292" y="280"/>
                      <a:pt x="291" y="280"/>
                      <a:pt x="291" y="280"/>
                    </a:cubicBezTo>
                    <a:cubicBezTo>
                      <a:pt x="290" y="280"/>
                      <a:pt x="290" y="281"/>
                      <a:pt x="290" y="281"/>
                    </a:cubicBezTo>
                    <a:cubicBezTo>
                      <a:pt x="289" y="281"/>
                      <a:pt x="289" y="281"/>
                      <a:pt x="288" y="281"/>
                    </a:cubicBezTo>
                    <a:cubicBezTo>
                      <a:pt x="288" y="281"/>
                      <a:pt x="288" y="281"/>
                      <a:pt x="287" y="282"/>
                    </a:cubicBezTo>
                    <a:cubicBezTo>
                      <a:pt x="287" y="282"/>
                      <a:pt x="286" y="282"/>
                      <a:pt x="285" y="282"/>
                    </a:cubicBezTo>
                    <a:cubicBezTo>
                      <a:pt x="285" y="282"/>
                      <a:pt x="285" y="282"/>
                      <a:pt x="285" y="282"/>
                    </a:cubicBezTo>
                    <a:cubicBezTo>
                      <a:pt x="283" y="284"/>
                      <a:pt x="281" y="285"/>
                      <a:pt x="278" y="285"/>
                    </a:cubicBezTo>
                    <a:cubicBezTo>
                      <a:pt x="278" y="286"/>
                      <a:pt x="278" y="286"/>
                      <a:pt x="278" y="286"/>
                    </a:cubicBezTo>
                    <a:cubicBezTo>
                      <a:pt x="278" y="286"/>
                      <a:pt x="277" y="286"/>
                      <a:pt x="276" y="286"/>
                    </a:cubicBezTo>
                    <a:cubicBezTo>
                      <a:pt x="276" y="286"/>
                      <a:pt x="276" y="286"/>
                      <a:pt x="276" y="286"/>
                    </a:cubicBezTo>
                    <a:cubicBezTo>
                      <a:pt x="276" y="286"/>
                      <a:pt x="275" y="287"/>
                      <a:pt x="274" y="287"/>
                    </a:cubicBezTo>
                    <a:cubicBezTo>
                      <a:pt x="274" y="287"/>
                      <a:pt x="274" y="287"/>
                      <a:pt x="274" y="287"/>
                    </a:cubicBezTo>
                    <a:cubicBezTo>
                      <a:pt x="272" y="287"/>
                      <a:pt x="270" y="288"/>
                      <a:pt x="267" y="287"/>
                    </a:cubicBezTo>
                    <a:cubicBezTo>
                      <a:pt x="267" y="326"/>
                      <a:pt x="266" y="462"/>
                      <a:pt x="261" y="471"/>
                    </a:cubicBezTo>
                    <a:cubicBezTo>
                      <a:pt x="255" y="482"/>
                      <a:pt x="256" y="484"/>
                      <a:pt x="253" y="500"/>
                    </a:cubicBezTo>
                    <a:cubicBezTo>
                      <a:pt x="250" y="515"/>
                      <a:pt x="230" y="523"/>
                      <a:pt x="224" y="530"/>
                    </a:cubicBezTo>
                    <a:cubicBezTo>
                      <a:pt x="217" y="538"/>
                      <a:pt x="168" y="536"/>
                      <a:pt x="147" y="536"/>
                    </a:cubicBezTo>
                    <a:cubicBezTo>
                      <a:pt x="126" y="536"/>
                      <a:pt x="114" y="538"/>
                      <a:pt x="98" y="538"/>
                    </a:cubicBezTo>
                    <a:cubicBezTo>
                      <a:pt x="82" y="538"/>
                      <a:pt x="71" y="548"/>
                      <a:pt x="66" y="557"/>
                    </a:cubicBezTo>
                    <a:cubicBezTo>
                      <a:pt x="60" y="566"/>
                      <a:pt x="44" y="562"/>
                      <a:pt x="28" y="563"/>
                    </a:cubicBezTo>
                    <a:cubicBezTo>
                      <a:pt x="26" y="563"/>
                      <a:pt x="24" y="563"/>
                      <a:pt x="21" y="563"/>
                    </a:cubicBezTo>
                    <a:cubicBezTo>
                      <a:pt x="21" y="563"/>
                      <a:pt x="21" y="563"/>
                      <a:pt x="20" y="563"/>
                    </a:cubicBezTo>
                    <a:cubicBezTo>
                      <a:pt x="18" y="563"/>
                      <a:pt x="16" y="563"/>
                      <a:pt x="14" y="563"/>
                    </a:cubicBezTo>
                    <a:cubicBezTo>
                      <a:pt x="14" y="567"/>
                      <a:pt x="14" y="572"/>
                      <a:pt x="13" y="575"/>
                    </a:cubicBezTo>
                    <a:cubicBezTo>
                      <a:pt x="10" y="584"/>
                      <a:pt x="0" y="594"/>
                      <a:pt x="11" y="599"/>
                    </a:cubicBezTo>
                    <a:cubicBezTo>
                      <a:pt x="22" y="604"/>
                      <a:pt x="22" y="616"/>
                      <a:pt x="22" y="623"/>
                    </a:cubicBezTo>
                    <a:cubicBezTo>
                      <a:pt x="23" y="630"/>
                      <a:pt x="28" y="638"/>
                      <a:pt x="39" y="642"/>
                    </a:cubicBezTo>
                    <a:cubicBezTo>
                      <a:pt x="50" y="646"/>
                      <a:pt x="48" y="652"/>
                      <a:pt x="60" y="656"/>
                    </a:cubicBezTo>
                    <a:cubicBezTo>
                      <a:pt x="72" y="660"/>
                      <a:pt x="77" y="667"/>
                      <a:pt x="73" y="670"/>
                    </a:cubicBezTo>
                    <a:cubicBezTo>
                      <a:pt x="69" y="672"/>
                      <a:pt x="58" y="679"/>
                      <a:pt x="63" y="686"/>
                    </a:cubicBezTo>
                    <a:cubicBezTo>
                      <a:pt x="68" y="694"/>
                      <a:pt x="74" y="691"/>
                      <a:pt x="81" y="701"/>
                    </a:cubicBezTo>
                    <a:cubicBezTo>
                      <a:pt x="88" y="711"/>
                      <a:pt x="92" y="714"/>
                      <a:pt x="101" y="717"/>
                    </a:cubicBezTo>
                    <a:cubicBezTo>
                      <a:pt x="110" y="720"/>
                      <a:pt x="113" y="723"/>
                      <a:pt x="116" y="714"/>
                    </a:cubicBezTo>
                    <a:cubicBezTo>
                      <a:pt x="120" y="704"/>
                      <a:pt x="129" y="712"/>
                      <a:pt x="133" y="715"/>
                    </a:cubicBezTo>
                    <a:cubicBezTo>
                      <a:pt x="137" y="718"/>
                      <a:pt x="139" y="724"/>
                      <a:pt x="138" y="730"/>
                    </a:cubicBezTo>
                    <a:cubicBezTo>
                      <a:pt x="136" y="736"/>
                      <a:pt x="136" y="746"/>
                      <a:pt x="141" y="749"/>
                    </a:cubicBezTo>
                    <a:cubicBezTo>
                      <a:pt x="143" y="750"/>
                      <a:pt x="145" y="751"/>
                      <a:pt x="148" y="753"/>
                    </a:cubicBezTo>
                    <a:cubicBezTo>
                      <a:pt x="148" y="753"/>
                      <a:pt x="148" y="753"/>
                      <a:pt x="148" y="753"/>
                    </a:cubicBezTo>
                    <a:cubicBezTo>
                      <a:pt x="148" y="752"/>
                      <a:pt x="148" y="752"/>
                      <a:pt x="148" y="751"/>
                    </a:cubicBezTo>
                    <a:cubicBezTo>
                      <a:pt x="149" y="751"/>
                      <a:pt x="149" y="751"/>
                      <a:pt x="149" y="751"/>
                    </a:cubicBezTo>
                    <a:cubicBezTo>
                      <a:pt x="149" y="750"/>
                      <a:pt x="149" y="750"/>
                      <a:pt x="149" y="750"/>
                    </a:cubicBezTo>
                    <a:cubicBezTo>
                      <a:pt x="149" y="749"/>
                      <a:pt x="149" y="749"/>
                      <a:pt x="150" y="749"/>
                    </a:cubicBezTo>
                    <a:cubicBezTo>
                      <a:pt x="150" y="749"/>
                      <a:pt x="150" y="748"/>
                      <a:pt x="150" y="748"/>
                    </a:cubicBezTo>
                    <a:cubicBezTo>
                      <a:pt x="150" y="748"/>
                      <a:pt x="151" y="748"/>
                      <a:pt x="151" y="748"/>
                    </a:cubicBezTo>
                    <a:cubicBezTo>
                      <a:pt x="151" y="747"/>
                      <a:pt x="152" y="747"/>
                      <a:pt x="152" y="746"/>
                    </a:cubicBezTo>
                    <a:cubicBezTo>
                      <a:pt x="160" y="740"/>
                      <a:pt x="157" y="734"/>
                      <a:pt x="165" y="734"/>
                    </a:cubicBezTo>
                    <a:cubicBezTo>
                      <a:pt x="173" y="733"/>
                      <a:pt x="175" y="722"/>
                      <a:pt x="186" y="733"/>
                    </a:cubicBezTo>
                    <a:cubicBezTo>
                      <a:pt x="197" y="745"/>
                      <a:pt x="198" y="755"/>
                      <a:pt x="206" y="758"/>
                    </a:cubicBezTo>
                    <a:cubicBezTo>
                      <a:pt x="215" y="761"/>
                      <a:pt x="215" y="767"/>
                      <a:pt x="224" y="767"/>
                    </a:cubicBezTo>
                    <a:cubicBezTo>
                      <a:pt x="224" y="767"/>
                      <a:pt x="224" y="767"/>
                      <a:pt x="225" y="767"/>
                    </a:cubicBezTo>
                    <a:cubicBezTo>
                      <a:pt x="225" y="767"/>
                      <a:pt x="226" y="767"/>
                      <a:pt x="227" y="767"/>
                    </a:cubicBezTo>
                    <a:cubicBezTo>
                      <a:pt x="227" y="767"/>
                      <a:pt x="227" y="767"/>
                      <a:pt x="227" y="767"/>
                    </a:cubicBezTo>
                    <a:cubicBezTo>
                      <a:pt x="228" y="767"/>
                      <a:pt x="228" y="767"/>
                      <a:pt x="229" y="767"/>
                    </a:cubicBezTo>
                    <a:cubicBezTo>
                      <a:pt x="229" y="767"/>
                      <a:pt x="229" y="767"/>
                      <a:pt x="229" y="767"/>
                    </a:cubicBezTo>
                    <a:cubicBezTo>
                      <a:pt x="232" y="765"/>
                      <a:pt x="233" y="762"/>
                      <a:pt x="233" y="754"/>
                    </a:cubicBezTo>
                    <a:cubicBezTo>
                      <a:pt x="233" y="743"/>
                      <a:pt x="233" y="722"/>
                      <a:pt x="244" y="715"/>
                    </a:cubicBezTo>
                    <a:cubicBezTo>
                      <a:pt x="255" y="708"/>
                      <a:pt x="256" y="706"/>
                      <a:pt x="257" y="688"/>
                    </a:cubicBezTo>
                    <a:cubicBezTo>
                      <a:pt x="258" y="670"/>
                      <a:pt x="256" y="656"/>
                      <a:pt x="268" y="653"/>
                    </a:cubicBezTo>
                    <a:cubicBezTo>
                      <a:pt x="279" y="650"/>
                      <a:pt x="283" y="642"/>
                      <a:pt x="298" y="642"/>
                    </a:cubicBezTo>
                    <a:cubicBezTo>
                      <a:pt x="313" y="642"/>
                      <a:pt x="325" y="646"/>
                      <a:pt x="333" y="641"/>
                    </a:cubicBezTo>
                    <a:cubicBezTo>
                      <a:pt x="340" y="636"/>
                      <a:pt x="340" y="635"/>
                      <a:pt x="350" y="635"/>
                    </a:cubicBezTo>
                    <a:cubicBezTo>
                      <a:pt x="361" y="635"/>
                      <a:pt x="363" y="636"/>
                      <a:pt x="368" y="640"/>
                    </a:cubicBezTo>
                    <a:cubicBezTo>
                      <a:pt x="373" y="645"/>
                      <a:pt x="375" y="646"/>
                      <a:pt x="381" y="646"/>
                    </a:cubicBezTo>
                    <a:cubicBezTo>
                      <a:pt x="386" y="646"/>
                      <a:pt x="385" y="653"/>
                      <a:pt x="394" y="653"/>
                    </a:cubicBezTo>
                    <a:cubicBezTo>
                      <a:pt x="403" y="653"/>
                      <a:pt x="412" y="655"/>
                      <a:pt x="419" y="663"/>
                    </a:cubicBezTo>
                    <a:cubicBezTo>
                      <a:pt x="425" y="671"/>
                      <a:pt x="430" y="684"/>
                      <a:pt x="436" y="688"/>
                    </a:cubicBezTo>
                    <a:cubicBezTo>
                      <a:pt x="441" y="693"/>
                      <a:pt x="447" y="692"/>
                      <a:pt x="453" y="687"/>
                    </a:cubicBezTo>
                    <a:cubicBezTo>
                      <a:pt x="459" y="682"/>
                      <a:pt x="464" y="685"/>
                      <a:pt x="472" y="685"/>
                    </a:cubicBezTo>
                    <a:cubicBezTo>
                      <a:pt x="480" y="684"/>
                      <a:pt x="481" y="678"/>
                      <a:pt x="489" y="674"/>
                    </a:cubicBezTo>
                    <a:cubicBezTo>
                      <a:pt x="497" y="670"/>
                      <a:pt x="503" y="663"/>
                      <a:pt x="513" y="670"/>
                    </a:cubicBezTo>
                    <a:cubicBezTo>
                      <a:pt x="524" y="677"/>
                      <a:pt x="537" y="686"/>
                      <a:pt x="544" y="691"/>
                    </a:cubicBezTo>
                    <a:cubicBezTo>
                      <a:pt x="551" y="696"/>
                      <a:pt x="556" y="705"/>
                      <a:pt x="572" y="705"/>
                    </a:cubicBezTo>
                    <a:cubicBezTo>
                      <a:pt x="589" y="704"/>
                      <a:pt x="608" y="706"/>
                      <a:pt x="614" y="699"/>
                    </a:cubicBezTo>
                    <a:cubicBezTo>
                      <a:pt x="620" y="693"/>
                      <a:pt x="632" y="688"/>
                      <a:pt x="639" y="682"/>
                    </a:cubicBezTo>
                    <a:cubicBezTo>
                      <a:pt x="646" y="676"/>
                      <a:pt x="650" y="669"/>
                      <a:pt x="665" y="668"/>
                    </a:cubicBezTo>
                    <a:cubicBezTo>
                      <a:pt x="681" y="668"/>
                      <a:pt x="739" y="662"/>
                      <a:pt x="745" y="670"/>
                    </a:cubicBezTo>
                    <a:cubicBezTo>
                      <a:pt x="750" y="677"/>
                      <a:pt x="756" y="680"/>
                      <a:pt x="766" y="682"/>
                    </a:cubicBezTo>
                    <a:cubicBezTo>
                      <a:pt x="776" y="684"/>
                      <a:pt x="788" y="692"/>
                      <a:pt x="794" y="681"/>
                    </a:cubicBezTo>
                    <a:cubicBezTo>
                      <a:pt x="801" y="671"/>
                      <a:pt x="803" y="664"/>
                      <a:pt x="821" y="660"/>
                    </a:cubicBezTo>
                    <a:cubicBezTo>
                      <a:pt x="839" y="657"/>
                      <a:pt x="843" y="655"/>
                      <a:pt x="850" y="649"/>
                    </a:cubicBezTo>
                    <a:cubicBezTo>
                      <a:pt x="854" y="646"/>
                      <a:pt x="857" y="644"/>
                      <a:pt x="859" y="641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50" name="Freeform 404">
                <a:extLst>
                  <a:ext uri="{FF2B5EF4-FFF2-40B4-BE49-F238E27FC236}">
                    <a16:creationId xmlns:a16="http://schemas.microsoft.com/office/drawing/2014/main" id="{24A37C89-3CA0-134E-AD46-33B9BE0057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5" y="2398"/>
                <a:ext cx="72" cy="105"/>
              </a:xfrm>
              <a:custGeom>
                <a:avLst/>
                <a:gdLst>
                  <a:gd name="T0" fmla="*/ 251 w 283"/>
                  <a:gd name="T1" fmla="*/ 297 h 414"/>
                  <a:gd name="T2" fmla="*/ 244 w 283"/>
                  <a:gd name="T3" fmla="*/ 260 h 414"/>
                  <a:gd name="T4" fmla="*/ 246 w 283"/>
                  <a:gd name="T5" fmla="*/ 235 h 414"/>
                  <a:gd name="T6" fmla="*/ 248 w 283"/>
                  <a:gd name="T7" fmla="*/ 201 h 414"/>
                  <a:gd name="T8" fmla="*/ 237 w 283"/>
                  <a:gd name="T9" fmla="*/ 167 h 414"/>
                  <a:gd name="T10" fmla="*/ 212 w 283"/>
                  <a:gd name="T11" fmla="*/ 137 h 414"/>
                  <a:gd name="T12" fmla="*/ 226 w 283"/>
                  <a:gd name="T13" fmla="*/ 115 h 414"/>
                  <a:gd name="T14" fmla="*/ 231 w 283"/>
                  <a:gd name="T15" fmla="*/ 86 h 414"/>
                  <a:gd name="T16" fmla="*/ 241 w 283"/>
                  <a:gd name="T17" fmla="*/ 74 h 414"/>
                  <a:gd name="T18" fmla="*/ 231 w 283"/>
                  <a:gd name="T19" fmla="*/ 53 h 414"/>
                  <a:gd name="T20" fmla="*/ 209 w 283"/>
                  <a:gd name="T21" fmla="*/ 39 h 414"/>
                  <a:gd name="T22" fmla="*/ 207 w 283"/>
                  <a:gd name="T23" fmla="*/ 16 h 414"/>
                  <a:gd name="T24" fmla="*/ 213 w 283"/>
                  <a:gd name="T25" fmla="*/ 8 h 414"/>
                  <a:gd name="T26" fmla="*/ 213 w 283"/>
                  <a:gd name="T27" fmla="*/ 8 h 414"/>
                  <a:gd name="T28" fmla="*/ 211 w 283"/>
                  <a:gd name="T29" fmla="*/ 7 h 414"/>
                  <a:gd name="T30" fmla="*/ 211 w 283"/>
                  <a:gd name="T31" fmla="*/ 7 h 414"/>
                  <a:gd name="T32" fmla="*/ 207 w 283"/>
                  <a:gd name="T33" fmla="*/ 3 h 414"/>
                  <a:gd name="T34" fmla="*/ 206 w 283"/>
                  <a:gd name="T35" fmla="*/ 2 h 414"/>
                  <a:gd name="T36" fmla="*/ 206 w 283"/>
                  <a:gd name="T37" fmla="*/ 2 h 414"/>
                  <a:gd name="T38" fmla="*/ 205 w 283"/>
                  <a:gd name="T39" fmla="*/ 1 h 414"/>
                  <a:gd name="T40" fmla="*/ 205 w 283"/>
                  <a:gd name="T41" fmla="*/ 1 h 414"/>
                  <a:gd name="T42" fmla="*/ 203 w 283"/>
                  <a:gd name="T43" fmla="*/ 0 h 414"/>
                  <a:gd name="T44" fmla="*/ 203 w 283"/>
                  <a:gd name="T45" fmla="*/ 0 h 414"/>
                  <a:gd name="T46" fmla="*/ 202 w 283"/>
                  <a:gd name="T47" fmla="*/ 0 h 414"/>
                  <a:gd name="T48" fmla="*/ 181 w 283"/>
                  <a:gd name="T49" fmla="*/ 13 h 414"/>
                  <a:gd name="T50" fmla="*/ 166 w 283"/>
                  <a:gd name="T51" fmla="*/ 14 h 414"/>
                  <a:gd name="T52" fmla="*/ 119 w 283"/>
                  <a:gd name="T53" fmla="*/ 9 h 414"/>
                  <a:gd name="T54" fmla="*/ 32 w 283"/>
                  <a:gd name="T55" fmla="*/ 9 h 414"/>
                  <a:gd name="T56" fmla="*/ 25 w 283"/>
                  <a:gd name="T57" fmla="*/ 38 h 414"/>
                  <a:gd name="T58" fmla="*/ 31 w 283"/>
                  <a:gd name="T59" fmla="*/ 54 h 414"/>
                  <a:gd name="T60" fmla="*/ 34 w 283"/>
                  <a:gd name="T61" fmla="*/ 91 h 414"/>
                  <a:gd name="T62" fmla="*/ 30 w 283"/>
                  <a:gd name="T63" fmla="*/ 107 h 414"/>
                  <a:gd name="T64" fmla="*/ 30 w 283"/>
                  <a:gd name="T65" fmla="*/ 107 h 414"/>
                  <a:gd name="T66" fmla="*/ 35 w 283"/>
                  <a:gd name="T67" fmla="*/ 121 h 414"/>
                  <a:gd name="T68" fmla="*/ 39 w 283"/>
                  <a:gd name="T69" fmla="*/ 138 h 414"/>
                  <a:gd name="T70" fmla="*/ 43 w 283"/>
                  <a:gd name="T71" fmla="*/ 157 h 414"/>
                  <a:gd name="T72" fmla="*/ 52 w 283"/>
                  <a:gd name="T73" fmla="*/ 169 h 414"/>
                  <a:gd name="T74" fmla="*/ 47 w 283"/>
                  <a:gd name="T75" fmla="*/ 194 h 414"/>
                  <a:gd name="T76" fmla="*/ 27 w 283"/>
                  <a:gd name="T77" fmla="*/ 223 h 414"/>
                  <a:gd name="T78" fmla="*/ 21 w 283"/>
                  <a:gd name="T79" fmla="*/ 247 h 414"/>
                  <a:gd name="T80" fmla="*/ 15 w 283"/>
                  <a:gd name="T81" fmla="*/ 264 h 414"/>
                  <a:gd name="T82" fmla="*/ 4 w 283"/>
                  <a:gd name="T83" fmla="*/ 284 h 414"/>
                  <a:gd name="T84" fmla="*/ 4 w 283"/>
                  <a:gd name="T85" fmla="*/ 306 h 414"/>
                  <a:gd name="T86" fmla="*/ 10 w 283"/>
                  <a:gd name="T87" fmla="*/ 326 h 414"/>
                  <a:gd name="T88" fmla="*/ 17 w 283"/>
                  <a:gd name="T89" fmla="*/ 341 h 414"/>
                  <a:gd name="T90" fmla="*/ 21 w 283"/>
                  <a:gd name="T91" fmla="*/ 357 h 414"/>
                  <a:gd name="T92" fmla="*/ 38 w 283"/>
                  <a:gd name="T93" fmla="*/ 364 h 414"/>
                  <a:gd name="T94" fmla="*/ 30 w 283"/>
                  <a:gd name="T95" fmla="*/ 379 h 414"/>
                  <a:gd name="T96" fmla="*/ 21 w 283"/>
                  <a:gd name="T97" fmla="*/ 388 h 414"/>
                  <a:gd name="T98" fmla="*/ 32 w 283"/>
                  <a:gd name="T99" fmla="*/ 392 h 414"/>
                  <a:gd name="T100" fmla="*/ 95 w 283"/>
                  <a:gd name="T101" fmla="*/ 400 h 414"/>
                  <a:gd name="T102" fmla="*/ 139 w 283"/>
                  <a:gd name="T103" fmla="*/ 385 h 414"/>
                  <a:gd name="T104" fmla="*/ 192 w 283"/>
                  <a:gd name="T105" fmla="*/ 368 h 414"/>
                  <a:gd name="T106" fmla="*/ 242 w 283"/>
                  <a:gd name="T107" fmla="*/ 349 h 414"/>
                  <a:gd name="T108" fmla="*/ 272 w 283"/>
                  <a:gd name="T109" fmla="*/ 337 h 414"/>
                  <a:gd name="T110" fmla="*/ 283 w 283"/>
                  <a:gd name="T111" fmla="*/ 328 h 414"/>
                  <a:gd name="T112" fmla="*/ 251 w 283"/>
                  <a:gd name="T113" fmla="*/ 297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83" h="414">
                    <a:moveTo>
                      <a:pt x="251" y="297"/>
                    </a:moveTo>
                    <a:cubicBezTo>
                      <a:pt x="245" y="288"/>
                      <a:pt x="235" y="271"/>
                      <a:pt x="244" y="260"/>
                    </a:cubicBezTo>
                    <a:cubicBezTo>
                      <a:pt x="253" y="249"/>
                      <a:pt x="241" y="245"/>
                      <a:pt x="246" y="235"/>
                    </a:cubicBezTo>
                    <a:cubicBezTo>
                      <a:pt x="251" y="225"/>
                      <a:pt x="248" y="208"/>
                      <a:pt x="248" y="201"/>
                    </a:cubicBezTo>
                    <a:cubicBezTo>
                      <a:pt x="248" y="193"/>
                      <a:pt x="242" y="175"/>
                      <a:pt x="237" y="167"/>
                    </a:cubicBezTo>
                    <a:cubicBezTo>
                      <a:pt x="231" y="160"/>
                      <a:pt x="212" y="142"/>
                      <a:pt x="212" y="137"/>
                    </a:cubicBezTo>
                    <a:cubicBezTo>
                      <a:pt x="212" y="131"/>
                      <a:pt x="217" y="119"/>
                      <a:pt x="226" y="115"/>
                    </a:cubicBezTo>
                    <a:cubicBezTo>
                      <a:pt x="235" y="110"/>
                      <a:pt x="231" y="93"/>
                      <a:pt x="231" y="86"/>
                    </a:cubicBezTo>
                    <a:cubicBezTo>
                      <a:pt x="231" y="79"/>
                      <a:pt x="237" y="79"/>
                      <a:pt x="241" y="74"/>
                    </a:cubicBezTo>
                    <a:cubicBezTo>
                      <a:pt x="245" y="69"/>
                      <a:pt x="235" y="59"/>
                      <a:pt x="231" y="53"/>
                    </a:cubicBezTo>
                    <a:cubicBezTo>
                      <a:pt x="227" y="47"/>
                      <a:pt x="219" y="45"/>
                      <a:pt x="209" y="39"/>
                    </a:cubicBezTo>
                    <a:cubicBezTo>
                      <a:pt x="199" y="34"/>
                      <a:pt x="201" y="21"/>
                      <a:pt x="207" y="16"/>
                    </a:cubicBezTo>
                    <a:cubicBezTo>
                      <a:pt x="210" y="14"/>
                      <a:pt x="211" y="11"/>
                      <a:pt x="213" y="8"/>
                    </a:cubicBezTo>
                    <a:cubicBezTo>
                      <a:pt x="213" y="8"/>
                      <a:pt x="213" y="8"/>
                      <a:pt x="213" y="8"/>
                    </a:cubicBezTo>
                    <a:cubicBezTo>
                      <a:pt x="212" y="8"/>
                      <a:pt x="212" y="7"/>
                      <a:pt x="211" y="7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09" y="6"/>
                      <a:pt x="208" y="4"/>
                      <a:pt x="207" y="3"/>
                    </a:cubicBezTo>
                    <a:cubicBezTo>
                      <a:pt x="207" y="2"/>
                      <a:pt x="206" y="2"/>
                      <a:pt x="206" y="2"/>
                    </a:cubicBezTo>
                    <a:cubicBezTo>
                      <a:pt x="206" y="2"/>
                      <a:pt x="206" y="2"/>
                      <a:pt x="206" y="2"/>
                    </a:cubicBezTo>
                    <a:cubicBezTo>
                      <a:pt x="205" y="1"/>
                      <a:pt x="205" y="1"/>
                      <a:pt x="205" y="1"/>
                    </a:cubicBezTo>
                    <a:cubicBezTo>
                      <a:pt x="205" y="1"/>
                      <a:pt x="205" y="1"/>
                      <a:pt x="205" y="1"/>
                    </a:cubicBezTo>
                    <a:cubicBezTo>
                      <a:pt x="204" y="0"/>
                      <a:pt x="204" y="0"/>
                      <a:pt x="203" y="0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203" y="0"/>
                      <a:pt x="202" y="0"/>
                      <a:pt x="202" y="0"/>
                    </a:cubicBezTo>
                    <a:cubicBezTo>
                      <a:pt x="196" y="0"/>
                      <a:pt x="185" y="5"/>
                      <a:pt x="181" y="13"/>
                    </a:cubicBezTo>
                    <a:cubicBezTo>
                      <a:pt x="176" y="20"/>
                      <a:pt x="174" y="21"/>
                      <a:pt x="166" y="14"/>
                    </a:cubicBezTo>
                    <a:cubicBezTo>
                      <a:pt x="158" y="8"/>
                      <a:pt x="134" y="9"/>
                      <a:pt x="119" y="9"/>
                    </a:cubicBezTo>
                    <a:cubicBezTo>
                      <a:pt x="104" y="10"/>
                      <a:pt x="47" y="10"/>
                      <a:pt x="32" y="9"/>
                    </a:cubicBezTo>
                    <a:cubicBezTo>
                      <a:pt x="17" y="8"/>
                      <a:pt x="25" y="28"/>
                      <a:pt x="25" y="38"/>
                    </a:cubicBezTo>
                    <a:cubicBezTo>
                      <a:pt x="24" y="47"/>
                      <a:pt x="22" y="49"/>
                      <a:pt x="31" y="54"/>
                    </a:cubicBezTo>
                    <a:cubicBezTo>
                      <a:pt x="39" y="58"/>
                      <a:pt x="34" y="76"/>
                      <a:pt x="34" y="91"/>
                    </a:cubicBezTo>
                    <a:cubicBezTo>
                      <a:pt x="34" y="99"/>
                      <a:pt x="32" y="104"/>
                      <a:pt x="30" y="107"/>
                    </a:cubicBezTo>
                    <a:cubicBezTo>
                      <a:pt x="30" y="107"/>
                      <a:pt x="30" y="107"/>
                      <a:pt x="30" y="107"/>
                    </a:cubicBezTo>
                    <a:cubicBezTo>
                      <a:pt x="35" y="108"/>
                      <a:pt x="35" y="114"/>
                      <a:pt x="35" y="121"/>
                    </a:cubicBezTo>
                    <a:cubicBezTo>
                      <a:pt x="36" y="128"/>
                      <a:pt x="35" y="135"/>
                      <a:pt x="39" y="138"/>
                    </a:cubicBezTo>
                    <a:cubicBezTo>
                      <a:pt x="43" y="141"/>
                      <a:pt x="38" y="154"/>
                      <a:pt x="43" y="157"/>
                    </a:cubicBezTo>
                    <a:cubicBezTo>
                      <a:pt x="48" y="160"/>
                      <a:pt x="52" y="162"/>
                      <a:pt x="52" y="169"/>
                    </a:cubicBezTo>
                    <a:cubicBezTo>
                      <a:pt x="52" y="177"/>
                      <a:pt x="54" y="189"/>
                      <a:pt x="47" y="194"/>
                    </a:cubicBezTo>
                    <a:cubicBezTo>
                      <a:pt x="40" y="199"/>
                      <a:pt x="27" y="213"/>
                      <a:pt x="27" y="223"/>
                    </a:cubicBezTo>
                    <a:cubicBezTo>
                      <a:pt x="26" y="233"/>
                      <a:pt x="25" y="243"/>
                      <a:pt x="21" y="247"/>
                    </a:cubicBezTo>
                    <a:cubicBezTo>
                      <a:pt x="16" y="252"/>
                      <a:pt x="15" y="260"/>
                      <a:pt x="15" y="264"/>
                    </a:cubicBezTo>
                    <a:cubicBezTo>
                      <a:pt x="15" y="268"/>
                      <a:pt x="4" y="279"/>
                      <a:pt x="4" y="284"/>
                    </a:cubicBezTo>
                    <a:cubicBezTo>
                      <a:pt x="4" y="290"/>
                      <a:pt x="0" y="301"/>
                      <a:pt x="4" y="306"/>
                    </a:cubicBezTo>
                    <a:cubicBezTo>
                      <a:pt x="8" y="310"/>
                      <a:pt x="4" y="321"/>
                      <a:pt x="10" y="326"/>
                    </a:cubicBezTo>
                    <a:cubicBezTo>
                      <a:pt x="17" y="331"/>
                      <a:pt x="17" y="337"/>
                      <a:pt x="17" y="341"/>
                    </a:cubicBezTo>
                    <a:cubicBezTo>
                      <a:pt x="17" y="346"/>
                      <a:pt x="15" y="357"/>
                      <a:pt x="21" y="357"/>
                    </a:cubicBezTo>
                    <a:cubicBezTo>
                      <a:pt x="28" y="357"/>
                      <a:pt x="38" y="358"/>
                      <a:pt x="38" y="364"/>
                    </a:cubicBezTo>
                    <a:cubicBezTo>
                      <a:pt x="38" y="370"/>
                      <a:pt x="38" y="378"/>
                      <a:pt x="30" y="379"/>
                    </a:cubicBezTo>
                    <a:cubicBezTo>
                      <a:pt x="24" y="380"/>
                      <a:pt x="22" y="382"/>
                      <a:pt x="21" y="388"/>
                    </a:cubicBezTo>
                    <a:cubicBezTo>
                      <a:pt x="25" y="389"/>
                      <a:pt x="28" y="390"/>
                      <a:pt x="32" y="392"/>
                    </a:cubicBezTo>
                    <a:cubicBezTo>
                      <a:pt x="53" y="403"/>
                      <a:pt x="87" y="414"/>
                      <a:pt x="95" y="400"/>
                    </a:cubicBezTo>
                    <a:cubicBezTo>
                      <a:pt x="104" y="386"/>
                      <a:pt x="120" y="395"/>
                      <a:pt x="139" y="385"/>
                    </a:cubicBezTo>
                    <a:cubicBezTo>
                      <a:pt x="159" y="376"/>
                      <a:pt x="185" y="378"/>
                      <a:pt x="192" y="368"/>
                    </a:cubicBezTo>
                    <a:cubicBezTo>
                      <a:pt x="200" y="358"/>
                      <a:pt x="225" y="351"/>
                      <a:pt x="242" y="349"/>
                    </a:cubicBezTo>
                    <a:cubicBezTo>
                      <a:pt x="258" y="347"/>
                      <a:pt x="266" y="348"/>
                      <a:pt x="272" y="337"/>
                    </a:cubicBezTo>
                    <a:cubicBezTo>
                      <a:pt x="273" y="333"/>
                      <a:pt x="278" y="330"/>
                      <a:pt x="283" y="328"/>
                    </a:cubicBezTo>
                    <a:cubicBezTo>
                      <a:pt x="273" y="310"/>
                      <a:pt x="257" y="304"/>
                      <a:pt x="251" y="297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  <p:sp>
            <p:nvSpPr>
              <p:cNvPr id="2651" name="Freeform 405">
                <a:extLst>
                  <a:ext uri="{FF2B5EF4-FFF2-40B4-BE49-F238E27FC236}">
                    <a16:creationId xmlns:a16="http://schemas.microsoft.com/office/drawing/2014/main" id="{F1EA6628-4B1D-344B-9CF9-7D59B1B22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5" y="2400"/>
                <a:ext cx="32" cy="81"/>
              </a:xfrm>
              <a:custGeom>
                <a:avLst/>
                <a:gdLst>
                  <a:gd name="T0" fmla="*/ 110 w 126"/>
                  <a:gd name="T1" fmla="*/ 276 h 320"/>
                  <a:gd name="T2" fmla="*/ 117 w 126"/>
                  <a:gd name="T3" fmla="*/ 251 h 320"/>
                  <a:gd name="T4" fmla="*/ 115 w 126"/>
                  <a:gd name="T5" fmla="*/ 213 h 320"/>
                  <a:gd name="T6" fmla="*/ 115 w 126"/>
                  <a:gd name="T7" fmla="*/ 182 h 320"/>
                  <a:gd name="T8" fmla="*/ 122 w 126"/>
                  <a:gd name="T9" fmla="*/ 129 h 320"/>
                  <a:gd name="T10" fmla="*/ 106 w 126"/>
                  <a:gd name="T11" fmla="*/ 108 h 320"/>
                  <a:gd name="T12" fmla="*/ 100 w 126"/>
                  <a:gd name="T13" fmla="*/ 77 h 320"/>
                  <a:gd name="T14" fmla="*/ 86 w 126"/>
                  <a:gd name="T15" fmla="*/ 63 h 320"/>
                  <a:gd name="T16" fmla="*/ 67 w 126"/>
                  <a:gd name="T17" fmla="*/ 46 h 320"/>
                  <a:gd name="T18" fmla="*/ 68 w 126"/>
                  <a:gd name="T19" fmla="*/ 21 h 320"/>
                  <a:gd name="T20" fmla="*/ 69 w 126"/>
                  <a:gd name="T21" fmla="*/ 4 h 320"/>
                  <a:gd name="T22" fmla="*/ 65 w 126"/>
                  <a:gd name="T23" fmla="*/ 4 h 320"/>
                  <a:gd name="T24" fmla="*/ 64 w 126"/>
                  <a:gd name="T25" fmla="*/ 4 h 320"/>
                  <a:gd name="T26" fmla="*/ 60 w 126"/>
                  <a:gd name="T27" fmla="*/ 3 h 320"/>
                  <a:gd name="T28" fmla="*/ 55 w 126"/>
                  <a:gd name="T29" fmla="*/ 3 h 320"/>
                  <a:gd name="T30" fmla="*/ 55 w 126"/>
                  <a:gd name="T31" fmla="*/ 3 h 320"/>
                  <a:gd name="T32" fmla="*/ 49 w 126"/>
                  <a:gd name="T33" fmla="*/ 2 h 320"/>
                  <a:gd name="T34" fmla="*/ 19 w 126"/>
                  <a:gd name="T35" fmla="*/ 2 h 320"/>
                  <a:gd name="T36" fmla="*/ 18 w 126"/>
                  <a:gd name="T37" fmla="*/ 2 h 320"/>
                  <a:gd name="T38" fmla="*/ 17 w 126"/>
                  <a:gd name="T39" fmla="*/ 2 h 320"/>
                  <a:gd name="T40" fmla="*/ 16 w 126"/>
                  <a:gd name="T41" fmla="*/ 1 h 320"/>
                  <a:gd name="T42" fmla="*/ 16 w 126"/>
                  <a:gd name="T43" fmla="*/ 1 h 320"/>
                  <a:gd name="T44" fmla="*/ 15 w 126"/>
                  <a:gd name="T45" fmla="*/ 1 h 320"/>
                  <a:gd name="T46" fmla="*/ 15 w 126"/>
                  <a:gd name="T47" fmla="*/ 1 h 320"/>
                  <a:gd name="T48" fmla="*/ 14 w 126"/>
                  <a:gd name="T49" fmla="*/ 0 h 320"/>
                  <a:gd name="T50" fmla="*/ 14 w 126"/>
                  <a:gd name="T51" fmla="*/ 0 h 320"/>
                  <a:gd name="T52" fmla="*/ 8 w 126"/>
                  <a:gd name="T53" fmla="*/ 8 h 320"/>
                  <a:gd name="T54" fmla="*/ 10 w 126"/>
                  <a:gd name="T55" fmla="*/ 31 h 320"/>
                  <a:gd name="T56" fmla="*/ 32 w 126"/>
                  <a:gd name="T57" fmla="*/ 45 h 320"/>
                  <a:gd name="T58" fmla="*/ 42 w 126"/>
                  <a:gd name="T59" fmla="*/ 66 h 320"/>
                  <a:gd name="T60" fmla="*/ 32 w 126"/>
                  <a:gd name="T61" fmla="*/ 78 h 320"/>
                  <a:gd name="T62" fmla="*/ 27 w 126"/>
                  <a:gd name="T63" fmla="*/ 107 h 320"/>
                  <a:gd name="T64" fmla="*/ 13 w 126"/>
                  <a:gd name="T65" fmla="*/ 129 h 320"/>
                  <a:gd name="T66" fmla="*/ 38 w 126"/>
                  <a:gd name="T67" fmla="*/ 159 h 320"/>
                  <a:gd name="T68" fmla="*/ 49 w 126"/>
                  <a:gd name="T69" fmla="*/ 193 h 320"/>
                  <a:gd name="T70" fmla="*/ 47 w 126"/>
                  <a:gd name="T71" fmla="*/ 227 h 320"/>
                  <a:gd name="T72" fmla="*/ 45 w 126"/>
                  <a:gd name="T73" fmla="*/ 252 h 320"/>
                  <a:gd name="T74" fmla="*/ 52 w 126"/>
                  <a:gd name="T75" fmla="*/ 289 h 320"/>
                  <a:gd name="T76" fmla="*/ 84 w 126"/>
                  <a:gd name="T77" fmla="*/ 320 h 320"/>
                  <a:gd name="T78" fmla="*/ 124 w 126"/>
                  <a:gd name="T79" fmla="*/ 310 h 320"/>
                  <a:gd name="T80" fmla="*/ 126 w 126"/>
                  <a:gd name="T81" fmla="*/ 310 h 320"/>
                  <a:gd name="T82" fmla="*/ 122 w 126"/>
                  <a:gd name="T83" fmla="*/ 300 h 320"/>
                  <a:gd name="T84" fmla="*/ 110 w 126"/>
                  <a:gd name="T85" fmla="*/ 27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6" h="320">
                    <a:moveTo>
                      <a:pt x="110" y="276"/>
                    </a:moveTo>
                    <a:cubicBezTo>
                      <a:pt x="106" y="268"/>
                      <a:pt x="111" y="259"/>
                      <a:pt x="117" y="251"/>
                    </a:cubicBezTo>
                    <a:cubicBezTo>
                      <a:pt x="123" y="243"/>
                      <a:pt x="116" y="219"/>
                      <a:pt x="115" y="213"/>
                    </a:cubicBezTo>
                    <a:cubicBezTo>
                      <a:pt x="114" y="207"/>
                      <a:pt x="112" y="191"/>
                      <a:pt x="115" y="182"/>
                    </a:cubicBezTo>
                    <a:cubicBezTo>
                      <a:pt x="118" y="173"/>
                      <a:pt x="123" y="147"/>
                      <a:pt x="122" y="129"/>
                    </a:cubicBezTo>
                    <a:cubicBezTo>
                      <a:pt x="120" y="111"/>
                      <a:pt x="124" y="116"/>
                      <a:pt x="106" y="108"/>
                    </a:cubicBezTo>
                    <a:cubicBezTo>
                      <a:pt x="87" y="100"/>
                      <a:pt x="102" y="86"/>
                      <a:pt x="100" y="77"/>
                    </a:cubicBezTo>
                    <a:cubicBezTo>
                      <a:pt x="98" y="69"/>
                      <a:pt x="93" y="63"/>
                      <a:pt x="86" y="63"/>
                    </a:cubicBezTo>
                    <a:cubicBezTo>
                      <a:pt x="80" y="62"/>
                      <a:pt x="82" y="55"/>
                      <a:pt x="67" y="46"/>
                    </a:cubicBezTo>
                    <a:cubicBezTo>
                      <a:pt x="52" y="37"/>
                      <a:pt x="64" y="27"/>
                      <a:pt x="68" y="21"/>
                    </a:cubicBezTo>
                    <a:cubicBezTo>
                      <a:pt x="70" y="19"/>
                      <a:pt x="70" y="11"/>
                      <a:pt x="69" y="4"/>
                    </a:cubicBezTo>
                    <a:cubicBezTo>
                      <a:pt x="67" y="4"/>
                      <a:pt x="66" y="4"/>
                      <a:pt x="65" y="4"/>
                    </a:cubicBezTo>
                    <a:cubicBezTo>
                      <a:pt x="65" y="4"/>
                      <a:pt x="64" y="4"/>
                      <a:pt x="64" y="4"/>
                    </a:cubicBezTo>
                    <a:cubicBezTo>
                      <a:pt x="63" y="3"/>
                      <a:pt x="61" y="3"/>
                      <a:pt x="60" y="3"/>
                    </a:cubicBezTo>
                    <a:cubicBezTo>
                      <a:pt x="58" y="3"/>
                      <a:pt x="57" y="3"/>
                      <a:pt x="55" y="3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3" y="2"/>
                      <a:pt x="51" y="2"/>
                      <a:pt x="49" y="2"/>
                    </a:cubicBezTo>
                    <a:cubicBezTo>
                      <a:pt x="35" y="2"/>
                      <a:pt x="28" y="2"/>
                      <a:pt x="19" y="2"/>
                    </a:cubicBezTo>
                    <a:cubicBezTo>
                      <a:pt x="19" y="2"/>
                      <a:pt x="18" y="2"/>
                      <a:pt x="18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6" y="1"/>
                      <a:pt x="16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2" y="3"/>
                      <a:pt x="11" y="6"/>
                      <a:pt x="8" y="8"/>
                    </a:cubicBezTo>
                    <a:cubicBezTo>
                      <a:pt x="2" y="13"/>
                      <a:pt x="0" y="26"/>
                      <a:pt x="10" y="31"/>
                    </a:cubicBezTo>
                    <a:cubicBezTo>
                      <a:pt x="20" y="37"/>
                      <a:pt x="28" y="39"/>
                      <a:pt x="32" y="45"/>
                    </a:cubicBezTo>
                    <a:cubicBezTo>
                      <a:pt x="36" y="51"/>
                      <a:pt x="46" y="61"/>
                      <a:pt x="42" y="66"/>
                    </a:cubicBezTo>
                    <a:cubicBezTo>
                      <a:pt x="38" y="71"/>
                      <a:pt x="32" y="71"/>
                      <a:pt x="32" y="78"/>
                    </a:cubicBezTo>
                    <a:cubicBezTo>
                      <a:pt x="32" y="85"/>
                      <a:pt x="36" y="102"/>
                      <a:pt x="27" y="107"/>
                    </a:cubicBezTo>
                    <a:cubicBezTo>
                      <a:pt x="18" y="111"/>
                      <a:pt x="13" y="123"/>
                      <a:pt x="13" y="129"/>
                    </a:cubicBezTo>
                    <a:cubicBezTo>
                      <a:pt x="13" y="134"/>
                      <a:pt x="32" y="152"/>
                      <a:pt x="38" y="159"/>
                    </a:cubicBezTo>
                    <a:cubicBezTo>
                      <a:pt x="43" y="167"/>
                      <a:pt x="49" y="185"/>
                      <a:pt x="49" y="193"/>
                    </a:cubicBezTo>
                    <a:cubicBezTo>
                      <a:pt x="49" y="200"/>
                      <a:pt x="52" y="217"/>
                      <a:pt x="47" y="227"/>
                    </a:cubicBezTo>
                    <a:cubicBezTo>
                      <a:pt x="42" y="237"/>
                      <a:pt x="54" y="241"/>
                      <a:pt x="45" y="252"/>
                    </a:cubicBezTo>
                    <a:cubicBezTo>
                      <a:pt x="36" y="263"/>
                      <a:pt x="46" y="280"/>
                      <a:pt x="52" y="289"/>
                    </a:cubicBezTo>
                    <a:cubicBezTo>
                      <a:pt x="58" y="296"/>
                      <a:pt x="74" y="302"/>
                      <a:pt x="84" y="320"/>
                    </a:cubicBezTo>
                    <a:cubicBezTo>
                      <a:pt x="95" y="314"/>
                      <a:pt x="111" y="310"/>
                      <a:pt x="124" y="310"/>
                    </a:cubicBezTo>
                    <a:cubicBezTo>
                      <a:pt x="125" y="310"/>
                      <a:pt x="125" y="310"/>
                      <a:pt x="126" y="310"/>
                    </a:cubicBezTo>
                    <a:cubicBezTo>
                      <a:pt x="124" y="306"/>
                      <a:pt x="122" y="303"/>
                      <a:pt x="122" y="300"/>
                    </a:cubicBezTo>
                    <a:cubicBezTo>
                      <a:pt x="122" y="294"/>
                      <a:pt x="115" y="284"/>
                      <a:pt x="110" y="276"/>
                    </a:cubicBezTo>
                    <a:close/>
                  </a:path>
                </a:pathLst>
              </a:custGeom>
              <a:grpFill/>
              <a:ln w="1270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133"/>
              </a:p>
            </p:txBody>
          </p:sp>
        </p:grpSp>
        <p:sp>
          <p:nvSpPr>
            <p:cNvPr id="2277" name="Freeform 407">
              <a:extLst>
                <a:ext uri="{FF2B5EF4-FFF2-40B4-BE49-F238E27FC236}">
                  <a16:creationId xmlns:a16="http://schemas.microsoft.com/office/drawing/2014/main" id="{B356B39F-DCA8-1C42-8DAC-07B296274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9" y="2376"/>
              <a:ext cx="51" cy="102"/>
            </a:xfrm>
            <a:custGeom>
              <a:avLst/>
              <a:gdLst>
                <a:gd name="T0" fmla="*/ 135 w 202"/>
                <a:gd name="T1" fmla="*/ 378 h 405"/>
                <a:gd name="T2" fmla="*/ 138 w 202"/>
                <a:gd name="T3" fmla="*/ 344 h 405"/>
                <a:gd name="T4" fmla="*/ 133 w 202"/>
                <a:gd name="T5" fmla="*/ 318 h 405"/>
                <a:gd name="T6" fmla="*/ 130 w 202"/>
                <a:gd name="T7" fmla="*/ 272 h 405"/>
                <a:gd name="T8" fmla="*/ 134 w 202"/>
                <a:gd name="T9" fmla="*/ 239 h 405"/>
                <a:gd name="T10" fmla="*/ 152 w 202"/>
                <a:gd name="T11" fmla="*/ 216 h 405"/>
                <a:gd name="T12" fmla="*/ 170 w 202"/>
                <a:gd name="T13" fmla="*/ 188 h 405"/>
                <a:gd name="T14" fmla="*/ 190 w 202"/>
                <a:gd name="T15" fmla="*/ 158 h 405"/>
                <a:gd name="T16" fmla="*/ 202 w 202"/>
                <a:gd name="T17" fmla="*/ 112 h 405"/>
                <a:gd name="T18" fmla="*/ 191 w 202"/>
                <a:gd name="T19" fmla="*/ 88 h 405"/>
                <a:gd name="T20" fmla="*/ 184 w 202"/>
                <a:gd name="T21" fmla="*/ 59 h 405"/>
                <a:gd name="T22" fmla="*/ 187 w 202"/>
                <a:gd name="T23" fmla="*/ 45 h 405"/>
                <a:gd name="T24" fmla="*/ 186 w 202"/>
                <a:gd name="T25" fmla="*/ 45 h 405"/>
                <a:gd name="T26" fmla="*/ 168 w 202"/>
                <a:gd name="T27" fmla="*/ 36 h 405"/>
                <a:gd name="T28" fmla="*/ 148 w 202"/>
                <a:gd name="T29" fmla="*/ 11 h 405"/>
                <a:gd name="T30" fmla="*/ 127 w 202"/>
                <a:gd name="T31" fmla="*/ 12 h 405"/>
                <a:gd name="T32" fmla="*/ 114 w 202"/>
                <a:gd name="T33" fmla="*/ 24 h 405"/>
                <a:gd name="T34" fmla="*/ 113 w 202"/>
                <a:gd name="T35" fmla="*/ 26 h 405"/>
                <a:gd name="T36" fmla="*/ 112 w 202"/>
                <a:gd name="T37" fmla="*/ 26 h 405"/>
                <a:gd name="T38" fmla="*/ 112 w 202"/>
                <a:gd name="T39" fmla="*/ 27 h 405"/>
                <a:gd name="T40" fmla="*/ 111 w 202"/>
                <a:gd name="T41" fmla="*/ 28 h 405"/>
                <a:gd name="T42" fmla="*/ 111 w 202"/>
                <a:gd name="T43" fmla="*/ 29 h 405"/>
                <a:gd name="T44" fmla="*/ 110 w 202"/>
                <a:gd name="T45" fmla="*/ 29 h 405"/>
                <a:gd name="T46" fmla="*/ 110 w 202"/>
                <a:gd name="T47" fmla="*/ 31 h 405"/>
                <a:gd name="T48" fmla="*/ 110 w 202"/>
                <a:gd name="T49" fmla="*/ 31 h 405"/>
                <a:gd name="T50" fmla="*/ 110 w 202"/>
                <a:gd name="T51" fmla="*/ 33 h 405"/>
                <a:gd name="T52" fmla="*/ 110 w 202"/>
                <a:gd name="T53" fmla="*/ 33 h 405"/>
                <a:gd name="T54" fmla="*/ 109 w 202"/>
                <a:gd name="T55" fmla="*/ 35 h 405"/>
                <a:gd name="T56" fmla="*/ 109 w 202"/>
                <a:gd name="T57" fmla="*/ 35 h 405"/>
                <a:gd name="T58" fmla="*/ 110 w 202"/>
                <a:gd name="T59" fmla="*/ 43 h 405"/>
                <a:gd name="T60" fmla="*/ 110 w 202"/>
                <a:gd name="T61" fmla="*/ 44 h 405"/>
                <a:gd name="T62" fmla="*/ 110 w 202"/>
                <a:gd name="T63" fmla="*/ 45 h 405"/>
                <a:gd name="T64" fmla="*/ 110 w 202"/>
                <a:gd name="T65" fmla="*/ 46 h 405"/>
                <a:gd name="T66" fmla="*/ 110 w 202"/>
                <a:gd name="T67" fmla="*/ 47 h 405"/>
                <a:gd name="T68" fmla="*/ 110 w 202"/>
                <a:gd name="T69" fmla="*/ 49 h 405"/>
                <a:gd name="T70" fmla="*/ 92 w 202"/>
                <a:gd name="T71" fmla="*/ 67 h 405"/>
                <a:gd name="T72" fmla="*/ 57 w 202"/>
                <a:gd name="T73" fmla="*/ 70 h 405"/>
                <a:gd name="T74" fmla="*/ 29 w 202"/>
                <a:gd name="T75" fmla="*/ 93 h 405"/>
                <a:gd name="T76" fmla="*/ 26 w 202"/>
                <a:gd name="T77" fmla="*/ 95 h 405"/>
                <a:gd name="T78" fmla="*/ 26 w 202"/>
                <a:gd name="T79" fmla="*/ 96 h 405"/>
                <a:gd name="T80" fmla="*/ 23 w 202"/>
                <a:gd name="T81" fmla="*/ 97 h 405"/>
                <a:gd name="T82" fmla="*/ 23 w 202"/>
                <a:gd name="T83" fmla="*/ 97 h 405"/>
                <a:gd name="T84" fmla="*/ 20 w 202"/>
                <a:gd name="T85" fmla="*/ 98 h 405"/>
                <a:gd name="T86" fmla="*/ 20 w 202"/>
                <a:gd name="T87" fmla="*/ 98 h 405"/>
                <a:gd name="T88" fmla="*/ 17 w 202"/>
                <a:gd name="T89" fmla="*/ 99 h 405"/>
                <a:gd name="T90" fmla="*/ 16 w 202"/>
                <a:gd name="T91" fmla="*/ 116 h 405"/>
                <a:gd name="T92" fmla="*/ 15 w 202"/>
                <a:gd name="T93" fmla="*/ 141 h 405"/>
                <a:gd name="T94" fmla="*/ 34 w 202"/>
                <a:gd name="T95" fmla="*/ 158 h 405"/>
                <a:gd name="T96" fmla="*/ 48 w 202"/>
                <a:gd name="T97" fmla="*/ 172 h 405"/>
                <a:gd name="T98" fmla="*/ 54 w 202"/>
                <a:gd name="T99" fmla="*/ 203 h 405"/>
                <a:gd name="T100" fmla="*/ 70 w 202"/>
                <a:gd name="T101" fmla="*/ 224 h 405"/>
                <a:gd name="T102" fmla="*/ 63 w 202"/>
                <a:gd name="T103" fmla="*/ 277 h 405"/>
                <a:gd name="T104" fmla="*/ 63 w 202"/>
                <a:gd name="T105" fmla="*/ 308 h 405"/>
                <a:gd name="T106" fmla="*/ 65 w 202"/>
                <a:gd name="T107" fmla="*/ 346 h 405"/>
                <a:gd name="T108" fmla="*/ 58 w 202"/>
                <a:gd name="T109" fmla="*/ 371 h 405"/>
                <a:gd name="T110" fmla="*/ 70 w 202"/>
                <a:gd name="T111" fmla="*/ 395 h 405"/>
                <a:gd name="T112" fmla="*/ 74 w 202"/>
                <a:gd name="T113" fmla="*/ 405 h 405"/>
                <a:gd name="T114" fmla="*/ 136 w 202"/>
                <a:gd name="T115" fmla="*/ 395 h 405"/>
                <a:gd name="T116" fmla="*/ 135 w 202"/>
                <a:gd name="T117" fmla="*/ 378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2" h="405">
                  <a:moveTo>
                    <a:pt x="135" y="378"/>
                  </a:moveTo>
                  <a:cubicBezTo>
                    <a:pt x="137" y="370"/>
                    <a:pt x="139" y="350"/>
                    <a:pt x="138" y="344"/>
                  </a:cubicBezTo>
                  <a:cubicBezTo>
                    <a:pt x="136" y="337"/>
                    <a:pt x="136" y="326"/>
                    <a:pt x="133" y="318"/>
                  </a:cubicBezTo>
                  <a:cubicBezTo>
                    <a:pt x="130" y="310"/>
                    <a:pt x="132" y="284"/>
                    <a:pt x="130" y="272"/>
                  </a:cubicBezTo>
                  <a:cubicBezTo>
                    <a:pt x="129" y="260"/>
                    <a:pt x="134" y="249"/>
                    <a:pt x="134" y="239"/>
                  </a:cubicBezTo>
                  <a:cubicBezTo>
                    <a:pt x="134" y="229"/>
                    <a:pt x="139" y="221"/>
                    <a:pt x="152" y="216"/>
                  </a:cubicBezTo>
                  <a:cubicBezTo>
                    <a:pt x="164" y="210"/>
                    <a:pt x="164" y="198"/>
                    <a:pt x="170" y="188"/>
                  </a:cubicBezTo>
                  <a:cubicBezTo>
                    <a:pt x="176" y="179"/>
                    <a:pt x="178" y="169"/>
                    <a:pt x="190" y="158"/>
                  </a:cubicBezTo>
                  <a:cubicBezTo>
                    <a:pt x="202" y="146"/>
                    <a:pt x="202" y="118"/>
                    <a:pt x="202" y="112"/>
                  </a:cubicBezTo>
                  <a:cubicBezTo>
                    <a:pt x="202" y="107"/>
                    <a:pt x="198" y="92"/>
                    <a:pt x="191" y="88"/>
                  </a:cubicBezTo>
                  <a:cubicBezTo>
                    <a:pt x="184" y="84"/>
                    <a:pt x="180" y="66"/>
                    <a:pt x="184" y="59"/>
                  </a:cubicBezTo>
                  <a:cubicBezTo>
                    <a:pt x="187" y="56"/>
                    <a:pt x="187" y="50"/>
                    <a:pt x="187" y="45"/>
                  </a:cubicBezTo>
                  <a:cubicBezTo>
                    <a:pt x="186" y="45"/>
                    <a:pt x="186" y="45"/>
                    <a:pt x="186" y="45"/>
                  </a:cubicBezTo>
                  <a:cubicBezTo>
                    <a:pt x="177" y="45"/>
                    <a:pt x="177" y="39"/>
                    <a:pt x="168" y="36"/>
                  </a:cubicBezTo>
                  <a:cubicBezTo>
                    <a:pt x="160" y="33"/>
                    <a:pt x="159" y="23"/>
                    <a:pt x="148" y="11"/>
                  </a:cubicBezTo>
                  <a:cubicBezTo>
                    <a:pt x="137" y="0"/>
                    <a:pt x="135" y="11"/>
                    <a:pt x="127" y="12"/>
                  </a:cubicBezTo>
                  <a:cubicBezTo>
                    <a:pt x="119" y="12"/>
                    <a:pt x="122" y="18"/>
                    <a:pt x="114" y="24"/>
                  </a:cubicBezTo>
                  <a:cubicBezTo>
                    <a:pt x="114" y="25"/>
                    <a:pt x="113" y="25"/>
                    <a:pt x="113" y="26"/>
                  </a:cubicBezTo>
                  <a:cubicBezTo>
                    <a:pt x="113" y="26"/>
                    <a:pt x="112" y="26"/>
                    <a:pt x="112" y="26"/>
                  </a:cubicBezTo>
                  <a:cubicBezTo>
                    <a:pt x="112" y="26"/>
                    <a:pt x="112" y="27"/>
                    <a:pt x="112" y="27"/>
                  </a:cubicBezTo>
                  <a:cubicBezTo>
                    <a:pt x="111" y="27"/>
                    <a:pt x="111" y="27"/>
                    <a:pt x="111" y="28"/>
                  </a:cubicBezTo>
                  <a:cubicBezTo>
                    <a:pt x="111" y="28"/>
                    <a:pt x="111" y="28"/>
                    <a:pt x="111" y="29"/>
                  </a:cubicBezTo>
                  <a:cubicBezTo>
                    <a:pt x="111" y="29"/>
                    <a:pt x="111" y="29"/>
                    <a:pt x="110" y="29"/>
                  </a:cubicBezTo>
                  <a:cubicBezTo>
                    <a:pt x="110" y="30"/>
                    <a:pt x="110" y="30"/>
                    <a:pt x="110" y="31"/>
                  </a:cubicBezTo>
                  <a:cubicBezTo>
                    <a:pt x="110" y="31"/>
                    <a:pt x="110" y="31"/>
                    <a:pt x="110" y="31"/>
                  </a:cubicBezTo>
                  <a:cubicBezTo>
                    <a:pt x="110" y="31"/>
                    <a:pt x="110" y="32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09" y="34"/>
                    <a:pt x="109" y="34"/>
                    <a:pt x="109" y="35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9" y="38"/>
                    <a:pt x="110" y="40"/>
                    <a:pt x="110" y="43"/>
                  </a:cubicBezTo>
                  <a:cubicBezTo>
                    <a:pt x="110" y="43"/>
                    <a:pt x="110" y="44"/>
                    <a:pt x="110" y="44"/>
                  </a:cubicBezTo>
                  <a:cubicBezTo>
                    <a:pt x="110" y="44"/>
                    <a:pt x="110" y="45"/>
                    <a:pt x="110" y="45"/>
                  </a:cubicBezTo>
                  <a:cubicBezTo>
                    <a:pt x="110" y="45"/>
                    <a:pt x="110" y="46"/>
                    <a:pt x="110" y="46"/>
                  </a:cubicBezTo>
                  <a:cubicBezTo>
                    <a:pt x="110" y="46"/>
                    <a:pt x="110" y="47"/>
                    <a:pt x="110" y="47"/>
                  </a:cubicBezTo>
                  <a:cubicBezTo>
                    <a:pt x="110" y="47"/>
                    <a:pt x="110" y="48"/>
                    <a:pt x="110" y="49"/>
                  </a:cubicBezTo>
                  <a:cubicBezTo>
                    <a:pt x="110" y="57"/>
                    <a:pt x="99" y="60"/>
                    <a:pt x="92" y="67"/>
                  </a:cubicBezTo>
                  <a:cubicBezTo>
                    <a:pt x="86" y="74"/>
                    <a:pt x="73" y="70"/>
                    <a:pt x="57" y="70"/>
                  </a:cubicBezTo>
                  <a:cubicBezTo>
                    <a:pt x="41" y="70"/>
                    <a:pt x="39" y="85"/>
                    <a:pt x="29" y="93"/>
                  </a:cubicBezTo>
                  <a:cubicBezTo>
                    <a:pt x="28" y="94"/>
                    <a:pt x="27" y="95"/>
                    <a:pt x="26" y="95"/>
                  </a:cubicBezTo>
                  <a:cubicBezTo>
                    <a:pt x="26" y="96"/>
                    <a:pt x="26" y="96"/>
                    <a:pt x="26" y="96"/>
                  </a:cubicBezTo>
                  <a:cubicBezTo>
                    <a:pt x="25" y="96"/>
                    <a:pt x="24" y="97"/>
                    <a:pt x="23" y="9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22" y="98"/>
                    <a:pt x="21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8" y="106"/>
                    <a:pt x="18" y="114"/>
                    <a:pt x="16" y="116"/>
                  </a:cubicBezTo>
                  <a:cubicBezTo>
                    <a:pt x="12" y="122"/>
                    <a:pt x="0" y="132"/>
                    <a:pt x="15" y="141"/>
                  </a:cubicBezTo>
                  <a:cubicBezTo>
                    <a:pt x="30" y="150"/>
                    <a:pt x="28" y="157"/>
                    <a:pt x="34" y="158"/>
                  </a:cubicBezTo>
                  <a:cubicBezTo>
                    <a:pt x="41" y="158"/>
                    <a:pt x="46" y="164"/>
                    <a:pt x="48" y="172"/>
                  </a:cubicBezTo>
                  <a:cubicBezTo>
                    <a:pt x="50" y="181"/>
                    <a:pt x="35" y="195"/>
                    <a:pt x="54" y="203"/>
                  </a:cubicBezTo>
                  <a:cubicBezTo>
                    <a:pt x="72" y="211"/>
                    <a:pt x="68" y="206"/>
                    <a:pt x="70" y="224"/>
                  </a:cubicBezTo>
                  <a:cubicBezTo>
                    <a:pt x="71" y="242"/>
                    <a:pt x="66" y="268"/>
                    <a:pt x="63" y="277"/>
                  </a:cubicBezTo>
                  <a:cubicBezTo>
                    <a:pt x="60" y="286"/>
                    <a:pt x="62" y="302"/>
                    <a:pt x="63" y="308"/>
                  </a:cubicBezTo>
                  <a:cubicBezTo>
                    <a:pt x="64" y="314"/>
                    <a:pt x="71" y="338"/>
                    <a:pt x="65" y="346"/>
                  </a:cubicBezTo>
                  <a:cubicBezTo>
                    <a:pt x="59" y="354"/>
                    <a:pt x="54" y="363"/>
                    <a:pt x="58" y="371"/>
                  </a:cubicBezTo>
                  <a:cubicBezTo>
                    <a:pt x="63" y="379"/>
                    <a:pt x="70" y="389"/>
                    <a:pt x="70" y="395"/>
                  </a:cubicBezTo>
                  <a:cubicBezTo>
                    <a:pt x="70" y="398"/>
                    <a:pt x="72" y="401"/>
                    <a:pt x="74" y="405"/>
                  </a:cubicBezTo>
                  <a:cubicBezTo>
                    <a:pt x="91" y="403"/>
                    <a:pt x="108" y="396"/>
                    <a:pt x="136" y="395"/>
                  </a:cubicBezTo>
                  <a:cubicBezTo>
                    <a:pt x="135" y="389"/>
                    <a:pt x="134" y="382"/>
                    <a:pt x="135" y="37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78" name="Freeform 408">
              <a:extLst>
                <a:ext uri="{FF2B5EF4-FFF2-40B4-BE49-F238E27FC236}">
                  <a16:creationId xmlns:a16="http://schemas.microsoft.com/office/drawing/2014/main" id="{27AAFCA0-4D10-9A4A-A856-3A7527362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1" y="2354"/>
              <a:ext cx="194" cy="156"/>
            </a:xfrm>
            <a:custGeom>
              <a:avLst/>
              <a:gdLst>
                <a:gd name="T0" fmla="*/ 396 w 766"/>
                <a:gd name="T1" fmla="*/ 547 h 618"/>
                <a:gd name="T2" fmla="*/ 428 w 766"/>
                <a:gd name="T3" fmla="*/ 486 h 618"/>
                <a:gd name="T4" fmla="*/ 474 w 766"/>
                <a:gd name="T5" fmla="*/ 447 h 618"/>
                <a:gd name="T6" fmla="*/ 510 w 766"/>
                <a:gd name="T7" fmla="*/ 438 h 618"/>
                <a:gd name="T8" fmla="*/ 536 w 766"/>
                <a:gd name="T9" fmla="*/ 463 h 618"/>
                <a:gd name="T10" fmla="*/ 563 w 766"/>
                <a:gd name="T11" fmla="*/ 469 h 618"/>
                <a:gd name="T12" fmla="*/ 596 w 766"/>
                <a:gd name="T13" fmla="*/ 407 h 618"/>
                <a:gd name="T14" fmla="*/ 624 w 766"/>
                <a:gd name="T15" fmla="*/ 344 h 618"/>
                <a:gd name="T16" fmla="*/ 662 w 766"/>
                <a:gd name="T17" fmla="*/ 281 h 618"/>
                <a:gd name="T18" fmla="*/ 689 w 766"/>
                <a:gd name="T19" fmla="*/ 234 h 618"/>
                <a:gd name="T20" fmla="*/ 729 w 766"/>
                <a:gd name="T21" fmla="*/ 168 h 618"/>
                <a:gd name="T22" fmla="*/ 755 w 766"/>
                <a:gd name="T23" fmla="*/ 104 h 618"/>
                <a:gd name="T24" fmla="*/ 728 w 766"/>
                <a:gd name="T25" fmla="*/ 67 h 618"/>
                <a:gd name="T26" fmla="*/ 729 w 766"/>
                <a:gd name="T27" fmla="*/ 63 h 618"/>
                <a:gd name="T28" fmla="*/ 729 w 766"/>
                <a:gd name="T29" fmla="*/ 58 h 618"/>
                <a:gd name="T30" fmla="*/ 728 w 766"/>
                <a:gd name="T31" fmla="*/ 54 h 618"/>
                <a:gd name="T32" fmla="*/ 727 w 766"/>
                <a:gd name="T33" fmla="*/ 50 h 618"/>
                <a:gd name="T34" fmla="*/ 726 w 766"/>
                <a:gd name="T35" fmla="*/ 46 h 618"/>
                <a:gd name="T36" fmla="*/ 724 w 766"/>
                <a:gd name="T37" fmla="*/ 43 h 618"/>
                <a:gd name="T38" fmla="*/ 721 w 766"/>
                <a:gd name="T39" fmla="*/ 38 h 618"/>
                <a:gd name="T40" fmla="*/ 683 w 766"/>
                <a:gd name="T41" fmla="*/ 14 h 618"/>
                <a:gd name="T42" fmla="*/ 627 w 766"/>
                <a:gd name="T43" fmla="*/ 46 h 618"/>
                <a:gd name="T44" fmla="*/ 578 w 766"/>
                <a:gd name="T45" fmla="*/ 35 h 618"/>
                <a:gd name="T46" fmla="*/ 472 w 766"/>
                <a:gd name="T47" fmla="*/ 47 h 618"/>
                <a:gd name="T48" fmla="*/ 405 w 766"/>
                <a:gd name="T49" fmla="*/ 70 h 618"/>
                <a:gd name="T50" fmla="*/ 346 w 766"/>
                <a:gd name="T51" fmla="*/ 35 h 618"/>
                <a:gd name="T52" fmla="*/ 305 w 766"/>
                <a:gd name="T53" fmla="*/ 50 h 618"/>
                <a:gd name="T54" fmla="*/ 269 w 766"/>
                <a:gd name="T55" fmla="*/ 53 h 618"/>
                <a:gd name="T56" fmla="*/ 227 w 766"/>
                <a:gd name="T57" fmla="*/ 18 h 618"/>
                <a:gd name="T58" fmla="*/ 201 w 766"/>
                <a:gd name="T59" fmla="*/ 5 h 618"/>
                <a:gd name="T60" fmla="*/ 166 w 766"/>
                <a:gd name="T61" fmla="*/ 6 h 618"/>
                <a:gd name="T62" fmla="*/ 101 w 766"/>
                <a:gd name="T63" fmla="*/ 18 h 618"/>
                <a:gd name="T64" fmla="*/ 77 w 766"/>
                <a:gd name="T65" fmla="*/ 80 h 618"/>
                <a:gd name="T66" fmla="*/ 62 w 766"/>
                <a:gd name="T67" fmla="*/ 132 h 618"/>
                <a:gd name="T68" fmla="*/ 60 w 766"/>
                <a:gd name="T69" fmla="*/ 132 h 618"/>
                <a:gd name="T70" fmla="*/ 58 w 766"/>
                <a:gd name="T71" fmla="*/ 132 h 618"/>
                <a:gd name="T72" fmla="*/ 55 w 766"/>
                <a:gd name="T73" fmla="*/ 146 h 618"/>
                <a:gd name="T74" fmla="*/ 73 w 766"/>
                <a:gd name="T75" fmla="*/ 199 h 618"/>
                <a:gd name="T76" fmla="*/ 41 w 766"/>
                <a:gd name="T77" fmla="*/ 275 h 618"/>
                <a:gd name="T78" fmla="*/ 5 w 766"/>
                <a:gd name="T79" fmla="*/ 326 h 618"/>
                <a:gd name="T80" fmla="*/ 4 w 766"/>
                <a:gd name="T81" fmla="*/ 405 h 618"/>
                <a:gd name="T82" fmla="*/ 6 w 766"/>
                <a:gd name="T83" fmla="*/ 465 h 618"/>
                <a:gd name="T84" fmla="*/ 14 w 766"/>
                <a:gd name="T85" fmla="*/ 482 h 618"/>
                <a:gd name="T86" fmla="*/ 178 w 766"/>
                <a:gd name="T87" fmla="*/ 545 h 618"/>
                <a:gd name="T88" fmla="*/ 240 w 766"/>
                <a:gd name="T89" fmla="*/ 610 h 618"/>
                <a:gd name="T90" fmla="*/ 329 w 766"/>
                <a:gd name="T91" fmla="*/ 599 h 618"/>
                <a:gd name="T92" fmla="*/ 378 w 766"/>
                <a:gd name="T93" fmla="*/ 576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66" h="618">
                  <a:moveTo>
                    <a:pt x="378" y="576"/>
                  </a:moveTo>
                  <a:cubicBezTo>
                    <a:pt x="389" y="570"/>
                    <a:pt x="396" y="559"/>
                    <a:pt x="396" y="547"/>
                  </a:cubicBezTo>
                  <a:cubicBezTo>
                    <a:pt x="396" y="535"/>
                    <a:pt x="393" y="515"/>
                    <a:pt x="401" y="510"/>
                  </a:cubicBezTo>
                  <a:cubicBezTo>
                    <a:pt x="409" y="505"/>
                    <a:pt x="418" y="489"/>
                    <a:pt x="428" y="486"/>
                  </a:cubicBezTo>
                  <a:cubicBezTo>
                    <a:pt x="437" y="483"/>
                    <a:pt x="443" y="479"/>
                    <a:pt x="449" y="469"/>
                  </a:cubicBezTo>
                  <a:cubicBezTo>
                    <a:pt x="456" y="460"/>
                    <a:pt x="462" y="444"/>
                    <a:pt x="474" y="447"/>
                  </a:cubicBezTo>
                  <a:cubicBezTo>
                    <a:pt x="486" y="450"/>
                    <a:pt x="491" y="454"/>
                    <a:pt x="496" y="450"/>
                  </a:cubicBezTo>
                  <a:cubicBezTo>
                    <a:pt x="500" y="446"/>
                    <a:pt x="502" y="433"/>
                    <a:pt x="510" y="438"/>
                  </a:cubicBezTo>
                  <a:cubicBezTo>
                    <a:pt x="518" y="442"/>
                    <a:pt x="523" y="446"/>
                    <a:pt x="529" y="450"/>
                  </a:cubicBezTo>
                  <a:cubicBezTo>
                    <a:pt x="535" y="453"/>
                    <a:pt x="536" y="458"/>
                    <a:pt x="536" y="463"/>
                  </a:cubicBezTo>
                  <a:cubicBezTo>
                    <a:pt x="535" y="467"/>
                    <a:pt x="532" y="478"/>
                    <a:pt x="541" y="480"/>
                  </a:cubicBezTo>
                  <a:cubicBezTo>
                    <a:pt x="550" y="481"/>
                    <a:pt x="559" y="481"/>
                    <a:pt x="563" y="469"/>
                  </a:cubicBezTo>
                  <a:cubicBezTo>
                    <a:pt x="567" y="457"/>
                    <a:pt x="570" y="446"/>
                    <a:pt x="582" y="440"/>
                  </a:cubicBezTo>
                  <a:cubicBezTo>
                    <a:pt x="593" y="433"/>
                    <a:pt x="585" y="423"/>
                    <a:pt x="596" y="407"/>
                  </a:cubicBezTo>
                  <a:cubicBezTo>
                    <a:pt x="608" y="391"/>
                    <a:pt x="612" y="378"/>
                    <a:pt x="613" y="367"/>
                  </a:cubicBezTo>
                  <a:cubicBezTo>
                    <a:pt x="614" y="357"/>
                    <a:pt x="615" y="351"/>
                    <a:pt x="624" y="344"/>
                  </a:cubicBezTo>
                  <a:cubicBezTo>
                    <a:pt x="632" y="336"/>
                    <a:pt x="646" y="322"/>
                    <a:pt x="646" y="311"/>
                  </a:cubicBezTo>
                  <a:cubicBezTo>
                    <a:pt x="646" y="301"/>
                    <a:pt x="649" y="283"/>
                    <a:pt x="662" y="281"/>
                  </a:cubicBezTo>
                  <a:cubicBezTo>
                    <a:pt x="675" y="278"/>
                    <a:pt x="675" y="276"/>
                    <a:pt x="678" y="263"/>
                  </a:cubicBezTo>
                  <a:cubicBezTo>
                    <a:pt x="682" y="249"/>
                    <a:pt x="687" y="248"/>
                    <a:pt x="689" y="234"/>
                  </a:cubicBezTo>
                  <a:cubicBezTo>
                    <a:pt x="691" y="221"/>
                    <a:pt x="695" y="205"/>
                    <a:pt x="701" y="196"/>
                  </a:cubicBezTo>
                  <a:cubicBezTo>
                    <a:pt x="706" y="187"/>
                    <a:pt x="713" y="171"/>
                    <a:pt x="729" y="168"/>
                  </a:cubicBezTo>
                  <a:cubicBezTo>
                    <a:pt x="744" y="166"/>
                    <a:pt x="760" y="156"/>
                    <a:pt x="760" y="148"/>
                  </a:cubicBezTo>
                  <a:cubicBezTo>
                    <a:pt x="760" y="140"/>
                    <a:pt x="766" y="108"/>
                    <a:pt x="755" y="104"/>
                  </a:cubicBezTo>
                  <a:cubicBezTo>
                    <a:pt x="744" y="99"/>
                    <a:pt x="737" y="104"/>
                    <a:pt x="735" y="93"/>
                  </a:cubicBezTo>
                  <a:cubicBezTo>
                    <a:pt x="733" y="81"/>
                    <a:pt x="727" y="76"/>
                    <a:pt x="728" y="67"/>
                  </a:cubicBezTo>
                  <a:cubicBezTo>
                    <a:pt x="728" y="66"/>
                    <a:pt x="728" y="65"/>
                    <a:pt x="729" y="63"/>
                  </a:cubicBezTo>
                  <a:cubicBezTo>
                    <a:pt x="729" y="63"/>
                    <a:pt x="729" y="63"/>
                    <a:pt x="729" y="63"/>
                  </a:cubicBezTo>
                  <a:cubicBezTo>
                    <a:pt x="729" y="62"/>
                    <a:pt x="729" y="60"/>
                    <a:pt x="729" y="59"/>
                  </a:cubicBezTo>
                  <a:cubicBezTo>
                    <a:pt x="729" y="59"/>
                    <a:pt x="729" y="59"/>
                    <a:pt x="729" y="58"/>
                  </a:cubicBezTo>
                  <a:cubicBezTo>
                    <a:pt x="728" y="57"/>
                    <a:pt x="728" y="56"/>
                    <a:pt x="728" y="55"/>
                  </a:cubicBezTo>
                  <a:cubicBezTo>
                    <a:pt x="728" y="54"/>
                    <a:pt x="728" y="54"/>
                    <a:pt x="728" y="54"/>
                  </a:cubicBezTo>
                  <a:cubicBezTo>
                    <a:pt x="728" y="53"/>
                    <a:pt x="728" y="51"/>
                    <a:pt x="727" y="50"/>
                  </a:cubicBezTo>
                  <a:cubicBezTo>
                    <a:pt x="727" y="50"/>
                    <a:pt x="727" y="50"/>
                    <a:pt x="727" y="50"/>
                  </a:cubicBezTo>
                  <a:cubicBezTo>
                    <a:pt x="727" y="49"/>
                    <a:pt x="727" y="48"/>
                    <a:pt x="726" y="47"/>
                  </a:cubicBezTo>
                  <a:cubicBezTo>
                    <a:pt x="726" y="47"/>
                    <a:pt x="726" y="47"/>
                    <a:pt x="726" y="46"/>
                  </a:cubicBezTo>
                  <a:cubicBezTo>
                    <a:pt x="726" y="46"/>
                    <a:pt x="725" y="45"/>
                    <a:pt x="725" y="44"/>
                  </a:cubicBezTo>
                  <a:cubicBezTo>
                    <a:pt x="725" y="44"/>
                    <a:pt x="725" y="43"/>
                    <a:pt x="724" y="43"/>
                  </a:cubicBezTo>
                  <a:cubicBezTo>
                    <a:pt x="724" y="42"/>
                    <a:pt x="724" y="42"/>
                    <a:pt x="723" y="41"/>
                  </a:cubicBezTo>
                  <a:cubicBezTo>
                    <a:pt x="723" y="40"/>
                    <a:pt x="722" y="39"/>
                    <a:pt x="721" y="38"/>
                  </a:cubicBezTo>
                  <a:cubicBezTo>
                    <a:pt x="716" y="32"/>
                    <a:pt x="700" y="15"/>
                    <a:pt x="692" y="6"/>
                  </a:cubicBezTo>
                  <a:cubicBezTo>
                    <a:pt x="690" y="9"/>
                    <a:pt x="687" y="11"/>
                    <a:pt x="683" y="14"/>
                  </a:cubicBezTo>
                  <a:cubicBezTo>
                    <a:pt x="676" y="20"/>
                    <a:pt x="672" y="22"/>
                    <a:pt x="654" y="25"/>
                  </a:cubicBezTo>
                  <a:cubicBezTo>
                    <a:pt x="636" y="29"/>
                    <a:pt x="634" y="36"/>
                    <a:pt x="627" y="46"/>
                  </a:cubicBezTo>
                  <a:cubicBezTo>
                    <a:pt x="621" y="57"/>
                    <a:pt x="609" y="49"/>
                    <a:pt x="599" y="47"/>
                  </a:cubicBezTo>
                  <a:cubicBezTo>
                    <a:pt x="589" y="45"/>
                    <a:pt x="583" y="42"/>
                    <a:pt x="578" y="35"/>
                  </a:cubicBezTo>
                  <a:cubicBezTo>
                    <a:pt x="572" y="27"/>
                    <a:pt x="514" y="33"/>
                    <a:pt x="498" y="33"/>
                  </a:cubicBezTo>
                  <a:cubicBezTo>
                    <a:pt x="483" y="34"/>
                    <a:pt x="479" y="41"/>
                    <a:pt x="472" y="47"/>
                  </a:cubicBezTo>
                  <a:cubicBezTo>
                    <a:pt x="465" y="53"/>
                    <a:pt x="453" y="58"/>
                    <a:pt x="447" y="64"/>
                  </a:cubicBezTo>
                  <a:cubicBezTo>
                    <a:pt x="441" y="71"/>
                    <a:pt x="422" y="69"/>
                    <a:pt x="405" y="70"/>
                  </a:cubicBezTo>
                  <a:cubicBezTo>
                    <a:pt x="389" y="70"/>
                    <a:pt x="384" y="61"/>
                    <a:pt x="377" y="56"/>
                  </a:cubicBezTo>
                  <a:cubicBezTo>
                    <a:pt x="370" y="51"/>
                    <a:pt x="357" y="42"/>
                    <a:pt x="346" y="35"/>
                  </a:cubicBezTo>
                  <a:cubicBezTo>
                    <a:pt x="336" y="28"/>
                    <a:pt x="330" y="35"/>
                    <a:pt x="322" y="39"/>
                  </a:cubicBezTo>
                  <a:cubicBezTo>
                    <a:pt x="314" y="43"/>
                    <a:pt x="313" y="49"/>
                    <a:pt x="305" y="50"/>
                  </a:cubicBezTo>
                  <a:cubicBezTo>
                    <a:pt x="297" y="50"/>
                    <a:pt x="292" y="47"/>
                    <a:pt x="286" y="52"/>
                  </a:cubicBezTo>
                  <a:cubicBezTo>
                    <a:pt x="280" y="57"/>
                    <a:pt x="274" y="58"/>
                    <a:pt x="269" y="53"/>
                  </a:cubicBezTo>
                  <a:cubicBezTo>
                    <a:pt x="263" y="49"/>
                    <a:pt x="258" y="36"/>
                    <a:pt x="252" y="28"/>
                  </a:cubicBezTo>
                  <a:cubicBezTo>
                    <a:pt x="245" y="20"/>
                    <a:pt x="236" y="18"/>
                    <a:pt x="227" y="18"/>
                  </a:cubicBezTo>
                  <a:cubicBezTo>
                    <a:pt x="218" y="18"/>
                    <a:pt x="219" y="11"/>
                    <a:pt x="214" y="11"/>
                  </a:cubicBezTo>
                  <a:cubicBezTo>
                    <a:pt x="208" y="11"/>
                    <a:pt x="206" y="10"/>
                    <a:pt x="201" y="5"/>
                  </a:cubicBezTo>
                  <a:cubicBezTo>
                    <a:pt x="196" y="1"/>
                    <a:pt x="194" y="0"/>
                    <a:pt x="183" y="0"/>
                  </a:cubicBezTo>
                  <a:cubicBezTo>
                    <a:pt x="173" y="0"/>
                    <a:pt x="173" y="1"/>
                    <a:pt x="166" y="6"/>
                  </a:cubicBezTo>
                  <a:cubicBezTo>
                    <a:pt x="158" y="11"/>
                    <a:pt x="146" y="7"/>
                    <a:pt x="131" y="7"/>
                  </a:cubicBezTo>
                  <a:cubicBezTo>
                    <a:pt x="116" y="7"/>
                    <a:pt x="112" y="15"/>
                    <a:pt x="101" y="18"/>
                  </a:cubicBezTo>
                  <a:cubicBezTo>
                    <a:pt x="89" y="21"/>
                    <a:pt x="91" y="35"/>
                    <a:pt x="90" y="53"/>
                  </a:cubicBezTo>
                  <a:cubicBezTo>
                    <a:pt x="89" y="71"/>
                    <a:pt x="88" y="73"/>
                    <a:pt x="77" y="80"/>
                  </a:cubicBezTo>
                  <a:cubicBezTo>
                    <a:pt x="66" y="87"/>
                    <a:pt x="66" y="108"/>
                    <a:pt x="66" y="119"/>
                  </a:cubicBezTo>
                  <a:cubicBezTo>
                    <a:pt x="66" y="127"/>
                    <a:pt x="65" y="130"/>
                    <a:pt x="62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1" y="132"/>
                    <a:pt x="61" y="132"/>
                    <a:pt x="60" y="132"/>
                  </a:cubicBezTo>
                  <a:cubicBezTo>
                    <a:pt x="60" y="132"/>
                    <a:pt x="60" y="132"/>
                    <a:pt x="60" y="132"/>
                  </a:cubicBezTo>
                  <a:cubicBezTo>
                    <a:pt x="59" y="132"/>
                    <a:pt x="58" y="132"/>
                    <a:pt x="58" y="132"/>
                  </a:cubicBezTo>
                  <a:cubicBezTo>
                    <a:pt x="58" y="132"/>
                    <a:pt x="58" y="132"/>
                    <a:pt x="58" y="132"/>
                  </a:cubicBezTo>
                  <a:cubicBezTo>
                    <a:pt x="58" y="137"/>
                    <a:pt x="58" y="143"/>
                    <a:pt x="55" y="146"/>
                  </a:cubicBezTo>
                  <a:cubicBezTo>
                    <a:pt x="51" y="153"/>
                    <a:pt x="55" y="171"/>
                    <a:pt x="62" y="175"/>
                  </a:cubicBezTo>
                  <a:cubicBezTo>
                    <a:pt x="69" y="179"/>
                    <a:pt x="73" y="194"/>
                    <a:pt x="73" y="199"/>
                  </a:cubicBezTo>
                  <a:cubicBezTo>
                    <a:pt x="73" y="205"/>
                    <a:pt x="73" y="233"/>
                    <a:pt x="61" y="245"/>
                  </a:cubicBezTo>
                  <a:cubicBezTo>
                    <a:pt x="49" y="256"/>
                    <a:pt x="47" y="266"/>
                    <a:pt x="41" y="275"/>
                  </a:cubicBezTo>
                  <a:cubicBezTo>
                    <a:pt x="35" y="285"/>
                    <a:pt x="35" y="297"/>
                    <a:pt x="23" y="303"/>
                  </a:cubicBezTo>
                  <a:cubicBezTo>
                    <a:pt x="10" y="308"/>
                    <a:pt x="5" y="316"/>
                    <a:pt x="5" y="326"/>
                  </a:cubicBezTo>
                  <a:cubicBezTo>
                    <a:pt x="5" y="336"/>
                    <a:pt x="0" y="347"/>
                    <a:pt x="1" y="359"/>
                  </a:cubicBezTo>
                  <a:cubicBezTo>
                    <a:pt x="3" y="371"/>
                    <a:pt x="1" y="397"/>
                    <a:pt x="4" y="405"/>
                  </a:cubicBezTo>
                  <a:cubicBezTo>
                    <a:pt x="7" y="413"/>
                    <a:pt x="7" y="424"/>
                    <a:pt x="9" y="431"/>
                  </a:cubicBezTo>
                  <a:cubicBezTo>
                    <a:pt x="10" y="437"/>
                    <a:pt x="8" y="457"/>
                    <a:pt x="6" y="465"/>
                  </a:cubicBezTo>
                  <a:cubicBezTo>
                    <a:pt x="5" y="469"/>
                    <a:pt x="6" y="476"/>
                    <a:pt x="7" y="482"/>
                  </a:cubicBezTo>
                  <a:cubicBezTo>
                    <a:pt x="9" y="482"/>
                    <a:pt x="12" y="482"/>
                    <a:pt x="14" y="482"/>
                  </a:cubicBezTo>
                  <a:cubicBezTo>
                    <a:pt x="47" y="482"/>
                    <a:pt x="104" y="470"/>
                    <a:pt x="135" y="496"/>
                  </a:cubicBezTo>
                  <a:cubicBezTo>
                    <a:pt x="165" y="522"/>
                    <a:pt x="178" y="523"/>
                    <a:pt x="178" y="545"/>
                  </a:cubicBezTo>
                  <a:cubicBezTo>
                    <a:pt x="178" y="568"/>
                    <a:pt x="174" y="580"/>
                    <a:pt x="196" y="599"/>
                  </a:cubicBezTo>
                  <a:cubicBezTo>
                    <a:pt x="217" y="618"/>
                    <a:pt x="231" y="615"/>
                    <a:pt x="240" y="610"/>
                  </a:cubicBezTo>
                  <a:cubicBezTo>
                    <a:pt x="249" y="605"/>
                    <a:pt x="273" y="595"/>
                    <a:pt x="286" y="597"/>
                  </a:cubicBezTo>
                  <a:cubicBezTo>
                    <a:pt x="299" y="599"/>
                    <a:pt x="312" y="599"/>
                    <a:pt x="329" y="599"/>
                  </a:cubicBezTo>
                  <a:cubicBezTo>
                    <a:pt x="339" y="599"/>
                    <a:pt x="355" y="595"/>
                    <a:pt x="368" y="596"/>
                  </a:cubicBezTo>
                  <a:cubicBezTo>
                    <a:pt x="369" y="589"/>
                    <a:pt x="372" y="580"/>
                    <a:pt x="378" y="57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79" name="Freeform 409">
              <a:extLst>
                <a:ext uri="{FF2B5EF4-FFF2-40B4-BE49-F238E27FC236}">
                  <a16:creationId xmlns:a16="http://schemas.microsoft.com/office/drawing/2014/main" id="{606ADAFD-5288-6B4F-82CF-44B1752DCE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" y="2367"/>
              <a:ext cx="125" cy="186"/>
            </a:xfrm>
            <a:custGeom>
              <a:avLst/>
              <a:gdLst>
                <a:gd name="T0" fmla="*/ 174 w 494"/>
                <a:gd name="T1" fmla="*/ 704 h 738"/>
                <a:gd name="T2" fmla="*/ 180 w 494"/>
                <a:gd name="T3" fmla="*/ 703 h 738"/>
                <a:gd name="T4" fmla="*/ 188 w 494"/>
                <a:gd name="T5" fmla="*/ 700 h 738"/>
                <a:gd name="T6" fmla="*/ 191 w 494"/>
                <a:gd name="T7" fmla="*/ 696 h 738"/>
                <a:gd name="T8" fmla="*/ 193 w 494"/>
                <a:gd name="T9" fmla="*/ 693 h 738"/>
                <a:gd name="T10" fmla="*/ 248 w 494"/>
                <a:gd name="T11" fmla="*/ 694 h 738"/>
                <a:gd name="T12" fmla="*/ 256 w 494"/>
                <a:gd name="T13" fmla="*/ 695 h 738"/>
                <a:gd name="T14" fmla="*/ 262 w 494"/>
                <a:gd name="T15" fmla="*/ 695 h 738"/>
                <a:gd name="T16" fmla="*/ 274 w 494"/>
                <a:gd name="T17" fmla="*/ 696 h 738"/>
                <a:gd name="T18" fmla="*/ 282 w 494"/>
                <a:gd name="T19" fmla="*/ 697 h 738"/>
                <a:gd name="T20" fmla="*/ 295 w 494"/>
                <a:gd name="T21" fmla="*/ 699 h 738"/>
                <a:gd name="T22" fmla="*/ 303 w 494"/>
                <a:gd name="T23" fmla="*/ 700 h 738"/>
                <a:gd name="T24" fmla="*/ 316 w 494"/>
                <a:gd name="T25" fmla="*/ 701 h 738"/>
                <a:gd name="T26" fmla="*/ 327 w 494"/>
                <a:gd name="T27" fmla="*/ 703 h 738"/>
                <a:gd name="T28" fmla="*/ 334 w 494"/>
                <a:gd name="T29" fmla="*/ 704 h 738"/>
                <a:gd name="T30" fmla="*/ 461 w 494"/>
                <a:gd name="T31" fmla="*/ 723 h 738"/>
                <a:gd name="T32" fmla="*/ 494 w 494"/>
                <a:gd name="T33" fmla="*/ 701 h 738"/>
                <a:gd name="T34" fmla="*/ 487 w 494"/>
                <a:gd name="T35" fmla="*/ 661 h 738"/>
                <a:gd name="T36" fmla="*/ 424 w 494"/>
                <a:gd name="T37" fmla="*/ 585 h 738"/>
                <a:gd name="T38" fmla="*/ 393 w 494"/>
                <a:gd name="T39" fmla="*/ 483 h 738"/>
                <a:gd name="T40" fmla="*/ 406 w 494"/>
                <a:gd name="T41" fmla="*/ 433 h 738"/>
                <a:gd name="T42" fmla="*/ 453 w 494"/>
                <a:gd name="T43" fmla="*/ 363 h 738"/>
                <a:gd name="T44" fmla="*/ 455 w 494"/>
                <a:gd name="T45" fmla="*/ 360 h 738"/>
                <a:gd name="T46" fmla="*/ 455 w 494"/>
                <a:gd name="T47" fmla="*/ 358 h 738"/>
                <a:gd name="T48" fmla="*/ 455 w 494"/>
                <a:gd name="T49" fmla="*/ 355 h 738"/>
                <a:gd name="T50" fmla="*/ 455 w 494"/>
                <a:gd name="T51" fmla="*/ 352 h 738"/>
                <a:gd name="T52" fmla="*/ 454 w 494"/>
                <a:gd name="T53" fmla="*/ 349 h 738"/>
                <a:gd name="T54" fmla="*/ 453 w 494"/>
                <a:gd name="T55" fmla="*/ 346 h 738"/>
                <a:gd name="T56" fmla="*/ 453 w 494"/>
                <a:gd name="T57" fmla="*/ 343 h 738"/>
                <a:gd name="T58" fmla="*/ 451 w 494"/>
                <a:gd name="T59" fmla="*/ 341 h 738"/>
                <a:gd name="T60" fmla="*/ 450 w 494"/>
                <a:gd name="T61" fmla="*/ 338 h 738"/>
                <a:gd name="T62" fmla="*/ 449 w 494"/>
                <a:gd name="T63" fmla="*/ 337 h 738"/>
                <a:gd name="T64" fmla="*/ 421 w 494"/>
                <a:gd name="T65" fmla="*/ 290 h 738"/>
                <a:gd name="T66" fmla="*/ 362 w 494"/>
                <a:gd name="T67" fmla="*/ 205 h 738"/>
                <a:gd name="T68" fmla="*/ 461 w 494"/>
                <a:gd name="T69" fmla="*/ 197 h 738"/>
                <a:gd name="T70" fmla="*/ 421 w 494"/>
                <a:gd name="T71" fmla="*/ 150 h 738"/>
                <a:gd name="T72" fmla="*/ 420 w 494"/>
                <a:gd name="T73" fmla="*/ 67 h 738"/>
                <a:gd name="T74" fmla="*/ 396 w 494"/>
                <a:gd name="T75" fmla="*/ 19 h 738"/>
                <a:gd name="T76" fmla="*/ 359 w 494"/>
                <a:gd name="T77" fmla="*/ 0 h 738"/>
                <a:gd name="T78" fmla="*/ 361 w 494"/>
                <a:gd name="T79" fmla="*/ 8 h 738"/>
                <a:gd name="T80" fmla="*/ 361 w 494"/>
                <a:gd name="T81" fmla="*/ 13 h 738"/>
                <a:gd name="T82" fmla="*/ 387 w 494"/>
                <a:gd name="T83" fmla="*/ 54 h 738"/>
                <a:gd name="T84" fmla="*/ 333 w 494"/>
                <a:gd name="T85" fmla="*/ 146 h 738"/>
                <a:gd name="T86" fmla="*/ 294 w 494"/>
                <a:gd name="T87" fmla="*/ 231 h 738"/>
                <a:gd name="T88" fmla="*/ 245 w 494"/>
                <a:gd name="T89" fmla="*/ 317 h 738"/>
                <a:gd name="T90" fmla="*/ 195 w 494"/>
                <a:gd name="T91" fmla="*/ 419 h 738"/>
                <a:gd name="T92" fmla="*/ 161 w 494"/>
                <a:gd name="T93" fmla="*/ 400 h 738"/>
                <a:gd name="T94" fmla="*/ 106 w 494"/>
                <a:gd name="T95" fmla="*/ 397 h 738"/>
                <a:gd name="T96" fmla="*/ 33 w 494"/>
                <a:gd name="T97" fmla="*/ 460 h 738"/>
                <a:gd name="T98" fmla="*/ 0 w 494"/>
                <a:gd name="T99" fmla="*/ 546 h 738"/>
                <a:gd name="T100" fmla="*/ 86 w 494"/>
                <a:gd name="T101" fmla="*/ 603 h 738"/>
                <a:gd name="T102" fmla="*/ 88 w 494"/>
                <a:gd name="T103" fmla="*/ 686 h 738"/>
                <a:gd name="T104" fmla="*/ 165 w 494"/>
                <a:gd name="T105" fmla="*/ 705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94" h="738">
                  <a:moveTo>
                    <a:pt x="165" y="705"/>
                  </a:moveTo>
                  <a:cubicBezTo>
                    <a:pt x="167" y="705"/>
                    <a:pt x="169" y="705"/>
                    <a:pt x="171" y="704"/>
                  </a:cubicBezTo>
                  <a:cubicBezTo>
                    <a:pt x="172" y="704"/>
                    <a:pt x="173" y="704"/>
                    <a:pt x="174" y="704"/>
                  </a:cubicBezTo>
                  <a:cubicBezTo>
                    <a:pt x="174" y="704"/>
                    <a:pt x="175" y="704"/>
                    <a:pt x="176" y="704"/>
                  </a:cubicBezTo>
                  <a:cubicBezTo>
                    <a:pt x="177" y="704"/>
                    <a:pt x="178" y="703"/>
                    <a:pt x="179" y="703"/>
                  </a:cubicBezTo>
                  <a:cubicBezTo>
                    <a:pt x="180" y="703"/>
                    <a:pt x="180" y="703"/>
                    <a:pt x="180" y="703"/>
                  </a:cubicBezTo>
                  <a:cubicBezTo>
                    <a:pt x="181" y="702"/>
                    <a:pt x="183" y="702"/>
                    <a:pt x="184" y="702"/>
                  </a:cubicBezTo>
                  <a:cubicBezTo>
                    <a:pt x="185" y="701"/>
                    <a:pt x="186" y="700"/>
                    <a:pt x="188" y="700"/>
                  </a:cubicBezTo>
                  <a:cubicBezTo>
                    <a:pt x="188" y="700"/>
                    <a:pt x="188" y="700"/>
                    <a:pt x="188" y="700"/>
                  </a:cubicBezTo>
                  <a:cubicBezTo>
                    <a:pt x="188" y="699"/>
                    <a:pt x="189" y="698"/>
                    <a:pt x="190" y="698"/>
                  </a:cubicBezTo>
                  <a:cubicBezTo>
                    <a:pt x="190" y="698"/>
                    <a:pt x="190" y="698"/>
                    <a:pt x="191" y="697"/>
                  </a:cubicBezTo>
                  <a:cubicBezTo>
                    <a:pt x="191" y="697"/>
                    <a:pt x="191" y="697"/>
                    <a:pt x="191" y="696"/>
                  </a:cubicBezTo>
                  <a:cubicBezTo>
                    <a:pt x="192" y="696"/>
                    <a:pt x="192" y="695"/>
                    <a:pt x="192" y="695"/>
                  </a:cubicBezTo>
                  <a:cubicBezTo>
                    <a:pt x="192" y="695"/>
                    <a:pt x="192" y="695"/>
                    <a:pt x="192" y="695"/>
                  </a:cubicBezTo>
                  <a:cubicBezTo>
                    <a:pt x="193" y="694"/>
                    <a:pt x="193" y="693"/>
                    <a:pt x="193" y="693"/>
                  </a:cubicBezTo>
                  <a:cubicBezTo>
                    <a:pt x="193" y="687"/>
                    <a:pt x="226" y="694"/>
                    <a:pt x="243" y="694"/>
                  </a:cubicBezTo>
                  <a:cubicBezTo>
                    <a:pt x="244" y="694"/>
                    <a:pt x="245" y="694"/>
                    <a:pt x="247" y="694"/>
                  </a:cubicBezTo>
                  <a:cubicBezTo>
                    <a:pt x="247" y="694"/>
                    <a:pt x="247" y="694"/>
                    <a:pt x="248" y="694"/>
                  </a:cubicBezTo>
                  <a:cubicBezTo>
                    <a:pt x="249" y="694"/>
                    <a:pt x="250" y="694"/>
                    <a:pt x="251" y="694"/>
                  </a:cubicBezTo>
                  <a:cubicBezTo>
                    <a:pt x="251" y="694"/>
                    <a:pt x="251" y="694"/>
                    <a:pt x="252" y="694"/>
                  </a:cubicBezTo>
                  <a:cubicBezTo>
                    <a:pt x="253" y="694"/>
                    <a:pt x="254" y="695"/>
                    <a:pt x="256" y="695"/>
                  </a:cubicBezTo>
                  <a:cubicBezTo>
                    <a:pt x="256" y="695"/>
                    <a:pt x="257" y="695"/>
                    <a:pt x="257" y="695"/>
                  </a:cubicBezTo>
                  <a:cubicBezTo>
                    <a:pt x="259" y="695"/>
                    <a:pt x="260" y="695"/>
                    <a:pt x="261" y="695"/>
                  </a:cubicBezTo>
                  <a:cubicBezTo>
                    <a:pt x="262" y="695"/>
                    <a:pt x="262" y="695"/>
                    <a:pt x="262" y="695"/>
                  </a:cubicBezTo>
                  <a:cubicBezTo>
                    <a:pt x="264" y="695"/>
                    <a:pt x="266" y="696"/>
                    <a:pt x="268" y="696"/>
                  </a:cubicBezTo>
                  <a:cubicBezTo>
                    <a:pt x="268" y="696"/>
                    <a:pt x="269" y="696"/>
                    <a:pt x="269" y="696"/>
                  </a:cubicBezTo>
                  <a:cubicBezTo>
                    <a:pt x="271" y="696"/>
                    <a:pt x="272" y="696"/>
                    <a:pt x="274" y="696"/>
                  </a:cubicBezTo>
                  <a:cubicBezTo>
                    <a:pt x="274" y="696"/>
                    <a:pt x="275" y="696"/>
                    <a:pt x="275" y="696"/>
                  </a:cubicBezTo>
                  <a:cubicBezTo>
                    <a:pt x="277" y="697"/>
                    <a:pt x="279" y="697"/>
                    <a:pt x="281" y="697"/>
                  </a:cubicBezTo>
                  <a:cubicBezTo>
                    <a:pt x="281" y="697"/>
                    <a:pt x="282" y="697"/>
                    <a:pt x="282" y="697"/>
                  </a:cubicBezTo>
                  <a:cubicBezTo>
                    <a:pt x="284" y="697"/>
                    <a:pt x="286" y="698"/>
                    <a:pt x="287" y="698"/>
                  </a:cubicBezTo>
                  <a:cubicBezTo>
                    <a:pt x="288" y="698"/>
                    <a:pt x="288" y="698"/>
                    <a:pt x="289" y="698"/>
                  </a:cubicBezTo>
                  <a:cubicBezTo>
                    <a:pt x="291" y="698"/>
                    <a:pt x="293" y="698"/>
                    <a:pt x="295" y="699"/>
                  </a:cubicBezTo>
                  <a:cubicBezTo>
                    <a:pt x="295" y="699"/>
                    <a:pt x="296" y="699"/>
                    <a:pt x="296" y="699"/>
                  </a:cubicBezTo>
                  <a:cubicBezTo>
                    <a:pt x="298" y="699"/>
                    <a:pt x="300" y="699"/>
                    <a:pt x="301" y="700"/>
                  </a:cubicBezTo>
                  <a:cubicBezTo>
                    <a:pt x="302" y="700"/>
                    <a:pt x="302" y="700"/>
                    <a:pt x="303" y="700"/>
                  </a:cubicBezTo>
                  <a:cubicBezTo>
                    <a:pt x="305" y="700"/>
                    <a:pt x="307" y="700"/>
                    <a:pt x="309" y="700"/>
                  </a:cubicBezTo>
                  <a:cubicBezTo>
                    <a:pt x="311" y="701"/>
                    <a:pt x="313" y="701"/>
                    <a:pt x="315" y="701"/>
                  </a:cubicBezTo>
                  <a:cubicBezTo>
                    <a:pt x="315" y="701"/>
                    <a:pt x="316" y="701"/>
                    <a:pt x="316" y="701"/>
                  </a:cubicBezTo>
                  <a:cubicBezTo>
                    <a:pt x="318" y="702"/>
                    <a:pt x="320" y="702"/>
                    <a:pt x="322" y="702"/>
                  </a:cubicBezTo>
                  <a:cubicBezTo>
                    <a:pt x="322" y="702"/>
                    <a:pt x="322" y="702"/>
                    <a:pt x="322" y="702"/>
                  </a:cubicBezTo>
                  <a:cubicBezTo>
                    <a:pt x="324" y="703"/>
                    <a:pt x="326" y="703"/>
                    <a:pt x="327" y="703"/>
                  </a:cubicBezTo>
                  <a:cubicBezTo>
                    <a:pt x="327" y="703"/>
                    <a:pt x="328" y="703"/>
                    <a:pt x="328" y="703"/>
                  </a:cubicBezTo>
                  <a:cubicBezTo>
                    <a:pt x="330" y="703"/>
                    <a:pt x="331" y="704"/>
                    <a:pt x="333" y="704"/>
                  </a:cubicBezTo>
                  <a:cubicBezTo>
                    <a:pt x="333" y="704"/>
                    <a:pt x="333" y="704"/>
                    <a:pt x="334" y="704"/>
                  </a:cubicBezTo>
                  <a:cubicBezTo>
                    <a:pt x="335" y="704"/>
                    <a:pt x="337" y="705"/>
                    <a:pt x="338" y="705"/>
                  </a:cubicBezTo>
                  <a:cubicBezTo>
                    <a:pt x="362" y="709"/>
                    <a:pt x="391" y="695"/>
                    <a:pt x="410" y="709"/>
                  </a:cubicBezTo>
                  <a:cubicBezTo>
                    <a:pt x="429" y="722"/>
                    <a:pt x="451" y="711"/>
                    <a:pt x="461" y="723"/>
                  </a:cubicBezTo>
                  <a:cubicBezTo>
                    <a:pt x="470" y="735"/>
                    <a:pt x="487" y="738"/>
                    <a:pt x="490" y="721"/>
                  </a:cubicBezTo>
                  <a:cubicBezTo>
                    <a:pt x="490" y="719"/>
                    <a:pt x="491" y="718"/>
                    <a:pt x="491" y="716"/>
                  </a:cubicBezTo>
                  <a:cubicBezTo>
                    <a:pt x="492" y="711"/>
                    <a:pt x="492" y="705"/>
                    <a:pt x="494" y="701"/>
                  </a:cubicBezTo>
                  <a:cubicBezTo>
                    <a:pt x="494" y="701"/>
                    <a:pt x="494" y="701"/>
                    <a:pt x="494" y="701"/>
                  </a:cubicBezTo>
                  <a:cubicBezTo>
                    <a:pt x="489" y="693"/>
                    <a:pt x="491" y="685"/>
                    <a:pt x="489" y="683"/>
                  </a:cubicBezTo>
                  <a:cubicBezTo>
                    <a:pt x="486" y="679"/>
                    <a:pt x="487" y="665"/>
                    <a:pt x="487" y="661"/>
                  </a:cubicBezTo>
                  <a:cubicBezTo>
                    <a:pt x="487" y="656"/>
                    <a:pt x="475" y="647"/>
                    <a:pt x="467" y="644"/>
                  </a:cubicBezTo>
                  <a:cubicBezTo>
                    <a:pt x="458" y="641"/>
                    <a:pt x="443" y="619"/>
                    <a:pt x="439" y="615"/>
                  </a:cubicBezTo>
                  <a:cubicBezTo>
                    <a:pt x="434" y="611"/>
                    <a:pt x="423" y="597"/>
                    <a:pt x="424" y="585"/>
                  </a:cubicBezTo>
                  <a:cubicBezTo>
                    <a:pt x="425" y="573"/>
                    <a:pt x="410" y="549"/>
                    <a:pt x="400" y="543"/>
                  </a:cubicBezTo>
                  <a:cubicBezTo>
                    <a:pt x="390" y="537"/>
                    <a:pt x="395" y="525"/>
                    <a:pt x="393" y="517"/>
                  </a:cubicBezTo>
                  <a:cubicBezTo>
                    <a:pt x="391" y="508"/>
                    <a:pt x="393" y="491"/>
                    <a:pt x="393" y="483"/>
                  </a:cubicBezTo>
                  <a:cubicBezTo>
                    <a:pt x="393" y="474"/>
                    <a:pt x="395" y="465"/>
                    <a:pt x="386" y="461"/>
                  </a:cubicBezTo>
                  <a:cubicBezTo>
                    <a:pt x="377" y="456"/>
                    <a:pt x="383" y="447"/>
                    <a:pt x="391" y="444"/>
                  </a:cubicBezTo>
                  <a:cubicBezTo>
                    <a:pt x="399" y="441"/>
                    <a:pt x="404" y="440"/>
                    <a:pt x="406" y="433"/>
                  </a:cubicBezTo>
                  <a:cubicBezTo>
                    <a:pt x="408" y="427"/>
                    <a:pt x="416" y="422"/>
                    <a:pt x="421" y="412"/>
                  </a:cubicBezTo>
                  <a:cubicBezTo>
                    <a:pt x="425" y="402"/>
                    <a:pt x="431" y="394"/>
                    <a:pt x="433" y="381"/>
                  </a:cubicBezTo>
                  <a:cubicBezTo>
                    <a:pt x="435" y="367"/>
                    <a:pt x="449" y="368"/>
                    <a:pt x="453" y="363"/>
                  </a:cubicBezTo>
                  <a:cubicBezTo>
                    <a:pt x="454" y="362"/>
                    <a:pt x="454" y="362"/>
                    <a:pt x="454" y="362"/>
                  </a:cubicBezTo>
                  <a:cubicBezTo>
                    <a:pt x="454" y="361"/>
                    <a:pt x="454" y="361"/>
                    <a:pt x="455" y="361"/>
                  </a:cubicBezTo>
                  <a:cubicBezTo>
                    <a:pt x="455" y="361"/>
                    <a:pt x="455" y="361"/>
                    <a:pt x="455" y="360"/>
                  </a:cubicBezTo>
                  <a:cubicBezTo>
                    <a:pt x="455" y="360"/>
                    <a:pt x="455" y="360"/>
                    <a:pt x="455" y="359"/>
                  </a:cubicBezTo>
                  <a:cubicBezTo>
                    <a:pt x="455" y="359"/>
                    <a:pt x="455" y="359"/>
                    <a:pt x="455" y="359"/>
                  </a:cubicBezTo>
                  <a:cubicBezTo>
                    <a:pt x="455" y="359"/>
                    <a:pt x="455" y="358"/>
                    <a:pt x="455" y="358"/>
                  </a:cubicBezTo>
                  <a:cubicBezTo>
                    <a:pt x="455" y="357"/>
                    <a:pt x="455" y="357"/>
                    <a:pt x="455" y="357"/>
                  </a:cubicBezTo>
                  <a:cubicBezTo>
                    <a:pt x="455" y="357"/>
                    <a:pt x="455" y="356"/>
                    <a:pt x="455" y="356"/>
                  </a:cubicBezTo>
                  <a:cubicBezTo>
                    <a:pt x="455" y="356"/>
                    <a:pt x="455" y="356"/>
                    <a:pt x="455" y="355"/>
                  </a:cubicBezTo>
                  <a:cubicBezTo>
                    <a:pt x="455" y="355"/>
                    <a:pt x="455" y="354"/>
                    <a:pt x="455" y="354"/>
                  </a:cubicBezTo>
                  <a:cubicBezTo>
                    <a:pt x="455" y="354"/>
                    <a:pt x="455" y="354"/>
                    <a:pt x="455" y="354"/>
                  </a:cubicBezTo>
                  <a:cubicBezTo>
                    <a:pt x="455" y="353"/>
                    <a:pt x="455" y="352"/>
                    <a:pt x="455" y="352"/>
                  </a:cubicBezTo>
                  <a:cubicBezTo>
                    <a:pt x="455" y="352"/>
                    <a:pt x="455" y="352"/>
                    <a:pt x="455" y="351"/>
                  </a:cubicBezTo>
                  <a:cubicBezTo>
                    <a:pt x="455" y="351"/>
                    <a:pt x="454" y="351"/>
                    <a:pt x="454" y="350"/>
                  </a:cubicBezTo>
                  <a:cubicBezTo>
                    <a:pt x="454" y="350"/>
                    <a:pt x="454" y="350"/>
                    <a:pt x="454" y="349"/>
                  </a:cubicBezTo>
                  <a:cubicBezTo>
                    <a:pt x="454" y="349"/>
                    <a:pt x="454" y="348"/>
                    <a:pt x="454" y="348"/>
                  </a:cubicBezTo>
                  <a:cubicBezTo>
                    <a:pt x="454" y="348"/>
                    <a:pt x="454" y="348"/>
                    <a:pt x="454" y="347"/>
                  </a:cubicBezTo>
                  <a:cubicBezTo>
                    <a:pt x="454" y="347"/>
                    <a:pt x="453" y="347"/>
                    <a:pt x="453" y="346"/>
                  </a:cubicBezTo>
                  <a:cubicBezTo>
                    <a:pt x="453" y="346"/>
                    <a:pt x="453" y="346"/>
                    <a:pt x="453" y="345"/>
                  </a:cubicBezTo>
                  <a:cubicBezTo>
                    <a:pt x="453" y="345"/>
                    <a:pt x="453" y="345"/>
                    <a:pt x="453" y="344"/>
                  </a:cubicBezTo>
                  <a:cubicBezTo>
                    <a:pt x="453" y="344"/>
                    <a:pt x="453" y="344"/>
                    <a:pt x="453" y="343"/>
                  </a:cubicBezTo>
                  <a:cubicBezTo>
                    <a:pt x="452" y="343"/>
                    <a:pt x="452" y="343"/>
                    <a:pt x="452" y="342"/>
                  </a:cubicBezTo>
                  <a:cubicBezTo>
                    <a:pt x="452" y="342"/>
                    <a:pt x="452" y="342"/>
                    <a:pt x="452" y="342"/>
                  </a:cubicBezTo>
                  <a:cubicBezTo>
                    <a:pt x="452" y="341"/>
                    <a:pt x="452" y="341"/>
                    <a:pt x="451" y="341"/>
                  </a:cubicBezTo>
                  <a:cubicBezTo>
                    <a:pt x="451" y="340"/>
                    <a:pt x="451" y="340"/>
                    <a:pt x="451" y="340"/>
                  </a:cubicBezTo>
                  <a:cubicBezTo>
                    <a:pt x="451" y="340"/>
                    <a:pt x="451" y="339"/>
                    <a:pt x="451" y="339"/>
                  </a:cubicBezTo>
                  <a:cubicBezTo>
                    <a:pt x="451" y="339"/>
                    <a:pt x="450" y="339"/>
                    <a:pt x="450" y="338"/>
                  </a:cubicBezTo>
                  <a:cubicBezTo>
                    <a:pt x="450" y="338"/>
                    <a:pt x="450" y="338"/>
                    <a:pt x="450" y="338"/>
                  </a:cubicBezTo>
                  <a:cubicBezTo>
                    <a:pt x="450" y="338"/>
                    <a:pt x="450" y="337"/>
                    <a:pt x="450" y="337"/>
                  </a:cubicBezTo>
                  <a:cubicBezTo>
                    <a:pt x="450" y="337"/>
                    <a:pt x="449" y="337"/>
                    <a:pt x="449" y="337"/>
                  </a:cubicBezTo>
                  <a:cubicBezTo>
                    <a:pt x="449" y="337"/>
                    <a:pt x="449" y="336"/>
                    <a:pt x="449" y="336"/>
                  </a:cubicBezTo>
                  <a:cubicBezTo>
                    <a:pt x="445" y="333"/>
                    <a:pt x="440" y="322"/>
                    <a:pt x="440" y="314"/>
                  </a:cubicBezTo>
                  <a:cubicBezTo>
                    <a:pt x="440" y="306"/>
                    <a:pt x="425" y="297"/>
                    <a:pt x="421" y="290"/>
                  </a:cubicBezTo>
                  <a:cubicBezTo>
                    <a:pt x="416" y="283"/>
                    <a:pt x="405" y="278"/>
                    <a:pt x="397" y="271"/>
                  </a:cubicBezTo>
                  <a:cubicBezTo>
                    <a:pt x="389" y="265"/>
                    <a:pt x="371" y="242"/>
                    <a:pt x="360" y="234"/>
                  </a:cubicBezTo>
                  <a:cubicBezTo>
                    <a:pt x="349" y="226"/>
                    <a:pt x="354" y="212"/>
                    <a:pt x="362" y="205"/>
                  </a:cubicBezTo>
                  <a:cubicBezTo>
                    <a:pt x="370" y="197"/>
                    <a:pt x="383" y="203"/>
                    <a:pt x="399" y="202"/>
                  </a:cubicBezTo>
                  <a:cubicBezTo>
                    <a:pt x="416" y="201"/>
                    <a:pt x="442" y="206"/>
                    <a:pt x="457" y="207"/>
                  </a:cubicBezTo>
                  <a:cubicBezTo>
                    <a:pt x="471" y="209"/>
                    <a:pt x="468" y="201"/>
                    <a:pt x="461" y="197"/>
                  </a:cubicBezTo>
                  <a:cubicBezTo>
                    <a:pt x="455" y="193"/>
                    <a:pt x="446" y="191"/>
                    <a:pt x="443" y="186"/>
                  </a:cubicBezTo>
                  <a:cubicBezTo>
                    <a:pt x="439" y="181"/>
                    <a:pt x="439" y="178"/>
                    <a:pt x="431" y="173"/>
                  </a:cubicBezTo>
                  <a:cubicBezTo>
                    <a:pt x="423" y="167"/>
                    <a:pt x="426" y="158"/>
                    <a:pt x="421" y="150"/>
                  </a:cubicBezTo>
                  <a:cubicBezTo>
                    <a:pt x="415" y="142"/>
                    <a:pt x="417" y="131"/>
                    <a:pt x="423" y="125"/>
                  </a:cubicBezTo>
                  <a:cubicBezTo>
                    <a:pt x="428" y="119"/>
                    <a:pt x="425" y="103"/>
                    <a:pt x="425" y="93"/>
                  </a:cubicBezTo>
                  <a:cubicBezTo>
                    <a:pt x="425" y="83"/>
                    <a:pt x="425" y="71"/>
                    <a:pt x="420" y="67"/>
                  </a:cubicBezTo>
                  <a:cubicBezTo>
                    <a:pt x="415" y="63"/>
                    <a:pt x="414" y="58"/>
                    <a:pt x="414" y="51"/>
                  </a:cubicBezTo>
                  <a:cubicBezTo>
                    <a:pt x="414" y="45"/>
                    <a:pt x="412" y="38"/>
                    <a:pt x="406" y="33"/>
                  </a:cubicBezTo>
                  <a:cubicBezTo>
                    <a:pt x="400" y="29"/>
                    <a:pt x="405" y="23"/>
                    <a:pt x="396" y="19"/>
                  </a:cubicBezTo>
                  <a:cubicBezTo>
                    <a:pt x="387" y="15"/>
                    <a:pt x="383" y="13"/>
                    <a:pt x="382" y="5"/>
                  </a:cubicBezTo>
                  <a:cubicBezTo>
                    <a:pt x="381" y="0"/>
                    <a:pt x="368" y="0"/>
                    <a:pt x="359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60" y="1"/>
                    <a:pt x="360" y="3"/>
                    <a:pt x="360" y="4"/>
                  </a:cubicBezTo>
                  <a:cubicBezTo>
                    <a:pt x="360" y="4"/>
                    <a:pt x="360" y="4"/>
                    <a:pt x="360" y="5"/>
                  </a:cubicBezTo>
                  <a:cubicBezTo>
                    <a:pt x="360" y="6"/>
                    <a:pt x="360" y="7"/>
                    <a:pt x="361" y="8"/>
                  </a:cubicBezTo>
                  <a:cubicBezTo>
                    <a:pt x="361" y="9"/>
                    <a:pt x="361" y="9"/>
                    <a:pt x="361" y="9"/>
                  </a:cubicBezTo>
                  <a:cubicBezTo>
                    <a:pt x="361" y="10"/>
                    <a:pt x="361" y="12"/>
                    <a:pt x="361" y="13"/>
                  </a:cubicBezTo>
                  <a:cubicBezTo>
                    <a:pt x="361" y="13"/>
                    <a:pt x="361" y="13"/>
                    <a:pt x="361" y="13"/>
                  </a:cubicBezTo>
                  <a:cubicBezTo>
                    <a:pt x="360" y="15"/>
                    <a:pt x="360" y="16"/>
                    <a:pt x="360" y="17"/>
                  </a:cubicBezTo>
                  <a:cubicBezTo>
                    <a:pt x="359" y="26"/>
                    <a:pt x="365" y="31"/>
                    <a:pt x="367" y="43"/>
                  </a:cubicBezTo>
                  <a:cubicBezTo>
                    <a:pt x="369" y="54"/>
                    <a:pt x="376" y="49"/>
                    <a:pt x="387" y="54"/>
                  </a:cubicBezTo>
                  <a:cubicBezTo>
                    <a:pt x="398" y="58"/>
                    <a:pt x="392" y="90"/>
                    <a:pt x="392" y="98"/>
                  </a:cubicBezTo>
                  <a:cubicBezTo>
                    <a:pt x="392" y="106"/>
                    <a:pt x="376" y="116"/>
                    <a:pt x="361" y="118"/>
                  </a:cubicBezTo>
                  <a:cubicBezTo>
                    <a:pt x="345" y="121"/>
                    <a:pt x="338" y="137"/>
                    <a:pt x="333" y="146"/>
                  </a:cubicBezTo>
                  <a:cubicBezTo>
                    <a:pt x="327" y="155"/>
                    <a:pt x="323" y="171"/>
                    <a:pt x="321" y="184"/>
                  </a:cubicBezTo>
                  <a:cubicBezTo>
                    <a:pt x="319" y="198"/>
                    <a:pt x="314" y="199"/>
                    <a:pt x="310" y="213"/>
                  </a:cubicBezTo>
                  <a:cubicBezTo>
                    <a:pt x="307" y="226"/>
                    <a:pt x="307" y="228"/>
                    <a:pt x="294" y="231"/>
                  </a:cubicBezTo>
                  <a:cubicBezTo>
                    <a:pt x="281" y="233"/>
                    <a:pt x="278" y="251"/>
                    <a:pt x="278" y="261"/>
                  </a:cubicBezTo>
                  <a:cubicBezTo>
                    <a:pt x="278" y="272"/>
                    <a:pt x="264" y="286"/>
                    <a:pt x="256" y="294"/>
                  </a:cubicBezTo>
                  <a:cubicBezTo>
                    <a:pt x="247" y="301"/>
                    <a:pt x="246" y="307"/>
                    <a:pt x="245" y="317"/>
                  </a:cubicBezTo>
                  <a:cubicBezTo>
                    <a:pt x="244" y="328"/>
                    <a:pt x="240" y="341"/>
                    <a:pt x="228" y="357"/>
                  </a:cubicBezTo>
                  <a:cubicBezTo>
                    <a:pt x="217" y="373"/>
                    <a:pt x="225" y="383"/>
                    <a:pt x="214" y="390"/>
                  </a:cubicBezTo>
                  <a:cubicBezTo>
                    <a:pt x="202" y="396"/>
                    <a:pt x="199" y="407"/>
                    <a:pt x="195" y="419"/>
                  </a:cubicBezTo>
                  <a:cubicBezTo>
                    <a:pt x="191" y="431"/>
                    <a:pt x="182" y="431"/>
                    <a:pt x="173" y="430"/>
                  </a:cubicBezTo>
                  <a:cubicBezTo>
                    <a:pt x="164" y="428"/>
                    <a:pt x="167" y="417"/>
                    <a:pt x="168" y="413"/>
                  </a:cubicBezTo>
                  <a:cubicBezTo>
                    <a:pt x="168" y="408"/>
                    <a:pt x="167" y="403"/>
                    <a:pt x="161" y="400"/>
                  </a:cubicBezTo>
                  <a:cubicBezTo>
                    <a:pt x="155" y="396"/>
                    <a:pt x="150" y="392"/>
                    <a:pt x="142" y="388"/>
                  </a:cubicBezTo>
                  <a:cubicBezTo>
                    <a:pt x="134" y="383"/>
                    <a:pt x="132" y="396"/>
                    <a:pt x="128" y="400"/>
                  </a:cubicBezTo>
                  <a:cubicBezTo>
                    <a:pt x="123" y="404"/>
                    <a:pt x="118" y="400"/>
                    <a:pt x="106" y="397"/>
                  </a:cubicBezTo>
                  <a:cubicBezTo>
                    <a:pt x="94" y="394"/>
                    <a:pt x="88" y="410"/>
                    <a:pt x="81" y="419"/>
                  </a:cubicBezTo>
                  <a:cubicBezTo>
                    <a:pt x="75" y="429"/>
                    <a:pt x="69" y="433"/>
                    <a:pt x="60" y="436"/>
                  </a:cubicBezTo>
                  <a:cubicBezTo>
                    <a:pt x="50" y="439"/>
                    <a:pt x="41" y="455"/>
                    <a:pt x="33" y="460"/>
                  </a:cubicBezTo>
                  <a:cubicBezTo>
                    <a:pt x="25" y="465"/>
                    <a:pt x="28" y="485"/>
                    <a:pt x="28" y="497"/>
                  </a:cubicBezTo>
                  <a:cubicBezTo>
                    <a:pt x="28" y="509"/>
                    <a:pt x="21" y="520"/>
                    <a:pt x="10" y="526"/>
                  </a:cubicBezTo>
                  <a:cubicBezTo>
                    <a:pt x="4" y="530"/>
                    <a:pt x="1" y="539"/>
                    <a:pt x="0" y="546"/>
                  </a:cubicBezTo>
                  <a:cubicBezTo>
                    <a:pt x="10" y="546"/>
                    <a:pt x="19" y="549"/>
                    <a:pt x="23" y="558"/>
                  </a:cubicBezTo>
                  <a:cubicBezTo>
                    <a:pt x="34" y="578"/>
                    <a:pt x="33" y="585"/>
                    <a:pt x="55" y="585"/>
                  </a:cubicBezTo>
                  <a:cubicBezTo>
                    <a:pt x="76" y="585"/>
                    <a:pt x="85" y="588"/>
                    <a:pt x="86" y="603"/>
                  </a:cubicBezTo>
                  <a:cubicBezTo>
                    <a:pt x="87" y="618"/>
                    <a:pt x="89" y="622"/>
                    <a:pt x="94" y="630"/>
                  </a:cubicBezTo>
                  <a:cubicBezTo>
                    <a:pt x="100" y="637"/>
                    <a:pt x="104" y="643"/>
                    <a:pt x="99" y="651"/>
                  </a:cubicBezTo>
                  <a:cubicBezTo>
                    <a:pt x="93" y="660"/>
                    <a:pt x="82" y="672"/>
                    <a:pt x="88" y="686"/>
                  </a:cubicBezTo>
                  <a:cubicBezTo>
                    <a:pt x="90" y="690"/>
                    <a:pt x="91" y="694"/>
                    <a:pt x="92" y="698"/>
                  </a:cubicBezTo>
                  <a:cubicBezTo>
                    <a:pt x="98" y="700"/>
                    <a:pt x="104" y="702"/>
                    <a:pt x="107" y="703"/>
                  </a:cubicBezTo>
                  <a:cubicBezTo>
                    <a:pt x="117" y="706"/>
                    <a:pt x="146" y="705"/>
                    <a:pt x="165" y="70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0" name="Freeform 410">
              <a:extLst>
                <a:ext uri="{FF2B5EF4-FFF2-40B4-BE49-F238E27FC236}">
                  <a16:creationId xmlns:a16="http://schemas.microsoft.com/office/drawing/2014/main" id="{81E3F6F4-F67F-D04B-9C55-C57B25C1D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0" y="2402"/>
              <a:ext cx="208" cy="142"/>
            </a:xfrm>
            <a:custGeom>
              <a:avLst/>
              <a:gdLst>
                <a:gd name="T0" fmla="*/ 765 w 825"/>
                <a:gd name="T1" fmla="*/ 282 h 562"/>
                <a:gd name="T2" fmla="*/ 697 w 825"/>
                <a:gd name="T3" fmla="*/ 222 h 562"/>
                <a:gd name="T4" fmla="*/ 641 w 825"/>
                <a:gd name="T5" fmla="*/ 179 h 562"/>
                <a:gd name="T6" fmla="*/ 576 w 825"/>
                <a:gd name="T7" fmla="*/ 130 h 562"/>
                <a:gd name="T8" fmla="*/ 592 w 825"/>
                <a:gd name="T9" fmla="*/ 69 h 562"/>
                <a:gd name="T10" fmla="*/ 549 w 825"/>
                <a:gd name="T11" fmla="*/ 20 h 562"/>
                <a:gd name="T12" fmla="*/ 547 w 825"/>
                <a:gd name="T13" fmla="*/ 17 h 562"/>
                <a:gd name="T14" fmla="*/ 545 w 825"/>
                <a:gd name="T15" fmla="*/ 12 h 562"/>
                <a:gd name="T16" fmla="*/ 544 w 825"/>
                <a:gd name="T17" fmla="*/ 9 h 562"/>
                <a:gd name="T18" fmla="*/ 544 w 825"/>
                <a:gd name="T19" fmla="*/ 0 h 562"/>
                <a:gd name="T20" fmla="*/ 460 w 825"/>
                <a:gd name="T21" fmla="*/ 53 h 562"/>
                <a:gd name="T22" fmla="*/ 360 w 825"/>
                <a:gd name="T23" fmla="*/ 123 h 562"/>
                <a:gd name="T24" fmla="*/ 291 w 825"/>
                <a:gd name="T25" fmla="*/ 139 h 562"/>
                <a:gd name="T26" fmla="*/ 268 w 825"/>
                <a:gd name="T27" fmla="*/ 186 h 562"/>
                <a:gd name="T28" fmla="*/ 170 w 825"/>
                <a:gd name="T29" fmla="*/ 220 h 562"/>
                <a:gd name="T30" fmla="*/ 134 w 825"/>
                <a:gd name="T31" fmla="*/ 206 h 562"/>
                <a:gd name="T32" fmla="*/ 91 w 825"/>
                <a:gd name="T33" fmla="*/ 226 h 562"/>
                <a:gd name="T34" fmla="*/ 56 w 825"/>
                <a:gd name="T35" fmla="*/ 242 h 562"/>
                <a:gd name="T36" fmla="*/ 14 w 825"/>
                <a:gd name="T37" fmla="*/ 305 h 562"/>
                <a:gd name="T38" fmla="*/ 16 w 825"/>
                <a:gd name="T39" fmla="*/ 378 h 562"/>
                <a:gd name="T40" fmla="*/ 62 w 825"/>
                <a:gd name="T41" fmla="*/ 476 h 562"/>
                <a:gd name="T42" fmla="*/ 112 w 825"/>
                <a:gd name="T43" fmla="*/ 544 h 562"/>
                <a:gd name="T44" fmla="*/ 120 w 825"/>
                <a:gd name="T45" fmla="*/ 553 h 562"/>
                <a:gd name="T46" fmla="*/ 122 w 825"/>
                <a:gd name="T47" fmla="*/ 550 h 562"/>
                <a:gd name="T48" fmla="*/ 125 w 825"/>
                <a:gd name="T49" fmla="*/ 546 h 562"/>
                <a:gd name="T50" fmla="*/ 128 w 825"/>
                <a:gd name="T51" fmla="*/ 544 h 562"/>
                <a:gd name="T52" fmla="*/ 165 w 825"/>
                <a:gd name="T53" fmla="*/ 475 h 562"/>
                <a:gd name="T54" fmla="*/ 267 w 825"/>
                <a:gd name="T55" fmla="*/ 483 h 562"/>
                <a:gd name="T56" fmla="*/ 272 w 825"/>
                <a:gd name="T57" fmla="*/ 479 h 562"/>
                <a:gd name="T58" fmla="*/ 275 w 825"/>
                <a:gd name="T59" fmla="*/ 467 h 562"/>
                <a:gd name="T60" fmla="*/ 275 w 825"/>
                <a:gd name="T61" fmla="*/ 458 h 562"/>
                <a:gd name="T62" fmla="*/ 308 w 825"/>
                <a:gd name="T63" fmla="*/ 390 h 562"/>
                <a:gd name="T64" fmla="*/ 412 w 825"/>
                <a:gd name="T65" fmla="*/ 427 h 562"/>
                <a:gd name="T66" fmla="*/ 526 w 825"/>
                <a:gd name="T67" fmla="*/ 428 h 562"/>
                <a:gd name="T68" fmla="*/ 618 w 825"/>
                <a:gd name="T69" fmla="*/ 390 h 562"/>
                <a:gd name="T70" fmla="*/ 686 w 825"/>
                <a:gd name="T71" fmla="*/ 387 h 562"/>
                <a:gd name="T72" fmla="*/ 741 w 825"/>
                <a:gd name="T73" fmla="*/ 372 h 562"/>
                <a:gd name="T74" fmla="*/ 808 w 825"/>
                <a:gd name="T75" fmla="*/ 374 h 562"/>
                <a:gd name="T76" fmla="*/ 811 w 825"/>
                <a:gd name="T77" fmla="*/ 372 h 562"/>
                <a:gd name="T78" fmla="*/ 814 w 825"/>
                <a:gd name="T79" fmla="*/ 370 h 562"/>
                <a:gd name="T80" fmla="*/ 816 w 825"/>
                <a:gd name="T81" fmla="*/ 369 h 562"/>
                <a:gd name="T82" fmla="*/ 820 w 825"/>
                <a:gd name="T83" fmla="*/ 369 h 562"/>
                <a:gd name="T84" fmla="*/ 810 w 825"/>
                <a:gd name="T85" fmla="*/ 337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25" h="562">
                  <a:moveTo>
                    <a:pt x="810" y="337"/>
                  </a:moveTo>
                  <a:cubicBezTo>
                    <a:pt x="807" y="330"/>
                    <a:pt x="783" y="321"/>
                    <a:pt x="771" y="313"/>
                  </a:cubicBezTo>
                  <a:cubicBezTo>
                    <a:pt x="759" y="305"/>
                    <a:pt x="765" y="294"/>
                    <a:pt x="765" y="282"/>
                  </a:cubicBezTo>
                  <a:cubicBezTo>
                    <a:pt x="765" y="270"/>
                    <a:pt x="751" y="261"/>
                    <a:pt x="740" y="259"/>
                  </a:cubicBezTo>
                  <a:cubicBezTo>
                    <a:pt x="729" y="257"/>
                    <a:pt x="723" y="251"/>
                    <a:pt x="713" y="245"/>
                  </a:cubicBezTo>
                  <a:cubicBezTo>
                    <a:pt x="703" y="239"/>
                    <a:pt x="697" y="231"/>
                    <a:pt x="697" y="222"/>
                  </a:cubicBezTo>
                  <a:cubicBezTo>
                    <a:pt x="697" y="213"/>
                    <a:pt x="698" y="201"/>
                    <a:pt x="687" y="200"/>
                  </a:cubicBezTo>
                  <a:cubicBezTo>
                    <a:pt x="676" y="199"/>
                    <a:pt x="671" y="194"/>
                    <a:pt x="668" y="183"/>
                  </a:cubicBezTo>
                  <a:cubicBezTo>
                    <a:pt x="665" y="172"/>
                    <a:pt x="660" y="179"/>
                    <a:pt x="641" y="179"/>
                  </a:cubicBezTo>
                  <a:cubicBezTo>
                    <a:pt x="622" y="179"/>
                    <a:pt x="625" y="165"/>
                    <a:pt x="625" y="154"/>
                  </a:cubicBezTo>
                  <a:cubicBezTo>
                    <a:pt x="625" y="143"/>
                    <a:pt x="611" y="148"/>
                    <a:pt x="591" y="148"/>
                  </a:cubicBezTo>
                  <a:cubicBezTo>
                    <a:pt x="571" y="148"/>
                    <a:pt x="577" y="138"/>
                    <a:pt x="576" y="130"/>
                  </a:cubicBezTo>
                  <a:cubicBezTo>
                    <a:pt x="575" y="122"/>
                    <a:pt x="579" y="116"/>
                    <a:pt x="589" y="111"/>
                  </a:cubicBezTo>
                  <a:cubicBezTo>
                    <a:pt x="599" y="106"/>
                    <a:pt x="596" y="98"/>
                    <a:pt x="596" y="90"/>
                  </a:cubicBezTo>
                  <a:cubicBezTo>
                    <a:pt x="596" y="82"/>
                    <a:pt x="598" y="70"/>
                    <a:pt x="592" y="69"/>
                  </a:cubicBezTo>
                  <a:cubicBezTo>
                    <a:pt x="586" y="68"/>
                    <a:pt x="579" y="62"/>
                    <a:pt x="579" y="53"/>
                  </a:cubicBezTo>
                  <a:cubicBezTo>
                    <a:pt x="579" y="44"/>
                    <a:pt x="566" y="34"/>
                    <a:pt x="552" y="23"/>
                  </a:cubicBezTo>
                  <a:cubicBezTo>
                    <a:pt x="551" y="22"/>
                    <a:pt x="550" y="21"/>
                    <a:pt x="549" y="20"/>
                  </a:cubicBezTo>
                  <a:cubicBezTo>
                    <a:pt x="549" y="20"/>
                    <a:pt x="549" y="20"/>
                    <a:pt x="549" y="20"/>
                  </a:cubicBezTo>
                  <a:cubicBezTo>
                    <a:pt x="548" y="19"/>
                    <a:pt x="548" y="18"/>
                    <a:pt x="547" y="18"/>
                  </a:cubicBezTo>
                  <a:cubicBezTo>
                    <a:pt x="547" y="18"/>
                    <a:pt x="547" y="17"/>
                    <a:pt x="547" y="17"/>
                  </a:cubicBezTo>
                  <a:cubicBezTo>
                    <a:pt x="546" y="16"/>
                    <a:pt x="546" y="16"/>
                    <a:pt x="546" y="15"/>
                  </a:cubicBezTo>
                  <a:cubicBezTo>
                    <a:pt x="546" y="15"/>
                    <a:pt x="545" y="14"/>
                    <a:pt x="545" y="14"/>
                  </a:cubicBezTo>
                  <a:cubicBezTo>
                    <a:pt x="545" y="14"/>
                    <a:pt x="545" y="13"/>
                    <a:pt x="545" y="12"/>
                  </a:cubicBezTo>
                  <a:cubicBezTo>
                    <a:pt x="545" y="12"/>
                    <a:pt x="544" y="12"/>
                    <a:pt x="544" y="11"/>
                  </a:cubicBezTo>
                  <a:cubicBezTo>
                    <a:pt x="544" y="11"/>
                    <a:pt x="544" y="10"/>
                    <a:pt x="544" y="9"/>
                  </a:cubicBezTo>
                  <a:cubicBezTo>
                    <a:pt x="544" y="9"/>
                    <a:pt x="544" y="9"/>
                    <a:pt x="544" y="9"/>
                  </a:cubicBezTo>
                  <a:cubicBezTo>
                    <a:pt x="544" y="8"/>
                    <a:pt x="544" y="7"/>
                    <a:pt x="544" y="6"/>
                  </a:cubicBezTo>
                  <a:cubicBezTo>
                    <a:pt x="544" y="6"/>
                    <a:pt x="544" y="6"/>
                    <a:pt x="544" y="6"/>
                  </a:cubicBezTo>
                  <a:cubicBezTo>
                    <a:pt x="544" y="4"/>
                    <a:pt x="544" y="2"/>
                    <a:pt x="544" y="0"/>
                  </a:cubicBezTo>
                  <a:cubicBezTo>
                    <a:pt x="535" y="0"/>
                    <a:pt x="521" y="1"/>
                    <a:pt x="514" y="1"/>
                  </a:cubicBezTo>
                  <a:cubicBezTo>
                    <a:pt x="502" y="1"/>
                    <a:pt x="499" y="8"/>
                    <a:pt x="485" y="14"/>
                  </a:cubicBezTo>
                  <a:cubicBezTo>
                    <a:pt x="471" y="20"/>
                    <a:pt x="471" y="46"/>
                    <a:pt x="460" y="53"/>
                  </a:cubicBezTo>
                  <a:cubicBezTo>
                    <a:pt x="448" y="60"/>
                    <a:pt x="439" y="68"/>
                    <a:pt x="427" y="81"/>
                  </a:cubicBezTo>
                  <a:cubicBezTo>
                    <a:pt x="416" y="94"/>
                    <a:pt x="407" y="101"/>
                    <a:pt x="393" y="112"/>
                  </a:cubicBezTo>
                  <a:cubicBezTo>
                    <a:pt x="378" y="122"/>
                    <a:pt x="367" y="118"/>
                    <a:pt x="360" y="123"/>
                  </a:cubicBezTo>
                  <a:cubicBezTo>
                    <a:pt x="353" y="127"/>
                    <a:pt x="329" y="124"/>
                    <a:pt x="315" y="123"/>
                  </a:cubicBezTo>
                  <a:cubicBezTo>
                    <a:pt x="301" y="122"/>
                    <a:pt x="304" y="127"/>
                    <a:pt x="296" y="129"/>
                  </a:cubicBezTo>
                  <a:cubicBezTo>
                    <a:pt x="287" y="131"/>
                    <a:pt x="282" y="136"/>
                    <a:pt x="291" y="139"/>
                  </a:cubicBezTo>
                  <a:cubicBezTo>
                    <a:pt x="299" y="143"/>
                    <a:pt x="301" y="144"/>
                    <a:pt x="303" y="149"/>
                  </a:cubicBezTo>
                  <a:cubicBezTo>
                    <a:pt x="304" y="154"/>
                    <a:pt x="302" y="155"/>
                    <a:pt x="294" y="161"/>
                  </a:cubicBezTo>
                  <a:cubicBezTo>
                    <a:pt x="286" y="167"/>
                    <a:pt x="277" y="176"/>
                    <a:pt x="268" y="186"/>
                  </a:cubicBezTo>
                  <a:cubicBezTo>
                    <a:pt x="258" y="196"/>
                    <a:pt x="231" y="191"/>
                    <a:pt x="216" y="191"/>
                  </a:cubicBezTo>
                  <a:cubicBezTo>
                    <a:pt x="200" y="191"/>
                    <a:pt x="202" y="198"/>
                    <a:pt x="191" y="199"/>
                  </a:cubicBezTo>
                  <a:cubicBezTo>
                    <a:pt x="180" y="199"/>
                    <a:pt x="177" y="206"/>
                    <a:pt x="170" y="220"/>
                  </a:cubicBezTo>
                  <a:cubicBezTo>
                    <a:pt x="163" y="234"/>
                    <a:pt x="159" y="220"/>
                    <a:pt x="153" y="219"/>
                  </a:cubicBezTo>
                  <a:cubicBezTo>
                    <a:pt x="146" y="218"/>
                    <a:pt x="149" y="212"/>
                    <a:pt x="149" y="203"/>
                  </a:cubicBezTo>
                  <a:cubicBezTo>
                    <a:pt x="149" y="195"/>
                    <a:pt x="138" y="200"/>
                    <a:pt x="134" y="206"/>
                  </a:cubicBezTo>
                  <a:cubicBezTo>
                    <a:pt x="129" y="212"/>
                    <a:pt x="127" y="215"/>
                    <a:pt x="120" y="216"/>
                  </a:cubicBezTo>
                  <a:cubicBezTo>
                    <a:pt x="113" y="217"/>
                    <a:pt x="108" y="216"/>
                    <a:pt x="106" y="221"/>
                  </a:cubicBezTo>
                  <a:cubicBezTo>
                    <a:pt x="105" y="225"/>
                    <a:pt x="101" y="226"/>
                    <a:pt x="91" y="226"/>
                  </a:cubicBezTo>
                  <a:cubicBezTo>
                    <a:pt x="86" y="226"/>
                    <a:pt x="81" y="224"/>
                    <a:pt x="77" y="223"/>
                  </a:cubicBezTo>
                  <a:cubicBezTo>
                    <a:pt x="77" y="223"/>
                    <a:pt x="77" y="223"/>
                    <a:pt x="76" y="224"/>
                  </a:cubicBezTo>
                  <a:cubicBezTo>
                    <a:pt x="72" y="229"/>
                    <a:pt x="58" y="228"/>
                    <a:pt x="56" y="242"/>
                  </a:cubicBezTo>
                  <a:cubicBezTo>
                    <a:pt x="54" y="255"/>
                    <a:pt x="48" y="263"/>
                    <a:pt x="44" y="273"/>
                  </a:cubicBezTo>
                  <a:cubicBezTo>
                    <a:pt x="39" y="283"/>
                    <a:pt x="31" y="288"/>
                    <a:pt x="29" y="294"/>
                  </a:cubicBezTo>
                  <a:cubicBezTo>
                    <a:pt x="27" y="301"/>
                    <a:pt x="22" y="302"/>
                    <a:pt x="14" y="305"/>
                  </a:cubicBezTo>
                  <a:cubicBezTo>
                    <a:pt x="6" y="308"/>
                    <a:pt x="0" y="317"/>
                    <a:pt x="9" y="322"/>
                  </a:cubicBezTo>
                  <a:cubicBezTo>
                    <a:pt x="18" y="326"/>
                    <a:pt x="16" y="335"/>
                    <a:pt x="16" y="344"/>
                  </a:cubicBezTo>
                  <a:cubicBezTo>
                    <a:pt x="16" y="352"/>
                    <a:pt x="14" y="369"/>
                    <a:pt x="16" y="378"/>
                  </a:cubicBezTo>
                  <a:cubicBezTo>
                    <a:pt x="18" y="386"/>
                    <a:pt x="13" y="398"/>
                    <a:pt x="23" y="404"/>
                  </a:cubicBezTo>
                  <a:cubicBezTo>
                    <a:pt x="33" y="410"/>
                    <a:pt x="48" y="434"/>
                    <a:pt x="47" y="446"/>
                  </a:cubicBezTo>
                  <a:cubicBezTo>
                    <a:pt x="46" y="458"/>
                    <a:pt x="57" y="472"/>
                    <a:pt x="62" y="476"/>
                  </a:cubicBezTo>
                  <a:cubicBezTo>
                    <a:pt x="66" y="480"/>
                    <a:pt x="81" y="502"/>
                    <a:pt x="90" y="505"/>
                  </a:cubicBezTo>
                  <a:cubicBezTo>
                    <a:pt x="98" y="508"/>
                    <a:pt x="110" y="517"/>
                    <a:pt x="110" y="522"/>
                  </a:cubicBezTo>
                  <a:cubicBezTo>
                    <a:pt x="110" y="526"/>
                    <a:pt x="109" y="540"/>
                    <a:pt x="112" y="544"/>
                  </a:cubicBezTo>
                  <a:cubicBezTo>
                    <a:pt x="114" y="546"/>
                    <a:pt x="112" y="554"/>
                    <a:pt x="117" y="562"/>
                  </a:cubicBezTo>
                  <a:cubicBezTo>
                    <a:pt x="117" y="562"/>
                    <a:pt x="117" y="562"/>
                    <a:pt x="117" y="562"/>
                  </a:cubicBezTo>
                  <a:cubicBezTo>
                    <a:pt x="118" y="558"/>
                    <a:pt x="119" y="555"/>
                    <a:pt x="120" y="553"/>
                  </a:cubicBezTo>
                  <a:cubicBezTo>
                    <a:pt x="120" y="553"/>
                    <a:pt x="120" y="553"/>
                    <a:pt x="120" y="553"/>
                  </a:cubicBezTo>
                  <a:cubicBezTo>
                    <a:pt x="120" y="552"/>
                    <a:pt x="121" y="551"/>
                    <a:pt x="121" y="550"/>
                  </a:cubicBezTo>
                  <a:cubicBezTo>
                    <a:pt x="121" y="550"/>
                    <a:pt x="122" y="550"/>
                    <a:pt x="122" y="550"/>
                  </a:cubicBezTo>
                  <a:cubicBezTo>
                    <a:pt x="122" y="549"/>
                    <a:pt x="123" y="549"/>
                    <a:pt x="123" y="548"/>
                  </a:cubicBezTo>
                  <a:cubicBezTo>
                    <a:pt x="123" y="548"/>
                    <a:pt x="123" y="548"/>
                    <a:pt x="124" y="548"/>
                  </a:cubicBezTo>
                  <a:cubicBezTo>
                    <a:pt x="124" y="547"/>
                    <a:pt x="124" y="547"/>
                    <a:pt x="125" y="546"/>
                  </a:cubicBezTo>
                  <a:cubicBezTo>
                    <a:pt x="125" y="546"/>
                    <a:pt x="125" y="546"/>
                    <a:pt x="126" y="546"/>
                  </a:cubicBezTo>
                  <a:cubicBezTo>
                    <a:pt x="126" y="546"/>
                    <a:pt x="127" y="545"/>
                    <a:pt x="127" y="545"/>
                  </a:cubicBezTo>
                  <a:cubicBezTo>
                    <a:pt x="127" y="545"/>
                    <a:pt x="128" y="544"/>
                    <a:pt x="128" y="544"/>
                  </a:cubicBezTo>
                  <a:cubicBezTo>
                    <a:pt x="129" y="544"/>
                    <a:pt x="129" y="543"/>
                    <a:pt x="130" y="543"/>
                  </a:cubicBezTo>
                  <a:cubicBezTo>
                    <a:pt x="144" y="538"/>
                    <a:pt x="137" y="531"/>
                    <a:pt x="141" y="516"/>
                  </a:cubicBezTo>
                  <a:cubicBezTo>
                    <a:pt x="145" y="502"/>
                    <a:pt x="134" y="474"/>
                    <a:pt x="165" y="475"/>
                  </a:cubicBezTo>
                  <a:cubicBezTo>
                    <a:pt x="196" y="476"/>
                    <a:pt x="196" y="464"/>
                    <a:pt x="212" y="471"/>
                  </a:cubicBezTo>
                  <a:cubicBezTo>
                    <a:pt x="228" y="478"/>
                    <a:pt x="256" y="483"/>
                    <a:pt x="265" y="483"/>
                  </a:cubicBezTo>
                  <a:cubicBezTo>
                    <a:pt x="266" y="483"/>
                    <a:pt x="266" y="483"/>
                    <a:pt x="267" y="483"/>
                  </a:cubicBezTo>
                  <a:cubicBezTo>
                    <a:pt x="268" y="483"/>
                    <a:pt x="270" y="482"/>
                    <a:pt x="271" y="481"/>
                  </a:cubicBezTo>
                  <a:cubicBezTo>
                    <a:pt x="271" y="480"/>
                    <a:pt x="272" y="480"/>
                    <a:pt x="272" y="479"/>
                  </a:cubicBezTo>
                  <a:cubicBezTo>
                    <a:pt x="272" y="479"/>
                    <a:pt x="272" y="479"/>
                    <a:pt x="272" y="479"/>
                  </a:cubicBezTo>
                  <a:cubicBezTo>
                    <a:pt x="273" y="477"/>
                    <a:pt x="274" y="476"/>
                    <a:pt x="274" y="474"/>
                  </a:cubicBezTo>
                  <a:cubicBezTo>
                    <a:pt x="274" y="474"/>
                    <a:pt x="274" y="473"/>
                    <a:pt x="275" y="473"/>
                  </a:cubicBezTo>
                  <a:cubicBezTo>
                    <a:pt x="275" y="471"/>
                    <a:pt x="275" y="469"/>
                    <a:pt x="275" y="467"/>
                  </a:cubicBezTo>
                  <a:cubicBezTo>
                    <a:pt x="275" y="467"/>
                    <a:pt x="275" y="466"/>
                    <a:pt x="275" y="466"/>
                  </a:cubicBezTo>
                  <a:cubicBezTo>
                    <a:pt x="275" y="464"/>
                    <a:pt x="275" y="461"/>
                    <a:pt x="275" y="459"/>
                  </a:cubicBezTo>
                  <a:cubicBezTo>
                    <a:pt x="275" y="458"/>
                    <a:pt x="275" y="458"/>
                    <a:pt x="275" y="458"/>
                  </a:cubicBezTo>
                  <a:cubicBezTo>
                    <a:pt x="275" y="456"/>
                    <a:pt x="275" y="455"/>
                    <a:pt x="274" y="454"/>
                  </a:cubicBezTo>
                  <a:cubicBezTo>
                    <a:pt x="272" y="438"/>
                    <a:pt x="254" y="430"/>
                    <a:pt x="281" y="416"/>
                  </a:cubicBezTo>
                  <a:cubicBezTo>
                    <a:pt x="308" y="403"/>
                    <a:pt x="298" y="404"/>
                    <a:pt x="308" y="390"/>
                  </a:cubicBezTo>
                  <a:cubicBezTo>
                    <a:pt x="317" y="375"/>
                    <a:pt x="345" y="368"/>
                    <a:pt x="360" y="382"/>
                  </a:cubicBezTo>
                  <a:cubicBezTo>
                    <a:pt x="374" y="395"/>
                    <a:pt x="382" y="400"/>
                    <a:pt x="386" y="412"/>
                  </a:cubicBezTo>
                  <a:cubicBezTo>
                    <a:pt x="390" y="424"/>
                    <a:pt x="397" y="427"/>
                    <a:pt x="412" y="427"/>
                  </a:cubicBezTo>
                  <a:cubicBezTo>
                    <a:pt x="426" y="427"/>
                    <a:pt x="426" y="432"/>
                    <a:pt x="448" y="435"/>
                  </a:cubicBezTo>
                  <a:cubicBezTo>
                    <a:pt x="469" y="438"/>
                    <a:pt x="468" y="430"/>
                    <a:pt x="488" y="439"/>
                  </a:cubicBezTo>
                  <a:cubicBezTo>
                    <a:pt x="508" y="448"/>
                    <a:pt x="525" y="446"/>
                    <a:pt x="526" y="428"/>
                  </a:cubicBezTo>
                  <a:cubicBezTo>
                    <a:pt x="528" y="411"/>
                    <a:pt x="544" y="392"/>
                    <a:pt x="558" y="400"/>
                  </a:cubicBezTo>
                  <a:cubicBezTo>
                    <a:pt x="573" y="408"/>
                    <a:pt x="576" y="416"/>
                    <a:pt x="592" y="406"/>
                  </a:cubicBezTo>
                  <a:cubicBezTo>
                    <a:pt x="608" y="395"/>
                    <a:pt x="602" y="391"/>
                    <a:pt x="618" y="390"/>
                  </a:cubicBezTo>
                  <a:cubicBezTo>
                    <a:pt x="634" y="388"/>
                    <a:pt x="629" y="376"/>
                    <a:pt x="641" y="378"/>
                  </a:cubicBezTo>
                  <a:cubicBezTo>
                    <a:pt x="653" y="379"/>
                    <a:pt x="658" y="387"/>
                    <a:pt x="662" y="392"/>
                  </a:cubicBezTo>
                  <a:cubicBezTo>
                    <a:pt x="666" y="398"/>
                    <a:pt x="680" y="395"/>
                    <a:pt x="686" y="387"/>
                  </a:cubicBezTo>
                  <a:cubicBezTo>
                    <a:pt x="693" y="379"/>
                    <a:pt x="702" y="383"/>
                    <a:pt x="702" y="372"/>
                  </a:cubicBezTo>
                  <a:cubicBezTo>
                    <a:pt x="702" y="362"/>
                    <a:pt x="720" y="360"/>
                    <a:pt x="724" y="364"/>
                  </a:cubicBezTo>
                  <a:cubicBezTo>
                    <a:pt x="728" y="368"/>
                    <a:pt x="722" y="368"/>
                    <a:pt x="741" y="372"/>
                  </a:cubicBezTo>
                  <a:cubicBezTo>
                    <a:pt x="760" y="376"/>
                    <a:pt x="756" y="386"/>
                    <a:pt x="772" y="384"/>
                  </a:cubicBezTo>
                  <a:cubicBezTo>
                    <a:pt x="788" y="383"/>
                    <a:pt x="798" y="388"/>
                    <a:pt x="806" y="376"/>
                  </a:cubicBezTo>
                  <a:cubicBezTo>
                    <a:pt x="807" y="376"/>
                    <a:pt x="807" y="375"/>
                    <a:pt x="808" y="374"/>
                  </a:cubicBezTo>
                  <a:cubicBezTo>
                    <a:pt x="808" y="374"/>
                    <a:pt x="808" y="374"/>
                    <a:pt x="809" y="374"/>
                  </a:cubicBezTo>
                  <a:cubicBezTo>
                    <a:pt x="809" y="373"/>
                    <a:pt x="809" y="373"/>
                    <a:pt x="810" y="372"/>
                  </a:cubicBezTo>
                  <a:cubicBezTo>
                    <a:pt x="810" y="372"/>
                    <a:pt x="810" y="372"/>
                    <a:pt x="811" y="372"/>
                  </a:cubicBezTo>
                  <a:cubicBezTo>
                    <a:pt x="811" y="372"/>
                    <a:pt x="811" y="371"/>
                    <a:pt x="812" y="371"/>
                  </a:cubicBezTo>
                  <a:cubicBezTo>
                    <a:pt x="812" y="371"/>
                    <a:pt x="812" y="371"/>
                    <a:pt x="812" y="371"/>
                  </a:cubicBezTo>
                  <a:cubicBezTo>
                    <a:pt x="813" y="370"/>
                    <a:pt x="813" y="370"/>
                    <a:pt x="814" y="370"/>
                  </a:cubicBezTo>
                  <a:cubicBezTo>
                    <a:pt x="814" y="370"/>
                    <a:pt x="814" y="370"/>
                    <a:pt x="814" y="370"/>
                  </a:cubicBezTo>
                  <a:cubicBezTo>
                    <a:pt x="815" y="369"/>
                    <a:pt x="815" y="369"/>
                    <a:pt x="816" y="369"/>
                  </a:cubicBezTo>
                  <a:cubicBezTo>
                    <a:pt x="816" y="369"/>
                    <a:pt x="816" y="369"/>
                    <a:pt x="816" y="369"/>
                  </a:cubicBezTo>
                  <a:cubicBezTo>
                    <a:pt x="817" y="369"/>
                    <a:pt x="817" y="369"/>
                    <a:pt x="818" y="369"/>
                  </a:cubicBezTo>
                  <a:cubicBezTo>
                    <a:pt x="818" y="369"/>
                    <a:pt x="818" y="369"/>
                    <a:pt x="818" y="369"/>
                  </a:cubicBezTo>
                  <a:cubicBezTo>
                    <a:pt x="819" y="369"/>
                    <a:pt x="819" y="369"/>
                    <a:pt x="820" y="369"/>
                  </a:cubicBezTo>
                  <a:cubicBezTo>
                    <a:pt x="820" y="369"/>
                    <a:pt x="820" y="369"/>
                    <a:pt x="820" y="369"/>
                  </a:cubicBezTo>
                  <a:cubicBezTo>
                    <a:pt x="821" y="369"/>
                    <a:pt x="822" y="369"/>
                    <a:pt x="822" y="369"/>
                  </a:cubicBezTo>
                  <a:cubicBezTo>
                    <a:pt x="825" y="347"/>
                    <a:pt x="812" y="343"/>
                    <a:pt x="810" y="33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1" name="Freeform 411">
              <a:extLst>
                <a:ext uri="{FF2B5EF4-FFF2-40B4-BE49-F238E27FC236}">
                  <a16:creationId xmlns:a16="http://schemas.microsoft.com/office/drawing/2014/main" id="{77A73F86-9817-F847-BEEF-1D55352A4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" y="2191"/>
              <a:ext cx="171" cy="270"/>
            </a:xfrm>
            <a:custGeom>
              <a:avLst/>
              <a:gdLst>
                <a:gd name="T0" fmla="*/ 183 w 676"/>
                <a:gd name="T1" fmla="*/ 1048 h 1066"/>
                <a:gd name="T2" fmla="*/ 216 w 676"/>
                <a:gd name="T3" fmla="*/ 1051 h 1066"/>
                <a:gd name="T4" fmla="*/ 279 w 676"/>
                <a:gd name="T5" fmla="*/ 1023 h 1066"/>
                <a:gd name="T6" fmla="*/ 366 w 676"/>
                <a:gd name="T7" fmla="*/ 981 h 1066"/>
                <a:gd name="T8" fmla="*/ 378 w 676"/>
                <a:gd name="T9" fmla="*/ 955 h 1066"/>
                <a:gd name="T10" fmla="*/ 490 w 676"/>
                <a:gd name="T11" fmla="*/ 913 h 1066"/>
                <a:gd name="T12" fmla="*/ 577 w 676"/>
                <a:gd name="T13" fmla="*/ 833 h 1066"/>
                <a:gd name="T14" fmla="*/ 609 w 676"/>
                <a:gd name="T15" fmla="*/ 824 h 1066"/>
                <a:gd name="T16" fmla="*/ 612 w 676"/>
                <a:gd name="T17" fmla="*/ 818 h 1066"/>
                <a:gd name="T18" fmla="*/ 577 w 676"/>
                <a:gd name="T19" fmla="*/ 733 h 1066"/>
                <a:gd name="T20" fmla="*/ 556 w 676"/>
                <a:gd name="T21" fmla="*/ 689 h 1066"/>
                <a:gd name="T22" fmla="*/ 579 w 676"/>
                <a:gd name="T23" fmla="*/ 633 h 1066"/>
                <a:gd name="T24" fmla="*/ 594 w 676"/>
                <a:gd name="T25" fmla="*/ 582 h 1066"/>
                <a:gd name="T26" fmla="*/ 622 w 676"/>
                <a:gd name="T27" fmla="*/ 531 h 1066"/>
                <a:gd name="T28" fmla="*/ 676 w 676"/>
                <a:gd name="T29" fmla="*/ 269 h 1066"/>
                <a:gd name="T30" fmla="*/ 123 w 676"/>
                <a:gd name="T31" fmla="*/ 27 h 1066"/>
                <a:gd name="T32" fmla="*/ 119 w 676"/>
                <a:gd name="T33" fmla="*/ 29 h 1066"/>
                <a:gd name="T34" fmla="*/ 115 w 676"/>
                <a:gd name="T35" fmla="*/ 32 h 1066"/>
                <a:gd name="T36" fmla="*/ 112 w 676"/>
                <a:gd name="T37" fmla="*/ 34 h 1066"/>
                <a:gd name="T38" fmla="*/ 109 w 676"/>
                <a:gd name="T39" fmla="*/ 37 h 1066"/>
                <a:gd name="T40" fmla="*/ 110 w 676"/>
                <a:gd name="T41" fmla="*/ 59 h 1066"/>
                <a:gd name="T42" fmla="*/ 130 w 676"/>
                <a:gd name="T43" fmla="*/ 152 h 1066"/>
                <a:gd name="T44" fmla="*/ 166 w 676"/>
                <a:gd name="T45" fmla="*/ 223 h 1066"/>
                <a:gd name="T46" fmla="*/ 144 w 676"/>
                <a:gd name="T47" fmla="*/ 363 h 1066"/>
                <a:gd name="T48" fmla="*/ 37 w 676"/>
                <a:gd name="T49" fmla="*/ 560 h 1066"/>
                <a:gd name="T50" fmla="*/ 13 w 676"/>
                <a:gd name="T51" fmla="*/ 636 h 1066"/>
                <a:gd name="T52" fmla="*/ 12 w 676"/>
                <a:gd name="T53" fmla="*/ 643 h 1066"/>
                <a:gd name="T54" fmla="*/ 11 w 676"/>
                <a:gd name="T55" fmla="*/ 646 h 1066"/>
                <a:gd name="T56" fmla="*/ 41 w 676"/>
                <a:gd name="T57" fmla="*/ 684 h 1066"/>
                <a:gd name="T58" fmla="*/ 44 w 676"/>
                <a:gd name="T59" fmla="*/ 689 h 1066"/>
                <a:gd name="T60" fmla="*/ 45 w 676"/>
                <a:gd name="T61" fmla="*/ 693 h 1066"/>
                <a:gd name="T62" fmla="*/ 92 w 676"/>
                <a:gd name="T63" fmla="*/ 726 h 1066"/>
                <a:gd name="T64" fmla="*/ 111 w 676"/>
                <a:gd name="T65" fmla="*/ 786 h 1066"/>
                <a:gd name="T66" fmla="*/ 117 w 676"/>
                <a:gd name="T67" fmla="*/ 866 h 1066"/>
                <a:gd name="T68" fmla="*/ 143 w 676"/>
                <a:gd name="T69" fmla="*/ 900 h 1066"/>
                <a:gd name="T70" fmla="*/ 46 w 676"/>
                <a:gd name="T71" fmla="*/ 927 h 1066"/>
                <a:gd name="T72" fmla="*/ 126 w 676"/>
                <a:gd name="T73" fmla="*/ 1007 h 1066"/>
                <a:gd name="T74" fmla="*/ 136 w 676"/>
                <a:gd name="T75" fmla="*/ 1030 h 1066"/>
                <a:gd name="T76" fmla="*/ 137 w 676"/>
                <a:gd name="T77" fmla="*/ 1032 h 1066"/>
                <a:gd name="T78" fmla="*/ 138 w 676"/>
                <a:gd name="T79" fmla="*/ 1035 h 1066"/>
                <a:gd name="T80" fmla="*/ 139 w 676"/>
                <a:gd name="T81" fmla="*/ 1037 h 1066"/>
                <a:gd name="T82" fmla="*/ 140 w 676"/>
                <a:gd name="T83" fmla="*/ 1040 h 1066"/>
                <a:gd name="T84" fmla="*/ 140 w 676"/>
                <a:gd name="T85" fmla="*/ 1043 h 1066"/>
                <a:gd name="T86" fmla="*/ 141 w 676"/>
                <a:gd name="T87" fmla="*/ 1047 h 1066"/>
                <a:gd name="T88" fmla="*/ 141 w 676"/>
                <a:gd name="T89" fmla="*/ 1049 h 1066"/>
                <a:gd name="T90" fmla="*/ 141 w 676"/>
                <a:gd name="T91" fmla="*/ 1052 h 1066"/>
                <a:gd name="T92" fmla="*/ 141 w 676"/>
                <a:gd name="T93" fmla="*/ 1054 h 1066"/>
                <a:gd name="T94" fmla="*/ 154 w 676"/>
                <a:gd name="T95" fmla="*/ 1058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76" h="1066">
                  <a:moveTo>
                    <a:pt x="154" y="1058"/>
                  </a:moveTo>
                  <a:cubicBezTo>
                    <a:pt x="164" y="1058"/>
                    <a:pt x="168" y="1057"/>
                    <a:pt x="169" y="1053"/>
                  </a:cubicBezTo>
                  <a:cubicBezTo>
                    <a:pt x="171" y="1048"/>
                    <a:pt x="176" y="1049"/>
                    <a:pt x="183" y="1048"/>
                  </a:cubicBezTo>
                  <a:cubicBezTo>
                    <a:pt x="190" y="1047"/>
                    <a:pt x="192" y="1044"/>
                    <a:pt x="197" y="1038"/>
                  </a:cubicBezTo>
                  <a:cubicBezTo>
                    <a:pt x="201" y="1032"/>
                    <a:pt x="212" y="1027"/>
                    <a:pt x="212" y="1035"/>
                  </a:cubicBezTo>
                  <a:cubicBezTo>
                    <a:pt x="212" y="1044"/>
                    <a:pt x="209" y="1050"/>
                    <a:pt x="216" y="1051"/>
                  </a:cubicBezTo>
                  <a:cubicBezTo>
                    <a:pt x="222" y="1052"/>
                    <a:pt x="226" y="1066"/>
                    <a:pt x="233" y="1052"/>
                  </a:cubicBezTo>
                  <a:cubicBezTo>
                    <a:pt x="240" y="1038"/>
                    <a:pt x="243" y="1031"/>
                    <a:pt x="254" y="1031"/>
                  </a:cubicBezTo>
                  <a:cubicBezTo>
                    <a:pt x="265" y="1030"/>
                    <a:pt x="263" y="1023"/>
                    <a:pt x="279" y="1023"/>
                  </a:cubicBezTo>
                  <a:cubicBezTo>
                    <a:pt x="294" y="1023"/>
                    <a:pt x="321" y="1028"/>
                    <a:pt x="331" y="1018"/>
                  </a:cubicBezTo>
                  <a:cubicBezTo>
                    <a:pt x="340" y="1008"/>
                    <a:pt x="349" y="999"/>
                    <a:pt x="357" y="993"/>
                  </a:cubicBezTo>
                  <a:cubicBezTo>
                    <a:pt x="365" y="987"/>
                    <a:pt x="367" y="986"/>
                    <a:pt x="366" y="981"/>
                  </a:cubicBezTo>
                  <a:cubicBezTo>
                    <a:pt x="364" y="976"/>
                    <a:pt x="362" y="975"/>
                    <a:pt x="354" y="971"/>
                  </a:cubicBezTo>
                  <a:cubicBezTo>
                    <a:pt x="345" y="968"/>
                    <a:pt x="350" y="963"/>
                    <a:pt x="359" y="961"/>
                  </a:cubicBezTo>
                  <a:cubicBezTo>
                    <a:pt x="367" y="959"/>
                    <a:pt x="364" y="954"/>
                    <a:pt x="378" y="955"/>
                  </a:cubicBezTo>
                  <a:cubicBezTo>
                    <a:pt x="392" y="956"/>
                    <a:pt x="416" y="959"/>
                    <a:pt x="423" y="955"/>
                  </a:cubicBezTo>
                  <a:cubicBezTo>
                    <a:pt x="430" y="950"/>
                    <a:pt x="441" y="954"/>
                    <a:pt x="456" y="944"/>
                  </a:cubicBezTo>
                  <a:cubicBezTo>
                    <a:pt x="470" y="933"/>
                    <a:pt x="479" y="926"/>
                    <a:pt x="490" y="913"/>
                  </a:cubicBezTo>
                  <a:cubicBezTo>
                    <a:pt x="502" y="900"/>
                    <a:pt x="511" y="892"/>
                    <a:pt x="523" y="885"/>
                  </a:cubicBezTo>
                  <a:cubicBezTo>
                    <a:pt x="534" y="878"/>
                    <a:pt x="534" y="852"/>
                    <a:pt x="548" y="846"/>
                  </a:cubicBezTo>
                  <a:cubicBezTo>
                    <a:pt x="562" y="840"/>
                    <a:pt x="565" y="833"/>
                    <a:pt x="577" y="833"/>
                  </a:cubicBezTo>
                  <a:cubicBezTo>
                    <a:pt x="584" y="833"/>
                    <a:pt x="598" y="832"/>
                    <a:pt x="607" y="832"/>
                  </a:cubicBezTo>
                  <a:cubicBezTo>
                    <a:pt x="608" y="829"/>
                    <a:pt x="609" y="826"/>
                    <a:pt x="609" y="824"/>
                  </a:cubicBezTo>
                  <a:cubicBezTo>
                    <a:pt x="609" y="824"/>
                    <a:pt x="609" y="824"/>
                    <a:pt x="609" y="824"/>
                  </a:cubicBezTo>
                  <a:cubicBezTo>
                    <a:pt x="610" y="822"/>
                    <a:pt x="610" y="821"/>
                    <a:pt x="611" y="820"/>
                  </a:cubicBezTo>
                  <a:cubicBezTo>
                    <a:pt x="611" y="820"/>
                    <a:pt x="611" y="820"/>
                    <a:pt x="611" y="820"/>
                  </a:cubicBezTo>
                  <a:cubicBezTo>
                    <a:pt x="611" y="819"/>
                    <a:pt x="611" y="818"/>
                    <a:pt x="612" y="818"/>
                  </a:cubicBezTo>
                  <a:cubicBezTo>
                    <a:pt x="615" y="811"/>
                    <a:pt x="604" y="803"/>
                    <a:pt x="592" y="798"/>
                  </a:cubicBezTo>
                  <a:cubicBezTo>
                    <a:pt x="580" y="793"/>
                    <a:pt x="583" y="769"/>
                    <a:pt x="581" y="757"/>
                  </a:cubicBezTo>
                  <a:cubicBezTo>
                    <a:pt x="579" y="745"/>
                    <a:pt x="575" y="741"/>
                    <a:pt x="577" y="733"/>
                  </a:cubicBezTo>
                  <a:cubicBezTo>
                    <a:pt x="579" y="725"/>
                    <a:pt x="563" y="723"/>
                    <a:pt x="552" y="723"/>
                  </a:cubicBezTo>
                  <a:cubicBezTo>
                    <a:pt x="541" y="723"/>
                    <a:pt x="543" y="714"/>
                    <a:pt x="543" y="707"/>
                  </a:cubicBezTo>
                  <a:cubicBezTo>
                    <a:pt x="543" y="700"/>
                    <a:pt x="545" y="694"/>
                    <a:pt x="556" y="689"/>
                  </a:cubicBezTo>
                  <a:cubicBezTo>
                    <a:pt x="567" y="684"/>
                    <a:pt x="566" y="670"/>
                    <a:pt x="560" y="667"/>
                  </a:cubicBezTo>
                  <a:cubicBezTo>
                    <a:pt x="554" y="664"/>
                    <a:pt x="559" y="662"/>
                    <a:pt x="559" y="649"/>
                  </a:cubicBezTo>
                  <a:cubicBezTo>
                    <a:pt x="559" y="636"/>
                    <a:pt x="566" y="637"/>
                    <a:pt x="579" y="633"/>
                  </a:cubicBezTo>
                  <a:cubicBezTo>
                    <a:pt x="592" y="629"/>
                    <a:pt x="577" y="614"/>
                    <a:pt x="577" y="607"/>
                  </a:cubicBezTo>
                  <a:cubicBezTo>
                    <a:pt x="577" y="600"/>
                    <a:pt x="579" y="595"/>
                    <a:pt x="588" y="595"/>
                  </a:cubicBezTo>
                  <a:cubicBezTo>
                    <a:pt x="597" y="595"/>
                    <a:pt x="594" y="589"/>
                    <a:pt x="594" y="582"/>
                  </a:cubicBezTo>
                  <a:cubicBezTo>
                    <a:pt x="594" y="575"/>
                    <a:pt x="597" y="570"/>
                    <a:pt x="607" y="567"/>
                  </a:cubicBezTo>
                  <a:cubicBezTo>
                    <a:pt x="617" y="564"/>
                    <a:pt x="615" y="555"/>
                    <a:pt x="609" y="546"/>
                  </a:cubicBezTo>
                  <a:cubicBezTo>
                    <a:pt x="603" y="537"/>
                    <a:pt x="610" y="531"/>
                    <a:pt x="622" y="531"/>
                  </a:cubicBezTo>
                  <a:cubicBezTo>
                    <a:pt x="634" y="531"/>
                    <a:pt x="639" y="531"/>
                    <a:pt x="646" y="523"/>
                  </a:cubicBezTo>
                  <a:cubicBezTo>
                    <a:pt x="653" y="515"/>
                    <a:pt x="676" y="523"/>
                    <a:pt x="676" y="523"/>
                  </a:cubicBezTo>
                  <a:cubicBezTo>
                    <a:pt x="676" y="269"/>
                    <a:pt x="676" y="269"/>
                    <a:pt x="676" y="269"/>
                  </a:cubicBezTo>
                  <a:cubicBezTo>
                    <a:pt x="605" y="233"/>
                    <a:pt x="212" y="31"/>
                    <a:pt x="187" y="16"/>
                  </a:cubicBezTo>
                  <a:cubicBezTo>
                    <a:pt x="159" y="0"/>
                    <a:pt x="148" y="18"/>
                    <a:pt x="127" y="26"/>
                  </a:cubicBezTo>
                  <a:cubicBezTo>
                    <a:pt x="125" y="26"/>
                    <a:pt x="124" y="27"/>
                    <a:pt x="123" y="27"/>
                  </a:cubicBezTo>
                  <a:cubicBezTo>
                    <a:pt x="123" y="27"/>
                    <a:pt x="123" y="28"/>
                    <a:pt x="122" y="28"/>
                  </a:cubicBezTo>
                  <a:cubicBezTo>
                    <a:pt x="121" y="28"/>
                    <a:pt x="121" y="28"/>
                    <a:pt x="120" y="29"/>
                  </a:cubicBezTo>
                  <a:cubicBezTo>
                    <a:pt x="120" y="29"/>
                    <a:pt x="119" y="29"/>
                    <a:pt x="119" y="29"/>
                  </a:cubicBezTo>
                  <a:cubicBezTo>
                    <a:pt x="118" y="30"/>
                    <a:pt x="118" y="30"/>
                    <a:pt x="117" y="30"/>
                  </a:cubicBezTo>
                  <a:cubicBezTo>
                    <a:pt x="117" y="31"/>
                    <a:pt x="117" y="31"/>
                    <a:pt x="116" y="31"/>
                  </a:cubicBezTo>
                  <a:cubicBezTo>
                    <a:pt x="116" y="31"/>
                    <a:pt x="115" y="32"/>
                    <a:pt x="115" y="32"/>
                  </a:cubicBezTo>
                  <a:cubicBezTo>
                    <a:pt x="115" y="32"/>
                    <a:pt x="114" y="32"/>
                    <a:pt x="114" y="33"/>
                  </a:cubicBezTo>
                  <a:cubicBezTo>
                    <a:pt x="114" y="33"/>
                    <a:pt x="113" y="33"/>
                    <a:pt x="113" y="33"/>
                  </a:cubicBezTo>
                  <a:cubicBezTo>
                    <a:pt x="113" y="34"/>
                    <a:pt x="112" y="34"/>
                    <a:pt x="112" y="34"/>
                  </a:cubicBezTo>
                  <a:cubicBezTo>
                    <a:pt x="112" y="34"/>
                    <a:pt x="111" y="35"/>
                    <a:pt x="111" y="35"/>
                  </a:cubicBezTo>
                  <a:cubicBezTo>
                    <a:pt x="111" y="35"/>
                    <a:pt x="111" y="35"/>
                    <a:pt x="110" y="36"/>
                  </a:cubicBezTo>
                  <a:cubicBezTo>
                    <a:pt x="110" y="36"/>
                    <a:pt x="110" y="36"/>
                    <a:pt x="109" y="37"/>
                  </a:cubicBezTo>
                  <a:cubicBezTo>
                    <a:pt x="109" y="37"/>
                    <a:pt x="109" y="37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9" y="45"/>
                    <a:pt x="110" y="54"/>
                    <a:pt x="110" y="59"/>
                  </a:cubicBezTo>
                  <a:cubicBezTo>
                    <a:pt x="110" y="70"/>
                    <a:pt x="110" y="84"/>
                    <a:pt x="115" y="94"/>
                  </a:cubicBezTo>
                  <a:cubicBezTo>
                    <a:pt x="121" y="104"/>
                    <a:pt x="115" y="115"/>
                    <a:pt x="116" y="125"/>
                  </a:cubicBezTo>
                  <a:cubicBezTo>
                    <a:pt x="117" y="136"/>
                    <a:pt x="125" y="145"/>
                    <a:pt x="130" y="152"/>
                  </a:cubicBezTo>
                  <a:cubicBezTo>
                    <a:pt x="136" y="158"/>
                    <a:pt x="141" y="172"/>
                    <a:pt x="141" y="184"/>
                  </a:cubicBezTo>
                  <a:cubicBezTo>
                    <a:pt x="141" y="196"/>
                    <a:pt x="149" y="197"/>
                    <a:pt x="158" y="202"/>
                  </a:cubicBezTo>
                  <a:cubicBezTo>
                    <a:pt x="168" y="207"/>
                    <a:pt x="165" y="213"/>
                    <a:pt x="166" y="223"/>
                  </a:cubicBezTo>
                  <a:cubicBezTo>
                    <a:pt x="166" y="232"/>
                    <a:pt x="159" y="238"/>
                    <a:pt x="154" y="245"/>
                  </a:cubicBezTo>
                  <a:cubicBezTo>
                    <a:pt x="149" y="252"/>
                    <a:pt x="149" y="265"/>
                    <a:pt x="147" y="276"/>
                  </a:cubicBezTo>
                  <a:cubicBezTo>
                    <a:pt x="145" y="288"/>
                    <a:pt x="144" y="345"/>
                    <a:pt x="144" y="363"/>
                  </a:cubicBezTo>
                  <a:cubicBezTo>
                    <a:pt x="144" y="380"/>
                    <a:pt x="136" y="399"/>
                    <a:pt x="136" y="418"/>
                  </a:cubicBezTo>
                  <a:cubicBezTo>
                    <a:pt x="136" y="438"/>
                    <a:pt x="137" y="452"/>
                    <a:pt x="120" y="465"/>
                  </a:cubicBezTo>
                  <a:cubicBezTo>
                    <a:pt x="103" y="478"/>
                    <a:pt x="45" y="549"/>
                    <a:pt x="37" y="560"/>
                  </a:cubicBezTo>
                  <a:cubicBezTo>
                    <a:pt x="29" y="570"/>
                    <a:pt x="19" y="595"/>
                    <a:pt x="9" y="600"/>
                  </a:cubicBezTo>
                  <a:cubicBezTo>
                    <a:pt x="0" y="604"/>
                    <a:pt x="7" y="609"/>
                    <a:pt x="11" y="614"/>
                  </a:cubicBezTo>
                  <a:cubicBezTo>
                    <a:pt x="15" y="620"/>
                    <a:pt x="13" y="625"/>
                    <a:pt x="13" y="636"/>
                  </a:cubicBezTo>
                  <a:cubicBezTo>
                    <a:pt x="13" y="637"/>
                    <a:pt x="13" y="639"/>
                    <a:pt x="13" y="640"/>
                  </a:cubicBezTo>
                  <a:cubicBezTo>
                    <a:pt x="13" y="640"/>
                    <a:pt x="13" y="640"/>
                    <a:pt x="13" y="640"/>
                  </a:cubicBezTo>
                  <a:cubicBezTo>
                    <a:pt x="13" y="641"/>
                    <a:pt x="13" y="642"/>
                    <a:pt x="12" y="643"/>
                  </a:cubicBezTo>
                  <a:cubicBezTo>
                    <a:pt x="12" y="643"/>
                    <a:pt x="12" y="643"/>
                    <a:pt x="12" y="644"/>
                  </a:cubicBezTo>
                  <a:cubicBezTo>
                    <a:pt x="12" y="645"/>
                    <a:pt x="12" y="645"/>
                    <a:pt x="11" y="646"/>
                  </a:cubicBezTo>
                  <a:cubicBezTo>
                    <a:pt x="11" y="646"/>
                    <a:pt x="11" y="646"/>
                    <a:pt x="11" y="646"/>
                  </a:cubicBezTo>
                  <a:cubicBezTo>
                    <a:pt x="11" y="647"/>
                    <a:pt x="10" y="648"/>
                    <a:pt x="10" y="649"/>
                  </a:cubicBezTo>
                  <a:cubicBezTo>
                    <a:pt x="18" y="658"/>
                    <a:pt x="34" y="675"/>
                    <a:pt x="39" y="681"/>
                  </a:cubicBezTo>
                  <a:cubicBezTo>
                    <a:pt x="40" y="682"/>
                    <a:pt x="41" y="683"/>
                    <a:pt x="41" y="684"/>
                  </a:cubicBezTo>
                  <a:cubicBezTo>
                    <a:pt x="42" y="685"/>
                    <a:pt x="42" y="685"/>
                    <a:pt x="42" y="686"/>
                  </a:cubicBezTo>
                  <a:cubicBezTo>
                    <a:pt x="43" y="686"/>
                    <a:pt x="43" y="687"/>
                    <a:pt x="43" y="687"/>
                  </a:cubicBezTo>
                  <a:cubicBezTo>
                    <a:pt x="43" y="688"/>
                    <a:pt x="44" y="689"/>
                    <a:pt x="44" y="689"/>
                  </a:cubicBezTo>
                  <a:cubicBezTo>
                    <a:pt x="44" y="690"/>
                    <a:pt x="44" y="690"/>
                    <a:pt x="44" y="690"/>
                  </a:cubicBezTo>
                  <a:cubicBezTo>
                    <a:pt x="45" y="691"/>
                    <a:pt x="45" y="692"/>
                    <a:pt x="45" y="693"/>
                  </a:cubicBezTo>
                  <a:cubicBezTo>
                    <a:pt x="45" y="693"/>
                    <a:pt x="45" y="693"/>
                    <a:pt x="45" y="693"/>
                  </a:cubicBezTo>
                  <a:cubicBezTo>
                    <a:pt x="54" y="693"/>
                    <a:pt x="67" y="693"/>
                    <a:pt x="68" y="698"/>
                  </a:cubicBezTo>
                  <a:cubicBezTo>
                    <a:pt x="69" y="706"/>
                    <a:pt x="73" y="708"/>
                    <a:pt x="82" y="712"/>
                  </a:cubicBezTo>
                  <a:cubicBezTo>
                    <a:pt x="91" y="716"/>
                    <a:pt x="86" y="722"/>
                    <a:pt x="92" y="726"/>
                  </a:cubicBezTo>
                  <a:cubicBezTo>
                    <a:pt x="98" y="731"/>
                    <a:pt x="100" y="738"/>
                    <a:pt x="100" y="744"/>
                  </a:cubicBezTo>
                  <a:cubicBezTo>
                    <a:pt x="100" y="751"/>
                    <a:pt x="101" y="756"/>
                    <a:pt x="106" y="760"/>
                  </a:cubicBezTo>
                  <a:cubicBezTo>
                    <a:pt x="111" y="764"/>
                    <a:pt x="111" y="776"/>
                    <a:pt x="111" y="786"/>
                  </a:cubicBezTo>
                  <a:cubicBezTo>
                    <a:pt x="111" y="796"/>
                    <a:pt x="114" y="812"/>
                    <a:pt x="109" y="818"/>
                  </a:cubicBezTo>
                  <a:cubicBezTo>
                    <a:pt x="103" y="824"/>
                    <a:pt x="101" y="835"/>
                    <a:pt x="107" y="843"/>
                  </a:cubicBezTo>
                  <a:cubicBezTo>
                    <a:pt x="112" y="851"/>
                    <a:pt x="109" y="860"/>
                    <a:pt x="117" y="866"/>
                  </a:cubicBezTo>
                  <a:cubicBezTo>
                    <a:pt x="125" y="871"/>
                    <a:pt x="125" y="874"/>
                    <a:pt x="129" y="879"/>
                  </a:cubicBezTo>
                  <a:cubicBezTo>
                    <a:pt x="132" y="884"/>
                    <a:pt x="141" y="886"/>
                    <a:pt x="147" y="890"/>
                  </a:cubicBezTo>
                  <a:cubicBezTo>
                    <a:pt x="154" y="894"/>
                    <a:pt x="157" y="902"/>
                    <a:pt x="143" y="900"/>
                  </a:cubicBezTo>
                  <a:cubicBezTo>
                    <a:pt x="128" y="899"/>
                    <a:pt x="102" y="894"/>
                    <a:pt x="85" y="895"/>
                  </a:cubicBezTo>
                  <a:cubicBezTo>
                    <a:pt x="69" y="896"/>
                    <a:pt x="56" y="890"/>
                    <a:pt x="48" y="898"/>
                  </a:cubicBezTo>
                  <a:cubicBezTo>
                    <a:pt x="40" y="905"/>
                    <a:pt x="35" y="919"/>
                    <a:pt x="46" y="927"/>
                  </a:cubicBezTo>
                  <a:cubicBezTo>
                    <a:pt x="57" y="935"/>
                    <a:pt x="75" y="958"/>
                    <a:pt x="83" y="964"/>
                  </a:cubicBezTo>
                  <a:cubicBezTo>
                    <a:pt x="91" y="971"/>
                    <a:pt x="102" y="976"/>
                    <a:pt x="107" y="983"/>
                  </a:cubicBezTo>
                  <a:cubicBezTo>
                    <a:pt x="111" y="990"/>
                    <a:pt x="126" y="999"/>
                    <a:pt x="126" y="1007"/>
                  </a:cubicBezTo>
                  <a:cubicBezTo>
                    <a:pt x="126" y="1015"/>
                    <a:pt x="131" y="1026"/>
                    <a:pt x="135" y="1029"/>
                  </a:cubicBezTo>
                  <a:cubicBezTo>
                    <a:pt x="135" y="1029"/>
                    <a:pt x="135" y="1030"/>
                    <a:pt x="135" y="1030"/>
                  </a:cubicBezTo>
                  <a:cubicBezTo>
                    <a:pt x="135" y="1030"/>
                    <a:pt x="136" y="1030"/>
                    <a:pt x="136" y="1030"/>
                  </a:cubicBezTo>
                  <a:cubicBezTo>
                    <a:pt x="136" y="1030"/>
                    <a:pt x="136" y="1031"/>
                    <a:pt x="136" y="1031"/>
                  </a:cubicBezTo>
                  <a:cubicBezTo>
                    <a:pt x="136" y="1031"/>
                    <a:pt x="136" y="1031"/>
                    <a:pt x="136" y="1031"/>
                  </a:cubicBezTo>
                  <a:cubicBezTo>
                    <a:pt x="136" y="1032"/>
                    <a:pt x="137" y="1032"/>
                    <a:pt x="137" y="1032"/>
                  </a:cubicBezTo>
                  <a:cubicBezTo>
                    <a:pt x="137" y="1032"/>
                    <a:pt x="137" y="1033"/>
                    <a:pt x="137" y="1033"/>
                  </a:cubicBezTo>
                  <a:cubicBezTo>
                    <a:pt x="137" y="1033"/>
                    <a:pt x="137" y="1033"/>
                    <a:pt x="137" y="1034"/>
                  </a:cubicBezTo>
                  <a:cubicBezTo>
                    <a:pt x="138" y="1034"/>
                    <a:pt x="138" y="1034"/>
                    <a:pt x="138" y="1035"/>
                  </a:cubicBezTo>
                  <a:cubicBezTo>
                    <a:pt x="138" y="1035"/>
                    <a:pt x="138" y="1035"/>
                    <a:pt x="138" y="1035"/>
                  </a:cubicBezTo>
                  <a:cubicBezTo>
                    <a:pt x="138" y="1036"/>
                    <a:pt x="138" y="1036"/>
                    <a:pt x="139" y="1036"/>
                  </a:cubicBezTo>
                  <a:cubicBezTo>
                    <a:pt x="139" y="1037"/>
                    <a:pt x="139" y="1037"/>
                    <a:pt x="139" y="1037"/>
                  </a:cubicBezTo>
                  <a:cubicBezTo>
                    <a:pt x="139" y="1038"/>
                    <a:pt x="139" y="1038"/>
                    <a:pt x="139" y="1038"/>
                  </a:cubicBezTo>
                  <a:cubicBezTo>
                    <a:pt x="139" y="1039"/>
                    <a:pt x="139" y="1039"/>
                    <a:pt x="139" y="1039"/>
                  </a:cubicBezTo>
                  <a:cubicBezTo>
                    <a:pt x="139" y="1040"/>
                    <a:pt x="140" y="1040"/>
                    <a:pt x="140" y="1040"/>
                  </a:cubicBezTo>
                  <a:cubicBezTo>
                    <a:pt x="140" y="1041"/>
                    <a:pt x="140" y="1041"/>
                    <a:pt x="140" y="1041"/>
                  </a:cubicBezTo>
                  <a:cubicBezTo>
                    <a:pt x="140" y="1041"/>
                    <a:pt x="140" y="1042"/>
                    <a:pt x="140" y="1042"/>
                  </a:cubicBezTo>
                  <a:cubicBezTo>
                    <a:pt x="140" y="1043"/>
                    <a:pt x="140" y="1043"/>
                    <a:pt x="140" y="1043"/>
                  </a:cubicBezTo>
                  <a:cubicBezTo>
                    <a:pt x="140" y="1044"/>
                    <a:pt x="141" y="1044"/>
                    <a:pt x="141" y="1044"/>
                  </a:cubicBezTo>
                  <a:cubicBezTo>
                    <a:pt x="141" y="1045"/>
                    <a:pt x="141" y="1045"/>
                    <a:pt x="141" y="1045"/>
                  </a:cubicBezTo>
                  <a:cubicBezTo>
                    <a:pt x="141" y="1045"/>
                    <a:pt x="141" y="1046"/>
                    <a:pt x="141" y="1047"/>
                  </a:cubicBezTo>
                  <a:cubicBezTo>
                    <a:pt x="141" y="1047"/>
                    <a:pt x="141" y="1047"/>
                    <a:pt x="141" y="1047"/>
                  </a:cubicBezTo>
                  <a:cubicBezTo>
                    <a:pt x="141" y="1047"/>
                    <a:pt x="141" y="1048"/>
                    <a:pt x="141" y="1048"/>
                  </a:cubicBezTo>
                  <a:cubicBezTo>
                    <a:pt x="141" y="1049"/>
                    <a:pt x="141" y="1049"/>
                    <a:pt x="141" y="1049"/>
                  </a:cubicBezTo>
                  <a:cubicBezTo>
                    <a:pt x="141" y="1049"/>
                    <a:pt x="141" y="1050"/>
                    <a:pt x="141" y="1050"/>
                  </a:cubicBezTo>
                  <a:cubicBezTo>
                    <a:pt x="141" y="1050"/>
                    <a:pt x="141" y="1050"/>
                    <a:pt x="141" y="1051"/>
                  </a:cubicBezTo>
                  <a:cubicBezTo>
                    <a:pt x="141" y="1051"/>
                    <a:pt x="141" y="1052"/>
                    <a:pt x="141" y="1052"/>
                  </a:cubicBezTo>
                  <a:cubicBezTo>
                    <a:pt x="141" y="1052"/>
                    <a:pt x="141" y="1052"/>
                    <a:pt x="141" y="1052"/>
                  </a:cubicBezTo>
                  <a:cubicBezTo>
                    <a:pt x="141" y="1053"/>
                    <a:pt x="141" y="1053"/>
                    <a:pt x="141" y="1053"/>
                  </a:cubicBezTo>
                  <a:cubicBezTo>
                    <a:pt x="141" y="1054"/>
                    <a:pt x="141" y="1054"/>
                    <a:pt x="141" y="1054"/>
                  </a:cubicBezTo>
                  <a:cubicBezTo>
                    <a:pt x="140" y="1054"/>
                    <a:pt x="140" y="1054"/>
                    <a:pt x="140" y="1055"/>
                  </a:cubicBezTo>
                  <a:cubicBezTo>
                    <a:pt x="140" y="1055"/>
                    <a:pt x="140" y="1055"/>
                    <a:pt x="140" y="1055"/>
                  </a:cubicBezTo>
                  <a:cubicBezTo>
                    <a:pt x="144" y="1056"/>
                    <a:pt x="149" y="1058"/>
                    <a:pt x="154" y="105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2" name="Freeform 412">
              <a:extLst>
                <a:ext uri="{FF2B5EF4-FFF2-40B4-BE49-F238E27FC236}">
                  <a16:creationId xmlns:a16="http://schemas.microsoft.com/office/drawing/2014/main" id="{7096B07F-F1B9-944A-AD15-4C615DD14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" y="2296"/>
              <a:ext cx="8" cy="7"/>
            </a:xfrm>
            <a:custGeom>
              <a:avLst/>
              <a:gdLst>
                <a:gd name="T0" fmla="*/ 18 w 29"/>
                <a:gd name="T1" fmla="*/ 2 h 29"/>
                <a:gd name="T2" fmla="*/ 5 w 29"/>
                <a:gd name="T3" fmla="*/ 7 h 29"/>
                <a:gd name="T4" fmla="*/ 4 w 29"/>
                <a:gd name="T5" fmla="*/ 22 h 29"/>
                <a:gd name="T6" fmla="*/ 16 w 29"/>
                <a:gd name="T7" fmla="*/ 26 h 29"/>
                <a:gd name="T8" fmla="*/ 23 w 29"/>
                <a:gd name="T9" fmla="*/ 17 h 29"/>
                <a:gd name="T10" fmla="*/ 28 w 29"/>
                <a:gd name="T11" fmla="*/ 10 h 29"/>
                <a:gd name="T12" fmla="*/ 18 w 29"/>
                <a:gd name="T13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9">
                  <a:moveTo>
                    <a:pt x="18" y="2"/>
                  </a:moveTo>
                  <a:cubicBezTo>
                    <a:pt x="18" y="2"/>
                    <a:pt x="5" y="0"/>
                    <a:pt x="5" y="7"/>
                  </a:cubicBezTo>
                  <a:cubicBezTo>
                    <a:pt x="4" y="14"/>
                    <a:pt x="0" y="19"/>
                    <a:pt x="4" y="22"/>
                  </a:cubicBezTo>
                  <a:cubicBezTo>
                    <a:pt x="7" y="24"/>
                    <a:pt x="13" y="29"/>
                    <a:pt x="16" y="26"/>
                  </a:cubicBezTo>
                  <a:cubicBezTo>
                    <a:pt x="19" y="23"/>
                    <a:pt x="20" y="17"/>
                    <a:pt x="23" y="17"/>
                  </a:cubicBezTo>
                  <a:cubicBezTo>
                    <a:pt x="26" y="17"/>
                    <a:pt x="29" y="13"/>
                    <a:pt x="28" y="10"/>
                  </a:cubicBezTo>
                  <a:cubicBezTo>
                    <a:pt x="26" y="7"/>
                    <a:pt x="26" y="4"/>
                    <a:pt x="18" y="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3" name="Freeform 413">
              <a:extLst>
                <a:ext uri="{FF2B5EF4-FFF2-40B4-BE49-F238E27FC236}">
                  <a16:creationId xmlns:a16="http://schemas.microsoft.com/office/drawing/2014/main" id="{59769477-6048-9844-8431-D0A077D47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6" y="2302"/>
              <a:ext cx="8" cy="8"/>
            </a:xfrm>
            <a:custGeom>
              <a:avLst/>
              <a:gdLst>
                <a:gd name="T0" fmla="*/ 9 w 30"/>
                <a:gd name="T1" fmla="*/ 2 h 31"/>
                <a:gd name="T2" fmla="*/ 4 w 30"/>
                <a:gd name="T3" fmla="*/ 16 h 31"/>
                <a:gd name="T4" fmla="*/ 19 w 30"/>
                <a:gd name="T5" fmla="*/ 30 h 31"/>
                <a:gd name="T6" fmla="*/ 29 w 30"/>
                <a:gd name="T7" fmla="*/ 21 h 31"/>
                <a:gd name="T8" fmla="*/ 22 w 30"/>
                <a:gd name="T9" fmla="*/ 9 h 31"/>
                <a:gd name="T10" fmla="*/ 9 w 30"/>
                <a:gd name="T11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1">
                  <a:moveTo>
                    <a:pt x="9" y="2"/>
                  </a:moveTo>
                  <a:cubicBezTo>
                    <a:pt x="8" y="3"/>
                    <a:pt x="0" y="9"/>
                    <a:pt x="4" y="16"/>
                  </a:cubicBezTo>
                  <a:cubicBezTo>
                    <a:pt x="8" y="24"/>
                    <a:pt x="14" y="31"/>
                    <a:pt x="19" y="30"/>
                  </a:cubicBezTo>
                  <a:cubicBezTo>
                    <a:pt x="24" y="28"/>
                    <a:pt x="28" y="31"/>
                    <a:pt x="29" y="21"/>
                  </a:cubicBezTo>
                  <a:cubicBezTo>
                    <a:pt x="30" y="11"/>
                    <a:pt x="24" y="15"/>
                    <a:pt x="22" y="9"/>
                  </a:cubicBezTo>
                  <a:cubicBezTo>
                    <a:pt x="19" y="4"/>
                    <a:pt x="13" y="0"/>
                    <a:pt x="9" y="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4" name="Freeform 414">
              <a:extLst>
                <a:ext uri="{FF2B5EF4-FFF2-40B4-BE49-F238E27FC236}">
                  <a16:creationId xmlns:a16="http://schemas.microsoft.com/office/drawing/2014/main" id="{CBA3BB8F-2199-154A-B8DC-B9B9DD654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301"/>
              <a:ext cx="4" cy="7"/>
            </a:xfrm>
            <a:custGeom>
              <a:avLst/>
              <a:gdLst>
                <a:gd name="T0" fmla="*/ 5 w 12"/>
                <a:gd name="T1" fmla="*/ 8 h 26"/>
                <a:gd name="T2" fmla="*/ 5 w 12"/>
                <a:gd name="T3" fmla="*/ 24 h 26"/>
                <a:gd name="T4" fmla="*/ 12 w 12"/>
                <a:gd name="T5" fmla="*/ 18 h 26"/>
                <a:gd name="T6" fmla="*/ 5 w 12"/>
                <a:gd name="T7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5" y="8"/>
                  </a:moveTo>
                  <a:cubicBezTo>
                    <a:pt x="5" y="8"/>
                    <a:pt x="0" y="22"/>
                    <a:pt x="5" y="24"/>
                  </a:cubicBezTo>
                  <a:cubicBezTo>
                    <a:pt x="9" y="26"/>
                    <a:pt x="12" y="22"/>
                    <a:pt x="12" y="18"/>
                  </a:cubicBezTo>
                  <a:cubicBezTo>
                    <a:pt x="12" y="13"/>
                    <a:pt x="11" y="0"/>
                    <a:pt x="5" y="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5" name="Freeform 415">
              <a:extLst>
                <a:ext uri="{FF2B5EF4-FFF2-40B4-BE49-F238E27FC236}">
                  <a16:creationId xmlns:a16="http://schemas.microsoft.com/office/drawing/2014/main" id="{B502ED9A-B4FF-3042-8C2B-C326D235B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311"/>
              <a:ext cx="7" cy="7"/>
            </a:xfrm>
            <a:custGeom>
              <a:avLst/>
              <a:gdLst>
                <a:gd name="T0" fmla="*/ 11 w 26"/>
                <a:gd name="T1" fmla="*/ 1 h 27"/>
                <a:gd name="T2" fmla="*/ 4 w 26"/>
                <a:gd name="T3" fmla="*/ 6 h 27"/>
                <a:gd name="T4" fmla="*/ 7 w 26"/>
                <a:gd name="T5" fmla="*/ 25 h 27"/>
                <a:gd name="T6" fmla="*/ 19 w 26"/>
                <a:gd name="T7" fmla="*/ 18 h 27"/>
                <a:gd name="T8" fmla="*/ 20 w 26"/>
                <a:gd name="T9" fmla="*/ 10 h 27"/>
                <a:gd name="T10" fmla="*/ 11 w 26"/>
                <a:gd name="T11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7">
                  <a:moveTo>
                    <a:pt x="11" y="1"/>
                  </a:moveTo>
                  <a:cubicBezTo>
                    <a:pt x="11" y="1"/>
                    <a:pt x="4" y="0"/>
                    <a:pt x="4" y="6"/>
                  </a:cubicBezTo>
                  <a:cubicBezTo>
                    <a:pt x="4" y="12"/>
                    <a:pt x="0" y="24"/>
                    <a:pt x="7" y="25"/>
                  </a:cubicBezTo>
                  <a:cubicBezTo>
                    <a:pt x="13" y="27"/>
                    <a:pt x="13" y="18"/>
                    <a:pt x="19" y="18"/>
                  </a:cubicBezTo>
                  <a:cubicBezTo>
                    <a:pt x="26" y="18"/>
                    <a:pt x="24" y="12"/>
                    <a:pt x="20" y="10"/>
                  </a:cubicBezTo>
                  <a:cubicBezTo>
                    <a:pt x="16" y="8"/>
                    <a:pt x="15" y="7"/>
                    <a:pt x="11" y="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6" name="Freeform 416">
              <a:extLst>
                <a:ext uri="{FF2B5EF4-FFF2-40B4-BE49-F238E27FC236}">
                  <a16:creationId xmlns:a16="http://schemas.microsoft.com/office/drawing/2014/main" id="{55DF6A28-FD79-B543-95E8-D3935D656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5" y="2331"/>
              <a:ext cx="6" cy="8"/>
            </a:xfrm>
            <a:custGeom>
              <a:avLst/>
              <a:gdLst>
                <a:gd name="T0" fmla="*/ 6 w 23"/>
                <a:gd name="T1" fmla="*/ 3 h 32"/>
                <a:gd name="T2" fmla="*/ 0 w 23"/>
                <a:gd name="T3" fmla="*/ 9 h 32"/>
                <a:gd name="T4" fmla="*/ 6 w 23"/>
                <a:gd name="T5" fmla="*/ 22 h 32"/>
                <a:gd name="T6" fmla="*/ 17 w 23"/>
                <a:gd name="T7" fmla="*/ 30 h 32"/>
                <a:gd name="T8" fmla="*/ 21 w 23"/>
                <a:gd name="T9" fmla="*/ 19 h 32"/>
                <a:gd name="T10" fmla="*/ 6 w 23"/>
                <a:gd name="T1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6" y="3"/>
                  </a:moveTo>
                  <a:cubicBezTo>
                    <a:pt x="6" y="3"/>
                    <a:pt x="0" y="4"/>
                    <a:pt x="0" y="9"/>
                  </a:cubicBezTo>
                  <a:cubicBezTo>
                    <a:pt x="0" y="15"/>
                    <a:pt x="5" y="15"/>
                    <a:pt x="6" y="22"/>
                  </a:cubicBezTo>
                  <a:cubicBezTo>
                    <a:pt x="7" y="30"/>
                    <a:pt x="10" y="32"/>
                    <a:pt x="17" y="30"/>
                  </a:cubicBezTo>
                  <a:cubicBezTo>
                    <a:pt x="23" y="28"/>
                    <a:pt x="21" y="25"/>
                    <a:pt x="21" y="19"/>
                  </a:cubicBezTo>
                  <a:cubicBezTo>
                    <a:pt x="21" y="13"/>
                    <a:pt x="23" y="0"/>
                    <a:pt x="6" y="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7" name="Freeform 417">
              <a:extLst>
                <a:ext uri="{FF2B5EF4-FFF2-40B4-BE49-F238E27FC236}">
                  <a16:creationId xmlns:a16="http://schemas.microsoft.com/office/drawing/2014/main" id="{D006B30D-D475-9F43-948B-B15AD12F0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" y="2326"/>
              <a:ext cx="8" cy="10"/>
            </a:xfrm>
            <a:custGeom>
              <a:avLst/>
              <a:gdLst>
                <a:gd name="T0" fmla="*/ 13 w 34"/>
                <a:gd name="T1" fmla="*/ 3 h 39"/>
                <a:gd name="T2" fmla="*/ 1 w 34"/>
                <a:gd name="T3" fmla="*/ 17 h 39"/>
                <a:gd name="T4" fmla="*/ 15 w 34"/>
                <a:gd name="T5" fmla="*/ 30 h 39"/>
                <a:gd name="T6" fmla="*/ 23 w 34"/>
                <a:gd name="T7" fmla="*/ 39 h 39"/>
                <a:gd name="T8" fmla="*/ 32 w 34"/>
                <a:gd name="T9" fmla="*/ 28 h 39"/>
                <a:gd name="T10" fmla="*/ 24 w 34"/>
                <a:gd name="T11" fmla="*/ 12 h 39"/>
                <a:gd name="T12" fmla="*/ 13 w 34"/>
                <a:gd name="T13" fmla="*/ 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9">
                  <a:moveTo>
                    <a:pt x="13" y="3"/>
                  </a:moveTo>
                  <a:cubicBezTo>
                    <a:pt x="13" y="3"/>
                    <a:pt x="0" y="12"/>
                    <a:pt x="1" y="17"/>
                  </a:cubicBezTo>
                  <a:cubicBezTo>
                    <a:pt x="2" y="21"/>
                    <a:pt x="12" y="24"/>
                    <a:pt x="15" y="30"/>
                  </a:cubicBezTo>
                  <a:cubicBezTo>
                    <a:pt x="17" y="35"/>
                    <a:pt x="19" y="39"/>
                    <a:pt x="23" y="39"/>
                  </a:cubicBezTo>
                  <a:cubicBezTo>
                    <a:pt x="27" y="39"/>
                    <a:pt x="34" y="36"/>
                    <a:pt x="32" y="28"/>
                  </a:cubicBezTo>
                  <a:cubicBezTo>
                    <a:pt x="30" y="20"/>
                    <a:pt x="26" y="19"/>
                    <a:pt x="24" y="12"/>
                  </a:cubicBezTo>
                  <a:cubicBezTo>
                    <a:pt x="23" y="6"/>
                    <a:pt x="18" y="0"/>
                    <a:pt x="13" y="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8" name="Freeform 418">
              <a:extLst>
                <a:ext uri="{FF2B5EF4-FFF2-40B4-BE49-F238E27FC236}">
                  <a16:creationId xmlns:a16="http://schemas.microsoft.com/office/drawing/2014/main" id="{9073D204-8336-444D-AA7B-6A24C1E3E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2324"/>
              <a:ext cx="3" cy="11"/>
            </a:xfrm>
            <a:custGeom>
              <a:avLst/>
              <a:gdLst>
                <a:gd name="T0" fmla="*/ 6 w 14"/>
                <a:gd name="T1" fmla="*/ 11 h 46"/>
                <a:gd name="T2" fmla="*/ 2 w 14"/>
                <a:gd name="T3" fmla="*/ 24 h 46"/>
                <a:gd name="T4" fmla="*/ 5 w 14"/>
                <a:gd name="T5" fmla="*/ 43 h 46"/>
                <a:gd name="T6" fmla="*/ 14 w 14"/>
                <a:gd name="T7" fmla="*/ 34 h 46"/>
                <a:gd name="T8" fmla="*/ 6 w 14"/>
                <a:gd name="T9" fmla="*/ 1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6">
                  <a:moveTo>
                    <a:pt x="6" y="11"/>
                  </a:moveTo>
                  <a:cubicBezTo>
                    <a:pt x="6" y="11"/>
                    <a:pt x="2" y="17"/>
                    <a:pt x="2" y="24"/>
                  </a:cubicBezTo>
                  <a:cubicBezTo>
                    <a:pt x="2" y="31"/>
                    <a:pt x="0" y="39"/>
                    <a:pt x="5" y="43"/>
                  </a:cubicBezTo>
                  <a:cubicBezTo>
                    <a:pt x="11" y="46"/>
                    <a:pt x="14" y="43"/>
                    <a:pt x="14" y="34"/>
                  </a:cubicBezTo>
                  <a:cubicBezTo>
                    <a:pt x="14" y="26"/>
                    <a:pt x="13" y="0"/>
                    <a:pt x="6" y="1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89" name="Freeform 419">
              <a:extLst>
                <a:ext uri="{FF2B5EF4-FFF2-40B4-BE49-F238E27FC236}">
                  <a16:creationId xmlns:a16="http://schemas.microsoft.com/office/drawing/2014/main" id="{592813F4-DF33-C641-BF0D-1F17A1C80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4" y="2285"/>
              <a:ext cx="109" cy="95"/>
            </a:xfrm>
            <a:custGeom>
              <a:avLst/>
              <a:gdLst>
                <a:gd name="T0" fmla="*/ 16 w 431"/>
                <a:gd name="T1" fmla="*/ 251 h 377"/>
                <a:gd name="T2" fmla="*/ 43 w 431"/>
                <a:gd name="T3" fmla="*/ 250 h 377"/>
                <a:gd name="T4" fmla="*/ 63 w 431"/>
                <a:gd name="T5" fmla="*/ 239 h 377"/>
                <a:gd name="T6" fmla="*/ 71 w 431"/>
                <a:gd name="T7" fmla="*/ 252 h 377"/>
                <a:gd name="T8" fmla="*/ 81 w 431"/>
                <a:gd name="T9" fmla="*/ 267 h 377"/>
                <a:gd name="T10" fmla="*/ 86 w 431"/>
                <a:gd name="T11" fmla="*/ 251 h 377"/>
                <a:gd name="T12" fmla="*/ 94 w 431"/>
                <a:gd name="T13" fmla="*/ 230 h 377"/>
                <a:gd name="T14" fmla="*/ 112 w 431"/>
                <a:gd name="T15" fmla="*/ 220 h 377"/>
                <a:gd name="T16" fmla="*/ 138 w 431"/>
                <a:gd name="T17" fmla="*/ 240 h 377"/>
                <a:gd name="T18" fmla="*/ 162 w 431"/>
                <a:gd name="T19" fmla="*/ 234 h 377"/>
                <a:gd name="T20" fmla="*/ 183 w 431"/>
                <a:gd name="T21" fmla="*/ 237 h 377"/>
                <a:gd name="T22" fmla="*/ 206 w 431"/>
                <a:gd name="T23" fmla="*/ 240 h 377"/>
                <a:gd name="T24" fmla="*/ 259 w 431"/>
                <a:gd name="T25" fmla="*/ 248 h 377"/>
                <a:gd name="T26" fmla="*/ 276 w 431"/>
                <a:gd name="T27" fmla="*/ 257 h 377"/>
                <a:gd name="T28" fmla="*/ 295 w 431"/>
                <a:gd name="T29" fmla="*/ 270 h 377"/>
                <a:gd name="T30" fmla="*/ 316 w 431"/>
                <a:gd name="T31" fmla="*/ 299 h 377"/>
                <a:gd name="T32" fmla="*/ 344 w 431"/>
                <a:gd name="T33" fmla="*/ 321 h 377"/>
                <a:gd name="T34" fmla="*/ 367 w 431"/>
                <a:gd name="T35" fmla="*/ 348 h 377"/>
                <a:gd name="T36" fmla="*/ 396 w 431"/>
                <a:gd name="T37" fmla="*/ 375 h 377"/>
                <a:gd name="T38" fmla="*/ 413 w 431"/>
                <a:gd name="T39" fmla="*/ 367 h 377"/>
                <a:gd name="T40" fmla="*/ 424 w 431"/>
                <a:gd name="T41" fmla="*/ 359 h 377"/>
                <a:gd name="T42" fmla="*/ 431 w 431"/>
                <a:gd name="T43" fmla="*/ 352 h 377"/>
                <a:gd name="T44" fmla="*/ 420 w 431"/>
                <a:gd name="T45" fmla="*/ 343 h 377"/>
                <a:gd name="T46" fmla="*/ 356 w 431"/>
                <a:gd name="T47" fmla="*/ 272 h 377"/>
                <a:gd name="T48" fmla="*/ 291 w 431"/>
                <a:gd name="T49" fmla="*/ 217 h 377"/>
                <a:gd name="T50" fmla="*/ 225 w 431"/>
                <a:gd name="T51" fmla="*/ 182 h 377"/>
                <a:gd name="T52" fmla="*/ 187 w 431"/>
                <a:gd name="T53" fmla="*/ 124 h 377"/>
                <a:gd name="T54" fmla="*/ 170 w 431"/>
                <a:gd name="T55" fmla="*/ 39 h 377"/>
                <a:gd name="T56" fmla="*/ 145 w 431"/>
                <a:gd name="T57" fmla="*/ 0 h 377"/>
                <a:gd name="T58" fmla="*/ 138 w 431"/>
                <a:gd name="T59" fmla="*/ 10 h 377"/>
                <a:gd name="T60" fmla="*/ 121 w 431"/>
                <a:gd name="T61" fmla="*/ 32 h 377"/>
                <a:gd name="T62" fmla="*/ 89 w 431"/>
                <a:gd name="T63" fmla="*/ 45 h 377"/>
                <a:gd name="T64" fmla="*/ 75 w 431"/>
                <a:gd name="T65" fmla="*/ 57 h 377"/>
                <a:gd name="T66" fmla="*/ 60 w 431"/>
                <a:gd name="T67" fmla="*/ 69 h 377"/>
                <a:gd name="T68" fmla="*/ 42 w 431"/>
                <a:gd name="T69" fmla="*/ 82 h 377"/>
                <a:gd name="T70" fmla="*/ 42 w 431"/>
                <a:gd name="T71" fmla="*/ 113 h 377"/>
                <a:gd name="T72" fmla="*/ 32 w 431"/>
                <a:gd name="T73" fmla="*/ 139 h 377"/>
                <a:gd name="T74" fmla="*/ 22 w 431"/>
                <a:gd name="T75" fmla="*/ 162 h 377"/>
                <a:gd name="T76" fmla="*/ 12 w 431"/>
                <a:gd name="T77" fmla="*/ 184 h 377"/>
                <a:gd name="T78" fmla="*/ 6 w 431"/>
                <a:gd name="T79" fmla="*/ 204 h 377"/>
                <a:gd name="T80" fmla="*/ 8 w 431"/>
                <a:gd name="T81" fmla="*/ 248 h 377"/>
                <a:gd name="T82" fmla="*/ 8 w 431"/>
                <a:gd name="T83" fmla="*/ 259 h 377"/>
                <a:gd name="T84" fmla="*/ 16 w 431"/>
                <a:gd name="T85" fmla="*/ 251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31" h="377">
                  <a:moveTo>
                    <a:pt x="16" y="251"/>
                  </a:moveTo>
                  <a:cubicBezTo>
                    <a:pt x="21" y="243"/>
                    <a:pt x="32" y="246"/>
                    <a:pt x="43" y="250"/>
                  </a:cubicBezTo>
                  <a:cubicBezTo>
                    <a:pt x="54" y="254"/>
                    <a:pt x="47" y="233"/>
                    <a:pt x="63" y="239"/>
                  </a:cubicBezTo>
                  <a:cubicBezTo>
                    <a:pt x="79" y="245"/>
                    <a:pt x="64" y="247"/>
                    <a:pt x="71" y="252"/>
                  </a:cubicBezTo>
                  <a:cubicBezTo>
                    <a:pt x="78" y="257"/>
                    <a:pt x="71" y="268"/>
                    <a:pt x="81" y="267"/>
                  </a:cubicBezTo>
                  <a:cubicBezTo>
                    <a:pt x="91" y="266"/>
                    <a:pt x="83" y="262"/>
                    <a:pt x="86" y="251"/>
                  </a:cubicBezTo>
                  <a:cubicBezTo>
                    <a:pt x="89" y="240"/>
                    <a:pt x="96" y="244"/>
                    <a:pt x="94" y="230"/>
                  </a:cubicBezTo>
                  <a:cubicBezTo>
                    <a:pt x="92" y="216"/>
                    <a:pt x="103" y="207"/>
                    <a:pt x="112" y="220"/>
                  </a:cubicBezTo>
                  <a:cubicBezTo>
                    <a:pt x="121" y="233"/>
                    <a:pt x="124" y="238"/>
                    <a:pt x="138" y="240"/>
                  </a:cubicBezTo>
                  <a:cubicBezTo>
                    <a:pt x="152" y="242"/>
                    <a:pt x="157" y="242"/>
                    <a:pt x="162" y="234"/>
                  </a:cubicBezTo>
                  <a:cubicBezTo>
                    <a:pt x="167" y="226"/>
                    <a:pt x="179" y="230"/>
                    <a:pt x="183" y="237"/>
                  </a:cubicBezTo>
                  <a:cubicBezTo>
                    <a:pt x="187" y="244"/>
                    <a:pt x="193" y="240"/>
                    <a:pt x="206" y="240"/>
                  </a:cubicBezTo>
                  <a:cubicBezTo>
                    <a:pt x="219" y="240"/>
                    <a:pt x="253" y="235"/>
                    <a:pt x="259" y="248"/>
                  </a:cubicBezTo>
                  <a:cubicBezTo>
                    <a:pt x="265" y="261"/>
                    <a:pt x="272" y="257"/>
                    <a:pt x="276" y="257"/>
                  </a:cubicBezTo>
                  <a:cubicBezTo>
                    <a:pt x="280" y="257"/>
                    <a:pt x="292" y="262"/>
                    <a:pt x="295" y="270"/>
                  </a:cubicBezTo>
                  <a:cubicBezTo>
                    <a:pt x="299" y="277"/>
                    <a:pt x="310" y="295"/>
                    <a:pt x="316" y="299"/>
                  </a:cubicBezTo>
                  <a:cubicBezTo>
                    <a:pt x="321" y="304"/>
                    <a:pt x="338" y="313"/>
                    <a:pt x="344" y="321"/>
                  </a:cubicBezTo>
                  <a:cubicBezTo>
                    <a:pt x="350" y="328"/>
                    <a:pt x="361" y="341"/>
                    <a:pt x="367" y="348"/>
                  </a:cubicBezTo>
                  <a:cubicBezTo>
                    <a:pt x="372" y="355"/>
                    <a:pt x="383" y="373"/>
                    <a:pt x="396" y="375"/>
                  </a:cubicBezTo>
                  <a:cubicBezTo>
                    <a:pt x="408" y="377"/>
                    <a:pt x="413" y="375"/>
                    <a:pt x="413" y="367"/>
                  </a:cubicBezTo>
                  <a:cubicBezTo>
                    <a:pt x="413" y="359"/>
                    <a:pt x="422" y="363"/>
                    <a:pt x="424" y="359"/>
                  </a:cubicBezTo>
                  <a:cubicBezTo>
                    <a:pt x="425" y="357"/>
                    <a:pt x="428" y="354"/>
                    <a:pt x="431" y="352"/>
                  </a:cubicBezTo>
                  <a:cubicBezTo>
                    <a:pt x="428" y="349"/>
                    <a:pt x="424" y="346"/>
                    <a:pt x="420" y="343"/>
                  </a:cubicBezTo>
                  <a:cubicBezTo>
                    <a:pt x="406" y="332"/>
                    <a:pt x="377" y="289"/>
                    <a:pt x="356" y="272"/>
                  </a:cubicBezTo>
                  <a:cubicBezTo>
                    <a:pt x="334" y="255"/>
                    <a:pt x="310" y="229"/>
                    <a:pt x="291" y="217"/>
                  </a:cubicBezTo>
                  <a:cubicBezTo>
                    <a:pt x="273" y="206"/>
                    <a:pt x="234" y="200"/>
                    <a:pt x="225" y="182"/>
                  </a:cubicBezTo>
                  <a:cubicBezTo>
                    <a:pt x="215" y="164"/>
                    <a:pt x="191" y="154"/>
                    <a:pt x="187" y="124"/>
                  </a:cubicBezTo>
                  <a:cubicBezTo>
                    <a:pt x="183" y="94"/>
                    <a:pt x="178" y="58"/>
                    <a:pt x="170" y="39"/>
                  </a:cubicBezTo>
                  <a:cubicBezTo>
                    <a:pt x="163" y="25"/>
                    <a:pt x="154" y="11"/>
                    <a:pt x="145" y="0"/>
                  </a:cubicBezTo>
                  <a:cubicBezTo>
                    <a:pt x="141" y="3"/>
                    <a:pt x="138" y="7"/>
                    <a:pt x="138" y="10"/>
                  </a:cubicBezTo>
                  <a:cubicBezTo>
                    <a:pt x="138" y="16"/>
                    <a:pt x="134" y="28"/>
                    <a:pt x="121" y="32"/>
                  </a:cubicBezTo>
                  <a:cubicBezTo>
                    <a:pt x="108" y="36"/>
                    <a:pt x="98" y="45"/>
                    <a:pt x="89" y="45"/>
                  </a:cubicBezTo>
                  <a:cubicBezTo>
                    <a:pt x="80" y="45"/>
                    <a:pt x="75" y="48"/>
                    <a:pt x="75" y="57"/>
                  </a:cubicBezTo>
                  <a:cubicBezTo>
                    <a:pt x="75" y="66"/>
                    <a:pt x="71" y="67"/>
                    <a:pt x="60" y="69"/>
                  </a:cubicBezTo>
                  <a:cubicBezTo>
                    <a:pt x="49" y="71"/>
                    <a:pt x="43" y="71"/>
                    <a:pt x="42" y="82"/>
                  </a:cubicBezTo>
                  <a:cubicBezTo>
                    <a:pt x="41" y="93"/>
                    <a:pt x="39" y="105"/>
                    <a:pt x="42" y="113"/>
                  </a:cubicBezTo>
                  <a:cubicBezTo>
                    <a:pt x="45" y="121"/>
                    <a:pt x="37" y="131"/>
                    <a:pt x="32" y="139"/>
                  </a:cubicBezTo>
                  <a:cubicBezTo>
                    <a:pt x="27" y="147"/>
                    <a:pt x="22" y="154"/>
                    <a:pt x="22" y="162"/>
                  </a:cubicBezTo>
                  <a:cubicBezTo>
                    <a:pt x="22" y="170"/>
                    <a:pt x="18" y="179"/>
                    <a:pt x="12" y="184"/>
                  </a:cubicBezTo>
                  <a:cubicBezTo>
                    <a:pt x="6" y="189"/>
                    <a:pt x="0" y="193"/>
                    <a:pt x="6" y="204"/>
                  </a:cubicBezTo>
                  <a:cubicBezTo>
                    <a:pt x="12" y="215"/>
                    <a:pt x="8" y="234"/>
                    <a:pt x="8" y="248"/>
                  </a:cubicBezTo>
                  <a:cubicBezTo>
                    <a:pt x="8" y="251"/>
                    <a:pt x="8" y="255"/>
                    <a:pt x="8" y="259"/>
                  </a:cubicBezTo>
                  <a:cubicBezTo>
                    <a:pt x="10" y="257"/>
                    <a:pt x="13" y="255"/>
                    <a:pt x="16" y="25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0" name="Freeform 420">
              <a:extLst>
                <a:ext uri="{FF2B5EF4-FFF2-40B4-BE49-F238E27FC236}">
                  <a16:creationId xmlns:a16="http://schemas.microsoft.com/office/drawing/2014/main" id="{6952AF4B-BECB-154F-B5D7-497795F79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0" y="2372"/>
              <a:ext cx="49" cy="27"/>
            </a:xfrm>
            <a:custGeom>
              <a:avLst/>
              <a:gdLst>
                <a:gd name="T0" fmla="*/ 182 w 193"/>
                <a:gd name="T1" fmla="*/ 1 h 103"/>
                <a:gd name="T2" fmla="*/ 141 w 193"/>
                <a:gd name="T3" fmla="*/ 3 h 103"/>
                <a:gd name="T4" fmla="*/ 102 w 193"/>
                <a:gd name="T5" fmla="*/ 0 h 103"/>
                <a:gd name="T6" fmla="*/ 76 w 193"/>
                <a:gd name="T7" fmla="*/ 11 h 103"/>
                <a:gd name="T8" fmla="*/ 48 w 193"/>
                <a:gd name="T9" fmla="*/ 17 h 103"/>
                <a:gd name="T10" fmla="*/ 24 w 193"/>
                <a:gd name="T11" fmla="*/ 16 h 103"/>
                <a:gd name="T12" fmla="*/ 0 w 193"/>
                <a:gd name="T13" fmla="*/ 17 h 103"/>
                <a:gd name="T14" fmla="*/ 7 w 193"/>
                <a:gd name="T15" fmla="*/ 22 h 103"/>
                <a:gd name="T16" fmla="*/ 26 w 193"/>
                <a:gd name="T17" fmla="*/ 45 h 103"/>
                <a:gd name="T18" fmla="*/ 79 w 193"/>
                <a:gd name="T19" fmla="*/ 61 h 103"/>
                <a:gd name="T20" fmla="*/ 93 w 193"/>
                <a:gd name="T21" fmla="*/ 96 h 103"/>
                <a:gd name="T22" fmla="*/ 109 w 193"/>
                <a:gd name="T23" fmla="*/ 103 h 103"/>
                <a:gd name="T24" fmla="*/ 123 w 193"/>
                <a:gd name="T25" fmla="*/ 88 h 103"/>
                <a:gd name="T26" fmla="*/ 144 w 193"/>
                <a:gd name="T27" fmla="*/ 72 h 103"/>
                <a:gd name="T28" fmla="*/ 174 w 193"/>
                <a:gd name="T29" fmla="*/ 66 h 103"/>
                <a:gd name="T30" fmla="*/ 187 w 193"/>
                <a:gd name="T31" fmla="*/ 51 h 103"/>
                <a:gd name="T32" fmla="*/ 177 w 193"/>
                <a:gd name="T33" fmla="*/ 34 h 103"/>
                <a:gd name="T34" fmla="*/ 191 w 193"/>
                <a:gd name="T35" fmla="*/ 14 h 103"/>
                <a:gd name="T36" fmla="*/ 193 w 193"/>
                <a:gd name="T37" fmla="*/ 1 h 103"/>
                <a:gd name="T38" fmla="*/ 182 w 193"/>
                <a:gd name="T39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3" h="103">
                  <a:moveTo>
                    <a:pt x="182" y="1"/>
                  </a:moveTo>
                  <a:cubicBezTo>
                    <a:pt x="175" y="1"/>
                    <a:pt x="157" y="3"/>
                    <a:pt x="141" y="3"/>
                  </a:cubicBezTo>
                  <a:cubicBezTo>
                    <a:pt x="124" y="3"/>
                    <a:pt x="110" y="0"/>
                    <a:pt x="102" y="0"/>
                  </a:cubicBezTo>
                  <a:cubicBezTo>
                    <a:pt x="94" y="0"/>
                    <a:pt x="81" y="5"/>
                    <a:pt x="76" y="11"/>
                  </a:cubicBezTo>
                  <a:cubicBezTo>
                    <a:pt x="71" y="17"/>
                    <a:pt x="59" y="19"/>
                    <a:pt x="48" y="17"/>
                  </a:cubicBezTo>
                  <a:cubicBezTo>
                    <a:pt x="38" y="15"/>
                    <a:pt x="31" y="18"/>
                    <a:pt x="24" y="16"/>
                  </a:cubicBezTo>
                  <a:cubicBezTo>
                    <a:pt x="20" y="15"/>
                    <a:pt x="6" y="16"/>
                    <a:pt x="0" y="17"/>
                  </a:cubicBezTo>
                  <a:cubicBezTo>
                    <a:pt x="2" y="20"/>
                    <a:pt x="4" y="21"/>
                    <a:pt x="7" y="22"/>
                  </a:cubicBezTo>
                  <a:cubicBezTo>
                    <a:pt x="21" y="25"/>
                    <a:pt x="9" y="45"/>
                    <a:pt x="26" y="45"/>
                  </a:cubicBezTo>
                  <a:cubicBezTo>
                    <a:pt x="43" y="45"/>
                    <a:pt x="76" y="41"/>
                    <a:pt x="79" y="61"/>
                  </a:cubicBezTo>
                  <a:cubicBezTo>
                    <a:pt x="82" y="80"/>
                    <a:pt x="81" y="90"/>
                    <a:pt x="93" y="96"/>
                  </a:cubicBezTo>
                  <a:cubicBezTo>
                    <a:pt x="98" y="99"/>
                    <a:pt x="103" y="101"/>
                    <a:pt x="109" y="103"/>
                  </a:cubicBezTo>
                  <a:cubicBezTo>
                    <a:pt x="111" y="97"/>
                    <a:pt x="115" y="90"/>
                    <a:pt x="123" y="88"/>
                  </a:cubicBezTo>
                  <a:cubicBezTo>
                    <a:pt x="140" y="82"/>
                    <a:pt x="129" y="74"/>
                    <a:pt x="144" y="72"/>
                  </a:cubicBezTo>
                  <a:cubicBezTo>
                    <a:pt x="159" y="70"/>
                    <a:pt x="165" y="66"/>
                    <a:pt x="174" y="66"/>
                  </a:cubicBezTo>
                  <a:cubicBezTo>
                    <a:pt x="183" y="66"/>
                    <a:pt x="192" y="59"/>
                    <a:pt x="187" y="51"/>
                  </a:cubicBezTo>
                  <a:cubicBezTo>
                    <a:pt x="182" y="43"/>
                    <a:pt x="168" y="40"/>
                    <a:pt x="177" y="34"/>
                  </a:cubicBezTo>
                  <a:cubicBezTo>
                    <a:pt x="186" y="28"/>
                    <a:pt x="191" y="27"/>
                    <a:pt x="191" y="14"/>
                  </a:cubicBezTo>
                  <a:cubicBezTo>
                    <a:pt x="191" y="7"/>
                    <a:pt x="191" y="3"/>
                    <a:pt x="193" y="1"/>
                  </a:cubicBezTo>
                  <a:cubicBezTo>
                    <a:pt x="190" y="0"/>
                    <a:pt x="188" y="1"/>
                    <a:pt x="182" y="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1" name="Freeform 421">
              <a:extLst>
                <a:ext uri="{FF2B5EF4-FFF2-40B4-BE49-F238E27FC236}">
                  <a16:creationId xmlns:a16="http://schemas.microsoft.com/office/drawing/2014/main" id="{3AE932DB-BD22-9E4D-91F9-DCD9FF526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9" y="2543"/>
              <a:ext cx="32" cy="23"/>
            </a:xfrm>
            <a:custGeom>
              <a:avLst/>
              <a:gdLst>
                <a:gd name="T0" fmla="*/ 127 w 128"/>
                <a:gd name="T1" fmla="*/ 65 h 92"/>
                <a:gd name="T2" fmla="*/ 126 w 128"/>
                <a:gd name="T3" fmla="*/ 4 h 92"/>
                <a:gd name="T4" fmla="*/ 122 w 128"/>
                <a:gd name="T5" fmla="*/ 5 h 92"/>
                <a:gd name="T6" fmla="*/ 121 w 128"/>
                <a:gd name="T7" fmla="*/ 5 h 92"/>
                <a:gd name="T8" fmla="*/ 118 w 128"/>
                <a:gd name="T9" fmla="*/ 6 h 92"/>
                <a:gd name="T10" fmla="*/ 116 w 128"/>
                <a:gd name="T11" fmla="*/ 6 h 92"/>
                <a:gd name="T12" fmla="*/ 113 w 128"/>
                <a:gd name="T13" fmla="*/ 6 h 92"/>
                <a:gd name="T14" fmla="*/ 107 w 128"/>
                <a:gd name="T15" fmla="*/ 7 h 92"/>
                <a:gd name="T16" fmla="*/ 49 w 128"/>
                <a:gd name="T17" fmla="*/ 5 h 92"/>
                <a:gd name="T18" fmla="*/ 34 w 128"/>
                <a:gd name="T19" fmla="*/ 0 h 92"/>
                <a:gd name="T20" fmla="*/ 28 w 128"/>
                <a:gd name="T21" fmla="*/ 27 h 92"/>
                <a:gd name="T22" fmla="*/ 5 w 128"/>
                <a:gd name="T23" fmla="*/ 59 h 92"/>
                <a:gd name="T24" fmla="*/ 15 w 128"/>
                <a:gd name="T25" fmla="*/ 79 h 92"/>
                <a:gd name="T26" fmla="*/ 64 w 128"/>
                <a:gd name="T27" fmla="*/ 83 h 92"/>
                <a:gd name="T28" fmla="*/ 127 w 128"/>
                <a:gd name="T29" fmla="*/ 6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92">
                  <a:moveTo>
                    <a:pt x="127" y="65"/>
                  </a:moveTo>
                  <a:cubicBezTo>
                    <a:pt x="128" y="48"/>
                    <a:pt x="128" y="23"/>
                    <a:pt x="126" y="4"/>
                  </a:cubicBezTo>
                  <a:cubicBezTo>
                    <a:pt x="125" y="4"/>
                    <a:pt x="123" y="4"/>
                    <a:pt x="122" y="5"/>
                  </a:cubicBezTo>
                  <a:cubicBezTo>
                    <a:pt x="122" y="5"/>
                    <a:pt x="122" y="5"/>
                    <a:pt x="121" y="5"/>
                  </a:cubicBezTo>
                  <a:cubicBezTo>
                    <a:pt x="120" y="5"/>
                    <a:pt x="119" y="6"/>
                    <a:pt x="118" y="6"/>
                  </a:cubicBezTo>
                  <a:cubicBezTo>
                    <a:pt x="117" y="6"/>
                    <a:pt x="116" y="6"/>
                    <a:pt x="116" y="6"/>
                  </a:cubicBezTo>
                  <a:cubicBezTo>
                    <a:pt x="115" y="6"/>
                    <a:pt x="114" y="6"/>
                    <a:pt x="113" y="6"/>
                  </a:cubicBezTo>
                  <a:cubicBezTo>
                    <a:pt x="111" y="7"/>
                    <a:pt x="109" y="7"/>
                    <a:pt x="107" y="7"/>
                  </a:cubicBezTo>
                  <a:cubicBezTo>
                    <a:pt x="88" y="7"/>
                    <a:pt x="59" y="8"/>
                    <a:pt x="49" y="5"/>
                  </a:cubicBezTo>
                  <a:cubicBezTo>
                    <a:pt x="46" y="4"/>
                    <a:pt x="40" y="2"/>
                    <a:pt x="34" y="0"/>
                  </a:cubicBezTo>
                  <a:cubicBezTo>
                    <a:pt x="36" y="11"/>
                    <a:pt x="34" y="22"/>
                    <a:pt x="28" y="27"/>
                  </a:cubicBezTo>
                  <a:cubicBezTo>
                    <a:pt x="19" y="35"/>
                    <a:pt x="0" y="48"/>
                    <a:pt x="5" y="59"/>
                  </a:cubicBezTo>
                  <a:cubicBezTo>
                    <a:pt x="8" y="65"/>
                    <a:pt x="13" y="72"/>
                    <a:pt x="15" y="79"/>
                  </a:cubicBezTo>
                  <a:cubicBezTo>
                    <a:pt x="30" y="81"/>
                    <a:pt x="53" y="83"/>
                    <a:pt x="64" y="83"/>
                  </a:cubicBezTo>
                  <a:cubicBezTo>
                    <a:pt x="81" y="83"/>
                    <a:pt x="125" y="92"/>
                    <a:pt x="127" y="6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2" name="Freeform 422">
              <a:extLst>
                <a:ext uri="{FF2B5EF4-FFF2-40B4-BE49-F238E27FC236}">
                  <a16:creationId xmlns:a16="http://schemas.microsoft.com/office/drawing/2014/main" id="{C1C02CC3-3D5B-6849-BD35-2635A369F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" y="2514"/>
              <a:ext cx="10" cy="15"/>
            </a:xfrm>
            <a:custGeom>
              <a:avLst/>
              <a:gdLst>
                <a:gd name="T0" fmla="*/ 27 w 42"/>
                <a:gd name="T1" fmla="*/ 11 h 58"/>
                <a:gd name="T2" fmla="*/ 14 w 42"/>
                <a:gd name="T3" fmla="*/ 17 h 58"/>
                <a:gd name="T4" fmla="*/ 5 w 42"/>
                <a:gd name="T5" fmla="*/ 31 h 58"/>
                <a:gd name="T6" fmla="*/ 2 w 42"/>
                <a:gd name="T7" fmla="*/ 46 h 58"/>
                <a:gd name="T8" fmla="*/ 22 w 42"/>
                <a:gd name="T9" fmla="*/ 54 h 58"/>
                <a:gd name="T10" fmla="*/ 34 w 42"/>
                <a:gd name="T11" fmla="*/ 41 h 58"/>
                <a:gd name="T12" fmla="*/ 41 w 42"/>
                <a:gd name="T13" fmla="*/ 24 h 58"/>
                <a:gd name="T14" fmla="*/ 27 w 42"/>
                <a:gd name="T15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58">
                  <a:moveTo>
                    <a:pt x="27" y="11"/>
                  </a:moveTo>
                  <a:cubicBezTo>
                    <a:pt x="27" y="11"/>
                    <a:pt x="16" y="13"/>
                    <a:pt x="14" y="17"/>
                  </a:cubicBezTo>
                  <a:cubicBezTo>
                    <a:pt x="12" y="21"/>
                    <a:pt x="9" y="29"/>
                    <a:pt x="5" y="31"/>
                  </a:cubicBezTo>
                  <a:cubicBezTo>
                    <a:pt x="1" y="33"/>
                    <a:pt x="0" y="43"/>
                    <a:pt x="2" y="46"/>
                  </a:cubicBezTo>
                  <a:cubicBezTo>
                    <a:pt x="4" y="50"/>
                    <a:pt x="19" y="58"/>
                    <a:pt x="22" y="54"/>
                  </a:cubicBezTo>
                  <a:cubicBezTo>
                    <a:pt x="25" y="50"/>
                    <a:pt x="33" y="49"/>
                    <a:pt x="34" y="41"/>
                  </a:cubicBezTo>
                  <a:cubicBezTo>
                    <a:pt x="36" y="32"/>
                    <a:pt x="42" y="28"/>
                    <a:pt x="41" y="24"/>
                  </a:cubicBezTo>
                  <a:cubicBezTo>
                    <a:pt x="40" y="20"/>
                    <a:pt x="39" y="0"/>
                    <a:pt x="27" y="1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3" name="Freeform 423">
              <a:extLst>
                <a:ext uri="{FF2B5EF4-FFF2-40B4-BE49-F238E27FC236}">
                  <a16:creationId xmlns:a16="http://schemas.microsoft.com/office/drawing/2014/main" id="{D150AE88-8870-4D46-87D7-6D489F260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5" y="2599"/>
              <a:ext cx="7" cy="5"/>
            </a:xfrm>
            <a:custGeom>
              <a:avLst/>
              <a:gdLst>
                <a:gd name="T0" fmla="*/ 18 w 30"/>
                <a:gd name="T1" fmla="*/ 0 h 23"/>
                <a:gd name="T2" fmla="*/ 1 w 30"/>
                <a:gd name="T3" fmla="*/ 11 h 23"/>
                <a:gd name="T4" fmla="*/ 16 w 30"/>
                <a:gd name="T5" fmla="*/ 19 h 23"/>
                <a:gd name="T6" fmla="*/ 18 w 30"/>
                <a:gd name="T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3">
                  <a:moveTo>
                    <a:pt x="18" y="0"/>
                  </a:moveTo>
                  <a:cubicBezTo>
                    <a:pt x="18" y="0"/>
                    <a:pt x="0" y="3"/>
                    <a:pt x="1" y="11"/>
                  </a:cubicBezTo>
                  <a:cubicBezTo>
                    <a:pt x="2" y="19"/>
                    <a:pt x="12" y="23"/>
                    <a:pt x="16" y="19"/>
                  </a:cubicBezTo>
                  <a:cubicBezTo>
                    <a:pt x="20" y="15"/>
                    <a:pt x="30" y="0"/>
                    <a:pt x="18" y="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4" name="Freeform 424">
              <a:extLst>
                <a:ext uri="{FF2B5EF4-FFF2-40B4-BE49-F238E27FC236}">
                  <a16:creationId xmlns:a16="http://schemas.microsoft.com/office/drawing/2014/main" id="{518596BC-49D4-634E-AC77-1157D7C6B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1" y="2571"/>
              <a:ext cx="7" cy="9"/>
            </a:xfrm>
            <a:custGeom>
              <a:avLst/>
              <a:gdLst>
                <a:gd name="T0" fmla="*/ 18 w 30"/>
                <a:gd name="T1" fmla="*/ 7 h 37"/>
                <a:gd name="T2" fmla="*/ 10 w 30"/>
                <a:gd name="T3" fmla="*/ 13 h 37"/>
                <a:gd name="T4" fmla="*/ 4 w 30"/>
                <a:gd name="T5" fmla="*/ 31 h 37"/>
                <a:gd name="T6" fmla="*/ 19 w 30"/>
                <a:gd name="T7" fmla="*/ 29 h 37"/>
                <a:gd name="T8" fmla="*/ 30 w 30"/>
                <a:gd name="T9" fmla="*/ 17 h 37"/>
                <a:gd name="T10" fmla="*/ 18 w 30"/>
                <a:gd name="T11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7">
                  <a:moveTo>
                    <a:pt x="18" y="7"/>
                  </a:moveTo>
                  <a:cubicBezTo>
                    <a:pt x="18" y="7"/>
                    <a:pt x="10" y="7"/>
                    <a:pt x="10" y="13"/>
                  </a:cubicBezTo>
                  <a:cubicBezTo>
                    <a:pt x="10" y="20"/>
                    <a:pt x="0" y="25"/>
                    <a:pt x="4" y="31"/>
                  </a:cubicBezTo>
                  <a:cubicBezTo>
                    <a:pt x="9" y="37"/>
                    <a:pt x="19" y="34"/>
                    <a:pt x="19" y="29"/>
                  </a:cubicBezTo>
                  <a:cubicBezTo>
                    <a:pt x="19" y="25"/>
                    <a:pt x="30" y="24"/>
                    <a:pt x="30" y="17"/>
                  </a:cubicBezTo>
                  <a:cubicBezTo>
                    <a:pt x="30" y="11"/>
                    <a:pt x="25" y="0"/>
                    <a:pt x="18" y="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5" name="Freeform 425">
              <a:extLst>
                <a:ext uri="{FF2B5EF4-FFF2-40B4-BE49-F238E27FC236}">
                  <a16:creationId xmlns:a16="http://schemas.microsoft.com/office/drawing/2014/main" id="{FAC7953E-6E1B-E543-BB1E-2FE6E729B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2" y="2374"/>
              <a:ext cx="29" cy="33"/>
            </a:xfrm>
            <a:custGeom>
              <a:avLst/>
              <a:gdLst>
                <a:gd name="T0" fmla="*/ 23 w 116"/>
                <a:gd name="T1" fmla="*/ 47 h 129"/>
                <a:gd name="T2" fmla="*/ 2 w 116"/>
                <a:gd name="T3" fmla="*/ 74 h 129"/>
                <a:gd name="T4" fmla="*/ 8 w 116"/>
                <a:gd name="T5" fmla="*/ 113 h 129"/>
                <a:gd name="T6" fmla="*/ 25 w 116"/>
                <a:gd name="T7" fmla="*/ 118 h 129"/>
                <a:gd name="T8" fmla="*/ 43 w 116"/>
                <a:gd name="T9" fmla="*/ 111 h 129"/>
                <a:gd name="T10" fmla="*/ 58 w 116"/>
                <a:gd name="T11" fmla="*/ 104 h 129"/>
                <a:gd name="T12" fmla="*/ 82 w 116"/>
                <a:gd name="T13" fmla="*/ 101 h 129"/>
                <a:gd name="T14" fmla="*/ 85 w 116"/>
                <a:gd name="T15" fmla="*/ 94 h 129"/>
                <a:gd name="T16" fmla="*/ 92 w 116"/>
                <a:gd name="T17" fmla="*/ 78 h 129"/>
                <a:gd name="T18" fmla="*/ 91 w 116"/>
                <a:gd name="T19" fmla="*/ 78 h 129"/>
                <a:gd name="T20" fmla="*/ 86 w 116"/>
                <a:gd name="T21" fmla="*/ 57 h 129"/>
                <a:gd name="T22" fmla="*/ 106 w 116"/>
                <a:gd name="T23" fmla="*/ 26 h 129"/>
                <a:gd name="T24" fmla="*/ 85 w 116"/>
                <a:gd name="T25" fmla="*/ 0 h 129"/>
                <a:gd name="T26" fmla="*/ 78 w 116"/>
                <a:gd name="T27" fmla="*/ 7 h 129"/>
                <a:gd name="T28" fmla="*/ 67 w 116"/>
                <a:gd name="T29" fmla="*/ 15 h 129"/>
                <a:gd name="T30" fmla="*/ 50 w 116"/>
                <a:gd name="T31" fmla="*/ 23 h 129"/>
                <a:gd name="T32" fmla="*/ 39 w 116"/>
                <a:gd name="T33" fmla="*/ 17 h 129"/>
                <a:gd name="T34" fmla="*/ 35 w 116"/>
                <a:gd name="T35" fmla="*/ 31 h 129"/>
                <a:gd name="T36" fmla="*/ 23 w 116"/>
                <a:gd name="T37" fmla="*/ 4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6" h="129">
                  <a:moveTo>
                    <a:pt x="23" y="47"/>
                  </a:moveTo>
                  <a:cubicBezTo>
                    <a:pt x="15" y="52"/>
                    <a:pt x="2" y="63"/>
                    <a:pt x="2" y="74"/>
                  </a:cubicBezTo>
                  <a:cubicBezTo>
                    <a:pt x="2" y="85"/>
                    <a:pt x="0" y="106"/>
                    <a:pt x="8" y="113"/>
                  </a:cubicBezTo>
                  <a:cubicBezTo>
                    <a:pt x="16" y="120"/>
                    <a:pt x="22" y="129"/>
                    <a:pt x="25" y="118"/>
                  </a:cubicBezTo>
                  <a:cubicBezTo>
                    <a:pt x="28" y="107"/>
                    <a:pt x="35" y="111"/>
                    <a:pt x="43" y="111"/>
                  </a:cubicBezTo>
                  <a:cubicBezTo>
                    <a:pt x="51" y="112"/>
                    <a:pt x="49" y="104"/>
                    <a:pt x="58" y="104"/>
                  </a:cubicBezTo>
                  <a:cubicBezTo>
                    <a:pt x="66" y="104"/>
                    <a:pt x="74" y="102"/>
                    <a:pt x="82" y="101"/>
                  </a:cubicBezTo>
                  <a:cubicBezTo>
                    <a:pt x="83" y="99"/>
                    <a:pt x="84" y="97"/>
                    <a:pt x="85" y="94"/>
                  </a:cubicBezTo>
                  <a:cubicBezTo>
                    <a:pt x="88" y="89"/>
                    <a:pt x="89" y="84"/>
                    <a:pt x="92" y="78"/>
                  </a:cubicBezTo>
                  <a:cubicBezTo>
                    <a:pt x="92" y="78"/>
                    <a:pt x="92" y="78"/>
                    <a:pt x="91" y="78"/>
                  </a:cubicBezTo>
                  <a:cubicBezTo>
                    <a:pt x="76" y="77"/>
                    <a:pt x="63" y="72"/>
                    <a:pt x="86" y="57"/>
                  </a:cubicBezTo>
                  <a:cubicBezTo>
                    <a:pt x="109" y="42"/>
                    <a:pt x="116" y="42"/>
                    <a:pt x="106" y="26"/>
                  </a:cubicBezTo>
                  <a:cubicBezTo>
                    <a:pt x="100" y="14"/>
                    <a:pt x="93" y="7"/>
                    <a:pt x="85" y="0"/>
                  </a:cubicBezTo>
                  <a:cubicBezTo>
                    <a:pt x="82" y="2"/>
                    <a:pt x="79" y="5"/>
                    <a:pt x="78" y="7"/>
                  </a:cubicBezTo>
                  <a:cubicBezTo>
                    <a:pt x="76" y="11"/>
                    <a:pt x="67" y="7"/>
                    <a:pt x="67" y="15"/>
                  </a:cubicBezTo>
                  <a:cubicBezTo>
                    <a:pt x="67" y="23"/>
                    <a:pt x="62" y="25"/>
                    <a:pt x="50" y="23"/>
                  </a:cubicBezTo>
                  <a:cubicBezTo>
                    <a:pt x="46" y="22"/>
                    <a:pt x="42" y="20"/>
                    <a:pt x="39" y="17"/>
                  </a:cubicBezTo>
                  <a:cubicBezTo>
                    <a:pt x="38" y="22"/>
                    <a:pt x="36" y="27"/>
                    <a:pt x="35" y="31"/>
                  </a:cubicBezTo>
                  <a:cubicBezTo>
                    <a:pt x="33" y="39"/>
                    <a:pt x="31" y="42"/>
                    <a:pt x="23" y="4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6" name="Freeform 426">
              <a:extLst>
                <a:ext uri="{FF2B5EF4-FFF2-40B4-BE49-F238E27FC236}">
                  <a16:creationId xmlns:a16="http://schemas.microsoft.com/office/drawing/2014/main" id="{68C685AD-0846-924D-B3BC-76D132865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9" y="2354"/>
              <a:ext cx="47" cy="12"/>
            </a:xfrm>
            <a:custGeom>
              <a:avLst/>
              <a:gdLst>
                <a:gd name="T0" fmla="*/ 39 w 188"/>
                <a:gd name="T1" fmla="*/ 44 h 51"/>
                <a:gd name="T2" fmla="*/ 63 w 188"/>
                <a:gd name="T3" fmla="*/ 39 h 51"/>
                <a:gd name="T4" fmla="*/ 78 w 188"/>
                <a:gd name="T5" fmla="*/ 34 h 51"/>
                <a:gd name="T6" fmla="*/ 102 w 188"/>
                <a:gd name="T7" fmla="*/ 25 h 51"/>
                <a:gd name="T8" fmla="*/ 114 w 188"/>
                <a:gd name="T9" fmla="*/ 24 h 51"/>
                <a:gd name="T10" fmla="*/ 126 w 188"/>
                <a:gd name="T11" fmla="*/ 28 h 51"/>
                <a:gd name="T12" fmla="*/ 140 w 188"/>
                <a:gd name="T13" fmla="*/ 35 h 51"/>
                <a:gd name="T14" fmla="*/ 156 w 188"/>
                <a:gd name="T15" fmla="*/ 42 h 51"/>
                <a:gd name="T16" fmla="*/ 168 w 188"/>
                <a:gd name="T17" fmla="*/ 36 h 51"/>
                <a:gd name="T18" fmla="*/ 185 w 188"/>
                <a:gd name="T19" fmla="*/ 32 h 51"/>
                <a:gd name="T20" fmla="*/ 184 w 188"/>
                <a:gd name="T21" fmla="*/ 23 h 51"/>
                <a:gd name="T22" fmla="*/ 172 w 188"/>
                <a:gd name="T23" fmla="*/ 24 h 51"/>
                <a:gd name="T24" fmla="*/ 151 w 188"/>
                <a:gd name="T25" fmla="*/ 25 h 51"/>
                <a:gd name="T26" fmla="*/ 137 w 188"/>
                <a:gd name="T27" fmla="*/ 16 h 51"/>
                <a:gd name="T28" fmla="*/ 115 w 188"/>
                <a:gd name="T29" fmla="*/ 2 h 51"/>
                <a:gd name="T30" fmla="*/ 95 w 188"/>
                <a:gd name="T31" fmla="*/ 5 h 51"/>
                <a:gd name="T32" fmla="*/ 80 w 188"/>
                <a:gd name="T33" fmla="*/ 11 h 51"/>
                <a:gd name="T34" fmla="*/ 65 w 188"/>
                <a:gd name="T35" fmla="*/ 14 h 51"/>
                <a:gd name="T36" fmla="*/ 42 w 188"/>
                <a:gd name="T37" fmla="*/ 20 h 51"/>
                <a:gd name="T38" fmla="*/ 22 w 188"/>
                <a:gd name="T39" fmla="*/ 15 h 51"/>
                <a:gd name="T40" fmla="*/ 3 w 188"/>
                <a:gd name="T41" fmla="*/ 18 h 51"/>
                <a:gd name="T42" fmla="*/ 1 w 188"/>
                <a:gd name="T43" fmla="*/ 51 h 51"/>
                <a:gd name="T44" fmla="*/ 12 w 188"/>
                <a:gd name="T45" fmla="*/ 47 h 51"/>
                <a:gd name="T46" fmla="*/ 39 w 188"/>
                <a:gd name="T47" fmla="*/ 4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8" h="51">
                  <a:moveTo>
                    <a:pt x="39" y="44"/>
                  </a:moveTo>
                  <a:cubicBezTo>
                    <a:pt x="50" y="44"/>
                    <a:pt x="59" y="43"/>
                    <a:pt x="63" y="39"/>
                  </a:cubicBezTo>
                  <a:cubicBezTo>
                    <a:pt x="67" y="35"/>
                    <a:pt x="70" y="35"/>
                    <a:pt x="78" y="34"/>
                  </a:cubicBezTo>
                  <a:cubicBezTo>
                    <a:pt x="86" y="34"/>
                    <a:pt x="100" y="30"/>
                    <a:pt x="102" y="25"/>
                  </a:cubicBezTo>
                  <a:cubicBezTo>
                    <a:pt x="105" y="20"/>
                    <a:pt x="111" y="21"/>
                    <a:pt x="114" y="24"/>
                  </a:cubicBezTo>
                  <a:cubicBezTo>
                    <a:pt x="117" y="27"/>
                    <a:pt x="120" y="27"/>
                    <a:pt x="126" y="28"/>
                  </a:cubicBezTo>
                  <a:cubicBezTo>
                    <a:pt x="132" y="29"/>
                    <a:pt x="137" y="31"/>
                    <a:pt x="140" y="35"/>
                  </a:cubicBezTo>
                  <a:cubicBezTo>
                    <a:pt x="144" y="39"/>
                    <a:pt x="151" y="42"/>
                    <a:pt x="156" y="42"/>
                  </a:cubicBezTo>
                  <a:cubicBezTo>
                    <a:pt x="161" y="42"/>
                    <a:pt x="160" y="36"/>
                    <a:pt x="168" y="36"/>
                  </a:cubicBezTo>
                  <a:cubicBezTo>
                    <a:pt x="176" y="36"/>
                    <a:pt x="182" y="34"/>
                    <a:pt x="185" y="32"/>
                  </a:cubicBezTo>
                  <a:cubicBezTo>
                    <a:pt x="188" y="30"/>
                    <a:pt x="188" y="26"/>
                    <a:pt x="184" y="23"/>
                  </a:cubicBezTo>
                  <a:cubicBezTo>
                    <a:pt x="180" y="20"/>
                    <a:pt x="177" y="22"/>
                    <a:pt x="172" y="24"/>
                  </a:cubicBezTo>
                  <a:cubicBezTo>
                    <a:pt x="168" y="25"/>
                    <a:pt x="159" y="28"/>
                    <a:pt x="151" y="25"/>
                  </a:cubicBezTo>
                  <a:cubicBezTo>
                    <a:pt x="143" y="23"/>
                    <a:pt x="143" y="23"/>
                    <a:pt x="137" y="16"/>
                  </a:cubicBezTo>
                  <a:cubicBezTo>
                    <a:pt x="131" y="10"/>
                    <a:pt x="124" y="1"/>
                    <a:pt x="115" y="2"/>
                  </a:cubicBezTo>
                  <a:cubicBezTo>
                    <a:pt x="106" y="3"/>
                    <a:pt x="97" y="0"/>
                    <a:pt x="95" y="5"/>
                  </a:cubicBezTo>
                  <a:cubicBezTo>
                    <a:pt x="94" y="10"/>
                    <a:pt x="88" y="11"/>
                    <a:pt x="80" y="11"/>
                  </a:cubicBezTo>
                  <a:cubicBezTo>
                    <a:pt x="73" y="11"/>
                    <a:pt x="68" y="10"/>
                    <a:pt x="65" y="14"/>
                  </a:cubicBezTo>
                  <a:cubicBezTo>
                    <a:pt x="61" y="18"/>
                    <a:pt x="51" y="21"/>
                    <a:pt x="42" y="20"/>
                  </a:cubicBezTo>
                  <a:cubicBezTo>
                    <a:pt x="33" y="19"/>
                    <a:pt x="28" y="15"/>
                    <a:pt x="22" y="15"/>
                  </a:cubicBezTo>
                  <a:cubicBezTo>
                    <a:pt x="18" y="15"/>
                    <a:pt x="10" y="17"/>
                    <a:pt x="3" y="18"/>
                  </a:cubicBezTo>
                  <a:cubicBezTo>
                    <a:pt x="4" y="33"/>
                    <a:pt x="0" y="39"/>
                    <a:pt x="1" y="51"/>
                  </a:cubicBezTo>
                  <a:cubicBezTo>
                    <a:pt x="4" y="49"/>
                    <a:pt x="7" y="47"/>
                    <a:pt x="12" y="47"/>
                  </a:cubicBezTo>
                  <a:cubicBezTo>
                    <a:pt x="22" y="46"/>
                    <a:pt x="28" y="43"/>
                    <a:pt x="39" y="4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7" name="Freeform 427">
              <a:extLst>
                <a:ext uri="{FF2B5EF4-FFF2-40B4-BE49-F238E27FC236}">
                  <a16:creationId xmlns:a16="http://schemas.microsoft.com/office/drawing/2014/main" id="{FBAABE5D-9FB7-F84B-B885-BE76DB426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" y="2501"/>
              <a:ext cx="127" cy="157"/>
            </a:xfrm>
            <a:custGeom>
              <a:avLst/>
              <a:gdLst>
                <a:gd name="T0" fmla="*/ 494 w 501"/>
                <a:gd name="T1" fmla="*/ 85 h 621"/>
                <a:gd name="T2" fmla="*/ 501 w 501"/>
                <a:gd name="T3" fmla="*/ 67 h 621"/>
                <a:gd name="T4" fmla="*/ 474 w 501"/>
                <a:gd name="T5" fmla="*/ 64 h 621"/>
                <a:gd name="T6" fmla="*/ 469 w 501"/>
                <a:gd name="T7" fmla="*/ 63 h 621"/>
                <a:gd name="T8" fmla="*/ 406 w 501"/>
                <a:gd name="T9" fmla="*/ 57 h 621"/>
                <a:gd name="T10" fmla="*/ 314 w 501"/>
                <a:gd name="T11" fmla="*/ 89 h 621"/>
                <a:gd name="T12" fmla="*/ 213 w 501"/>
                <a:gd name="T13" fmla="*/ 45 h 621"/>
                <a:gd name="T14" fmla="*/ 139 w 501"/>
                <a:gd name="T15" fmla="*/ 35 h 621"/>
                <a:gd name="T16" fmla="*/ 136 w 501"/>
                <a:gd name="T17" fmla="*/ 34 h 621"/>
                <a:gd name="T18" fmla="*/ 133 w 501"/>
                <a:gd name="T19" fmla="*/ 34 h 621"/>
                <a:gd name="T20" fmla="*/ 131 w 501"/>
                <a:gd name="T21" fmla="*/ 33 h 621"/>
                <a:gd name="T22" fmla="*/ 129 w 501"/>
                <a:gd name="T23" fmla="*/ 32 h 621"/>
                <a:gd name="T24" fmla="*/ 127 w 501"/>
                <a:gd name="T25" fmla="*/ 31 h 621"/>
                <a:gd name="T26" fmla="*/ 126 w 501"/>
                <a:gd name="T27" fmla="*/ 30 h 621"/>
                <a:gd name="T28" fmla="*/ 125 w 501"/>
                <a:gd name="T29" fmla="*/ 28 h 621"/>
                <a:gd name="T30" fmla="*/ 124 w 501"/>
                <a:gd name="T31" fmla="*/ 27 h 621"/>
                <a:gd name="T32" fmla="*/ 123 w 501"/>
                <a:gd name="T33" fmla="*/ 26 h 621"/>
                <a:gd name="T34" fmla="*/ 122 w 501"/>
                <a:gd name="T35" fmla="*/ 25 h 621"/>
                <a:gd name="T36" fmla="*/ 121 w 501"/>
                <a:gd name="T37" fmla="*/ 24 h 621"/>
                <a:gd name="T38" fmla="*/ 121 w 501"/>
                <a:gd name="T39" fmla="*/ 23 h 621"/>
                <a:gd name="T40" fmla="*/ 120 w 501"/>
                <a:gd name="T41" fmla="*/ 23 h 621"/>
                <a:gd name="T42" fmla="*/ 119 w 501"/>
                <a:gd name="T43" fmla="*/ 23 h 621"/>
                <a:gd name="T44" fmla="*/ 95 w 501"/>
                <a:gd name="T45" fmla="*/ 13 h 621"/>
                <a:gd name="T46" fmla="*/ 39 w 501"/>
                <a:gd name="T47" fmla="*/ 13 h 621"/>
                <a:gd name="T48" fmla="*/ 13 w 501"/>
                <a:gd name="T49" fmla="*/ 41 h 621"/>
                <a:gd name="T50" fmla="*/ 12 w 501"/>
                <a:gd name="T51" fmla="*/ 43 h 621"/>
                <a:gd name="T52" fmla="*/ 12 w 501"/>
                <a:gd name="T53" fmla="*/ 45 h 621"/>
                <a:gd name="T54" fmla="*/ 11 w 501"/>
                <a:gd name="T55" fmla="*/ 46 h 621"/>
                <a:gd name="T56" fmla="*/ 29 w 501"/>
                <a:gd name="T57" fmla="*/ 77 h 621"/>
                <a:gd name="T58" fmla="*/ 42 w 501"/>
                <a:gd name="T59" fmla="*/ 125 h 621"/>
                <a:gd name="T60" fmla="*/ 66 w 501"/>
                <a:gd name="T61" fmla="*/ 176 h 621"/>
                <a:gd name="T62" fmla="*/ 34 w 501"/>
                <a:gd name="T63" fmla="*/ 255 h 621"/>
                <a:gd name="T64" fmla="*/ 0 w 501"/>
                <a:gd name="T65" fmla="*/ 319 h 621"/>
                <a:gd name="T66" fmla="*/ 28 w 501"/>
                <a:gd name="T67" fmla="*/ 316 h 621"/>
                <a:gd name="T68" fmla="*/ 26 w 501"/>
                <a:gd name="T69" fmla="*/ 340 h 621"/>
                <a:gd name="T70" fmla="*/ 5 w 501"/>
                <a:gd name="T71" fmla="*/ 372 h 621"/>
                <a:gd name="T72" fmla="*/ 13 w 501"/>
                <a:gd name="T73" fmla="*/ 381 h 621"/>
                <a:gd name="T74" fmla="*/ 21 w 501"/>
                <a:gd name="T75" fmla="*/ 388 h 621"/>
                <a:gd name="T76" fmla="*/ 26 w 501"/>
                <a:gd name="T77" fmla="*/ 392 h 621"/>
                <a:gd name="T78" fmla="*/ 38 w 501"/>
                <a:gd name="T79" fmla="*/ 400 h 621"/>
                <a:gd name="T80" fmla="*/ 45 w 501"/>
                <a:gd name="T81" fmla="*/ 405 h 621"/>
                <a:gd name="T82" fmla="*/ 54 w 501"/>
                <a:gd name="T83" fmla="*/ 411 h 621"/>
                <a:gd name="T84" fmla="*/ 251 w 501"/>
                <a:gd name="T85" fmla="*/ 553 h 621"/>
                <a:gd name="T86" fmla="*/ 365 w 501"/>
                <a:gd name="T87" fmla="*/ 587 h 621"/>
                <a:gd name="T88" fmla="*/ 398 w 501"/>
                <a:gd name="T89" fmla="*/ 510 h 621"/>
                <a:gd name="T90" fmla="*/ 439 w 501"/>
                <a:gd name="T91" fmla="*/ 465 h 621"/>
                <a:gd name="T92" fmla="*/ 485 w 501"/>
                <a:gd name="T93" fmla="*/ 436 h 621"/>
                <a:gd name="T94" fmla="*/ 451 w 501"/>
                <a:gd name="T95" fmla="*/ 379 h 621"/>
                <a:gd name="T96" fmla="*/ 454 w 501"/>
                <a:gd name="T97" fmla="*/ 129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01" h="621">
                  <a:moveTo>
                    <a:pt x="454" y="129"/>
                  </a:moveTo>
                  <a:cubicBezTo>
                    <a:pt x="458" y="125"/>
                    <a:pt x="483" y="103"/>
                    <a:pt x="494" y="85"/>
                  </a:cubicBezTo>
                  <a:cubicBezTo>
                    <a:pt x="498" y="79"/>
                    <a:pt x="500" y="73"/>
                    <a:pt x="501" y="67"/>
                  </a:cubicBezTo>
                  <a:cubicBezTo>
                    <a:pt x="501" y="67"/>
                    <a:pt x="501" y="67"/>
                    <a:pt x="501" y="67"/>
                  </a:cubicBezTo>
                  <a:cubicBezTo>
                    <a:pt x="494" y="68"/>
                    <a:pt x="485" y="66"/>
                    <a:pt x="476" y="64"/>
                  </a:cubicBezTo>
                  <a:cubicBezTo>
                    <a:pt x="475" y="64"/>
                    <a:pt x="475" y="64"/>
                    <a:pt x="474" y="64"/>
                  </a:cubicBezTo>
                  <a:cubicBezTo>
                    <a:pt x="474" y="64"/>
                    <a:pt x="473" y="64"/>
                    <a:pt x="473" y="63"/>
                  </a:cubicBezTo>
                  <a:cubicBezTo>
                    <a:pt x="471" y="63"/>
                    <a:pt x="470" y="63"/>
                    <a:pt x="469" y="63"/>
                  </a:cubicBezTo>
                  <a:cubicBezTo>
                    <a:pt x="451" y="60"/>
                    <a:pt x="458" y="45"/>
                    <a:pt x="439" y="43"/>
                  </a:cubicBezTo>
                  <a:cubicBezTo>
                    <a:pt x="421" y="40"/>
                    <a:pt x="426" y="56"/>
                    <a:pt x="406" y="57"/>
                  </a:cubicBezTo>
                  <a:cubicBezTo>
                    <a:pt x="386" y="59"/>
                    <a:pt x="393" y="60"/>
                    <a:pt x="377" y="84"/>
                  </a:cubicBezTo>
                  <a:cubicBezTo>
                    <a:pt x="361" y="108"/>
                    <a:pt x="331" y="92"/>
                    <a:pt x="314" y="89"/>
                  </a:cubicBezTo>
                  <a:cubicBezTo>
                    <a:pt x="297" y="87"/>
                    <a:pt x="289" y="89"/>
                    <a:pt x="266" y="83"/>
                  </a:cubicBezTo>
                  <a:cubicBezTo>
                    <a:pt x="243" y="76"/>
                    <a:pt x="237" y="69"/>
                    <a:pt x="213" y="45"/>
                  </a:cubicBezTo>
                  <a:cubicBezTo>
                    <a:pt x="189" y="21"/>
                    <a:pt x="162" y="35"/>
                    <a:pt x="142" y="35"/>
                  </a:cubicBezTo>
                  <a:cubicBezTo>
                    <a:pt x="141" y="35"/>
                    <a:pt x="140" y="35"/>
                    <a:pt x="139" y="35"/>
                  </a:cubicBezTo>
                  <a:cubicBezTo>
                    <a:pt x="138" y="35"/>
                    <a:pt x="138" y="35"/>
                    <a:pt x="138" y="34"/>
                  </a:cubicBezTo>
                  <a:cubicBezTo>
                    <a:pt x="137" y="34"/>
                    <a:pt x="136" y="34"/>
                    <a:pt x="136" y="34"/>
                  </a:cubicBezTo>
                  <a:cubicBezTo>
                    <a:pt x="135" y="34"/>
                    <a:pt x="135" y="34"/>
                    <a:pt x="135" y="34"/>
                  </a:cubicBezTo>
                  <a:cubicBezTo>
                    <a:pt x="134" y="34"/>
                    <a:pt x="134" y="34"/>
                    <a:pt x="133" y="34"/>
                  </a:cubicBezTo>
                  <a:cubicBezTo>
                    <a:pt x="133" y="33"/>
                    <a:pt x="132" y="33"/>
                    <a:pt x="132" y="33"/>
                  </a:cubicBezTo>
                  <a:cubicBezTo>
                    <a:pt x="132" y="33"/>
                    <a:pt x="131" y="33"/>
                    <a:pt x="131" y="33"/>
                  </a:cubicBezTo>
                  <a:cubicBezTo>
                    <a:pt x="131" y="33"/>
                    <a:pt x="130" y="33"/>
                    <a:pt x="130" y="32"/>
                  </a:cubicBezTo>
                  <a:cubicBezTo>
                    <a:pt x="130" y="32"/>
                    <a:pt x="129" y="32"/>
                    <a:pt x="129" y="32"/>
                  </a:cubicBezTo>
                  <a:cubicBezTo>
                    <a:pt x="129" y="32"/>
                    <a:pt x="128" y="32"/>
                    <a:pt x="128" y="31"/>
                  </a:cubicBezTo>
                  <a:cubicBezTo>
                    <a:pt x="128" y="31"/>
                    <a:pt x="128" y="31"/>
                    <a:pt x="127" y="31"/>
                  </a:cubicBezTo>
                  <a:cubicBezTo>
                    <a:pt x="127" y="31"/>
                    <a:pt x="127" y="30"/>
                    <a:pt x="127" y="30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26" y="29"/>
                    <a:pt x="126" y="29"/>
                    <a:pt x="125" y="29"/>
                  </a:cubicBezTo>
                  <a:cubicBezTo>
                    <a:pt x="125" y="29"/>
                    <a:pt x="125" y="29"/>
                    <a:pt x="125" y="28"/>
                  </a:cubicBezTo>
                  <a:cubicBezTo>
                    <a:pt x="125" y="28"/>
                    <a:pt x="124" y="28"/>
                    <a:pt x="124" y="28"/>
                  </a:cubicBezTo>
                  <a:cubicBezTo>
                    <a:pt x="124" y="28"/>
                    <a:pt x="124" y="28"/>
                    <a:pt x="124" y="27"/>
                  </a:cubicBezTo>
                  <a:cubicBezTo>
                    <a:pt x="124" y="27"/>
                    <a:pt x="124" y="27"/>
                    <a:pt x="123" y="27"/>
                  </a:cubicBezTo>
                  <a:cubicBezTo>
                    <a:pt x="123" y="27"/>
                    <a:pt x="123" y="26"/>
                    <a:pt x="123" y="26"/>
                  </a:cubicBezTo>
                  <a:cubicBezTo>
                    <a:pt x="123" y="26"/>
                    <a:pt x="123" y="26"/>
                    <a:pt x="122" y="26"/>
                  </a:cubicBezTo>
                  <a:cubicBezTo>
                    <a:pt x="122" y="25"/>
                    <a:pt x="122" y="25"/>
                    <a:pt x="122" y="25"/>
                  </a:cubicBezTo>
                  <a:cubicBezTo>
                    <a:pt x="122" y="25"/>
                    <a:pt x="122" y="25"/>
                    <a:pt x="122" y="24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121" y="24"/>
                    <a:pt x="121" y="23"/>
                    <a:pt x="121" y="23"/>
                  </a:cubicBezTo>
                  <a:cubicBezTo>
                    <a:pt x="120" y="23"/>
                    <a:pt x="120" y="23"/>
                    <a:pt x="120" y="23"/>
                  </a:cubicBezTo>
                  <a:cubicBezTo>
                    <a:pt x="120" y="23"/>
                    <a:pt x="120" y="23"/>
                    <a:pt x="120" y="23"/>
                  </a:cubicBezTo>
                  <a:cubicBezTo>
                    <a:pt x="120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8" y="23"/>
                    <a:pt x="118" y="23"/>
                  </a:cubicBezTo>
                  <a:cubicBezTo>
                    <a:pt x="113" y="24"/>
                    <a:pt x="101" y="21"/>
                    <a:pt x="95" y="13"/>
                  </a:cubicBezTo>
                  <a:cubicBezTo>
                    <a:pt x="90" y="5"/>
                    <a:pt x="91" y="0"/>
                    <a:pt x="75" y="0"/>
                  </a:cubicBezTo>
                  <a:cubicBezTo>
                    <a:pt x="59" y="0"/>
                    <a:pt x="54" y="13"/>
                    <a:pt x="39" y="13"/>
                  </a:cubicBezTo>
                  <a:cubicBezTo>
                    <a:pt x="25" y="13"/>
                    <a:pt x="18" y="23"/>
                    <a:pt x="14" y="39"/>
                  </a:cubicBezTo>
                  <a:cubicBezTo>
                    <a:pt x="14" y="40"/>
                    <a:pt x="14" y="41"/>
                    <a:pt x="13" y="41"/>
                  </a:cubicBezTo>
                  <a:cubicBezTo>
                    <a:pt x="13" y="42"/>
                    <a:pt x="13" y="42"/>
                    <a:pt x="13" y="43"/>
                  </a:cubicBezTo>
                  <a:cubicBezTo>
                    <a:pt x="13" y="43"/>
                    <a:pt x="13" y="43"/>
                    <a:pt x="12" y="43"/>
                  </a:cubicBezTo>
                  <a:cubicBezTo>
                    <a:pt x="12" y="44"/>
                    <a:pt x="12" y="44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5"/>
                    <a:pt x="11" y="46"/>
                    <a:pt x="11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3" y="52"/>
                    <a:pt x="15" y="59"/>
                    <a:pt x="15" y="63"/>
                  </a:cubicBezTo>
                  <a:cubicBezTo>
                    <a:pt x="15" y="71"/>
                    <a:pt x="17" y="77"/>
                    <a:pt x="29" y="77"/>
                  </a:cubicBezTo>
                  <a:cubicBezTo>
                    <a:pt x="41" y="77"/>
                    <a:pt x="34" y="93"/>
                    <a:pt x="34" y="101"/>
                  </a:cubicBezTo>
                  <a:cubicBezTo>
                    <a:pt x="34" y="109"/>
                    <a:pt x="37" y="121"/>
                    <a:pt x="42" y="125"/>
                  </a:cubicBezTo>
                  <a:cubicBezTo>
                    <a:pt x="47" y="129"/>
                    <a:pt x="47" y="143"/>
                    <a:pt x="57" y="148"/>
                  </a:cubicBezTo>
                  <a:cubicBezTo>
                    <a:pt x="66" y="153"/>
                    <a:pt x="66" y="167"/>
                    <a:pt x="66" y="176"/>
                  </a:cubicBezTo>
                  <a:cubicBezTo>
                    <a:pt x="66" y="185"/>
                    <a:pt x="74" y="204"/>
                    <a:pt x="63" y="221"/>
                  </a:cubicBezTo>
                  <a:cubicBezTo>
                    <a:pt x="53" y="239"/>
                    <a:pt x="42" y="241"/>
                    <a:pt x="34" y="255"/>
                  </a:cubicBezTo>
                  <a:cubicBezTo>
                    <a:pt x="26" y="268"/>
                    <a:pt x="10" y="283"/>
                    <a:pt x="3" y="304"/>
                  </a:cubicBezTo>
                  <a:cubicBezTo>
                    <a:pt x="2" y="309"/>
                    <a:pt x="1" y="314"/>
                    <a:pt x="0" y="319"/>
                  </a:cubicBezTo>
                  <a:cubicBezTo>
                    <a:pt x="4" y="321"/>
                    <a:pt x="6" y="324"/>
                    <a:pt x="10" y="324"/>
                  </a:cubicBezTo>
                  <a:cubicBezTo>
                    <a:pt x="17" y="325"/>
                    <a:pt x="19" y="316"/>
                    <a:pt x="28" y="316"/>
                  </a:cubicBezTo>
                  <a:cubicBezTo>
                    <a:pt x="37" y="316"/>
                    <a:pt x="46" y="324"/>
                    <a:pt x="43" y="329"/>
                  </a:cubicBezTo>
                  <a:cubicBezTo>
                    <a:pt x="40" y="334"/>
                    <a:pt x="32" y="338"/>
                    <a:pt x="26" y="340"/>
                  </a:cubicBezTo>
                  <a:cubicBezTo>
                    <a:pt x="19" y="342"/>
                    <a:pt x="13" y="345"/>
                    <a:pt x="7" y="353"/>
                  </a:cubicBezTo>
                  <a:cubicBezTo>
                    <a:pt x="4" y="357"/>
                    <a:pt x="4" y="364"/>
                    <a:pt x="5" y="372"/>
                  </a:cubicBezTo>
                  <a:cubicBezTo>
                    <a:pt x="6" y="374"/>
                    <a:pt x="8" y="376"/>
                    <a:pt x="9" y="378"/>
                  </a:cubicBezTo>
                  <a:cubicBezTo>
                    <a:pt x="10" y="379"/>
                    <a:pt x="12" y="380"/>
                    <a:pt x="13" y="381"/>
                  </a:cubicBezTo>
                  <a:cubicBezTo>
                    <a:pt x="13" y="381"/>
                    <a:pt x="13" y="381"/>
                    <a:pt x="13" y="381"/>
                  </a:cubicBezTo>
                  <a:cubicBezTo>
                    <a:pt x="15" y="383"/>
                    <a:pt x="18" y="386"/>
                    <a:pt x="21" y="388"/>
                  </a:cubicBezTo>
                  <a:cubicBezTo>
                    <a:pt x="21" y="388"/>
                    <a:pt x="21" y="388"/>
                    <a:pt x="22" y="388"/>
                  </a:cubicBezTo>
                  <a:cubicBezTo>
                    <a:pt x="23" y="389"/>
                    <a:pt x="25" y="391"/>
                    <a:pt x="26" y="392"/>
                  </a:cubicBezTo>
                  <a:cubicBezTo>
                    <a:pt x="26" y="392"/>
                    <a:pt x="27" y="392"/>
                    <a:pt x="27" y="392"/>
                  </a:cubicBezTo>
                  <a:cubicBezTo>
                    <a:pt x="30" y="395"/>
                    <a:pt x="34" y="398"/>
                    <a:pt x="38" y="400"/>
                  </a:cubicBezTo>
                  <a:cubicBezTo>
                    <a:pt x="39" y="401"/>
                    <a:pt x="39" y="401"/>
                    <a:pt x="40" y="401"/>
                  </a:cubicBezTo>
                  <a:cubicBezTo>
                    <a:pt x="41" y="403"/>
                    <a:pt x="43" y="404"/>
                    <a:pt x="45" y="405"/>
                  </a:cubicBezTo>
                  <a:cubicBezTo>
                    <a:pt x="46" y="405"/>
                    <a:pt x="46" y="406"/>
                    <a:pt x="47" y="406"/>
                  </a:cubicBezTo>
                  <a:cubicBezTo>
                    <a:pt x="49" y="408"/>
                    <a:pt x="52" y="409"/>
                    <a:pt x="54" y="411"/>
                  </a:cubicBezTo>
                  <a:cubicBezTo>
                    <a:pt x="87" y="432"/>
                    <a:pt x="246" y="503"/>
                    <a:pt x="242" y="521"/>
                  </a:cubicBezTo>
                  <a:cubicBezTo>
                    <a:pt x="238" y="540"/>
                    <a:pt x="239" y="551"/>
                    <a:pt x="251" y="553"/>
                  </a:cubicBezTo>
                  <a:cubicBezTo>
                    <a:pt x="262" y="556"/>
                    <a:pt x="313" y="598"/>
                    <a:pt x="342" y="621"/>
                  </a:cubicBezTo>
                  <a:cubicBezTo>
                    <a:pt x="349" y="611"/>
                    <a:pt x="362" y="603"/>
                    <a:pt x="365" y="587"/>
                  </a:cubicBezTo>
                  <a:cubicBezTo>
                    <a:pt x="368" y="567"/>
                    <a:pt x="375" y="553"/>
                    <a:pt x="385" y="542"/>
                  </a:cubicBezTo>
                  <a:cubicBezTo>
                    <a:pt x="395" y="530"/>
                    <a:pt x="391" y="530"/>
                    <a:pt x="398" y="510"/>
                  </a:cubicBezTo>
                  <a:cubicBezTo>
                    <a:pt x="404" y="491"/>
                    <a:pt x="409" y="485"/>
                    <a:pt x="419" y="481"/>
                  </a:cubicBezTo>
                  <a:cubicBezTo>
                    <a:pt x="430" y="478"/>
                    <a:pt x="433" y="477"/>
                    <a:pt x="439" y="465"/>
                  </a:cubicBezTo>
                  <a:cubicBezTo>
                    <a:pt x="444" y="453"/>
                    <a:pt x="452" y="436"/>
                    <a:pt x="466" y="437"/>
                  </a:cubicBezTo>
                  <a:cubicBezTo>
                    <a:pt x="473" y="438"/>
                    <a:pt x="480" y="439"/>
                    <a:pt x="485" y="436"/>
                  </a:cubicBezTo>
                  <a:cubicBezTo>
                    <a:pt x="486" y="407"/>
                    <a:pt x="478" y="410"/>
                    <a:pt x="473" y="405"/>
                  </a:cubicBezTo>
                  <a:cubicBezTo>
                    <a:pt x="467" y="400"/>
                    <a:pt x="457" y="385"/>
                    <a:pt x="451" y="379"/>
                  </a:cubicBezTo>
                  <a:cubicBezTo>
                    <a:pt x="446" y="372"/>
                    <a:pt x="450" y="201"/>
                    <a:pt x="450" y="179"/>
                  </a:cubicBezTo>
                  <a:cubicBezTo>
                    <a:pt x="450" y="156"/>
                    <a:pt x="450" y="133"/>
                    <a:pt x="454" y="12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8" name="Freeform 428">
              <a:extLst>
                <a:ext uri="{FF2B5EF4-FFF2-40B4-BE49-F238E27FC236}">
                  <a16:creationId xmlns:a16="http://schemas.microsoft.com/office/drawing/2014/main" id="{502F5AFF-A3B2-4349-85BC-23F43D104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4" y="2512"/>
              <a:ext cx="90" cy="94"/>
            </a:xfrm>
            <a:custGeom>
              <a:avLst/>
              <a:gdLst>
                <a:gd name="T0" fmla="*/ 71 w 354"/>
                <a:gd name="T1" fmla="*/ 334 h 370"/>
                <a:gd name="T2" fmla="*/ 73 w 354"/>
                <a:gd name="T3" fmla="*/ 333 h 370"/>
                <a:gd name="T4" fmla="*/ 75 w 354"/>
                <a:gd name="T5" fmla="*/ 333 h 370"/>
                <a:gd name="T6" fmla="*/ 78 w 354"/>
                <a:gd name="T7" fmla="*/ 332 h 370"/>
                <a:gd name="T8" fmla="*/ 81 w 354"/>
                <a:gd name="T9" fmla="*/ 332 h 370"/>
                <a:gd name="T10" fmla="*/ 130 w 354"/>
                <a:gd name="T11" fmla="*/ 333 h 370"/>
                <a:gd name="T12" fmla="*/ 152 w 354"/>
                <a:gd name="T13" fmla="*/ 322 h 370"/>
                <a:gd name="T14" fmla="*/ 156 w 354"/>
                <a:gd name="T15" fmla="*/ 297 h 370"/>
                <a:gd name="T16" fmla="*/ 169 w 354"/>
                <a:gd name="T17" fmla="*/ 273 h 370"/>
                <a:gd name="T18" fmla="*/ 214 w 354"/>
                <a:gd name="T19" fmla="*/ 270 h 370"/>
                <a:gd name="T20" fmla="*/ 233 w 354"/>
                <a:gd name="T21" fmla="*/ 253 h 370"/>
                <a:gd name="T22" fmla="*/ 250 w 354"/>
                <a:gd name="T23" fmla="*/ 257 h 370"/>
                <a:gd name="T24" fmla="*/ 264 w 354"/>
                <a:gd name="T25" fmla="*/ 265 h 370"/>
                <a:gd name="T26" fmla="*/ 280 w 354"/>
                <a:gd name="T27" fmla="*/ 273 h 370"/>
                <a:gd name="T28" fmla="*/ 314 w 354"/>
                <a:gd name="T29" fmla="*/ 209 h 370"/>
                <a:gd name="T30" fmla="*/ 346 w 354"/>
                <a:gd name="T31" fmla="*/ 130 h 370"/>
                <a:gd name="T32" fmla="*/ 322 w 354"/>
                <a:gd name="T33" fmla="*/ 79 h 370"/>
                <a:gd name="T34" fmla="*/ 309 w 354"/>
                <a:gd name="T35" fmla="*/ 31 h 370"/>
                <a:gd name="T36" fmla="*/ 291 w 354"/>
                <a:gd name="T37" fmla="*/ 0 h 370"/>
                <a:gd name="T38" fmla="*/ 290 w 354"/>
                <a:gd name="T39" fmla="*/ 1 h 370"/>
                <a:gd name="T40" fmla="*/ 289 w 354"/>
                <a:gd name="T41" fmla="*/ 1 h 370"/>
                <a:gd name="T42" fmla="*/ 280 w 354"/>
                <a:gd name="T43" fmla="*/ 3 h 370"/>
                <a:gd name="T44" fmla="*/ 278 w 354"/>
                <a:gd name="T45" fmla="*/ 4 h 370"/>
                <a:gd name="T46" fmla="*/ 276 w 354"/>
                <a:gd name="T47" fmla="*/ 5 h 370"/>
                <a:gd name="T48" fmla="*/ 273 w 354"/>
                <a:gd name="T49" fmla="*/ 8 h 370"/>
                <a:gd name="T50" fmla="*/ 271 w 354"/>
                <a:gd name="T51" fmla="*/ 10 h 370"/>
                <a:gd name="T52" fmla="*/ 231 w 354"/>
                <a:gd name="T53" fmla="*/ 22 h 370"/>
                <a:gd name="T54" fmla="*/ 175 w 354"/>
                <a:gd name="T55" fmla="*/ 39 h 370"/>
                <a:gd name="T56" fmla="*/ 106 w 354"/>
                <a:gd name="T57" fmla="*/ 30 h 370"/>
                <a:gd name="T58" fmla="*/ 102 w 354"/>
                <a:gd name="T59" fmla="*/ 30 h 370"/>
                <a:gd name="T60" fmla="*/ 100 w 354"/>
                <a:gd name="T61" fmla="*/ 30 h 370"/>
                <a:gd name="T62" fmla="*/ 97 w 354"/>
                <a:gd name="T63" fmla="*/ 30 h 370"/>
                <a:gd name="T64" fmla="*/ 94 w 354"/>
                <a:gd name="T65" fmla="*/ 32 h 370"/>
                <a:gd name="T66" fmla="*/ 92 w 354"/>
                <a:gd name="T67" fmla="*/ 33 h 370"/>
                <a:gd name="T68" fmla="*/ 83 w 354"/>
                <a:gd name="T69" fmla="*/ 40 h 370"/>
                <a:gd name="T70" fmla="*/ 89 w 354"/>
                <a:gd name="T71" fmla="*/ 63 h 370"/>
                <a:gd name="T72" fmla="*/ 79 w 354"/>
                <a:gd name="T73" fmla="*/ 103 h 370"/>
                <a:gd name="T74" fmla="*/ 111 w 354"/>
                <a:gd name="T75" fmla="*/ 131 h 370"/>
                <a:gd name="T76" fmla="*/ 63 w 354"/>
                <a:gd name="T77" fmla="*/ 183 h 370"/>
                <a:gd name="T78" fmla="*/ 5 w 354"/>
                <a:gd name="T79" fmla="*/ 293 h 370"/>
                <a:gd name="T80" fmla="*/ 0 w 354"/>
                <a:gd name="T81" fmla="*/ 351 h 370"/>
                <a:gd name="T82" fmla="*/ 13 w 354"/>
                <a:gd name="T83" fmla="*/ 357 h 370"/>
                <a:gd name="T84" fmla="*/ 35 w 354"/>
                <a:gd name="T85" fmla="*/ 361 h 370"/>
                <a:gd name="T86" fmla="*/ 56 w 354"/>
                <a:gd name="T87" fmla="*/ 339 h 370"/>
                <a:gd name="T88" fmla="*/ 59 w 354"/>
                <a:gd name="T89" fmla="*/ 339 h 370"/>
                <a:gd name="T90" fmla="*/ 61 w 354"/>
                <a:gd name="T91" fmla="*/ 339 h 370"/>
                <a:gd name="T92" fmla="*/ 63 w 354"/>
                <a:gd name="T93" fmla="*/ 338 h 370"/>
                <a:gd name="T94" fmla="*/ 69 w 354"/>
                <a:gd name="T95" fmla="*/ 33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4" h="370">
                  <a:moveTo>
                    <a:pt x="70" y="334"/>
                  </a:moveTo>
                  <a:cubicBezTo>
                    <a:pt x="70" y="334"/>
                    <a:pt x="71" y="334"/>
                    <a:pt x="71" y="334"/>
                  </a:cubicBezTo>
                  <a:cubicBezTo>
                    <a:pt x="71" y="334"/>
                    <a:pt x="72" y="334"/>
                    <a:pt x="72" y="334"/>
                  </a:cubicBezTo>
                  <a:cubicBezTo>
                    <a:pt x="72" y="333"/>
                    <a:pt x="73" y="333"/>
                    <a:pt x="73" y="333"/>
                  </a:cubicBezTo>
                  <a:cubicBezTo>
                    <a:pt x="73" y="333"/>
                    <a:pt x="74" y="333"/>
                    <a:pt x="75" y="333"/>
                  </a:cubicBezTo>
                  <a:cubicBezTo>
                    <a:pt x="75" y="333"/>
                    <a:pt x="75" y="333"/>
                    <a:pt x="75" y="333"/>
                  </a:cubicBezTo>
                  <a:cubicBezTo>
                    <a:pt x="76" y="332"/>
                    <a:pt x="76" y="332"/>
                    <a:pt x="77" y="332"/>
                  </a:cubicBezTo>
                  <a:cubicBezTo>
                    <a:pt x="77" y="332"/>
                    <a:pt x="78" y="332"/>
                    <a:pt x="78" y="332"/>
                  </a:cubicBezTo>
                  <a:cubicBezTo>
                    <a:pt x="78" y="332"/>
                    <a:pt x="79" y="332"/>
                    <a:pt x="80" y="332"/>
                  </a:cubicBezTo>
                  <a:cubicBezTo>
                    <a:pt x="80" y="332"/>
                    <a:pt x="80" y="332"/>
                    <a:pt x="81" y="332"/>
                  </a:cubicBezTo>
                  <a:cubicBezTo>
                    <a:pt x="81" y="332"/>
                    <a:pt x="82" y="332"/>
                    <a:pt x="83" y="332"/>
                  </a:cubicBezTo>
                  <a:cubicBezTo>
                    <a:pt x="97" y="333"/>
                    <a:pt x="123" y="333"/>
                    <a:pt x="130" y="333"/>
                  </a:cubicBezTo>
                  <a:cubicBezTo>
                    <a:pt x="134" y="333"/>
                    <a:pt x="144" y="333"/>
                    <a:pt x="156" y="333"/>
                  </a:cubicBezTo>
                  <a:cubicBezTo>
                    <a:pt x="155" y="329"/>
                    <a:pt x="154" y="324"/>
                    <a:pt x="152" y="322"/>
                  </a:cubicBezTo>
                  <a:cubicBezTo>
                    <a:pt x="150" y="321"/>
                    <a:pt x="149" y="317"/>
                    <a:pt x="149" y="308"/>
                  </a:cubicBezTo>
                  <a:cubicBezTo>
                    <a:pt x="149" y="300"/>
                    <a:pt x="155" y="304"/>
                    <a:pt x="156" y="297"/>
                  </a:cubicBezTo>
                  <a:cubicBezTo>
                    <a:pt x="158" y="290"/>
                    <a:pt x="158" y="290"/>
                    <a:pt x="163" y="287"/>
                  </a:cubicBezTo>
                  <a:cubicBezTo>
                    <a:pt x="169" y="283"/>
                    <a:pt x="165" y="278"/>
                    <a:pt x="169" y="273"/>
                  </a:cubicBezTo>
                  <a:cubicBezTo>
                    <a:pt x="174" y="268"/>
                    <a:pt x="185" y="272"/>
                    <a:pt x="194" y="272"/>
                  </a:cubicBezTo>
                  <a:cubicBezTo>
                    <a:pt x="202" y="272"/>
                    <a:pt x="210" y="269"/>
                    <a:pt x="214" y="270"/>
                  </a:cubicBezTo>
                  <a:cubicBezTo>
                    <a:pt x="219" y="271"/>
                    <a:pt x="226" y="268"/>
                    <a:pt x="231" y="268"/>
                  </a:cubicBezTo>
                  <a:cubicBezTo>
                    <a:pt x="237" y="268"/>
                    <a:pt x="228" y="253"/>
                    <a:pt x="233" y="253"/>
                  </a:cubicBezTo>
                  <a:cubicBezTo>
                    <a:pt x="238" y="253"/>
                    <a:pt x="240" y="255"/>
                    <a:pt x="242" y="261"/>
                  </a:cubicBezTo>
                  <a:cubicBezTo>
                    <a:pt x="243" y="267"/>
                    <a:pt x="249" y="263"/>
                    <a:pt x="250" y="257"/>
                  </a:cubicBezTo>
                  <a:cubicBezTo>
                    <a:pt x="251" y="251"/>
                    <a:pt x="254" y="253"/>
                    <a:pt x="261" y="254"/>
                  </a:cubicBezTo>
                  <a:cubicBezTo>
                    <a:pt x="268" y="255"/>
                    <a:pt x="264" y="258"/>
                    <a:pt x="264" y="265"/>
                  </a:cubicBezTo>
                  <a:cubicBezTo>
                    <a:pt x="264" y="272"/>
                    <a:pt x="270" y="270"/>
                    <a:pt x="270" y="270"/>
                  </a:cubicBezTo>
                  <a:cubicBezTo>
                    <a:pt x="274" y="270"/>
                    <a:pt x="277" y="271"/>
                    <a:pt x="280" y="273"/>
                  </a:cubicBezTo>
                  <a:cubicBezTo>
                    <a:pt x="281" y="268"/>
                    <a:pt x="282" y="263"/>
                    <a:pt x="283" y="258"/>
                  </a:cubicBezTo>
                  <a:cubicBezTo>
                    <a:pt x="290" y="237"/>
                    <a:pt x="306" y="222"/>
                    <a:pt x="314" y="209"/>
                  </a:cubicBezTo>
                  <a:cubicBezTo>
                    <a:pt x="322" y="195"/>
                    <a:pt x="333" y="193"/>
                    <a:pt x="343" y="175"/>
                  </a:cubicBezTo>
                  <a:cubicBezTo>
                    <a:pt x="354" y="158"/>
                    <a:pt x="346" y="139"/>
                    <a:pt x="346" y="130"/>
                  </a:cubicBezTo>
                  <a:cubicBezTo>
                    <a:pt x="346" y="121"/>
                    <a:pt x="346" y="107"/>
                    <a:pt x="337" y="102"/>
                  </a:cubicBezTo>
                  <a:cubicBezTo>
                    <a:pt x="327" y="97"/>
                    <a:pt x="327" y="83"/>
                    <a:pt x="322" y="79"/>
                  </a:cubicBezTo>
                  <a:cubicBezTo>
                    <a:pt x="317" y="75"/>
                    <a:pt x="314" y="63"/>
                    <a:pt x="314" y="55"/>
                  </a:cubicBezTo>
                  <a:cubicBezTo>
                    <a:pt x="314" y="47"/>
                    <a:pt x="321" y="31"/>
                    <a:pt x="309" y="31"/>
                  </a:cubicBezTo>
                  <a:cubicBezTo>
                    <a:pt x="297" y="31"/>
                    <a:pt x="295" y="25"/>
                    <a:pt x="295" y="17"/>
                  </a:cubicBezTo>
                  <a:cubicBezTo>
                    <a:pt x="295" y="13"/>
                    <a:pt x="293" y="6"/>
                    <a:pt x="291" y="0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290" y="0"/>
                    <a:pt x="290" y="0"/>
                    <a:pt x="290" y="1"/>
                  </a:cubicBezTo>
                  <a:cubicBezTo>
                    <a:pt x="289" y="1"/>
                    <a:pt x="289" y="1"/>
                    <a:pt x="289" y="1"/>
                  </a:cubicBezTo>
                  <a:cubicBezTo>
                    <a:pt x="289" y="1"/>
                    <a:pt x="289" y="1"/>
                    <a:pt x="289" y="1"/>
                  </a:cubicBezTo>
                  <a:cubicBezTo>
                    <a:pt x="287" y="2"/>
                    <a:pt x="284" y="2"/>
                    <a:pt x="280" y="3"/>
                  </a:cubicBezTo>
                  <a:cubicBezTo>
                    <a:pt x="280" y="3"/>
                    <a:pt x="280" y="3"/>
                    <a:pt x="280" y="3"/>
                  </a:cubicBezTo>
                  <a:cubicBezTo>
                    <a:pt x="280" y="3"/>
                    <a:pt x="279" y="4"/>
                    <a:pt x="279" y="4"/>
                  </a:cubicBezTo>
                  <a:cubicBezTo>
                    <a:pt x="278" y="4"/>
                    <a:pt x="278" y="4"/>
                    <a:pt x="278" y="4"/>
                  </a:cubicBezTo>
                  <a:cubicBezTo>
                    <a:pt x="278" y="4"/>
                    <a:pt x="277" y="5"/>
                    <a:pt x="276" y="5"/>
                  </a:cubicBezTo>
                  <a:cubicBezTo>
                    <a:pt x="276" y="5"/>
                    <a:pt x="276" y="5"/>
                    <a:pt x="276" y="5"/>
                  </a:cubicBezTo>
                  <a:cubicBezTo>
                    <a:pt x="275" y="6"/>
                    <a:pt x="275" y="6"/>
                    <a:pt x="274" y="7"/>
                  </a:cubicBezTo>
                  <a:cubicBezTo>
                    <a:pt x="274" y="7"/>
                    <a:pt x="274" y="7"/>
                    <a:pt x="273" y="8"/>
                  </a:cubicBezTo>
                  <a:cubicBezTo>
                    <a:pt x="273" y="8"/>
                    <a:pt x="272" y="9"/>
                    <a:pt x="272" y="9"/>
                  </a:cubicBezTo>
                  <a:cubicBezTo>
                    <a:pt x="272" y="9"/>
                    <a:pt x="271" y="10"/>
                    <a:pt x="271" y="10"/>
                  </a:cubicBezTo>
                  <a:cubicBezTo>
                    <a:pt x="270" y="11"/>
                    <a:pt x="270" y="12"/>
                    <a:pt x="269" y="13"/>
                  </a:cubicBezTo>
                  <a:cubicBezTo>
                    <a:pt x="254" y="31"/>
                    <a:pt x="241" y="30"/>
                    <a:pt x="231" y="22"/>
                  </a:cubicBezTo>
                  <a:cubicBezTo>
                    <a:pt x="222" y="14"/>
                    <a:pt x="210" y="26"/>
                    <a:pt x="195" y="26"/>
                  </a:cubicBezTo>
                  <a:cubicBezTo>
                    <a:pt x="181" y="26"/>
                    <a:pt x="182" y="33"/>
                    <a:pt x="175" y="39"/>
                  </a:cubicBezTo>
                  <a:cubicBezTo>
                    <a:pt x="169" y="46"/>
                    <a:pt x="161" y="42"/>
                    <a:pt x="153" y="33"/>
                  </a:cubicBezTo>
                  <a:cubicBezTo>
                    <a:pt x="145" y="23"/>
                    <a:pt x="125" y="33"/>
                    <a:pt x="106" y="30"/>
                  </a:cubicBezTo>
                  <a:cubicBezTo>
                    <a:pt x="105" y="30"/>
                    <a:pt x="104" y="30"/>
                    <a:pt x="103" y="30"/>
                  </a:cubicBezTo>
                  <a:cubicBezTo>
                    <a:pt x="103" y="30"/>
                    <a:pt x="103" y="30"/>
                    <a:pt x="102" y="30"/>
                  </a:cubicBezTo>
                  <a:cubicBezTo>
                    <a:pt x="102" y="30"/>
                    <a:pt x="101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99" y="30"/>
                    <a:pt x="98" y="30"/>
                    <a:pt x="98" y="30"/>
                  </a:cubicBezTo>
                  <a:cubicBezTo>
                    <a:pt x="98" y="30"/>
                    <a:pt x="98" y="30"/>
                    <a:pt x="97" y="30"/>
                  </a:cubicBezTo>
                  <a:cubicBezTo>
                    <a:pt x="96" y="31"/>
                    <a:pt x="95" y="31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3" y="32"/>
                    <a:pt x="93" y="32"/>
                    <a:pt x="92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89" y="35"/>
                    <a:pt x="87" y="38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4" y="43"/>
                    <a:pt x="85" y="45"/>
                    <a:pt x="86" y="46"/>
                  </a:cubicBezTo>
                  <a:cubicBezTo>
                    <a:pt x="94" y="55"/>
                    <a:pt x="94" y="59"/>
                    <a:pt x="89" y="63"/>
                  </a:cubicBezTo>
                  <a:cubicBezTo>
                    <a:pt x="83" y="67"/>
                    <a:pt x="81" y="79"/>
                    <a:pt x="81" y="86"/>
                  </a:cubicBezTo>
                  <a:cubicBezTo>
                    <a:pt x="81" y="93"/>
                    <a:pt x="86" y="97"/>
                    <a:pt x="79" y="103"/>
                  </a:cubicBezTo>
                  <a:cubicBezTo>
                    <a:pt x="73" y="110"/>
                    <a:pt x="77" y="122"/>
                    <a:pt x="89" y="125"/>
                  </a:cubicBezTo>
                  <a:cubicBezTo>
                    <a:pt x="101" y="127"/>
                    <a:pt x="110" y="118"/>
                    <a:pt x="111" y="131"/>
                  </a:cubicBezTo>
                  <a:cubicBezTo>
                    <a:pt x="113" y="145"/>
                    <a:pt x="117" y="173"/>
                    <a:pt x="101" y="171"/>
                  </a:cubicBezTo>
                  <a:cubicBezTo>
                    <a:pt x="85" y="170"/>
                    <a:pt x="70" y="173"/>
                    <a:pt x="63" y="183"/>
                  </a:cubicBezTo>
                  <a:cubicBezTo>
                    <a:pt x="57" y="194"/>
                    <a:pt x="39" y="198"/>
                    <a:pt x="29" y="221"/>
                  </a:cubicBezTo>
                  <a:cubicBezTo>
                    <a:pt x="18" y="243"/>
                    <a:pt x="5" y="273"/>
                    <a:pt x="5" y="293"/>
                  </a:cubicBezTo>
                  <a:cubicBezTo>
                    <a:pt x="5" y="313"/>
                    <a:pt x="1" y="326"/>
                    <a:pt x="1" y="338"/>
                  </a:cubicBezTo>
                  <a:cubicBezTo>
                    <a:pt x="1" y="342"/>
                    <a:pt x="1" y="347"/>
                    <a:pt x="0" y="351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4" y="354"/>
                    <a:pt x="7" y="356"/>
                    <a:pt x="13" y="357"/>
                  </a:cubicBezTo>
                  <a:cubicBezTo>
                    <a:pt x="21" y="357"/>
                    <a:pt x="17" y="361"/>
                    <a:pt x="24" y="365"/>
                  </a:cubicBezTo>
                  <a:cubicBezTo>
                    <a:pt x="31" y="370"/>
                    <a:pt x="35" y="367"/>
                    <a:pt x="35" y="361"/>
                  </a:cubicBezTo>
                  <a:cubicBezTo>
                    <a:pt x="36" y="355"/>
                    <a:pt x="35" y="351"/>
                    <a:pt x="42" y="347"/>
                  </a:cubicBezTo>
                  <a:cubicBezTo>
                    <a:pt x="49" y="343"/>
                    <a:pt x="46" y="339"/>
                    <a:pt x="56" y="339"/>
                  </a:cubicBezTo>
                  <a:cubicBezTo>
                    <a:pt x="57" y="339"/>
                    <a:pt x="58" y="339"/>
                    <a:pt x="58" y="339"/>
                  </a:cubicBezTo>
                  <a:cubicBezTo>
                    <a:pt x="59" y="339"/>
                    <a:pt x="59" y="339"/>
                    <a:pt x="59" y="339"/>
                  </a:cubicBezTo>
                  <a:cubicBezTo>
                    <a:pt x="60" y="339"/>
                    <a:pt x="60" y="339"/>
                    <a:pt x="61" y="339"/>
                  </a:cubicBezTo>
                  <a:cubicBezTo>
                    <a:pt x="61" y="339"/>
                    <a:pt x="61" y="339"/>
                    <a:pt x="61" y="339"/>
                  </a:cubicBezTo>
                  <a:cubicBezTo>
                    <a:pt x="62" y="338"/>
                    <a:pt x="62" y="338"/>
                    <a:pt x="63" y="338"/>
                  </a:cubicBezTo>
                  <a:cubicBezTo>
                    <a:pt x="63" y="338"/>
                    <a:pt x="63" y="338"/>
                    <a:pt x="63" y="338"/>
                  </a:cubicBezTo>
                  <a:cubicBezTo>
                    <a:pt x="64" y="338"/>
                    <a:pt x="64" y="337"/>
                    <a:pt x="65" y="337"/>
                  </a:cubicBezTo>
                  <a:cubicBezTo>
                    <a:pt x="66" y="336"/>
                    <a:pt x="68" y="335"/>
                    <a:pt x="69" y="335"/>
                  </a:cubicBezTo>
                  <a:cubicBezTo>
                    <a:pt x="69" y="335"/>
                    <a:pt x="70" y="335"/>
                    <a:pt x="70" y="33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299" name="Freeform 429">
              <a:extLst>
                <a:ext uri="{FF2B5EF4-FFF2-40B4-BE49-F238E27FC236}">
                  <a16:creationId xmlns:a16="http://schemas.microsoft.com/office/drawing/2014/main" id="{82C24A96-FCCA-FC44-9E7D-7F767B9BF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" y="2595"/>
              <a:ext cx="175" cy="180"/>
            </a:xfrm>
            <a:custGeom>
              <a:avLst/>
              <a:gdLst>
                <a:gd name="T0" fmla="*/ 633 w 689"/>
                <a:gd name="T1" fmla="*/ 526 h 713"/>
                <a:gd name="T2" fmla="*/ 620 w 689"/>
                <a:gd name="T3" fmla="*/ 423 h 713"/>
                <a:gd name="T4" fmla="*/ 587 w 689"/>
                <a:gd name="T5" fmla="*/ 337 h 713"/>
                <a:gd name="T6" fmla="*/ 614 w 689"/>
                <a:gd name="T7" fmla="*/ 249 h 713"/>
                <a:gd name="T8" fmla="*/ 326 w 689"/>
                <a:gd name="T9" fmla="*/ 39 h 713"/>
                <a:gd name="T10" fmla="*/ 312 w 689"/>
                <a:gd name="T11" fmla="*/ 29 h 713"/>
                <a:gd name="T12" fmla="*/ 298 w 689"/>
                <a:gd name="T13" fmla="*/ 20 h 713"/>
                <a:gd name="T14" fmla="*/ 285 w 689"/>
                <a:gd name="T15" fmla="*/ 9 h 713"/>
                <a:gd name="T16" fmla="*/ 277 w 689"/>
                <a:gd name="T17" fmla="*/ 0 h 713"/>
                <a:gd name="T18" fmla="*/ 264 w 689"/>
                <a:gd name="T19" fmla="*/ 29 h 713"/>
                <a:gd name="T20" fmla="*/ 229 w 689"/>
                <a:gd name="T21" fmla="*/ 68 h 713"/>
                <a:gd name="T22" fmla="*/ 210 w 689"/>
                <a:gd name="T23" fmla="*/ 74 h 713"/>
                <a:gd name="T24" fmla="*/ 240 w 689"/>
                <a:gd name="T25" fmla="*/ 99 h 713"/>
                <a:gd name="T26" fmla="*/ 205 w 689"/>
                <a:gd name="T27" fmla="*/ 104 h 713"/>
                <a:gd name="T28" fmla="*/ 181 w 689"/>
                <a:gd name="T29" fmla="*/ 87 h 713"/>
                <a:gd name="T30" fmla="*/ 152 w 689"/>
                <a:gd name="T31" fmla="*/ 92 h 713"/>
                <a:gd name="T32" fmla="*/ 131 w 689"/>
                <a:gd name="T33" fmla="*/ 73 h 713"/>
                <a:gd name="T34" fmla="*/ 155 w 689"/>
                <a:gd name="T35" fmla="*/ 18 h 713"/>
                <a:gd name="T36" fmla="*/ 122 w 689"/>
                <a:gd name="T37" fmla="*/ 7 h 713"/>
                <a:gd name="T38" fmla="*/ 72 w 689"/>
                <a:gd name="T39" fmla="*/ 6 h 713"/>
                <a:gd name="T40" fmla="*/ 67 w 689"/>
                <a:gd name="T41" fmla="*/ 7 h 713"/>
                <a:gd name="T42" fmla="*/ 64 w 689"/>
                <a:gd name="T43" fmla="*/ 8 h 713"/>
                <a:gd name="T44" fmla="*/ 61 w 689"/>
                <a:gd name="T45" fmla="*/ 9 h 713"/>
                <a:gd name="T46" fmla="*/ 63 w 689"/>
                <a:gd name="T47" fmla="*/ 38 h 713"/>
                <a:gd name="T48" fmla="*/ 78 w 689"/>
                <a:gd name="T49" fmla="*/ 85 h 713"/>
                <a:gd name="T50" fmla="*/ 62 w 689"/>
                <a:gd name="T51" fmla="*/ 104 h 713"/>
                <a:gd name="T52" fmla="*/ 57 w 689"/>
                <a:gd name="T53" fmla="*/ 105 h 713"/>
                <a:gd name="T54" fmla="*/ 54 w 689"/>
                <a:gd name="T55" fmla="*/ 106 h 713"/>
                <a:gd name="T56" fmla="*/ 51 w 689"/>
                <a:gd name="T57" fmla="*/ 109 h 713"/>
                <a:gd name="T58" fmla="*/ 49 w 689"/>
                <a:gd name="T59" fmla="*/ 112 h 713"/>
                <a:gd name="T60" fmla="*/ 59 w 689"/>
                <a:gd name="T61" fmla="*/ 130 h 713"/>
                <a:gd name="T62" fmla="*/ 54 w 689"/>
                <a:gd name="T63" fmla="*/ 167 h 713"/>
                <a:gd name="T64" fmla="*/ 5 w 689"/>
                <a:gd name="T65" fmla="*/ 227 h 713"/>
                <a:gd name="T66" fmla="*/ 8 w 689"/>
                <a:gd name="T67" fmla="*/ 309 h 713"/>
                <a:gd name="T68" fmla="*/ 54 w 689"/>
                <a:gd name="T69" fmla="*/ 410 h 713"/>
                <a:gd name="T70" fmla="*/ 80 w 689"/>
                <a:gd name="T71" fmla="*/ 470 h 713"/>
                <a:gd name="T72" fmla="*/ 77 w 689"/>
                <a:gd name="T73" fmla="*/ 468 h 713"/>
                <a:gd name="T74" fmla="*/ 79 w 689"/>
                <a:gd name="T75" fmla="*/ 472 h 713"/>
                <a:gd name="T76" fmla="*/ 145 w 689"/>
                <a:gd name="T77" fmla="*/ 522 h 713"/>
                <a:gd name="T78" fmla="*/ 189 w 689"/>
                <a:gd name="T79" fmla="*/ 537 h 713"/>
                <a:gd name="T80" fmla="*/ 191 w 689"/>
                <a:gd name="T81" fmla="*/ 540 h 713"/>
                <a:gd name="T82" fmla="*/ 194 w 689"/>
                <a:gd name="T83" fmla="*/ 542 h 713"/>
                <a:gd name="T84" fmla="*/ 196 w 689"/>
                <a:gd name="T85" fmla="*/ 543 h 713"/>
                <a:gd name="T86" fmla="*/ 199 w 689"/>
                <a:gd name="T87" fmla="*/ 545 h 713"/>
                <a:gd name="T88" fmla="*/ 202 w 689"/>
                <a:gd name="T89" fmla="*/ 546 h 713"/>
                <a:gd name="T90" fmla="*/ 206 w 689"/>
                <a:gd name="T91" fmla="*/ 547 h 713"/>
                <a:gd name="T92" fmla="*/ 210 w 689"/>
                <a:gd name="T93" fmla="*/ 548 h 713"/>
                <a:gd name="T94" fmla="*/ 215 w 689"/>
                <a:gd name="T95" fmla="*/ 550 h 713"/>
                <a:gd name="T96" fmla="*/ 221 w 689"/>
                <a:gd name="T97" fmla="*/ 551 h 713"/>
                <a:gd name="T98" fmla="*/ 267 w 689"/>
                <a:gd name="T99" fmla="*/ 559 h 713"/>
                <a:gd name="T100" fmla="*/ 325 w 689"/>
                <a:gd name="T101" fmla="*/ 662 h 713"/>
                <a:gd name="T102" fmla="*/ 341 w 689"/>
                <a:gd name="T103" fmla="*/ 684 h 713"/>
                <a:gd name="T104" fmla="*/ 344 w 689"/>
                <a:gd name="T105" fmla="*/ 684 h 713"/>
                <a:gd name="T106" fmla="*/ 350 w 689"/>
                <a:gd name="T107" fmla="*/ 687 h 713"/>
                <a:gd name="T108" fmla="*/ 449 w 689"/>
                <a:gd name="T109" fmla="*/ 696 h 713"/>
                <a:gd name="T110" fmla="*/ 542 w 689"/>
                <a:gd name="T111" fmla="*/ 667 h 713"/>
                <a:gd name="T112" fmla="*/ 689 w 689"/>
                <a:gd name="T113" fmla="*/ 617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89" h="713">
                  <a:moveTo>
                    <a:pt x="684" y="607"/>
                  </a:moveTo>
                  <a:cubicBezTo>
                    <a:pt x="672" y="591"/>
                    <a:pt x="655" y="599"/>
                    <a:pt x="650" y="576"/>
                  </a:cubicBezTo>
                  <a:cubicBezTo>
                    <a:pt x="644" y="553"/>
                    <a:pt x="641" y="538"/>
                    <a:pt x="633" y="526"/>
                  </a:cubicBezTo>
                  <a:cubicBezTo>
                    <a:pt x="626" y="515"/>
                    <a:pt x="612" y="490"/>
                    <a:pt x="619" y="477"/>
                  </a:cubicBezTo>
                  <a:cubicBezTo>
                    <a:pt x="627" y="464"/>
                    <a:pt x="633" y="452"/>
                    <a:pt x="625" y="445"/>
                  </a:cubicBezTo>
                  <a:cubicBezTo>
                    <a:pt x="616" y="437"/>
                    <a:pt x="616" y="434"/>
                    <a:pt x="620" y="423"/>
                  </a:cubicBezTo>
                  <a:cubicBezTo>
                    <a:pt x="625" y="413"/>
                    <a:pt x="641" y="397"/>
                    <a:pt x="629" y="389"/>
                  </a:cubicBezTo>
                  <a:cubicBezTo>
                    <a:pt x="617" y="380"/>
                    <a:pt x="614" y="368"/>
                    <a:pt x="603" y="365"/>
                  </a:cubicBezTo>
                  <a:cubicBezTo>
                    <a:pt x="593" y="362"/>
                    <a:pt x="588" y="353"/>
                    <a:pt x="587" y="337"/>
                  </a:cubicBezTo>
                  <a:cubicBezTo>
                    <a:pt x="586" y="321"/>
                    <a:pt x="586" y="316"/>
                    <a:pt x="591" y="307"/>
                  </a:cubicBezTo>
                  <a:cubicBezTo>
                    <a:pt x="597" y="299"/>
                    <a:pt x="605" y="267"/>
                    <a:pt x="611" y="255"/>
                  </a:cubicBezTo>
                  <a:cubicBezTo>
                    <a:pt x="612" y="253"/>
                    <a:pt x="613" y="251"/>
                    <a:pt x="614" y="249"/>
                  </a:cubicBezTo>
                  <a:cubicBezTo>
                    <a:pt x="585" y="226"/>
                    <a:pt x="534" y="184"/>
                    <a:pt x="523" y="181"/>
                  </a:cubicBezTo>
                  <a:cubicBezTo>
                    <a:pt x="511" y="179"/>
                    <a:pt x="510" y="168"/>
                    <a:pt x="514" y="149"/>
                  </a:cubicBezTo>
                  <a:cubicBezTo>
                    <a:pt x="518" y="131"/>
                    <a:pt x="359" y="60"/>
                    <a:pt x="326" y="39"/>
                  </a:cubicBezTo>
                  <a:cubicBezTo>
                    <a:pt x="324" y="37"/>
                    <a:pt x="321" y="36"/>
                    <a:pt x="319" y="34"/>
                  </a:cubicBezTo>
                  <a:cubicBezTo>
                    <a:pt x="318" y="34"/>
                    <a:pt x="318" y="33"/>
                    <a:pt x="317" y="33"/>
                  </a:cubicBezTo>
                  <a:cubicBezTo>
                    <a:pt x="315" y="32"/>
                    <a:pt x="313" y="31"/>
                    <a:pt x="312" y="29"/>
                  </a:cubicBezTo>
                  <a:cubicBezTo>
                    <a:pt x="311" y="29"/>
                    <a:pt x="311" y="29"/>
                    <a:pt x="310" y="28"/>
                  </a:cubicBezTo>
                  <a:cubicBezTo>
                    <a:pt x="306" y="26"/>
                    <a:pt x="302" y="23"/>
                    <a:pt x="299" y="20"/>
                  </a:cubicBezTo>
                  <a:cubicBezTo>
                    <a:pt x="299" y="20"/>
                    <a:pt x="298" y="20"/>
                    <a:pt x="298" y="20"/>
                  </a:cubicBezTo>
                  <a:cubicBezTo>
                    <a:pt x="297" y="19"/>
                    <a:pt x="295" y="17"/>
                    <a:pt x="294" y="16"/>
                  </a:cubicBezTo>
                  <a:cubicBezTo>
                    <a:pt x="293" y="16"/>
                    <a:pt x="293" y="16"/>
                    <a:pt x="293" y="16"/>
                  </a:cubicBezTo>
                  <a:cubicBezTo>
                    <a:pt x="290" y="14"/>
                    <a:pt x="287" y="11"/>
                    <a:pt x="285" y="9"/>
                  </a:cubicBezTo>
                  <a:cubicBezTo>
                    <a:pt x="285" y="9"/>
                    <a:pt x="285" y="9"/>
                    <a:pt x="285" y="9"/>
                  </a:cubicBezTo>
                  <a:cubicBezTo>
                    <a:pt x="284" y="8"/>
                    <a:pt x="282" y="7"/>
                    <a:pt x="281" y="6"/>
                  </a:cubicBezTo>
                  <a:cubicBezTo>
                    <a:pt x="280" y="4"/>
                    <a:pt x="278" y="2"/>
                    <a:pt x="277" y="0"/>
                  </a:cubicBezTo>
                  <a:cubicBezTo>
                    <a:pt x="277" y="2"/>
                    <a:pt x="277" y="4"/>
                    <a:pt x="278" y="6"/>
                  </a:cubicBezTo>
                  <a:cubicBezTo>
                    <a:pt x="279" y="13"/>
                    <a:pt x="280" y="19"/>
                    <a:pt x="280" y="22"/>
                  </a:cubicBezTo>
                  <a:cubicBezTo>
                    <a:pt x="280" y="29"/>
                    <a:pt x="273" y="26"/>
                    <a:pt x="264" y="29"/>
                  </a:cubicBezTo>
                  <a:cubicBezTo>
                    <a:pt x="255" y="31"/>
                    <a:pt x="253" y="40"/>
                    <a:pt x="250" y="46"/>
                  </a:cubicBezTo>
                  <a:cubicBezTo>
                    <a:pt x="247" y="51"/>
                    <a:pt x="245" y="54"/>
                    <a:pt x="236" y="54"/>
                  </a:cubicBezTo>
                  <a:cubicBezTo>
                    <a:pt x="228" y="54"/>
                    <a:pt x="230" y="63"/>
                    <a:pt x="229" y="68"/>
                  </a:cubicBezTo>
                  <a:cubicBezTo>
                    <a:pt x="228" y="74"/>
                    <a:pt x="222" y="71"/>
                    <a:pt x="221" y="66"/>
                  </a:cubicBezTo>
                  <a:cubicBezTo>
                    <a:pt x="221" y="60"/>
                    <a:pt x="217" y="61"/>
                    <a:pt x="212" y="61"/>
                  </a:cubicBezTo>
                  <a:cubicBezTo>
                    <a:pt x="207" y="61"/>
                    <a:pt x="208" y="64"/>
                    <a:pt x="210" y="74"/>
                  </a:cubicBezTo>
                  <a:cubicBezTo>
                    <a:pt x="212" y="84"/>
                    <a:pt x="214" y="79"/>
                    <a:pt x="217" y="82"/>
                  </a:cubicBezTo>
                  <a:cubicBezTo>
                    <a:pt x="219" y="84"/>
                    <a:pt x="231" y="84"/>
                    <a:pt x="240" y="85"/>
                  </a:cubicBezTo>
                  <a:cubicBezTo>
                    <a:pt x="249" y="87"/>
                    <a:pt x="240" y="90"/>
                    <a:pt x="240" y="99"/>
                  </a:cubicBezTo>
                  <a:cubicBezTo>
                    <a:pt x="240" y="108"/>
                    <a:pt x="239" y="107"/>
                    <a:pt x="229" y="107"/>
                  </a:cubicBezTo>
                  <a:cubicBezTo>
                    <a:pt x="219" y="107"/>
                    <a:pt x="226" y="99"/>
                    <a:pt x="222" y="95"/>
                  </a:cubicBezTo>
                  <a:cubicBezTo>
                    <a:pt x="218" y="91"/>
                    <a:pt x="207" y="98"/>
                    <a:pt x="205" y="104"/>
                  </a:cubicBezTo>
                  <a:cubicBezTo>
                    <a:pt x="203" y="110"/>
                    <a:pt x="199" y="113"/>
                    <a:pt x="199" y="107"/>
                  </a:cubicBezTo>
                  <a:cubicBezTo>
                    <a:pt x="199" y="102"/>
                    <a:pt x="194" y="97"/>
                    <a:pt x="187" y="96"/>
                  </a:cubicBezTo>
                  <a:cubicBezTo>
                    <a:pt x="181" y="96"/>
                    <a:pt x="181" y="92"/>
                    <a:pt x="181" y="87"/>
                  </a:cubicBezTo>
                  <a:cubicBezTo>
                    <a:pt x="181" y="82"/>
                    <a:pt x="174" y="82"/>
                    <a:pt x="172" y="79"/>
                  </a:cubicBezTo>
                  <a:cubicBezTo>
                    <a:pt x="169" y="75"/>
                    <a:pt x="166" y="85"/>
                    <a:pt x="160" y="85"/>
                  </a:cubicBezTo>
                  <a:cubicBezTo>
                    <a:pt x="155" y="85"/>
                    <a:pt x="152" y="87"/>
                    <a:pt x="152" y="92"/>
                  </a:cubicBezTo>
                  <a:cubicBezTo>
                    <a:pt x="152" y="98"/>
                    <a:pt x="150" y="102"/>
                    <a:pt x="144" y="102"/>
                  </a:cubicBezTo>
                  <a:cubicBezTo>
                    <a:pt x="137" y="102"/>
                    <a:pt x="140" y="86"/>
                    <a:pt x="137" y="85"/>
                  </a:cubicBezTo>
                  <a:cubicBezTo>
                    <a:pt x="134" y="84"/>
                    <a:pt x="131" y="79"/>
                    <a:pt x="131" y="73"/>
                  </a:cubicBezTo>
                  <a:cubicBezTo>
                    <a:pt x="131" y="67"/>
                    <a:pt x="131" y="62"/>
                    <a:pt x="139" y="55"/>
                  </a:cubicBezTo>
                  <a:cubicBezTo>
                    <a:pt x="148" y="48"/>
                    <a:pt x="143" y="41"/>
                    <a:pt x="142" y="30"/>
                  </a:cubicBezTo>
                  <a:cubicBezTo>
                    <a:pt x="142" y="20"/>
                    <a:pt x="152" y="23"/>
                    <a:pt x="155" y="18"/>
                  </a:cubicBezTo>
                  <a:cubicBezTo>
                    <a:pt x="158" y="13"/>
                    <a:pt x="150" y="14"/>
                    <a:pt x="149" y="9"/>
                  </a:cubicBezTo>
                  <a:cubicBezTo>
                    <a:pt x="149" y="8"/>
                    <a:pt x="149" y="8"/>
                    <a:pt x="148" y="7"/>
                  </a:cubicBezTo>
                  <a:cubicBezTo>
                    <a:pt x="136" y="7"/>
                    <a:pt x="126" y="7"/>
                    <a:pt x="122" y="7"/>
                  </a:cubicBezTo>
                  <a:cubicBezTo>
                    <a:pt x="115" y="7"/>
                    <a:pt x="89" y="7"/>
                    <a:pt x="75" y="6"/>
                  </a:cubicBezTo>
                  <a:cubicBezTo>
                    <a:pt x="74" y="6"/>
                    <a:pt x="73" y="6"/>
                    <a:pt x="73" y="6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1" y="6"/>
                    <a:pt x="70" y="6"/>
                    <a:pt x="70" y="6"/>
                  </a:cubicBezTo>
                  <a:cubicBezTo>
                    <a:pt x="70" y="6"/>
                    <a:pt x="69" y="6"/>
                    <a:pt x="69" y="6"/>
                  </a:cubicBezTo>
                  <a:cubicBezTo>
                    <a:pt x="68" y="6"/>
                    <a:pt x="68" y="6"/>
                    <a:pt x="67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6" y="7"/>
                    <a:pt x="65" y="7"/>
                    <a:pt x="65" y="7"/>
                  </a:cubicBezTo>
                  <a:cubicBezTo>
                    <a:pt x="65" y="7"/>
                    <a:pt x="64" y="7"/>
                    <a:pt x="64" y="8"/>
                  </a:cubicBezTo>
                  <a:cubicBezTo>
                    <a:pt x="64" y="8"/>
                    <a:pt x="63" y="8"/>
                    <a:pt x="63" y="8"/>
                  </a:cubicBezTo>
                  <a:cubicBezTo>
                    <a:pt x="63" y="8"/>
                    <a:pt x="62" y="8"/>
                    <a:pt x="62" y="8"/>
                  </a:cubicBezTo>
                  <a:cubicBezTo>
                    <a:pt x="62" y="9"/>
                    <a:pt x="61" y="9"/>
                    <a:pt x="61" y="9"/>
                  </a:cubicBezTo>
                  <a:cubicBezTo>
                    <a:pt x="60" y="9"/>
                    <a:pt x="58" y="10"/>
                    <a:pt x="57" y="11"/>
                  </a:cubicBezTo>
                  <a:cubicBezTo>
                    <a:pt x="60" y="13"/>
                    <a:pt x="63" y="16"/>
                    <a:pt x="63" y="19"/>
                  </a:cubicBezTo>
                  <a:cubicBezTo>
                    <a:pt x="62" y="25"/>
                    <a:pt x="56" y="36"/>
                    <a:pt x="63" y="38"/>
                  </a:cubicBezTo>
                  <a:cubicBezTo>
                    <a:pt x="71" y="40"/>
                    <a:pt x="74" y="47"/>
                    <a:pt x="73" y="53"/>
                  </a:cubicBezTo>
                  <a:cubicBezTo>
                    <a:pt x="71" y="59"/>
                    <a:pt x="69" y="69"/>
                    <a:pt x="73" y="72"/>
                  </a:cubicBezTo>
                  <a:cubicBezTo>
                    <a:pt x="78" y="75"/>
                    <a:pt x="83" y="82"/>
                    <a:pt x="78" y="85"/>
                  </a:cubicBezTo>
                  <a:cubicBezTo>
                    <a:pt x="73" y="87"/>
                    <a:pt x="73" y="93"/>
                    <a:pt x="73" y="97"/>
                  </a:cubicBezTo>
                  <a:cubicBezTo>
                    <a:pt x="73" y="100"/>
                    <a:pt x="72" y="105"/>
                    <a:pt x="64" y="104"/>
                  </a:cubicBezTo>
                  <a:cubicBezTo>
                    <a:pt x="63" y="104"/>
                    <a:pt x="62" y="104"/>
                    <a:pt x="62" y="104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1" y="104"/>
                    <a:pt x="61" y="104"/>
                    <a:pt x="60" y="104"/>
                  </a:cubicBezTo>
                  <a:cubicBezTo>
                    <a:pt x="59" y="104"/>
                    <a:pt x="58" y="104"/>
                    <a:pt x="57" y="105"/>
                  </a:cubicBezTo>
                  <a:cubicBezTo>
                    <a:pt x="57" y="105"/>
                    <a:pt x="56" y="105"/>
                    <a:pt x="56" y="105"/>
                  </a:cubicBezTo>
                  <a:cubicBezTo>
                    <a:pt x="56" y="105"/>
                    <a:pt x="55" y="106"/>
                    <a:pt x="55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2" y="108"/>
                    <a:pt x="52" y="108"/>
                  </a:cubicBezTo>
                  <a:cubicBezTo>
                    <a:pt x="52" y="108"/>
                    <a:pt x="51" y="109"/>
                    <a:pt x="51" y="109"/>
                  </a:cubicBezTo>
                  <a:cubicBezTo>
                    <a:pt x="51" y="109"/>
                    <a:pt x="51" y="109"/>
                    <a:pt x="50" y="110"/>
                  </a:cubicBezTo>
                  <a:cubicBezTo>
                    <a:pt x="50" y="110"/>
                    <a:pt x="50" y="110"/>
                    <a:pt x="50" y="111"/>
                  </a:cubicBezTo>
                  <a:cubicBezTo>
                    <a:pt x="50" y="111"/>
                    <a:pt x="49" y="112"/>
                    <a:pt x="49" y="112"/>
                  </a:cubicBezTo>
                  <a:cubicBezTo>
                    <a:pt x="49" y="112"/>
                    <a:pt x="49" y="112"/>
                    <a:pt x="49" y="113"/>
                  </a:cubicBezTo>
                  <a:cubicBezTo>
                    <a:pt x="49" y="113"/>
                    <a:pt x="49" y="114"/>
                    <a:pt x="49" y="115"/>
                  </a:cubicBezTo>
                  <a:cubicBezTo>
                    <a:pt x="49" y="121"/>
                    <a:pt x="49" y="130"/>
                    <a:pt x="59" y="130"/>
                  </a:cubicBezTo>
                  <a:cubicBezTo>
                    <a:pt x="68" y="130"/>
                    <a:pt x="79" y="128"/>
                    <a:pt x="79" y="135"/>
                  </a:cubicBezTo>
                  <a:cubicBezTo>
                    <a:pt x="79" y="141"/>
                    <a:pt x="79" y="149"/>
                    <a:pt x="71" y="152"/>
                  </a:cubicBezTo>
                  <a:cubicBezTo>
                    <a:pt x="63" y="155"/>
                    <a:pt x="59" y="155"/>
                    <a:pt x="54" y="167"/>
                  </a:cubicBezTo>
                  <a:cubicBezTo>
                    <a:pt x="49" y="179"/>
                    <a:pt x="41" y="198"/>
                    <a:pt x="33" y="205"/>
                  </a:cubicBezTo>
                  <a:cubicBezTo>
                    <a:pt x="24" y="211"/>
                    <a:pt x="15" y="222"/>
                    <a:pt x="9" y="225"/>
                  </a:cubicBezTo>
                  <a:cubicBezTo>
                    <a:pt x="7" y="225"/>
                    <a:pt x="6" y="226"/>
                    <a:pt x="5" y="227"/>
                  </a:cubicBezTo>
                  <a:cubicBezTo>
                    <a:pt x="7" y="230"/>
                    <a:pt x="9" y="233"/>
                    <a:pt x="12" y="238"/>
                  </a:cubicBezTo>
                  <a:cubicBezTo>
                    <a:pt x="18" y="249"/>
                    <a:pt x="11" y="265"/>
                    <a:pt x="11" y="265"/>
                  </a:cubicBezTo>
                  <a:cubicBezTo>
                    <a:pt x="0" y="280"/>
                    <a:pt x="8" y="294"/>
                    <a:pt x="8" y="309"/>
                  </a:cubicBezTo>
                  <a:cubicBezTo>
                    <a:pt x="8" y="324"/>
                    <a:pt x="8" y="321"/>
                    <a:pt x="17" y="347"/>
                  </a:cubicBezTo>
                  <a:cubicBezTo>
                    <a:pt x="20" y="365"/>
                    <a:pt x="34" y="361"/>
                    <a:pt x="46" y="372"/>
                  </a:cubicBezTo>
                  <a:cubicBezTo>
                    <a:pt x="58" y="384"/>
                    <a:pt x="54" y="396"/>
                    <a:pt x="54" y="410"/>
                  </a:cubicBezTo>
                  <a:cubicBezTo>
                    <a:pt x="54" y="424"/>
                    <a:pt x="71" y="436"/>
                    <a:pt x="78" y="445"/>
                  </a:cubicBezTo>
                  <a:cubicBezTo>
                    <a:pt x="85" y="455"/>
                    <a:pt x="90" y="465"/>
                    <a:pt x="91" y="470"/>
                  </a:cubicBezTo>
                  <a:cubicBezTo>
                    <a:pt x="92" y="474"/>
                    <a:pt x="85" y="477"/>
                    <a:pt x="80" y="470"/>
                  </a:cubicBezTo>
                  <a:cubicBezTo>
                    <a:pt x="79" y="469"/>
                    <a:pt x="77" y="468"/>
                    <a:pt x="76" y="467"/>
                  </a:cubicBezTo>
                  <a:cubicBezTo>
                    <a:pt x="76" y="467"/>
                    <a:pt x="76" y="468"/>
                    <a:pt x="77" y="468"/>
                  </a:cubicBezTo>
                  <a:cubicBezTo>
                    <a:pt x="77" y="468"/>
                    <a:pt x="77" y="468"/>
                    <a:pt x="77" y="468"/>
                  </a:cubicBezTo>
                  <a:cubicBezTo>
                    <a:pt x="77" y="468"/>
                    <a:pt x="78" y="469"/>
                    <a:pt x="78" y="469"/>
                  </a:cubicBezTo>
                  <a:cubicBezTo>
                    <a:pt x="78" y="470"/>
                    <a:pt x="78" y="470"/>
                    <a:pt x="78" y="470"/>
                  </a:cubicBezTo>
                  <a:cubicBezTo>
                    <a:pt x="78" y="470"/>
                    <a:pt x="79" y="471"/>
                    <a:pt x="79" y="472"/>
                  </a:cubicBezTo>
                  <a:cubicBezTo>
                    <a:pt x="81" y="485"/>
                    <a:pt x="86" y="497"/>
                    <a:pt x="97" y="494"/>
                  </a:cubicBezTo>
                  <a:cubicBezTo>
                    <a:pt x="109" y="491"/>
                    <a:pt x="119" y="497"/>
                    <a:pt x="125" y="509"/>
                  </a:cubicBezTo>
                  <a:cubicBezTo>
                    <a:pt x="132" y="521"/>
                    <a:pt x="135" y="517"/>
                    <a:pt x="145" y="522"/>
                  </a:cubicBezTo>
                  <a:cubicBezTo>
                    <a:pt x="154" y="527"/>
                    <a:pt x="181" y="525"/>
                    <a:pt x="187" y="535"/>
                  </a:cubicBezTo>
                  <a:cubicBezTo>
                    <a:pt x="188" y="535"/>
                    <a:pt x="188" y="536"/>
                    <a:pt x="189" y="537"/>
                  </a:cubicBezTo>
                  <a:cubicBezTo>
                    <a:pt x="189" y="537"/>
                    <a:pt x="189" y="537"/>
                    <a:pt x="189" y="537"/>
                  </a:cubicBezTo>
                  <a:cubicBezTo>
                    <a:pt x="189" y="537"/>
                    <a:pt x="190" y="538"/>
                    <a:pt x="190" y="538"/>
                  </a:cubicBezTo>
                  <a:cubicBezTo>
                    <a:pt x="190" y="538"/>
                    <a:pt x="190" y="539"/>
                    <a:pt x="191" y="539"/>
                  </a:cubicBezTo>
                  <a:cubicBezTo>
                    <a:pt x="191" y="539"/>
                    <a:pt x="191" y="539"/>
                    <a:pt x="191" y="540"/>
                  </a:cubicBezTo>
                  <a:cubicBezTo>
                    <a:pt x="192" y="540"/>
                    <a:pt x="192" y="540"/>
                    <a:pt x="192" y="540"/>
                  </a:cubicBezTo>
                  <a:cubicBezTo>
                    <a:pt x="192" y="540"/>
                    <a:pt x="193" y="541"/>
                    <a:pt x="193" y="541"/>
                  </a:cubicBezTo>
                  <a:cubicBezTo>
                    <a:pt x="193" y="541"/>
                    <a:pt x="193" y="541"/>
                    <a:pt x="194" y="542"/>
                  </a:cubicBezTo>
                  <a:cubicBezTo>
                    <a:pt x="194" y="542"/>
                    <a:pt x="194" y="542"/>
                    <a:pt x="194" y="542"/>
                  </a:cubicBezTo>
                  <a:cubicBezTo>
                    <a:pt x="195" y="542"/>
                    <a:pt x="195" y="542"/>
                    <a:pt x="196" y="543"/>
                  </a:cubicBezTo>
                  <a:cubicBezTo>
                    <a:pt x="196" y="543"/>
                    <a:pt x="196" y="543"/>
                    <a:pt x="196" y="543"/>
                  </a:cubicBezTo>
                  <a:cubicBezTo>
                    <a:pt x="197" y="543"/>
                    <a:pt x="197" y="544"/>
                    <a:pt x="197" y="544"/>
                  </a:cubicBezTo>
                  <a:cubicBezTo>
                    <a:pt x="198" y="544"/>
                    <a:pt x="198" y="544"/>
                    <a:pt x="198" y="544"/>
                  </a:cubicBezTo>
                  <a:cubicBezTo>
                    <a:pt x="198" y="544"/>
                    <a:pt x="199" y="545"/>
                    <a:pt x="199" y="545"/>
                  </a:cubicBezTo>
                  <a:cubicBezTo>
                    <a:pt x="200" y="545"/>
                    <a:pt x="200" y="545"/>
                    <a:pt x="200" y="545"/>
                  </a:cubicBezTo>
                  <a:cubicBezTo>
                    <a:pt x="201" y="545"/>
                    <a:pt x="201" y="545"/>
                    <a:pt x="201" y="546"/>
                  </a:cubicBezTo>
                  <a:cubicBezTo>
                    <a:pt x="202" y="546"/>
                    <a:pt x="202" y="546"/>
                    <a:pt x="202" y="546"/>
                  </a:cubicBezTo>
                  <a:cubicBezTo>
                    <a:pt x="203" y="546"/>
                    <a:pt x="203" y="546"/>
                    <a:pt x="204" y="546"/>
                  </a:cubicBezTo>
                  <a:cubicBezTo>
                    <a:pt x="204" y="547"/>
                    <a:pt x="204" y="547"/>
                    <a:pt x="205" y="547"/>
                  </a:cubicBezTo>
                  <a:cubicBezTo>
                    <a:pt x="205" y="547"/>
                    <a:pt x="206" y="547"/>
                    <a:pt x="206" y="547"/>
                  </a:cubicBezTo>
                  <a:cubicBezTo>
                    <a:pt x="207" y="547"/>
                    <a:pt x="207" y="547"/>
                    <a:pt x="207" y="548"/>
                  </a:cubicBezTo>
                  <a:cubicBezTo>
                    <a:pt x="208" y="548"/>
                    <a:pt x="209" y="548"/>
                    <a:pt x="209" y="548"/>
                  </a:cubicBezTo>
                  <a:cubicBezTo>
                    <a:pt x="209" y="548"/>
                    <a:pt x="210" y="548"/>
                    <a:pt x="210" y="548"/>
                  </a:cubicBezTo>
                  <a:cubicBezTo>
                    <a:pt x="211" y="549"/>
                    <a:pt x="211" y="549"/>
                    <a:pt x="212" y="549"/>
                  </a:cubicBezTo>
                  <a:cubicBezTo>
                    <a:pt x="213" y="549"/>
                    <a:pt x="213" y="549"/>
                    <a:pt x="213" y="549"/>
                  </a:cubicBezTo>
                  <a:cubicBezTo>
                    <a:pt x="214" y="549"/>
                    <a:pt x="215" y="550"/>
                    <a:pt x="215" y="550"/>
                  </a:cubicBezTo>
                  <a:cubicBezTo>
                    <a:pt x="216" y="550"/>
                    <a:pt x="216" y="550"/>
                    <a:pt x="217" y="550"/>
                  </a:cubicBezTo>
                  <a:cubicBezTo>
                    <a:pt x="218" y="550"/>
                    <a:pt x="218" y="550"/>
                    <a:pt x="219" y="551"/>
                  </a:cubicBezTo>
                  <a:cubicBezTo>
                    <a:pt x="219" y="551"/>
                    <a:pt x="220" y="551"/>
                    <a:pt x="221" y="551"/>
                  </a:cubicBezTo>
                  <a:cubicBezTo>
                    <a:pt x="222" y="551"/>
                    <a:pt x="223" y="551"/>
                    <a:pt x="224" y="552"/>
                  </a:cubicBezTo>
                  <a:cubicBezTo>
                    <a:pt x="224" y="552"/>
                    <a:pt x="225" y="552"/>
                    <a:pt x="225" y="552"/>
                  </a:cubicBezTo>
                  <a:cubicBezTo>
                    <a:pt x="248" y="557"/>
                    <a:pt x="249" y="559"/>
                    <a:pt x="267" y="559"/>
                  </a:cubicBezTo>
                  <a:cubicBezTo>
                    <a:pt x="286" y="559"/>
                    <a:pt x="301" y="564"/>
                    <a:pt x="305" y="574"/>
                  </a:cubicBezTo>
                  <a:cubicBezTo>
                    <a:pt x="309" y="584"/>
                    <a:pt x="315" y="591"/>
                    <a:pt x="317" y="605"/>
                  </a:cubicBezTo>
                  <a:cubicBezTo>
                    <a:pt x="319" y="620"/>
                    <a:pt x="318" y="657"/>
                    <a:pt x="325" y="662"/>
                  </a:cubicBezTo>
                  <a:cubicBezTo>
                    <a:pt x="331" y="666"/>
                    <a:pt x="337" y="673"/>
                    <a:pt x="339" y="684"/>
                  </a:cubicBezTo>
                  <a:cubicBezTo>
                    <a:pt x="339" y="684"/>
                    <a:pt x="339" y="684"/>
                    <a:pt x="339" y="684"/>
                  </a:cubicBezTo>
                  <a:cubicBezTo>
                    <a:pt x="339" y="684"/>
                    <a:pt x="340" y="684"/>
                    <a:pt x="341" y="684"/>
                  </a:cubicBezTo>
                  <a:cubicBezTo>
                    <a:pt x="341" y="684"/>
                    <a:pt x="341" y="684"/>
                    <a:pt x="341" y="684"/>
                  </a:cubicBezTo>
                  <a:cubicBezTo>
                    <a:pt x="342" y="684"/>
                    <a:pt x="343" y="684"/>
                    <a:pt x="344" y="684"/>
                  </a:cubicBezTo>
                  <a:cubicBezTo>
                    <a:pt x="344" y="684"/>
                    <a:pt x="344" y="684"/>
                    <a:pt x="344" y="684"/>
                  </a:cubicBezTo>
                  <a:cubicBezTo>
                    <a:pt x="345" y="685"/>
                    <a:pt x="345" y="685"/>
                    <a:pt x="346" y="685"/>
                  </a:cubicBezTo>
                  <a:cubicBezTo>
                    <a:pt x="347" y="685"/>
                    <a:pt x="347" y="685"/>
                    <a:pt x="347" y="685"/>
                  </a:cubicBezTo>
                  <a:cubicBezTo>
                    <a:pt x="348" y="686"/>
                    <a:pt x="349" y="686"/>
                    <a:pt x="350" y="687"/>
                  </a:cubicBezTo>
                  <a:cubicBezTo>
                    <a:pt x="363" y="693"/>
                    <a:pt x="374" y="693"/>
                    <a:pt x="383" y="685"/>
                  </a:cubicBezTo>
                  <a:cubicBezTo>
                    <a:pt x="393" y="677"/>
                    <a:pt x="401" y="680"/>
                    <a:pt x="409" y="687"/>
                  </a:cubicBezTo>
                  <a:cubicBezTo>
                    <a:pt x="417" y="693"/>
                    <a:pt x="438" y="703"/>
                    <a:pt x="449" y="696"/>
                  </a:cubicBezTo>
                  <a:cubicBezTo>
                    <a:pt x="459" y="689"/>
                    <a:pt x="471" y="687"/>
                    <a:pt x="479" y="693"/>
                  </a:cubicBezTo>
                  <a:cubicBezTo>
                    <a:pt x="487" y="700"/>
                    <a:pt x="495" y="713"/>
                    <a:pt x="507" y="687"/>
                  </a:cubicBezTo>
                  <a:cubicBezTo>
                    <a:pt x="519" y="660"/>
                    <a:pt x="529" y="656"/>
                    <a:pt x="542" y="667"/>
                  </a:cubicBezTo>
                  <a:cubicBezTo>
                    <a:pt x="555" y="677"/>
                    <a:pt x="559" y="687"/>
                    <a:pt x="579" y="671"/>
                  </a:cubicBezTo>
                  <a:cubicBezTo>
                    <a:pt x="599" y="655"/>
                    <a:pt x="593" y="669"/>
                    <a:pt x="619" y="653"/>
                  </a:cubicBezTo>
                  <a:cubicBezTo>
                    <a:pt x="642" y="640"/>
                    <a:pt x="660" y="635"/>
                    <a:pt x="689" y="617"/>
                  </a:cubicBezTo>
                  <a:cubicBezTo>
                    <a:pt x="688" y="614"/>
                    <a:pt x="686" y="610"/>
                    <a:pt x="684" y="60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0" name="Freeform 430">
              <a:extLst>
                <a:ext uri="{FF2B5EF4-FFF2-40B4-BE49-F238E27FC236}">
                  <a16:creationId xmlns:a16="http://schemas.microsoft.com/office/drawing/2014/main" id="{E2014864-6D37-3640-9D1E-631053B38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" y="2121"/>
              <a:ext cx="199" cy="219"/>
            </a:xfrm>
            <a:custGeom>
              <a:avLst/>
              <a:gdLst>
                <a:gd name="T0" fmla="*/ 125 w 786"/>
                <a:gd name="T1" fmla="*/ 739 h 865"/>
                <a:gd name="T2" fmla="*/ 201 w 786"/>
                <a:gd name="T3" fmla="*/ 752 h 865"/>
                <a:gd name="T4" fmla="*/ 258 w 786"/>
                <a:gd name="T5" fmla="*/ 797 h 865"/>
                <a:gd name="T6" fmla="*/ 323 w 786"/>
                <a:gd name="T7" fmla="*/ 864 h 865"/>
                <a:gd name="T8" fmla="*/ 334 w 786"/>
                <a:gd name="T9" fmla="*/ 864 h 865"/>
                <a:gd name="T10" fmla="*/ 338 w 786"/>
                <a:gd name="T11" fmla="*/ 862 h 865"/>
                <a:gd name="T12" fmla="*/ 342 w 786"/>
                <a:gd name="T13" fmla="*/ 858 h 865"/>
                <a:gd name="T14" fmla="*/ 345 w 786"/>
                <a:gd name="T15" fmla="*/ 852 h 865"/>
                <a:gd name="T16" fmla="*/ 385 w 786"/>
                <a:gd name="T17" fmla="*/ 811 h 865"/>
                <a:gd name="T18" fmla="*/ 410 w 786"/>
                <a:gd name="T19" fmla="*/ 834 h 865"/>
                <a:gd name="T20" fmla="*/ 494 w 786"/>
                <a:gd name="T21" fmla="*/ 816 h 865"/>
                <a:gd name="T22" fmla="*/ 749 w 786"/>
                <a:gd name="T23" fmla="*/ 815 h 865"/>
                <a:gd name="T24" fmla="*/ 757 w 786"/>
                <a:gd name="T25" fmla="*/ 754 h 865"/>
                <a:gd name="T26" fmla="*/ 786 w 786"/>
                <a:gd name="T27" fmla="*/ 176 h 865"/>
                <a:gd name="T28" fmla="*/ 769 w 786"/>
                <a:gd name="T29" fmla="*/ 164 h 865"/>
                <a:gd name="T30" fmla="*/ 754 w 786"/>
                <a:gd name="T31" fmla="*/ 154 h 865"/>
                <a:gd name="T32" fmla="*/ 720 w 786"/>
                <a:gd name="T33" fmla="*/ 131 h 865"/>
                <a:gd name="T34" fmla="*/ 709 w 786"/>
                <a:gd name="T35" fmla="*/ 124 h 865"/>
                <a:gd name="T36" fmla="*/ 687 w 786"/>
                <a:gd name="T37" fmla="*/ 108 h 865"/>
                <a:gd name="T38" fmla="*/ 672 w 786"/>
                <a:gd name="T39" fmla="*/ 98 h 865"/>
                <a:gd name="T40" fmla="*/ 657 w 786"/>
                <a:gd name="T41" fmla="*/ 88 h 865"/>
                <a:gd name="T42" fmla="*/ 645 w 786"/>
                <a:gd name="T43" fmla="*/ 79 h 865"/>
                <a:gd name="T44" fmla="*/ 634 w 786"/>
                <a:gd name="T45" fmla="*/ 72 h 865"/>
                <a:gd name="T46" fmla="*/ 620 w 786"/>
                <a:gd name="T47" fmla="*/ 63 h 865"/>
                <a:gd name="T48" fmla="*/ 611 w 786"/>
                <a:gd name="T49" fmla="*/ 57 h 865"/>
                <a:gd name="T50" fmla="*/ 601 w 786"/>
                <a:gd name="T51" fmla="*/ 50 h 865"/>
                <a:gd name="T52" fmla="*/ 595 w 786"/>
                <a:gd name="T53" fmla="*/ 46 h 865"/>
                <a:gd name="T54" fmla="*/ 588 w 786"/>
                <a:gd name="T55" fmla="*/ 41 h 865"/>
                <a:gd name="T56" fmla="*/ 585 w 786"/>
                <a:gd name="T57" fmla="*/ 39 h 865"/>
                <a:gd name="T58" fmla="*/ 582 w 786"/>
                <a:gd name="T59" fmla="*/ 37 h 865"/>
                <a:gd name="T60" fmla="*/ 550 w 786"/>
                <a:gd name="T61" fmla="*/ 97 h 865"/>
                <a:gd name="T62" fmla="*/ 550 w 786"/>
                <a:gd name="T63" fmla="*/ 102 h 865"/>
                <a:gd name="T64" fmla="*/ 550 w 786"/>
                <a:gd name="T65" fmla="*/ 106 h 865"/>
                <a:gd name="T66" fmla="*/ 550 w 786"/>
                <a:gd name="T67" fmla="*/ 110 h 865"/>
                <a:gd name="T68" fmla="*/ 336 w 786"/>
                <a:gd name="T69" fmla="*/ 114 h 865"/>
                <a:gd name="T70" fmla="*/ 289 w 786"/>
                <a:gd name="T71" fmla="*/ 302 h 865"/>
                <a:gd name="T72" fmla="*/ 270 w 786"/>
                <a:gd name="T73" fmla="*/ 363 h 865"/>
                <a:gd name="T74" fmla="*/ 12 w 786"/>
                <a:gd name="T75" fmla="*/ 425 h 865"/>
                <a:gd name="T76" fmla="*/ 4 w 786"/>
                <a:gd name="T77" fmla="*/ 469 h 865"/>
                <a:gd name="T78" fmla="*/ 42 w 786"/>
                <a:gd name="T79" fmla="*/ 470 h 865"/>
                <a:gd name="T80" fmla="*/ 55 w 786"/>
                <a:gd name="T81" fmla="*/ 528 h 865"/>
                <a:gd name="T82" fmla="*/ 77 w 786"/>
                <a:gd name="T83" fmla="*/ 629 h 865"/>
                <a:gd name="T84" fmla="*/ 55 w 786"/>
                <a:gd name="T85" fmla="*/ 751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86" h="865">
                  <a:moveTo>
                    <a:pt x="83" y="745"/>
                  </a:moveTo>
                  <a:cubicBezTo>
                    <a:pt x="88" y="748"/>
                    <a:pt x="98" y="748"/>
                    <a:pt x="102" y="744"/>
                  </a:cubicBezTo>
                  <a:cubicBezTo>
                    <a:pt x="106" y="741"/>
                    <a:pt x="117" y="740"/>
                    <a:pt x="125" y="739"/>
                  </a:cubicBezTo>
                  <a:cubicBezTo>
                    <a:pt x="133" y="739"/>
                    <a:pt x="140" y="737"/>
                    <a:pt x="147" y="735"/>
                  </a:cubicBezTo>
                  <a:cubicBezTo>
                    <a:pt x="154" y="733"/>
                    <a:pt x="167" y="735"/>
                    <a:pt x="179" y="739"/>
                  </a:cubicBezTo>
                  <a:cubicBezTo>
                    <a:pt x="191" y="743"/>
                    <a:pt x="199" y="745"/>
                    <a:pt x="201" y="752"/>
                  </a:cubicBezTo>
                  <a:cubicBezTo>
                    <a:pt x="203" y="759"/>
                    <a:pt x="211" y="765"/>
                    <a:pt x="221" y="765"/>
                  </a:cubicBezTo>
                  <a:cubicBezTo>
                    <a:pt x="230" y="765"/>
                    <a:pt x="236" y="766"/>
                    <a:pt x="240" y="771"/>
                  </a:cubicBezTo>
                  <a:cubicBezTo>
                    <a:pt x="243" y="776"/>
                    <a:pt x="253" y="789"/>
                    <a:pt x="258" y="797"/>
                  </a:cubicBezTo>
                  <a:cubicBezTo>
                    <a:pt x="263" y="806"/>
                    <a:pt x="280" y="833"/>
                    <a:pt x="288" y="836"/>
                  </a:cubicBezTo>
                  <a:cubicBezTo>
                    <a:pt x="295" y="839"/>
                    <a:pt x="302" y="838"/>
                    <a:pt x="307" y="845"/>
                  </a:cubicBezTo>
                  <a:cubicBezTo>
                    <a:pt x="311" y="851"/>
                    <a:pt x="314" y="862"/>
                    <a:pt x="323" y="864"/>
                  </a:cubicBezTo>
                  <a:cubicBezTo>
                    <a:pt x="323" y="865"/>
                    <a:pt x="323" y="865"/>
                    <a:pt x="324" y="865"/>
                  </a:cubicBezTo>
                  <a:cubicBezTo>
                    <a:pt x="324" y="865"/>
                    <a:pt x="324" y="865"/>
                    <a:pt x="324" y="865"/>
                  </a:cubicBezTo>
                  <a:cubicBezTo>
                    <a:pt x="327" y="865"/>
                    <a:pt x="331" y="865"/>
                    <a:pt x="334" y="864"/>
                  </a:cubicBezTo>
                  <a:cubicBezTo>
                    <a:pt x="334" y="864"/>
                    <a:pt x="334" y="864"/>
                    <a:pt x="334" y="864"/>
                  </a:cubicBezTo>
                  <a:cubicBezTo>
                    <a:pt x="335" y="864"/>
                    <a:pt x="336" y="863"/>
                    <a:pt x="337" y="863"/>
                  </a:cubicBezTo>
                  <a:cubicBezTo>
                    <a:pt x="337" y="863"/>
                    <a:pt x="337" y="862"/>
                    <a:pt x="338" y="862"/>
                  </a:cubicBezTo>
                  <a:cubicBezTo>
                    <a:pt x="338" y="862"/>
                    <a:pt x="339" y="861"/>
                    <a:pt x="340" y="861"/>
                  </a:cubicBezTo>
                  <a:cubicBezTo>
                    <a:pt x="340" y="860"/>
                    <a:pt x="340" y="860"/>
                    <a:pt x="341" y="860"/>
                  </a:cubicBezTo>
                  <a:cubicBezTo>
                    <a:pt x="341" y="859"/>
                    <a:pt x="342" y="859"/>
                    <a:pt x="342" y="858"/>
                  </a:cubicBezTo>
                  <a:cubicBezTo>
                    <a:pt x="342" y="858"/>
                    <a:pt x="343" y="857"/>
                    <a:pt x="343" y="857"/>
                  </a:cubicBezTo>
                  <a:cubicBezTo>
                    <a:pt x="343" y="856"/>
                    <a:pt x="344" y="856"/>
                    <a:pt x="344" y="855"/>
                  </a:cubicBezTo>
                  <a:cubicBezTo>
                    <a:pt x="344" y="854"/>
                    <a:pt x="345" y="853"/>
                    <a:pt x="345" y="852"/>
                  </a:cubicBezTo>
                  <a:cubicBezTo>
                    <a:pt x="346" y="842"/>
                    <a:pt x="349" y="837"/>
                    <a:pt x="350" y="826"/>
                  </a:cubicBezTo>
                  <a:cubicBezTo>
                    <a:pt x="351" y="816"/>
                    <a:pt x="350" y="811"/>
                    <a:pt x="361" y="807"/>
                  </a:cubicBezTo>
                  <a:cubicBezTo>
                    <a:pt x="371" y="803"/>
                    <a:pt x="381" y="804"/>
                    <a:pt x="385" y="811"/>
                  </a:cubicBezTo>
                  <a:cubicBezTo>
                    <a:pt x="388" y="818"/>
                    <a:pt x="390" y="823"/>
                    <a:pt x="393" y="825"/>
                  </a:cubicBezTo>
                  <a:cubicBezTo>
                    <a:pt x="397" y="828"/>
                    <a:pt x="400" y="827"/>
                    <a:pt x="400" y="833"/>
                  </a:cubicBezTo>
                  <a:cubicBezTo>
                    <a:pt x="401" y="840"/>
                    <a:pt x="408" y="842"/>
                    <a:pt x="410" y="834"/>
                  </a:cubicBezTo>
                  <a:cubicBezTo>
                    <a:pt x="411" y="825"/>
                    <a:pt x="410" y="816"/>
                    <a:pt x="423" y="815"/>
                  </a:cubicBezTo>
                  <a:cubicBezTo>
                    <a:pt x="436" y="814"/>
                    <a:pt x="445" y="811"/>
                    <a:pt x="455" y="816"/>
                  </a:cubicBezTo>
                  <a:cubicBezTo>
                    <a:pt x="465" y="821"/>
                    <a:pt x="490" y="823"/>
                    <a:pt x="494" y="816"/>
                  </a:cubicBezTo>
                  <a:cubicBezTo>
                    <a:pt x="498" y="809"/>
                    <a:pt x="504" y="799"/>
                    <a:pt x="514" y="807"/>
                  </a:cubicBezTo>
                  <a:cubicBezTo>
                    <a:pt x="524" y="815"/>
                    <a:pt x="534" y="815"/>
                    <a:pt x="551" y="815"/>
                  </a:cubicBezTo>
                  <a:cubicBezTo>
                    <a:pt x="568" y="815"/>
                    <a:pt x="749" y="815"/>
                    <a:pt x="749" y="815"/>
                  </a:cubicBezTo>
                  <a:cubicBezTo>
                    <a:pt x="749" y="815"/>
                    <a:pt x="742" y="801"/>
                    <a:pt x="753" y="795"/>
                  </a:cubicBezTo>
                  <a:cubicBezTo>
                    <a:pt x="764" y="789"/>
                    <a:pt x="761" y="783"/>
                    <a:pt x="761" y="776"/>
                  </a:cubicBezTo>
                  <a:cubicBezTo>
                    <a:pt x="761" y="769"/>
                    <a:pt x="768" y="762"/>
                    <a:pt x="757" y="754"/>
                  </a:cubicBezTo>
                  <a:cubicBezTo>
                    <a:pt x="746" y="746"/>
                    <a:pt x="741" y="740"/>
                    <a:pt x="741" y="725"/>
                  </a:cubicBezTo>
                  <a:cubicBezTo>
                    <a:pt x="741" y="710"/>
                    <a:pt x="684" y="179"/>
                    <a:pt x="684" y="179"/>
                  </a:cubicBezTo>
                  <a:cubicBezTo>
                    <a:pt x="786" y="176"/>
                    <a:pt x="786" y="176"/>
                    <a:pt x="786" y="176"/>
                  </a:cubicBezTo>
                  <a:cubicBezTo>
                    <a:pt x="784" y="175"/>
                    <a:pt x="782" y="173"/>
                    <a:pt x="779" y="172"/>
                  </a:cubicBezTo>
                  <a:cubicBezTo>
                    <a:pt x="778" y="171"/>
                    <a:pt x="777" y="170"/>
                    <a:pt x="775" y="169"/>
                  </a:cubicBezTo>
                  <a:cubicBezTo>
                    <a:pt x="773" y="167"/>
                    <a:pt x="771" y="166"/>
                    <a:pt x="769" y="164"/>
                  </a:cubicBezTo>
                  <a:cubicBezTo>
                    <a:pt x="767" y="163"/>
                    <a:pt x="766" y="162"/>
                    <a:pt x="764" y="161"/>
                  </a:cubicBezTo>
                  <a:cubicBezTo>
                    <a:pt x="762" y="160"/>
                    <a:pt x="760" y="158"/>
                    <a:pt x="758" y="157"/>
                  </a:cubicBezTo>
                  <a:cubicBezTo>
                    <a:pt x="757" y="156"/>
                    <a:pt x="755" y="155"/>
                    <a:pt x="754" y="154"/>
                  </a:cubicBezTo>
                  <a:cubicBezTo>
                    <a:pt x="746" y="149"/>
                    <a:pt x="739" y="144"/>
                    <a:pt x="731" y="138"/>
                  </a:cubicBezTo>
                  <a:cubicBezTo>
                    <a:pt x="730" y="138"/>
                    <a:pt x="729" y="137"/>
                    <a:pt x="727" y="136"/>
                  </a:cubicBezTo>
                  <a:cubicBezTo>
                    <a:pt x="725" y="134"/>
                    <a:pt x="722" y="132"/>
                    <a:pt x="720" y="131"/>
                  </a:cubicBezTo>
                  <a:cubicBezTo>
                    <a:pt x="719" y="130"/>
                    <a:pt x="719" y="130"/>
                    <a:pt x="718" y="130"/>
                  </a:cubicBezTo>
                  <a:cubicBezTo>
                    <a:pt x="715" y="128"/>
                    <a:pt x="713" y="126"/>
                    <a:pt x="710" y="124"/>
                  </a:cubicBezTo>
                  <a:cubicBezTo>
                    <a:pt x="710" y="124"/>
                    <a:pt x="710" y="124"/>
                    <a:pt x="709" y="124"/>
                  </a:cubicBezTo>
                  <a:cubicBezTo>
                    <a:pt x="705" y="121"/>
                    <a:pt x="701" y="118"/>
                    <a:pt x="697" y="115"/>
                  </a:cubicBezTo>
                  <a:cubicBezTo>
                    <a:pt x="695" y="114"/>
                    <a:pt x="694" y="113"/>
                    <a:pt x="692" y="112"/>
                  </a:cubicBezTo>
                  <a:cubicBezTo>
                    <a:pt x="690" y="111"/>
                    <a:pt x="689" y="109"/>
                    <a:pt x="687" y="108"/>
                  </a:cubicBezTo>
                  <a:cubicBezTo>
                    <a:pt x="686" y="107"/>
                    <a:pt x="684" y="106"/>
                    <a:pt x="683" y="106"/>
                  </a:cubicBezTo>
                  <a:cubicBezTo>
                    <a:pt x="681" y="104"/>
                    <a:pt x="680" y="103"/>
                    <a:pt x="678" y="102"/>
                  </a:cubicBezTo>
                  <a:cubicBezTo>
                    <a:pt x="676" y="101"/>
                    <a:pt x="674" y="100"/>
                    <a:pt x="672" y="98"/>
                  </a:cubicBezTo>
                  <a:cubicBezTo>
                    <a:pt x="671" y="98"/>
                    <a:pt x="670" y="97"/>
                    <a:pt x="669" y="96"/>
                  </a:cubicBezTo>
                  <a:cubicBezTo>
                    <a:pt x="666" y="94"/>
                    <a:pt x="664" y="92"/>
                    <a:pt x="661" y="90"/>
                  </a:cubicBezTo>
                  <a:cubicBezTo>
                    <a:pt x="660" y="90"/>
                    <a:pt x="658" y="89"/>
                    <a:pt x="657" y="88"/>
                  </a:cubicBezTo>
                  <a:cubicBezTo>
                    <a:pt x="656" y="87"/>
                    <a:pt x="654" y="86"/>
                    <a:pt x="653" y="85"/>
                  </a:cubicBezTo>
                  <a:cubicBezTo>
                    <a:pt x="651" y="84"/>
                    <a:pt x="650" y="83"/>
                    <a:pt x="648" y="82"/>
                  </a:cubicBezTo>
                  <a:cubicBezTo>
                    <a:pt x="647" y="81"/>
                    <a:pt x="646" y="80"/>
                    <a:pt x="645" y="79"/>
                  </a:cubicBezTo>
                  <a:cubicBezTo>
                    <a:pt x="643" y="79"/>
                    <a:pt x="642" y="78"/>
                    <a:pt x="641" y="77"/>
                  </a:cubicBezTo>
                  <a:cubicBezTo>
                    <a:pt x="639" y="76"/>
                    <a:pt x="637" y="74"/>
                    <a:pt x="635" y="73"/>
                  </a:cubicBezTo>
                  <a:cubicBezTo>
                    <a:pt x="635" y="73"/>
                    <a:pt x="634" y="72"/>
                    <a:pt x="634" y="72"/>
                  </a:cubicBezTo>
                  <a:cubicBezTo>
                    <a:pt x="631" y="70"/>
                    <a:pt x="629" y="69"/>
                    <a:pt x="626" y="67"/>
                  </a:cubicBezTo>
                  <a:cubicBezTo>
                    <a:pt x="626" y="67"/>
                    <a:pt x="625" y="66"/>
                    <a:pt x="625" y="66"/>
                  </a:cubicBezTo>
                  <a:cubicBezTo>
                    <a:pt x="623" y="65"/>
                    <a:pt x="621" y="64"/>
                    <a:pt x="620" y="63"/>
                  </a:cubicBezTo>
                  <a:cubicBezTo>
                    <a:pt x="619" y="62"/>
                    <a:pt x="618" y="61"/>
                    <a:pt x="617" y="61"/>
                  </a:cubicBezTo>
                  <a:cubicBezTo>
                    <a:pt x="616" y="60"/>
                    <a:pt x="615" y="59"/>
                    <a:pt x="614" y="58"/>
                  </a:cubicBezTo>
                  <a:cubicBezTo>
                    <a:pt x="613" y="58"/>
                    <a:pt x="612" y="57"/>
                    <a:pt x="611" y="57"/>
                  </a:cubicBezTo>
                  <a:cubicBezTo>
                    <a:pt x="610" y="56"/>
                    <a:pt x="608" y="55"/>
                    <a:pt x="607" y="54"/>
                  </a:cubicBezTo>
                  <a:cubicBezTo>
                    <a:pt x="606" y="53"/>
                    <a:pt x="605" y="53"/>
                    <a:pt x="605" y="52"/>
                  </a:cubicBezTo>
                  <a:cubicBezTo>
                    <a:pt x="604" y="51"/>
                    <a:pt x="602" y="51"/>
                    <a:pt x="601" y="50"/>
                  </a:cubicBezTo>
                  <a:cubicBezTo>
                    <a:pt x="600" y="49"/>
                    <a:pt x="600" y="49"/>
                    <a:pt x="599" y="49"/>
                  </a:cubicBezTo>
                  <a:cubicBezTo>
                    <a:pt x="598" y="48"/>
                    <a:pt x="597" y="47"/>
                    <a:pt x="596" y="47"/>
                  </a:cubicBezTo>
                  <a:cubicBezTo>
                    <a:pt x="596" y="46"/>
                    <a:pt x="595" y="46"/>
                    <a:pt x="595" y="46"/>
                  </a:cubicBezTo>
                  <a:cubicBezTo>
                    <a:pt x="594" y="45"/>
                    <a:pt x="593" y="44"/>
                    <a:pt x="592" y="44"/>
                  </a:cubicBezTo>
                  <a:cubicBezTo>
                    <a:pt x="592" y="44"/>
                    <a:pt x="591" y="43"/>
                    <a:pt x="591" y="43"/>
                  </a:cubicBezTo>
                  <a:cubicBezTo>
                    <a:pt x="590" y="42"/>
                    <a:pt x="589" y="42"/>
                    <a:pt x="588" y="41"/>
                  </a:cubicBezTo>
                  <a:cubicBezTo>
                    <a:pt x="588" y="41"/>
                    <a:pt x="588" y="41"/>
                    <a:pt x="587" y="41"/>
                  </a:cubicBezTo>
                  <a:cubicBezTo>
                    <a:pt x="587" y="40"/>
                    <a:pt x="586" y="40"/>
                    <a:pt x="585" y="39"/>
                  </a:cubicBezTo>
                  <a:cubicBezTo>
                    <a:pt x="585" y="39"/>
                    <a:pt x="585" y="39"/>
                    <a:pt x="585" y="39"/>
                  </a:cubicBezTo>
                  <a:cubicBezTo>
                    <a:pt x="584" y="39"/>
                    <a:pt x="584" y="38"/>
                    <a:pt x="583" y="38"/>
                  </a:cubicBezTo>
                  <a:cubicBezTo>
                    <a:pt x="583" y="38"/>
                    <a:pt x="583" y="38"/>
                    <a:pt x="583" y="38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71" y="31"/>
                    <a:pt x="558" y="29"/>
                    <a:pt x="548" y="28"/>
                  </a:cubicBezTo>
                  <a:cubicBezTo>
                    <a:pt x="548" y="18"/>
                    <a:pt x="548" y="9"/>
                    <a:pt x="548" y="0"/>
                  </a:cubicBezTo>
                  <a:cubicBezTo>
                    <a:pt x="548" y="34"/>
                    <a:pt x="549" y="76"/>
                    <a:pt x="550" y="97"/>
                  </a:cubicBezTo>
                  <a:cubicBezTo>
                    <a:pt x="550" y="97"/>
                    <a:pt x="550" y="98"/>
                    <a:pt x="550" y="98"/>
                  </a:cubicBezTo>
                  <a:cubicBezTo>
                    <a:pt x="550" y="99"/>
                    <a:pt x="550" y="100"/>
                    <a:pt x="550" y="101"/>
                  </a:cubicBezTo>
                  <a:cubicBezTo>
                    <a:pt x="550" y="101"/>
                    <a:pt x="550" y="102"/>
                    <a:pt x="550" y="102"/>
                  </a:cubicBezTo>
                  <a:cubicBezTo>
                    <a:pt x="550" y="103"/>
                    <a:pt x="550" y="104"/>
                    <a:pt x="550" y="105"/>
                  </a:cubicBezTo>
                  <a:cubicBezTo>
                    <a:pt x="550" y="105"/>
                    <a:pt x="550" y="106"/>
                    <a:pt x="550" y="106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6"/>
                    <a:pt x="550" y="106"/>
                    <a:pt x="550" y="107"/>
                  </a:cubicBezTo>
                  <a:cubicBezTo>
                    <a:pt x="550" y="108"/>
                    <a:pt x="550" y="108"/>
                    <a:pt x="550" y="109"/>
                  </a:cubicBezTo>
                  <a:cubicBezTo>
                    <a:pt x="550" y="110"/>
                    <a:pt x="550" y="110"/>
                    <a:pt x="550" y="110"/>
                  </a:cubicBezTo>
                  <a:cubicBezTo>
                    <a:pt x="550" y="110"/>
                    <a:pt x="550" y="110"/>
                    <a:pt x="550" y="110"/>
                  </a:cubicBezTo>
                  <a:cubicBezTo>
                    <a:pt x="550" y="110"/>
                    <a:pt x="550" y="110"/>
                    <a:pt x="550" y="110"/>
                  </a:cubicBezTo>
                  <a:cubicBezTo>
                    <a:pt x="336" y="114"/>
                    <a:pt x="336" y="114"/>
                    <a:pt x="336" y="114"/>
                  </a:cubicBezTo>
                  <a:cubicBezTo>
                    <a:pt x="334" y="281"/>
                    <a:pt x="334" y="281"/>
                    <a:pt x="334" y="281"/>
                  </a:cubicBezTo>
                  <a:cubicBezTo>
                    <a:pt x="334" y="281"/>
                    <a:pt x="320" y="293"/>
                    <a:pt x="311" y="292"/>
                  </a:cubicBezTo>
                  <a:cubicBezTo>
                    <a:pt x="302" y="292"/>
                    <a:pt x="294" y="298"/>
                    <a:pt x="289" y="302"/>
                  </a:cubicBezTo>
                  <a:cubicBezTo>
                    <a:pt x="284" y="306"/>
                    <a:pt x="266" y="312"/>
                    <a:pt x="266" y="319"/>
                  </a:cubicBezTo>
                  <a:cubicBezTo>
                    <a:pt x="265" y="326"/>
                    <a:pt x="258" y="338"/>
                    <a:pt x="264" y="343"/>
                  </a:cubicBezTo>
                  <a:cubicBezTo>
                    <a:pt x="270" y="348"/>
                    <a:pt x="270" y="355"/>
                    <a:pt x="270" y="363"/>
                  </a:cubicBezTo>
                  <a:cubicBezTo>
                    <a:pt x="269" y="371"/>
                    <a:pt x="270" y="426"/>
                    <a:pt x="270" y="426"/>
                  </a:cubicBezTo>
                  <a:cubicBezTo>
                    <a:pt x="12" y="426"/>
                    <a:pt x="12" y="426"/>
                    <a:pt x="12" y="426"/>
                  </a:cubicBezTo>
                  <a:cubicBezTo>
                    <a:pt x="12" y="426"/>
                    <a:pt x="12" y="426"/>
                    <a:pt x="12" y="425"/>
                  </a:cubicBezTo>
                  <a:cubicBezTo>
                    <a:pt x="11" y="427"/>
                    <a:pt x="10" y="429"/>
                    <a:pt x="9" y="431"/>
                  </a:cubicBezTo>
                  <a:cubicBezTo>
                    <a:pt x="9" y="435"/>
                    <a:pt x="8" y="446"/>
                    <a:pt x="4" y="450"/>
                  </a:cubicBezTo>
                  <a:cubicBezTo>
                    <a:pt x="0" y="454"/>
                    <a:pt x="1" y="465"/>
                    <a:pt x="4" y="469"/>
                  </a:cubicBezTo>
                  <a:cubicBezTo>
                    <a:pt x="7" y="473"/>
                    <a:pt x="16" y="477"/>
                    <a:pt x="20" y="465"/>
                  </a:cubicBezTo>
                  <a:cubicBezTo>
                    <a:pt x="25" y="454"/>
                    <a:pt x="32" y="442"/>
                    <a:pt x="35" y="452"/>
                  </a:cubicBezTo>
                  <a:cubicBezTo>
                    <a:pt x="37" y="462"/>
                    <a:pt x="37" y="467"/>
                    <a:pt x="42" y="470"/>
                  </a:cubicBezTo>
                  <a:cubicBezTo>
                    <a:pt x="47" y="473"/>
                    <a:pt x="51" y="471"/>
                    <a:pt x="59" y="484"/>
                  </a:cubicBezTo>
                  <a:cubicBezTo>
                    <a:pt x="66" y="496"/>
                    <a:pt x="71" y="503"/>
                    <a:pt x="69" y="512"/>
                  </a:cubicBezTo>
                  <a:cubicBezTo>
                    <a:pt x="67" y="520"/>
                    <a:pt x="58" y="522"/>
                    <a:pt x="55" y="528"/>
                  </a:cubicBezTo>
                  <a:cubicBezTo>
                    <a:pt x="51" y="535"/>
                    <a:pt x="48" y="554"/>
                    <a:pt x="54" y="561"/>
                  </a:cubicBezTo>
                  <a:cubicBezTo>
                    <a:pt x="60" y="568"/>
                    <a:pt x="68" y="574"/>
                    <a:pt x="70" y="587"/>
                  </a:cubicBezTo>
                  <a:cubicBezTo>
                    <a:pt x="72" y="601"/>
                    <a:pt x="77" y="616"/>
                    <a:pt x="77" y="629"/>
                  </a:cubicBezTo>
                  <a:cubicBezTo>
                    <a:pt x="77" y="643"/>
                    <a:pt x="83" y="665"/>
                    <a:pt x="76" y="685"/>
                  </a:cubicBezTo>
                  <a:cubicBezTo>
                    <a:pt x="69" y="705"/>
                    <a:pt x="52" y="730"/>
                    <a:pt x="51" y="737"/>
                  </a:cubicBezTo>
                  <a:cubicBezTo>
                    <a:pt x="50" y="743"/>
                    <a:pt x="52" y="747"/>
                    <a:pt x="55" y="751"/>
                  </a:cubicBezTo>
                  <a:cubicBezTo>
                    <a:pt x="57" y="749"/>
                    <a:pt x="59" y="748"/>
                    <a:pt x="62" y="748"/>
                  </a:cubicBezTo>
                  <a:cubicBezTo>
                    <a:pt x="75" y="746"/>
                    <a:pt x="78" y="743"/>
                    <a:pt x="83" y="74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1" name="Freeform 431">
              <a:extLst>
                <a:ext uri="{FF2B5EF4-FFF2-40B4-BE49-F238E27FC236}">
                  <a16:creationId xmlns:a16="http://schemas.microsoft.com/office/drawing/2014/main" id="{F8D0D13F-DFC6-2F45-AA1F-92468E3A2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3" y="2120"/>
              <a:ext cx="136" cy="109"/>
            </a:xfrm>
            <a:custGeom>
              <a:avLst/>
              <a:gdLst>
                <a:gd name="T0" fmla="*/ 258 w 538"/>
                <a:gd name="T1" fmla="*/ 432 h 432"/>
                <a:gd name="T2" fmla="*/ 258 w 538"/>
                <a:gd name="T3" fmla="*/ 369 h 432"/>
                <a:gd name="T4" fmla="*/ 252 w 538"/>
                <a:gd name="T5" fmla="*/ 349 h 432"/>
                <a:gd name="T6" fmla="*/ 254 w 538"/>
                <a:gd name="T7" fmla="*/ 325 h 432"/>
                <a:gd name="T8" fmla="*/ 277 w 538"/>
                <a:gd name="T9" fmla="*/ 308 h 432"/>
                <a:gd name="T10" fmla="*/ 299 w 538"/>
                <a:gd name="T11" fmla="*/ 298 h 432"/>
                <a:gd name="T12" fmla="*/ 322 w 538"/>
                <a:gd name="T13" fmla="*/ 287 h 432"/>
                <a:gd name="T14" fmla="*/ 324 w 538"/>
                <a:gd name="T15" fmla="*/ 120 h 432"/>
                <a:gd name="T16" fmla="*/ 538 w 538"/>
                <a:gd name="T17" fmla="*/ 116 h 432"/>
                <a:gd name="T18" fmla="*/ 538 w 538"/>
                <a:gd name="T19" fmla="*/ 116 h 432"/>
                <a:gd name="T20" fmla="*/ 538 w 538"/>
                <a:gd name="T21" fmla="*/ 116 h 432"/>
                <a:gd name="T22" fmla="*/ 538 w 538"/>
                <a:gd name="T23" fmla="*/ 115 h 432"/>
                <a:gd name="T24" fmla="*/ 538 w 538"/>
                <a:gd name="T25" fmla="*/ 113 h 432"/>
                <a:gd name="T26" fmla="*/ 538 w 538"/>
                <a:gd name="T27" fmla="*/ 112 h 432"/>
                <a:gd name="T28" fmla="*/ 538 w 538"/>
                <a:gd name="T29" fmla="*/ 112 h 432"/>
                <a:gd name="T30" fmla="*/ 538 w 538"/>
                <a:gd name="T31" fmla="*/ 111 h 432"/>
                <a:gd name="T32" fmla="*/ 538 w 538"/>
                <a:gd name="T33" fmla="*/ 108 h 432"/>
                <a:gd name="T34" fmla="*/ 538 w 538"/>
                <a:gd name="T35" fmla="*/ 107 h 432"/>
                <a:gd name="T36" fmla="*/ 538 w 538"/>
                <a:gd name="T37" fmla="*/ 104 h 432"/>
                <a:gd name="T38" fmla="*/ 538 w 538"/>
                <a:gd name="T39" fmla="*/ 103 h 432"/>
                <a:gd name="T40" fmla="*/ 536 w 538"/>
                <a:gd name="T41" fmla="*/ 6 h 432"/>
                <a:gd name="T42" fmla="*/ 536 w 538"/>
                <a:gd name="T43" fmla="*/ 5 h 432"/>
                <a:gd name="T44" fmla="*/ 536 w 538"/>
                <a:gd name="T45" fmla="*/ 2 h 432"/>
                <a:gd name="T46" fmla="*/ 245 w 538"/>
                <a:gd name="T47" fmla="*/ 0 h 432"/>
                <a:gd name="T48" fmla="*/ 211 w 538"/>
                <a:gd name="T49" fmla="*/ 75 h 432"/>
                <a:gd name="T50" fmla="*/ 161 w 538"/>
                <a:gd name="T51" fmla="*/ 123 h 432"/>
                <a:gd name="T52" fmla="*/ 130 w 538"/>
                <a:gd name="T53" fmla="*/ 209 h 432"/>
                <a:gd name="T54" fmla="*/ 83 w 538"/>
                <a:gd name="T55" fmla="*/ 259 h 432"/>
                <a:gd name="T56" fmla="*/ 57 w 538"/>
                <a:gd name="T57" fmla="*/ 309 h 432"/>
                <a:gd name="T58" fmla="*/ 45 w 538"/>
                <a:gd name="T59" fmla="*/ 348 h 432"/>
                <a:gd name="T60" fmla="*/ 10 w 538"/>
                <a:gd name="T61" fmla="*/ 392 h 432"/>
                <a:gd name="T62" fmla="*/ 0 w 538"/>
                <a:gd name="T63" fmla="*/ 431 h 432"/>
                <a:gd name="T64" fmla="*/ 4 w 538"/>
                <a:gd name="T65" fmla="*/ 428 h 432"/>
                <a:gd name="T66" fmla="*/ 0 w 538"/>
                <a:gd name="T67" fmla="*/ 431 h 432"/>
                <a:gd name="T68" fmla="*/ 0 w 538"/>
                <a:gd name="T69" fmla="*/ 432 h 432"/>
                <a:gd name="T70" fmla="*/ 258 w 538"/>
                <a:gd name="T71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8" h="432">
                  <a:moveTo>
                    <a:pt x="258" y="432"/>
                  </a:moveTo>
                  <a:cubicBezTo>
                    <a:pt x="258" y="432"/>
                    <a:pt x="257" y="377"/>
                    <a:pt x="258" y="369"/>
                  </a:cubicBezTo>
                  <a:cubicBezTo>
                    <a:pt x="258" y="361"/>
                    <a:pt x="258" y="354"/>
                    <a:pt x="252" y="349"/>
                  </a:cubicBezTo>
                  <a:cubicBezTo>
                    <a:pt x="246" y="344"/>
                    <a:pt x="253" y="332"/>
                    <a:pt x="254" y="325"/>
                  </a:cubicBezTo>
                  <a:cubicBezTo>
                    <a:pt x="254" y="318"/>
                    <a:pt x="272" y="312"/>
                    <a:pt x="277" y="308"/>
                  </a:cubicBezTo>
                  <a:cubicBezTo>
                    <a:pt x="282" y="304"/>
                    <a:pt x="290" y="298"/>
                    <a:pt x="299" y="298"/>
                  </a:cubicBezTo>
                  <a:cubicBezTo>
                    <a:pt x="308" y="299"/>
                    <a:pt x="322" y="287"/>
                    <a:pt x="322" y="287"/>
                  </a:cubicBezTo>
                  <a:cubicBezTo>
                    <a:pt x="324" y="120"/>
                    <a:pt x="324" y="120"/>
                    <a:pt x="324" y="120"/>
                  </a:cubicBezTo>
                  <a:cubicBezTo>
                    <a:pt x="538" y="116"/>
                    <a:pt x="538" y="116"/>
                    <a:pt x="538" y="116"/>
                  </a:cubicBezTo>
                  <a:cubicBezTo>
                    <a:pt x="538" y="116"/>
                    <a:pt x="538" y="116"/>
                    <a:pt x="538" y="116"/>
                  </a:cubicBezTo>
                  <a:cubicBezTo>
                    <a:pt x="538" y="116"/>
                    <a:pt x="538" y="116"/>
                    <a:pt x="538" y="116"/>
                  </a:cubicBezTo>
                  <a:cubicBezTo>
                    <a:pt x="538" y="116"/>
                    <a:pt x="538" y="116"/>
                    <a:pt x="538" y="115"/>
                  </a:cubicBezTo>
                  <a:cubicBezTo>
                    <a:pt x="538" y="114"/>
                    <a:pt x="538" y="114"/>
                    <a:pt x="538" y="113"/>
                  </a:cubicBezTo>
                  <a:cubicBezTo>
                    <a:pt x="538" y="112"/>
                    <a:pt x="538" y="112"/>
                    <a:pt x="538" y="112"/>
                  </a:cubicBezTo>
                  <a:cubicBezTo>
                    <a:pt x="538" y="112"/>
                    <a:pt x="538" y="112"/>
                    <a:pt x="538" y="112"/>
                  </a:cubicBezTo>
                  <a:cubicBezTo>
                    <a:pt x="538" y="112"/>
                    <a:pt x="538" y="111"/>
                    <a:pt x="538" y="111"/>
                  </a:cubicBezTo>
                  <a:cubicBezTo>
                    <a:pt x="538" y="110"/>
                    <a:pt x="538" y="109"/>
                    <a:pt x="538" y="108"/>
                  </a:cubicBezTo>
                  <a:cubicBezTo>
                    <a:pt x="538" y="108"/>
                    <a:pt x="538" y="107"/>
                    <a:pt x="538" y="107"/>
                  </a:cubicBezTo>
                  <a:cubicBezTo>
                    <a:pt x="538" y="106"/>
                    <a:pt x="538" y="105"/>
                    <a:pt x="538" y="104"/>
                  </a:cubicBezTo>
                  <a:cubicBezTo>
                    <a:pt x="538" y="104"/>
                    <a:pt x="538" y="103"/>
                    <a:pt x="538" y="103"/>
                  </a:cubicBezTo>
                  <a:cubicBezTo>
                    <a:pt x="537" y="82"/>
                    <a:pt x="536" y="40"/>
                    <a:pt x="536" y="6"/>
                  </a:cubicBezTo>
                  <a:cubicBezTo>
                    <a:pt x="536" y="5"/>
                    <a:pt x="536" y="5"/>
                    <a:pt x="536" y="5"/>
                  </a:cubicBezTo>
                  <a:cubicBezTo>
                    <a:pt x="536" y="4"/>
                    <a:pt x="536" y="3"/>
                    <a:pt x="536" y="2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35" y="19"/>
                    <a:pt x="232" y="63"/>
                    <a:pt x="211" y="75"/>
                  </a:cubicBezTo>
                  <a:cubicBezTo>
                    <a:pt x="189" y="88"/>
                    <a:pt x="169" y="96"/>
                    <a:pt x="161" y="123"/>
                  </a:cubicBezTo>
                  <a:cubicBezTo>
                    <a:pt x="152" y="150"/>
                    <a:pt x="148" y="194"/>
                    <a:pt x="130" y="209"/>
                  </a:cubicBezTo>
                  <a:cubicBezTo>
                    <a:pt x="111" y="224"/>
                    <a:pt x="90" y="238"/>
                    <a:pt x="83" y="259"/>
                  </a:cubicBezTo>
                  <a:cubicBezTo>
                    <a:pt x="77" y="279"/>
                    <a:pt x="59" y="286"/>
                    <a:pt x="57" y="309"/>
                  </a:cubicBezTo>
                  <a:cubicBezTo>
                    <a:pt x="56" y="333"/>
                    <a:pt x="63" y="333"/>
                    <a:pt x="45" y="348"/>
                  </a:cubicBezTo>
                  <a:cubicBezTo>
                    <a:pt x="26" y="363"/>
                    <a:pt x="17" y="374"/>
                    <a:pt x="10" y="392"/>
                  </a:cubicBezTo>
                  <a:cubicBezTo>
                    <a:pt x="6" y="405"/>
                    <a:pt x="3" y="419"/>
                    <a:pt x="0" y="431"/>
                  </a:cubicBezTo>
                  <a:cubicBezTo>
                    <a:pt x="2" y="430"/>
                    <a:pt x="4" y="428"/>
                    <a:pt x="4" y="428"/>
                  </a:cubicBezTo>
                  <a:cubicBezTo>
                    <a:pt x="4" y="428"/>
                    <a:pt x="2" y="430"/>
                    <a:pt x="0" y="431"/>
                  </a:cubicBezTo>
                  <a:cubicBezTo>
                    <a:pt x="0" y="432"/>
                    <a:pt x="0" y="432"/>
                    <a:pt x="0" y="432"/>
                  </a:cubicBezTo>
                  <a:lnTo>
                    <a:pt x="258" y="432"/>
                  </a:ln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2" name="Freeform 432">
              <a:extLst>
                <a:ext uri="{FF2B5EF4-FFF2-40B4-BE49-F238E27FC236}">
                  <a16:creationId xmlns:a16="http://schemas.microsoft.com/office/drawing/2014/main" id="{F6C0EAFE-EDD1-AF40-BAA2-B2F8413B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1950"/>
              <a:ext cx="334" cy="321"/>
            </a:xfrm>
            <a:custGeom>
              <a:avLst/>
              <a:gdLst>
                <a:gd name="T0" fmla="*/ 1183 w 1319"/>
                <a:gd name="T1" fmla="*/ 827 h 1272"/>
                <a:gd name="T2" fmla="*/ 1183 w 1319"/>
                <a:gd name="T3" fmla="*/ 732 h 1272"/>
                <a:gd name="T4" fmla="*/ 1182 w 1319"/>
                <a:gd name="T5" fmla="*/ 646 h 1272"/>
                <a:gd name="T6" fmla="*/ 1160 w 1319"/>
                <a:gd name="T7" fmla="*/ 527 h 1272"/>
                <a:gd name="T8" fmla="*/ 1162 w 1319"/>
                <a:gd name="T9" fmla="*/ 495 h 1272"/>
                <a:gd name="T10" fmla="*/ 1158 w 1319"/>
                <a:gd name="T11" fmla="*/ 479 h 1272"/>
                <a:gd name="T12" fmla="*/ 1138 w 1319"/>
                <a:gd name="T13" fmla="*/ 414 h 1272"/>
                <a:gd name="T14" fmla="*/ 1057 w 1319"/>
                <a:gd name="T15" fmla="*/ 297 h 1272"/>
                <a:gd name="T16" fmla="*/ 1070 w 1319"/>
                <a:gd name="T17" fmla="*/ 197 h 1272"/>
                <a:gd name="T18" fmla="*/ 1084 w 1319"/>
                <a:gd name="T19" fmla="*/ 76 h 1272"/>
                <a:gd name="T20" fmla="*/ 1104 w 1319"/>
                <a:gd name="T21" fmla="*/ 11 h 1272"/>
                <a:gd name="T22" fmla="*/ 978 w 1319"/>
                <a:gd name="T23" fmla="*/ 9 h 1272"/>
                <a:gd name="T24" fmla="*/ 835 w 1319"/>
                <a:gd name="T25" fmla="*/ 12 h 1272"/>
                <a:gd name="T26" fmla="*/ 603 w 1319"/>
                <a:gd name="T27" fmla="*/ 56 h 1272"/>
                <a:gd name="T28" fmla="*/ 431 w 1319"/>
                <a:gd name="T29" fmla="*/ 149 h 1272"/>
                <a:gd name="T30" fmla="*/ 448 w 1319"/>
                <a:gd name="T31" fmla="*/ 208 h 1272"/>
                <a:gd name="T32" fmla="*/ 462 w 1319"/>
                <a:gd name="T33" fmla="*/ 312 h 1272"/>
                <a:gd name="T34" fmla="*/ 424 w 1319"/>
                <a:gd name="T35" fmla="*/ 366 h 1272"/>
                <a:gd name="T36" fmla="*/ 316 w 1319"/>
                <a:gd name="T37" fmla="*/ 396 h 1272"/>
                <a:gd name="T38" fmla="*/ 287 w 1319"/>
                <a:gd name="T39" fmla="*/ 459 h 1272"/>
                <a:gd name="T40" fmla="*/ 194 w 1319"/>
                <a:gd name="T41" fmla="*/ 521 h 1272"/>
                <a:gd name="T42" fmla="*/ 64 w 1319"/>
                <a:gd name="T43" fmla="*/ 561 h 1272"/>
                <a:gd name="T44" fmla="*/ 0 w 1319"/>
                <a:gd name="T45" fmla="*/ 642 h 1272"/>
                <a:gd name="T46" fmla="*/ 0 w 1319"/>
                <a:gd name="T47" fmla="*/ 649 h 1272"/>
                <a:gd name="T48" fmla="*/ 0 w 1319"/>
                <a:gd name="T49" fmla="*/ 657 h 1272"/>
                <a:gd name="T50" fmla="*/ 0 w 1319"/>
                <a:gd name="T51" fmla="*/ 666 h 1272"/>
                <a:gd name="T52" fmla="*/ 0 w 1319"/>
                <a:gd name="T53" fmla="*/ 678 h 1272"/>
                <a:gd name="T54" fmla="*/ 35 w 1319"/>
                <a:gd name="T55" fmla="*/ 716 h 1272"/>
                <a:gd name="T56" fmla="*/ 40 w 1319"/>
                <a:gd name="T57" fmla="*/ 719 h 1272"/>
                <a:gd name="T58" fmla="*/ 48 w 1319"/>
                <a:gd name="T59" fmla="*/ 725 h 1272"/>
                <a:gd name="T60" fmla="*/ 59 w 1319"/>
                <a:gd name="T61" fmla="*/ 732 h 1272"/>
                <a:gd name="T62" fmla="*/ 72 w 1319"/>
                <a:gd name="T63" fmla="*/ 741 h 1272"/>
                <a:gd name="T64" fmla="*/ 87 w 1319"/>
                <a:gd name="T65" fmla="*/ 751 h 1272"/>
                <a:gd name="T66" fmla="*/ 105 w 1319"/>
                <a:gd name="T67" fmla="*/ 763 h 1272"/>
                <a:gd name="T68" fmla="*/ 124 w 1319"/>
                <a:gd name="T69" fmla="*/ 776 h 1272"/>
                <a:gd name="T70" fmla="*/ 144 w 1319"/>
                <a:gd name="T71" fmla="*/ 790 h 1272"/>
                <a:gd name="T72" fmla="*/ 170 w 1319"/>
                <a:gd name="T73" fmla="*/ 808 h 1272"/>
                <a:gd name="T74" fmla="*/ 206 w 1319"/>
                <a:gd name="T75" fmla="*/ 832 h 1272"/>
                <a:gd name="T76" fmla="*/ 227 w 1319"/>
                <a:gd name="T77" fmla="*/ 847 h 1272"/>
                <a:gd name="T78" fmla="*/ 243 w 1319"/>
                <a:gd name="T79" fmla="*/ 858 h 1272"/>
                <a:gd name="T80" fmla="*/ 266 w 1319"/>
                <a:gd name="T81" fmla="*/ 874 h 1272"/>
                <a:gd name="T82" fmla="*/ 307 w 1319"/>
                <a:gd name="T83" fmla="*/ 901 h 1272"/>
                <a:gd name="T84" fmla="*/ 333 w 1319"/>
                <a:gd name="T85" fmla="*/ 919 h 1272"/>
                <a:gd name="T86" fmla="*/ 526 w 1319"/>
                <a:gd name="T87" fmla="*/ 1052 h 1272"/>
                <a:gd name="T88" fmla="*/ 593 w 1319"/>
                <a:gd name="T89" fmla="*/ 1098 h 1272"/>
                <a:gd name="T90" fmla="*/ 611 w 1319"/>
                <a:gd name="T91" fmla="*/ 1110 h 1272"/>
                <a:gd name="T92" fmla="*/ 630 w 1319"/>
                <a:gd name="T93" fmla="*/ 1134 h 1272"/>
                <a:gd name="T94" fmla="*/ 711 w 1319"/>
                <a:gd name="T95" fmla="*/ 1192 h 1272"/>
                <a:gd name="T96" fmla="*/ 755 w 1319"/>
                <a:gd name="T97" fmla="*/ 1259 h 1272"/>
                <a:gd name="T98" fmla="*/ 828 w 1319"/>
                <a:gd name="T99" fmla="*/ 1251 h 1272"/>
                <a:gd name="T100" fmla="*/ 832 w 1319"/>
                <a:gd name="T101" fmla="*/ 1250 h 1272"/>
                <a:gd name="T102" fmla="*/ 841 w 1319"/>
                <a:gd name="T103" fmla="*/ 1246 h 1272"/>
                <a:gd name="T104" fmla="*/ 846 w 1319"/>
                <a:gd name="T105" fmla="*/ 1244 h 1272"/>
                <a:gd name="T106" fmla="*/ 853 w 1319"/>
                <a:gd name="T107" fmla="*/ 1242 h 1272"/>
                <a:gd name="T108" fmla="*/ 862 w 1319"/>
                <a:gd name="T109" fmla="*/ 1242 h 1272"/>
                <a:gd name="T110" fmla="*/ 1088 w 1319"/>
                <a:gd name="T111" fmla="*/ 1100 h 1272"/>
                <a:gd name="T112" fmla="*/ 1098 w 1319"/>
                <a:gd name="T113" fmla="*/ 1094 h 1272"/>
                <a:gd name="T114" fmla="*/ 1111 w 1319"/>
                <a:gd name="T115" fmla="*/ 1086 h 1272"/>
                <a:gd name="T116" fmla="*/ 1124 w 1319"/>
                <a:gd name="T117" fmla="*/ 1078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19" h="1272">
                  <a:moveTo>
                    <a:pt x="1290" y="913"/>
                  </a:moveTo>
                  <a:cubicBezTo>
                    <a:pt x="1283" y="903"/>
                    <a:pt x="1258" y="901"/>
                    <a:pt x="1231" y="900"/>
                  </a:cubicBezTo>
                  <a:cubicBezTo>
                    <a:pt x="1204" y="899"/>
                    <a:pt x="1196" y="874"/>
                    <a:pt x="1196" y="857"/>
                  </a:cubicBezTo>
                  <a:cubicBezTo>
                    <a:pt x="1196" y="840"/>
                    <a:pt x="1190" y="831"/>
                    <a:pt x="1183" y="827"/>
                  </a:cubicBezTo>
                  <a:cubicBezTo>
                    <a:pt x="1176" y="823"/>
                    <a:pt x="1169" y="805"/>
                    <a:pt x="1158" y="794"/>
                  </a:cubicBezTo>
                  <a:cubicBezTo>
                    <a:pt x="1147" y="783"/>
                    <a:pt x="1153" y="772"/>
                    <a:pt x="1160" y="770"/>
                  </a:cubicBezTo>
                  <a:cubicBezTo>
                    <a:pt x="1167" y="768"/>
                    <a:pt x="1166" y="758"/>
                    <a:pt x="1178" y="756"/>
                  </a:cubicBezTo>
                  <a:cubicBezTo>
                    <a:pt x="1190" y="754"/>
                    <a:pt x="1184" y="741"/>
                    <a:pt x="1183" y="732"/>
                  </a:cubicBezTo>
                  <a:cubicBezTo>
                    <a:pt x="1182" y="723"/>
                    <a:pt x="1180" y="720"/>
                    <a:pt x="1173" y="713"/>
                  </a:cubicBezTo>
                  <a:cubicBezTo>
                    <a:pt x="1166" y="706"/>
                    <a:pt x="1172" y="693"/>
                    <a:pt x="1177" y="691"/>
                  </a:cubicBezTo>
                  <a:cubicBezTo>
                    <a:pt x="1182" y="689"/>
                    <a:pt x="1184" y="682"/>
                    <a:pt x="1189" y="672"/>
                  </a:cubicBezTo>
                  <a:cubicBezTo>
                    <a:pt x="1194" y="662"/>
                    <a:pt x="1188" y="651"/>
                    <a:pt x="1182" y="646"/>
                  </a:cubicBezTo>
                  <a:cubicBezTo>
                    <a:pt x="1176" y="641"/>
                    <a:pt x="1175" y="631"/>
                    <a:pt x="1182" y="620"/>
                  </a:cubicBezTo>
                  <a:cubicBezTo>
                    <a:pt x="1189" y="609"/>
                    <a:pt x="1182" y="597"/>
                    <a:pt x="1184" y="582"/>
                  </a:cubicBezTo>
                  <a:cubicBezTo>
                    <a:pt x="1186" y="567"/>
                    <a:pt x="1176" y="557"/>
                    <a:pt x="1174" y="550"/>
                  </a:cubicBezTo>
                  <a:cubicBezTo>
                    <a:pt x="1172" y="543"/>
                    <a:pt x="1171" y="534"/>
                    <a:pt x="1160" y="527"/>
                  </a:cubicBezTo>
                  <a:cubicBezTo>
                    <a:pt x="1149" y="520"/>
                    <a:pt x="1149" y="507"/>
                    <a:pt x="1159" y="499"/>
                  </a:cubicBezTo>
                  <a:cubicBezTo>
                    <a:pt x="1160" y="498"/>
                    <a:pt x="1160" y="498"/>
                    <a:pt x="1161" y="497"/>
                  </a:cubicBezTo>
                  <a:cubicBezTo>
                    <a:pt x="1161" y="497"/>
                    <a:pt x="1161" y="497"/>
                    <a:pt x="1161" y="497"/>
                  </a:cubicBezTo>
                  <a:cubicBezTo>
                    <a:pt x="1161" y="496"/>
                    <a:pt x="1162" y="496"/>
                    <a:pt x="1162" y="495"/>
                  </a:cubicBezTo>
                  <a:cubicBezTo>
                    <a:pt x="1162" y="495"/>
                    <a:pt x="1162" y="495"/>
                    <a:pt x="1162" y="495"/>
                  </a:cubicBezTo>
                  <a:cubicBezTo>
                    <a:pt x="1166" y="490"/>
                    <a:pt x="1162" y="485"/>
                    <a:pt x="1159" y="480"/>
                  </a:cubicBezTo>
                  <a:cubicBezTo>
                    <a:pt x="1159" y="480"/>
                    <a:pt x="1159" y="480"/>
                    <a:pt x="1159" y="480"/>
                  </a:cubicBezTo>
                  <a:cubicBezTo>
                    <a:pt x="1159" y="480"/>
                    <a:pt x="1159" y="480"/>
                    <a:pt x="1158" y="479"/>
                  </a:cubicBezTo>
                  <a:cubicBezTo>
                    <a:pt x="1158" y="479"/>
                    <a:pt x="1158" y="479"/>
                    <a:pt x="1158" y="479"/>
                  </a:cubicBezTo>
                  <a:cubicBezTo>
                    <a:pt x="1158" y="479"/>
                    <a:pt x="1158" y="478"/>
                    <a:pt x="1158" y="478"/>
                  </a:cubicBezTo>
                  <a:cubicBezTo>
                    <a:pt x="1155" y="471"/>
                    <a:pt x="1151" y="460"/>
                    <a:pt x="1148" y="446"/>
                  </a:cubicBezTo>
                  <a:cubicBezTo>
                    <a:pt x="1145" y="432"/>
                    <a:pt x="1143" y="428"/>
                    <a:pt x="1138" y="414"/>
                  </a:cubicBezTo>
                  <a:cubicBezTo>
                    <a:pt x="1133" y="400"/>
                    <a:pt x="1137" y="390"/>
                    <a:pt x="1133" y="378"/>
                  </a:cubicBezTo>
                  <a:cubicBezTo>
                    <a:pt x="1129" y="366"/>
                    <a:pt x="1121" y="357"/>
                    <a:pt x="1102" y="351"/>
                  </a:cubicBezTo>
                  <a:cubicBezTo>
                    <a:pt x="1083" y="345"/>
                    <a:pt x="1081" y="328"/>
                    <a:pt x="1081" y="313"/>
                  </a:cubicBezTo>
                  <a:cubicBezTo>
                    <a:pt x="1081" y="298"/>
                    <a:pt x="1072" y="298"/>
                    <a:pt x="1057" y="297"/>
                  </a:cubicBezTo>
                  <a:cubicBezTo>
                    <a:pt x="1042" y="296"/>
                    <a:pt x="1044" y="265"/>
                    <a:pt x="1037" y="260"/>
                  </a:cubicBezTo>
                  <a:cubicBezTo>
                    <a:pt x="1030" y="255"/>
                    <a:pt x="1027" y="241"/>
                    <a:pt x="1027" y="228"/>
                  </a:cubicBezTo>
                  <a:cubicBezTo>
                    <a:pt x="1027" y="215"/>
                    <a:pt x="1047" y="215"/>
                    <a:pt x="1049" y="209"/>
                  </a:cubicBezTo>
                  <a:cubicBezTo>
                    <a:pt x="1051" y="203"/>
                    <a:pt x="1057" y="197"/>
                    <a:pt x="1070" y="197"/>
                  </a:cubicBezTo>
                  <a:cubicBezTo>
                    <a:pt x="1083" y="197"/>
                    <a:pt x="1080" y="170"/>
                    <a:pt x="1086" y="162"/>
                  </a:cubicBezTo>
                  <a:cubicBezTo>
                    <a:pt x="1092" y="154"/>
                    <a:pt x="1088" y="144"/>
                    <a:pt x="1086" y="128"/>
                  </a:cubicBezTo>
                  <a:cubicBezTo>
                    <a:pt x="1084" y="112"/>
                    <a:pt x="1083" y="110"/>
                    <a:pt x="1080" y="104"/>
                  </a:cubicBezTo>
                  <a:cubicBezTo>
                    <a:pt x="1077" y="98"/>
                    <a:pt x="1084" y="88"/>
                    <a:pt x="1084" y="76"/>
                  </a:cubicBezTo>
                  <a:cubicBezTo>
                    <a:pt x="1084" y="64"/>
                    <a:pt x="1080" y="59"/>
                    <a:pt x="1074" y="52"/>
                  </a:cubicBezTo>
                  <a:cubicBezTo>
                    <a:pt x="1068" y="45"/>
                    <a:pt x="1084" y="45"/>
                    <a:pt x="1083" y="39"/>
                  </a:cubicBezTo>
                  <a:cubicBezTo>
                    <a:pt x="1082" y="33"/>
                    <a:pt x="1088" y="28"/>
                    <a:pt x="1100" y="27"/>
                  </a:cubicBezTo>
                  <a:cubicBezTo>
                    <a:pt x="1106" y="26"/>
                    <a:pt x="1106" y="18"/>
                    <a:pt x="1104" y="11"/>
                  </a:cubicBezTo>
                  <a:cubicBezTo>
                    <a:pt x="1099" y="12"/>
                    <a:pt x="1094" y="13"/>
                    <a:pt x="1089" y="13"/>
                  </a:cubicBezTo>
                  <a:cubicBezTo>
                    <a:pt x="1063" y="13"/>
                    <a:pt x="1053" y="32"/>
                    <a:pt x="1040" y="16"/>
                  </a:cubicBezTo>
                  <a:cubicBezTo>
                    <a:pt x="1028" y="0"/>
                    <a:pt x="1026" y="3"/>
                    <a:pt x="1009" y="7"/>
                  </a:cubicBezTo>
                  <a:cubicBezTo>
                    <a:pt x="992" y="12"/>
                    <a:pt x="987" y="16"/>
                    <a:pt x="978" y="9"/>
                  </a:cubicBezTo>
                  <a:cubicBezTo>
                    <a:pt x="970" y="3"/>
                    <a:pt x="951" y="7"/>
                    <a:pt x="945" y="16"/>
                  </a:cubicBezTo>
                  <a:cubicBezTo>
                    <a:pt x="938" y="24"/>
                    <a:pt x="919" y="26"/>
                    <a:pt x="908" y="26"/>
                  </a:cubicBezTo>
                  <a:cubicBezTo>
                    <a:pt x="897" y="26"/>
                    <a:pt x="894" y="33"/>
                    <a:pt x="877" y="23"/>
                  </a:cubicBezTo>
                  <a:cubicBezTo>
                    <a:pt x="860" y="14"/>
                    <a:pt x="853" y="9"/>
                    <a:pt x="835" y="12"/>
                  </a:cubicBezTo>
                  <a:cubicBezTo>
                    <a:pt x="817" y="14"/>
                    <a:pt x="798" y="8"/>
                    <a:pt x="787" y="21"/>
                  </a:cubicBezTo>
                  <a:cubicBezTo>
                    <a:pt x="776" y="34"/>
                    <a:pt x="739" y="28"/>
                    <a:pt x="719" y="33"/>
                  </a:cubicBezTo>
                  <a:cubicBezTo>
                    <a:pt x="699" y="38"/>
                    <a:pt x="692" y="40"/>
                    <a:pt x="670" y="42"/>
                  </a:cubicBezTo>
                  <a:cubicBezTo>
                    <a:pt x="647" y="44"/>
                    <a:pt x="613" y="45"/>
                    <a:pt x="603" y="56"/>
                  </a:cubicBezTo>
                  <a:cubicBezTo>
                    <a:pt x="593" y="66"/>
                    <a:pt x="574" y="64"/>
                    <a:pt x="565" y="79"/>
                  </a:cubicBezTo>
                  <a:cubicBezTo>
                    <a:pt x="557" y="94"/>
                    <a:pt x="527" y="97"/>
                    <a:pt x="512" y="99"/>
                  </a:cubicBezTo>
                  <a:cubicBezTo>
                    <a:pt x="497" y="101"/>
                    <a:pt x="479" y="106"/>
                    <a:pt x="470" y="121"/>
                  </a:cubicBezTo>
                  <a:cubicBezTo>
                    <a:pt x="460" y="136"/>
                    <a:pt x="452" y="149"/>
                    <a:pt x="431" y="149"/>
                  </a:cubicBezTo>
                  <a:cubicBezTo>
                    <a:pt x="425" y="149"/>
                    <a:pt x="420" y="149"/>
                    <a:pt x="414" y="149"/>
                  </a:cubicBezTo>
                  <a:cubicBezTo>
                    <a:pt x="415" y="154"/>
                    <a:pt x="417" y="159"/>
                    <a:pt x="422" y="161"/>
                  </a:cubicBezTo>
                  <a:cubicBezTo>
                    <a:pt x="434" y="166"/>
                    <a:pt x="442" y="172"/>
                    <a:pt x="444" y="178"/>
                  </a:cubicBezTo>
                  <a:cubicBezTo>
                    <a:pt x="445" y="185"/>
                    <a:pt x="452" y="200"/>
                    <a:pt x="448" y="208"/>
                  </a:cubicBezTo>
                  <a:cubicBezTo>
                    <a:pt x="444" y="215"/>
                    <a:pt x="451" y="236"/>
                    <a:pt x="444" y="241"/>
                  </a:cubicBezTo>
                  <a:cubicBezTo>
                    <a:pt x="438" y="246"/>
                    <a:pt x="444" y="252"/>
                    <a:pt x="448" y="259"/>
                  </a:cubicBezTo>
                  <a:cubicBezTo>
                    <a:pt x="451" y="266"/>
                    <a:pt x="446" y="282"/>
                    <a:pt x="452" y="290"/>
                  </a:cubicBezTo>
                  <a:cubicBezTo>
                    <a:pt x="459" y="298"/>
                    <a:pt x="462" y="304"/>
                    <a:pt x="462" y="312"/>
                  </a:cubicBezTo>
                  <a:cubicBezTo>
                    <a:pt x="462" y="319"/>
                    <a:pt x="469" y="324"/>
                    <a:pt x="474" y="328"/>
                  </a:cubicBezTo>
                  <a:cubicBezTo>
                    <a:pt x="478" y="331"/>
                    <a:pt x="486" y="334"/>
                    <a:pt x="484" y="344"/>
                  </a:cubicBezTo>
                  <a:cubicBezTo>
                    <a:pt x="482" y="354"/>
                    <a:pt x="488" y="370"/>
                    <a:pt x="470" y="369"/>
                  </a:cubicBezTo>
                  <a:cubicBezTo>
                    <a:pt x="452" y="368"/>
                    <a:pt x="436" y="372"/>
                    <a:pt x="424" y="366"/>
                  </a:cubicBezTo>
                  <a:cubicBezTo>
                    <a:pt x="413" y="360"/>
                    <a:pt x="392" y="358"/>
                    <a:pt x="385" y="363"/>
                  </a:cubicBezTo>
                  <a:cubicBezTo>
                    <a:pt x="378" y="368"/>
                    <a:pt x="365" y="372"/>
                    <a:pt x="364" y="379"/>
                  </a:cubicBezTo>
                  <a:cubicBezTo>
                    <a:pt x="362" y="386"/>
                    <a:pt x="350" y="386"/>
                    <a:pt x="345" y="393"/>
                  </a:cubicBezTo>
                  <a:cubicBezTo>
                    <a:pt x="340" y="400"/>
                    <a:pt x="322" y="395"/>
                    <a:pt x="316" y="396"/>
                  </a:cubicBezTo>
                  <a:cubicBezTo>
                    <a:pt x="310" y="398"/>
                    <a:pt x="310" y="407"/>
                    <a:pt x="312" y="412"/>
                  </a:cubicBezTo>
                  <a:cubicBezTo>
                    <a:pt x="313" y="418"/>
                    <a:pt x="312" y="428"/>
                    <a:pt x="316" y="432"/>
                  </a:cubicBezTo>
                  <a:cubicBezTo>
                    <a:pt x="320" y="436"/>
                    <a:pt x="324" y="446"/>
                    <a:pt x="315" y="449"/>
                  </a:cubicBezTo>
                  <a:cubicBezTo>
                    <a:pt x="306" y="452"/>
                    <a:pt x="294" y="450"/>
                    <a:pt x="287" y="459"/>
                  </a:cubicBezTo>
                  <a:cubicBezTo>
                    <a:pt x="280" y="468"/>
                    <a:pt x="270" y="467"/>
                    <a:pt x="262" y="469"/>
                  </a:cubicBezTo>
                  <a:cubicBezTo>
                    <a:pt x="253" y="471"/>
                    <a:pt x="240" y="474"/>
                    <a:pt x="234" y="484"/>
                  </a:cubicBezTo>
                  <a:cubicBezTo>
                    <a:pt x="228" y="494"/>
                    <a:pt x="223" y="502"/>
                    <a:pt x="220" y="508"/>
                  </a:cubicBezTo>
                  <a:cubicBezTo>
                    <a:pt x="218" y="515"/>
                    <a:pt x="208" y="521"/>
                    <a:pt x="194" y="521"/>
                  </a:cubicBezTo>
                  <a:cubicBezTo>
                    <a:pt x="180" y="521"/>
                    <a:pt x="152" y="522"/>
                    <a:pt x="144" y="530"/>
                  </a:cubicBezTo>
                  <a:cubicBezTo>
                    <a:pt x="137" y="539"/>
                    <a:pt x="131" y="544"/>
                    <a:pt x="121" y="543"/>
                  </a:cubicBezTo>
                  <a:cubicBezTo>
                    <a:pt x="111" y="542"/>
                    <a:pt x="98" y="530"/>
                    <a:pt x="90" y="544"/>
                  </a:cubicBezTo>
                  <a:cubicBezTo>
                    <a:pt x="82" y="557"/>
                    <a:pt x="72" y="560"/>
                    <a:pt x="64" y="561"/>
                  </a:cubicBezTo>
                  <a:cubicBezTo>
                    <a:pt x="56" y="562"/>
                    <a:pt x="56" y="572"/>
                    <a:pt x="45" y="578"/>
                  </a:cubicBezTo>
                  <a:cubicBezTo>
                    <a:pt x="34" y="584"/>
                    <a:pt x="25" y="592"/>
                    <a:pt x="13" y="597"/>
                  </a:cubicBezTo>
                  <a:cubicBezTo>
                    <a:pt x="1" y="602"/>
                    <a:pt x="2" y="597"/>
                    <a:pt x="0" y="638"/>
                  </a:cubicBezTo>
                  <a:cubicBezTo>
                    <a:pt x="0" y="639"/>
                    <a:pt x="0" y="641"/>
                    <a:pt x="0" y="642"/>
                  </a:cubicBezTo>
                  <a:cubicBezTo>
                    <a:pt x="0" y="642"/>
                    <a:pt x="0" y="643"/>
                    <a:pt x="0" y="643"/>
                  </a:cubicBezTo>
                  <a:cubicBezTo>
                    <a:pt x="0" y="644"/>
                    <a:pt x="0" y="645"/>
                    <a:pt x="0" y="645"/>
                  </a:cubicBezTo>
                  <a:cubicBezTo>
                    <a:pt x="0" y="646"/>
                    <a:pt x="0" y="647"/>
                    <a:pt x="0" y="647"/>
                  </a:cubicBezTo>
                  <a:cubicBezTo>
                    <a:pt x="0" y="648"/>
                    <a:pt x="0" y="648"/>
                    <a:pt x="0" y="649"/>
                  </a:cubicBezTo>
                  <a:cubicBezTo>
                    <a:pt x="0" y="650"/>
                    <a:pt x="0" y="650"/>
                    <a:pt x="0" y="651"/>
                  </a:cubicBezTo>
                  <a:cubicBezTo>
                    <a:pt x="0" y="652"/>
                    <a:pt x="0" y="652"/>
                    <a:pt x="0" y="653"/>
                  </a:cubicBezTo>
                  <a:cubicBezTo>
                    <a:pt x="0" y="654"/>
                    <a:pt x="0" y="655"/>
                    <a:pt x="0" y="655"/>
                  </a:cubicBezTo>
                  <a:cubicBezTo>
                    <a:pt x="0" y="656"/>
                    <a:pt x="0" y="657"/>
                    <a:pt x="0" y="657"/>
                  </a:cubicBezTo>
                  <a:cubicBezTo>
                    <a:pt x="0" y="658"/>
                    <a:pt x="0" y="659"/>
                    <a:pt x="0" y="660"/>
                  </a:cubicBezTo>
                  <a:cubicBezTo>
                    <a:pt x="0" y="660"/>
                    <a:pt x="0" y="661"/>
                    <a:pt x="0" y="662"/>
                  </a:cubicBezTo>
                  <a:cubicBezTo>
                    <a:pt x="0" y="662"/>
                    <a:pt x="0" y="663"/>
                    <a:pt x="0" y="664"/>
                  </a:cubicBezTo>
                  <a:cubicBezTo>
                    <a:pt x="0" y="665"/>
                    <a:pt x="0" y="665"/>
                    <a:pt x="0" y="666"/>
                  </a:cubicBezTo>
                  <a:cubicBezTo>
                    <a:pt x="0" y="668"/>
                    <a:pt x="0" y="670"/>
                    <a:pt x="0" y="672"/>
                  </a:cubicBezTo>
                  <a:cubicBezTo>
                    <a:pt x="0" y="672"/>
                    <a:pt x="0" y="673"/>
                    <a:pt x="0" y="673"/>
                  </a:cubicBezTo>
                  <a:cubicBezTo>
                    <a:pt x="0" y="674"/>
                    <a:pt x="0" y="676"/>
                    <a:pt x="0" y="677"/>
                  </a:cubicBezTo>
                  <a:cubicBezTo>
                    <a:pt x="0" y="677"/>
                    <a:pt x="0" y="677"/>
                    <a:pt x="0" y="678"/>
                  </a:cubicBezTo>
                  <a:cubicBezTo>
                    <a:pt x="0" y="687"/>
                    <a:pt x="0" y="696"/>
                    <a:pt x="0" y="706"/>
                  </a:cubicBezTo>
                  <a:cubicBezTo>
                    <a:pt x="10" y="707"/>
                    <a:pt x="23" y="709"/>
                    <a:pt x="34" y="715"/>
                  </a:cubicBezTo>
                  <a:cubicBezTo>
                    <a:pt x="34" y="715"/>
                    <a:pt x="34" y="715"/>
                    <a:pt x="35" y="716"/>
                  </a:cubicBezTo>
                  <a:cubicBezTo>
                    <a:pt x="35" y="716"/>
                    <a:pt x="35" y="716"/>
                    <a:pt x="35" y="716"/>
                  </a:cubicBezTo>
                  <a:cubicBezTo>
                    <a:pt x="36" y="716"/>
                    <a:pt x="36" y="717"/>
                    <a:pt x="37" y="717"/>
                  </a:cubicBezTo>
                  <a:cubicBezTo>
                    <a:pt x="37" y="717"/>
                    <a:pt x="37" y="717"/>
                    <a:pt x="37" y="717"/>
                  </a:cubicBezTo>
                  <a:cubicBezTo>
                    <a:pt x="38" y="718"/>
                    <a:pt x="39" y="718"/>
                    <a:pt x="39" y="719"/>
                  </a:cubicBezTo>
                  <a:cubicBezTo>
                    <a:pt x="40" y="719"/>
                    <a:pt x="40" y="719"/>
                    <a:pt x="40" y="719"/>
                  </a:cubicBezTo>
                  <a:cubicBezTo>
                    <a:pt x="41" y="720"/>
                    <a:pt x="42" y="720"/>
                    <a:pt x="43" y="721"/>
                  </a:cubicBezTo>
                  <a:cubicBezTo>
                    <a:pt x="43" y="721"/>
                    <a:pt x="44" y="722"/>
                    <a:pt x="44" y="722"/>
                  </a:cubicBezTo>
                  <a:cubicBezTo>
                    <a:pt x="45" y="722"/>
                    <a:pt x="46" y="723"/>
                    <a:pt x="47" y="724"/>
                  </a:cubicBezTo>
                  <a:cubicBezTo>
                    <a:pt x="47" y="724"/>
                    <a:pt x="48" y="724"/>
                    <a:pt x="48" y="725"/>
                  </a:cubicBezTo>
                  <a:cubicBezTo>
                    <a:pt x="49" y="725"/>
                    <a:pt x="50" y="726"/>
                    <a:pt x="51" y="727"/>
                  </a:cubicBezTo>
                  <a:cubicBezTo>
                    <a:pt x="52" y="727"/>
                    <a:pt x="52" y="727"/>
                    <a:pt x="53" y="728"/>
                  </a:cubicBezTo>
                  <a:cubicBezTo>
                    <a:pt x="54" y="729"/>
                    <a:pt x="56" y="729"/>
                    <a:pt x="57" y="730"/>
                  </a:cubicBezTo>
                  <a:cubicBezTo>
                    <a:pt x="57" y="731"/>
                    <a:pt x="58" y="731"/>
                    <a:pt x="59" y="732"/>
                  </a:cubicBezTo>
                  <a:cubicBezTo>
                    <a:pt x="60" y="733"/>
                    <a:pt x="62" y="734"/>
                    <a:pt x="63" y="735"/>
                  </a:cubicBezTo>
                  <a:cubicBezTo>
                    <a:pt x="64" y="735"/>
                    <a:pt x="65" y="736"/>
                    <a:pt x="66" y="736"/>
                  </a:cubicBezTo>
                  <a:cubicBezTo>
                    <a:pt x="67" y="737"/>
                    <a:pt x="68" y="738"/>
                    <a:pt x="69" y="739"/>
                  </a:cubicBezTo>
                  <a:cubicBezTo>
                    <a:pt x="70" y="739"/>
                    <a:pt x="71" y="740"/>
                    <a:pt x="72" y="741"/>
                  </a:cubicBezTo>
                  <a:cubicBezTo>
                    <a:pt x="73" y="742"/>
                    <a:pt x="75" y="743"/>
                    <a:pt x="77" y="744"/>
                  </a:cubicBezTo>
                  <a:cubicBezTo>
                    <a:pt x="77" y="744"/>
                    <a:pt x="78" y="745"/>
                    <a:pt x="78" y="745"/>
                  </a:cubicBezTo>
                  <a:cubicBezTo>
                    <a:pt x="81" y="747"/>
                    <a:pt x="83" y="748"/>
                    <a:pt x="86" y="750"/>
                  </a:cubicBezTo>
                  <a:cubicBezTo>
                    <a:pt x="86" y="750"/>
                    <a:pt x="87" y="751"/>
                    <a:pt x="87" y="751"/>
                  </a:cubicBezTo>
                  <a:cubicBezTo>
                    <a:pt x="89" y="752"/>
                    <a:pt x="91" y="754"/>
                    <a:pt x="93" y="755"/>
                  </a:cubicBezTo>
                  <a:cubicBezTo>
                    <a:pt x="94" y="756"/>
                    <a:pt x="95" y="757"/>
                    <a:pt x="97" y="757"/>
                  </a:cubicBezTo>
                  <a:cubicBezTo>
                    <a:pt x="98" y="758"/>
                    <a:pt x="99" y="759"/>
                    <a:pt x="100" y="760"/>
                  </a:cubicBezTo>
                  <a:cubicBezTo>
                    <a:pt x="102" y="761"/>
                    <a:pt x="103" y="762"/>
                    <a:pt x="105" y="763"/>
                  </a:cubicBezTo>
                  <a:cubicBezTo>
                    <a:pt x="106" y="764"/>
                    <a:pt x="108" y="765"/>
                    <a:pt x="109" y="766"/>
                  </a:cubicBezTo>
                  <a:cubicBezTo>
                    <a:pt x="110" y="767"/>
                    <a:pt x="112" y="768"/>
                    <a:pt x="113" y="768"/>
                  </a:cubicBezTo>
                  <a:cubicBezTo>
                    <a:pt x="116" y="770"/>
                    <a:pt x="118" y="772"/>
                    <a:pt x="121" y="774"/>
                  </a:cubicBezTo>
                  <a:cubicBezTo>
                    <a:pt x="122" y="775"/>
                    <a:pt x="123" y="776"/>
                    <a:pt x="124" y="776"/>
                  </a:cubicBezTo>
                  <a:cubicBezTo>
                    <a:pt x="126" y="778"/>
                    <a:pt x="128" y="779"/>
                    <a:pt x="130" y="780"/>
                  </a:cubicBezTo>
                  <a:cubicBezTo>
                    <a:pt x="132" y="781"/>
                    <a:pt x="133" y="782"/>
                    <a:pt x="135" y="784"/>
                  </a:cubicBezTo>
                  <a:cubicBezTo>
                    <a:pt x="136" y="784"/>
                    <a:pt x="138" y="785"/>
                    <a:pt x="139" y="786"/>
                  </a:cubicBezTo>
                  <a:cubicBezTo>
                    <a:pt x="141" y="787"/>
                    <a:pt x="142" y="789"/>
                    <a:pt x="144" y="790"/>
                  </a:cubicBezTo>
                  <a:cubicBezTo>
                    <a:pt x="146" y="791"/>
                    <a:pt x="147" y="792"/>
                    <a:pt x="149" y="793"/>
                  </a:cubicBezTo>
                  <a:cubicBezTo>
                    <a:pt x="153" y="796"/>
                    <a:pt x="157" y="799"/>
                    <a:pt x="161" y="802"/>
                  </a:cubicBezTo>
                  <a:cubicBezTo>
                    <a:pt x="162" y="802"/>
                    <a:pt x="162" y="802"/>
                    <a:pt x="162" y="802"/>
                  </a:cubicBezTo>
                  <a:cubicBezTo>
                    <a:pt x="165" y="804"/>
                    <a:pt x="167" y="806"/>
                    <a:pt x="170" y="808"/>
                  </a:cubicBezTo>
                  <a:cubicBezTo>
                    <a:pt x="171" y="808"/>
                    <a:pt x="171" y="808"/>
                    <a:pt x="172" y="809"/>
                  </a:cubicBezTo>
                  <a:cubicBezTo>
                    <a:pt x="174" y="810"/>
                    <a:pt x="177" y="812"/>
                    <a:pt x="179" y="814"/>
                  </a:cubicBezTo>
                  <a:cubicBezTo>
                    <a:pt x="181" y="815"/>
                    <a:pt x="182" y="816"/>
                    <a:pt x="183" y="816"/>
                  </a:cubicBezTo>
                  <a:cubicBezTo>
                    <a:pt x="191" y="822"/>
                    <a:pt x="198" y="827"/>
                    <a:pt x="206" y="832"/>
                  </a:cubicBezTo>
                  <a:cubicBezTo>
                    <a:pt x="207" y="833"/>
                    <a:pt x="209" y="834"/>
                    <a:pt x="210" y="835"/>
                  </a:cubicBezTo>
                  <a:cubicBezTo>
                    <a:pt x="212" y="836"/>
                    <a:pt x="214" y="838"/>
                    <a:pt x="216" y="839"/>
                  </a:cubicBezTo>
                  <a:cubicBezTo>
                    <a:pt x="218" y="840"/>
                    <a:pt x="219" y="841"/>
                    <a:pt x="221" y="842"/>
                  </a:cubicBezTo>
                  <a:cubicBezTo>
                    <a:pt x="223" y="844"/>
                    <a:pt x="225" y="845"/>
                    <a:pt x="227" y="847"/>
                  </a:cubicBezTo>
                  <a:cubicBezTo>
                    <a:pt x="229" y="848"/>
                    <a:pt x="230" y="849"/>
                    <a:pt x="231" y="850"/>
                  </a:cubicBezTo>
                  <a:cubicBezTo>
                    <a:pt x="234" y="851"/>
                    <a:pt x="236" y="853"/>
                    <a:pt x="238" y="854"/>
                  </a:cubicBezTo>
                  <a:cubicBezTo>
                    <a:pt x="238" y="854"/>
                    <a:pt x="238" y="854"/>
                    <a:pt x="238" y="854"/>
                  </a:cubicBezTo>
                  <a:cubicBezTo>
                    <a:pt x="240" y="855"/>
                    <a:pt x="241" y="856"/>
                    <a:pt x="243" y="858"/>
                  </a:cubicBezTo>
                  <a:cubicBezTo>
                    <a:pt x="244" y="859"/>
                    <a:pt x="246" y="859"/>
                    <a:pt x="247" y="860"/>
                  </a:cubicBezTo>
                  <a:cubicBezTo>
                    <a:pt x="252" y="863"/>
                    <a:pt x="256" y="867"/>
                    <a:pt x="261" y="870"/>
                  </a:cubicBezTo>
                  <a:cubicBezTo>
                    <a:pt x="261" y="870"/>
                    <a:pt x="262" y="870"/>
                    <a:pt x="262" y="871"/>
                  </a:cubicBezTo>
                  <a:cubicBezTo>
                    <a:pt x="264" y="872"/>
                    <a:pt x="265" y="873"/>
                    <a:pt x="266" y="874"/>
                  </a:cubicBezTo>
                  <a:cubicBezTo>
                    <a:pt x="270" y="876"/>
                    <a:pt x="273" y="878"/>
                    <a:pt x="276" y="880"/>
                  </a:cubicBezTo>
                  <a:cubicBezTo>
                    <a:pt x="277" y="881"/>
                    <a:pt x="277" y="881"/>
                    <a:pt x="278" y="881"/>
                  </a:cubicBezTo>
                  <a:cubicBezTo>
                    <a:pt x="278" y="882"/>
                    <a:pt x="278" y="882"/>
                    <a:pt x="279" y="882"/>
                  </a:cubicBezTo>
                  <a:cubicBezTo>
                    <a:pt x="288" y="888"/>
                    <a:pt x="297" y="895"/>
                    <a:pt x="307" y="901"/>
                  </a:cubicBezTo>
                  <a:cubicBezTo>
                    <a:pt x="310" y="904"/>
                    <a:pt x="313" y="906"/>
                    <a:pt x="317" y="908"/>
                  </a:cubicBezTo>
                  <a:cubicBezTo>
                    <a:pt x="317" y="908"/>
                    <a:pt x="317" y="909"/>
                    <a:pt x="318" y="909"/>
                  </a:cubicBezTo>
                  <a:cubicBezTo>
                    <a:pt x="322" y="911"/>
                    <a:pt x="325" y="914"/>
                    <a:pt x="329" y="917"/>
                  </a:cubicBezTo>
                  <a:cubicBezTo>
                    <a:pt x="330" y="918"/>
                    <a:pt x="332" y="918"/>
                    <a:pt x="333" y="919"/>
                  </a:cubicBezTo>
                  <a:cubicBezTo>
                    <a:pt x="363" y="940"/>
                    <a:pt x="394" y="961"/>
                    <a:pt x="422" y="981"/>
                  </a:cubicBezTo>
                  <a:cubicBezTo>
                    <a:pt x="427" y="984"/>
                    <a:pt x="431" y="987"/>
                    <a:pt x="436" y="990"/>
                  </a:cubicBezTo>
                  <a:cubicBezTo>
                    <a:pt x="469" y="1013"/>
                    <a:pt x="499" y="1034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537" y="1060"/>
                    <a:pt x="548" y="1067"/>
                    <a:pt x="558" y="1074"/>
                  </a:cubicBezTo>
                  <a:cubicBezTo>
                    <a:pt x="565" y="1079"/>
                    <a:pt x="571" y="1083"/>
                    <a:pt x="576" y="1086"/>
                  </a:cubicBezTo>
                  <a:cubicBezTo>
                    <a:pt x="578" y="1088"/>
                    <a:pt x="579" y="1089"/>
                    <a:pt x="581" y="1090"/>
                  </a:cubicBezTo>
                  <a:cubicBezTo>
                    <a:pt x="585" y="1093"/>
                    <a:pt x="590" y="1096"/>
                    <a:pt x="593" y="1098"/>
                  </a:cubicBezTo>
                  <a:cubicBezTo>
                    <a:pt x="595" y="1100"/>
                    <a:pt x="597" y="1101"/>
                    <a:pt x="598" y="1102"/>
                  </a:cubicBezTo>
                  <a:cubicBezTo>
                    <a:pt x="600" y="1103"/>
                    <a:pt x="601" y="1103"/>
                    <a:pt x="602" y="1104"/>
                  </a:cubicBezTo>
                  <a:cubicBezTo>
                    <a:pt x="603" y="1105"/>
                    <a:pt x="604" y="1106"/>
                    <a:pt x="605" y="1106"/>
                  </a:cubicBezTo>
                  <a:cubicBezTo>
                    <a:pt x="607" y="1108"/>
                    <a:pt x="609" y="1109"/>
                    <a:pt x="611" y="1110"/>
                  </a:cubicBezTo>
                  <a:cubicBezTo>
                    <a:pt x="611" y="1111"/>
                    <a:pt x="611" y="1111"/>
                    <a:pt x="612" y="1111"/>
                  </a:cubicBezTo>
                  <a:cubicBezTo>
                    <a:pt x="612" y="1112"/>
                    <a:pt x="613" y="1112"/>
                    <a:pt x="613" y="1112"/>
                  </a:cubicBezTo>
                  <a:cubicBezTo>
                    <a:pt x="614" y="1112"/>
                    <a:pt x="614" y="1112"/>
                    <a:pt x="614" y="1112"/>
                  </a:cubicBezTo>
                  <a:cubicBezTo>
                    <a:pt x="614" y="1112"/>
                    <a:pt x="631" y="1126"/>
                    <a:pt x="630" y="1134"/>
                  </a:cubicBezTo>
                  <a:cubicBezTo>
                    <a:pt x="628" y="1142"/>
                    <a:pt x="638" y="1155"/>
                    <a:pt x="647" y="1155"/>
                  </a:cubicBezTo>
                  <a:cubicBezTo>
                    <a:pt x="656" y="1155"/>
                    <a:pt x="660" y="1162"/>
                    <a:pt x="666" y="1171"/>
                  </a:cubicBezTo>
                  <a:cubicBezTo>
                    <a:pt x="671" y="1180"/>
                    <a:pt x="671" y="1182"/>
                    <a:pt x="684" y="1182"/>
                  </a:cubicBezTo>
                  <a:cubicBezTo>
                    <a:pt x="698" y="1182"/>
                    <a:pt x="710" y="1188"/>
                    <a:pt x="711" y="1192"/>
                  </a:cubicBezTo>
                  <a:cubicBezTo>
                    <a:pt x="712" y="1196"/>
                    <a:pt x="726" y="1198"/>
                    <a:pt x="734" y="1198"/>
                  </a:cubicBezTo>
                  <a:cubicBezTo>
                    <a:pt x="742" y="1198"/>
                    <a:pt x="751" y="1200"/>
                    <a:pt x="752" y="1212"/>
                  </a:cubicBezTo>
                  <a:cubicBezTo>
                    <a:pt x="754" y="1224"/>
                    <a:pt x="771" y="1223"/>
                    <a:pt x="764" y="1234"/>
                  </a:cubicBezTo>
                  <a:cubicBezTo>
                    <a:pt x="758" y="1244"/>
                    <a:pt x="743" y="1247"/>
                    <a:pt x="755" y="1259"/>
                  </a:cubicBezTo>
                  <a:cubicBezTo>
                    <a:pt x="767" y="1271"/>
                    <a:pt x="787" y="1272"/>
                    <a:pt x="787" y="1262"/>
                  </a:cubicBezTo>
                  <a:cubicBezTo>
                    <a:pt x="787" y="1251"/>
                    <a:pt x="800" y="1248"/>
                    <a:pt x="818" y="1251"/>
                  </a:cubicBezTo>
                  <a:cubicBezTo>
                    <a:pt x="819" y="1251"/>
                    <a:pt x="820" y="1251"/>
                    <a:pt x="821" y="1251"/>
                  </a:cubicBezTo>
                  <a:cubicBezTo>
                    <a:pt x="824" y="1252"/>
                    <a:pt x="826" y="1251"/>
                    <a:pt x="828" y="1251"/>
                  </a:cubicBezTo>
                  <a:cubicBezTo>
                    <a:pt x="828" y="1251"/>
                    <a:pt x="828" y="1251"/>
                    <a:pt x="828" y="1251"/>
                  </a:cubicBezTo>
                  <a:cubicBezTo>
                    <a:pt x="829" y="1251"/>
                    <a:pt x="830" y="1250"/>
                    <a:pt x="830" y="1250"/>
                  </a:cubicBezTo>
                  <a:cubicBezTo>
                    <a:pt x="830" y="1250"/>
                    <a:pt x="830" y="1250"/>
                    <a:pt x="830" y="1250"/>
                  </a:cubicBezTo>
                  <a:cubicBezTo>
                    <a:pt x="831" y="1250"/>
                    <a:pt x="832" y="1250"/>
                    <a:pt x="832" y="1250"/>
                  </a:cubicBezTo>
                  <a:cubicBezTo>
                    <a:pt x="832" y="1250"/>
                    <a:pt x="832" y="1250"/>
                    <a:pt x="832" y="1249"/>
                  </a:cubicBezTo>
                  <a:cubicBezTo>
                    <a:pt x="835" y="1249"/>
                    <a:pt x="837" y="1248"/>
                    <a:pt x="839" y="1246"/>
                  </a:cubicBezTo>
                  <a:cubicBezTo>
                    <a:pt x="839" y="1246"/>
                    <a:pt x="839" y="1246"/>
                    <a:pt x="839" y="1246"/>
                  </a:cubicBezTo>
                  <a:cubicBezTo>
                    <a:pt x="840" y="1246"/>
                    <a:pt x="841" y="1246"/>
                    <a:pt x="841" y="1246"/>
                  </a:cubicBezTo>
                  <a:cubicBezTo>
                    <a:pt x="842" y="1245"/>
                    <a:pt x="842" y="1245"/>
                    <a:pt x="842" y="1245"/>
                  </a:cubicBezTo>
                  <a:cubicBezTo>
                    <a:pt x="843" y="1245"/>
                    <a:pt x="843" y="1245"/>
                    <a:pt x="844" y="1245"/>
                  </a:cubicBezTo>
                  <a:cubicBezTo>
                    <a:pt x="844" y="1245"/>
                    <a:pt x="844" y="1244"/>
                    <a:pt x="845" y="1244"/>
                  </a:cubicBezTo>
                  <a:cubicBezTo>
                    <a:pt x="845" y="1244"/>
                    <a:pt x="846" y="1244"/>
                    <a:pt x="846" y="1244"/>
                  </a:cubicBezTo>
                  <a:cubicBezTo>
                    <a:pt x="847" y="1244"/>
                    <a:pt x="847" y="1244"/>
                    <a:pt x="847" y="1244"/>
                  </a:cubicBezTo>
                  <a:cubicBezTo>
                    <a:pt x="848" y="1243"/>
                    <a:pt x="849" y="1243"/>
                    <a:pt x="849" y="1243"/>
                  </a:cubicBezTo>
                  <a:cubicBezTo>
                    <a:pt x="850" y="1243"/>
                    <a:pt x="850" y="1243"/>
                    <a:pt x="851" y="1243"/>
                  </a:cubicBezTo>
                  <a:cubicBezTo>
                    <a:pt x="851" y="1243"/>
                    <a:pt x="852" y="1243"/>
                    <a:pt x="853" y="1242"/>
                  </a:cubicBezTo>
                  <a:cubicBezTo>
                    <a:pt x="853" y="1242"/>
                    <a:pt x="853" y="1242"/>
                    <a:pt x="854" y="1242"/>
                  </a:cubicBezTo>
                  <a:cubicBezTo>
                    <a:pt x="855" y="1242"/>
                    <a:pt x="856" y="1242"/>
                    <a:pt x="856" y="1242"/>
                  </a:cubicBezTo>
                  <a:cubicBezTo>
                    <a:pt x="857" y="1242"/>
                    <a:pt x="857" y="1242"/>
                    <a:pt x="858" y="1242"/>
                  </a:cubicBezTo>
                  <a:cubicBezTo>
                    <a:pt x="859" y="1242"/>
                    <a:pt x="860" y="1242"/>
                    <a:pt x="862" y="1242"/>
                  </a:cubicBezTo>
                  <a:cubicBezTo>
                    <a:pt x="886" y="1242"/>
                    <a:pt x="908" y="1239"/>
                    <a:pt x="927" y="1223"/>
                  </a:cubicBezTo>
                  <a:cubicBezTo>
                    <a:pt x="946" y="1207"/>
                    <a:pt x="1048" y="1122"/>
                    <a:pt x="1083" y="1103"/>
                  </a:cubicBezTo>
                  <a:cubicBezTo>
                    <a:pt x="1084" y="1103"/>
                    <a:pt x="1085" y="1102"/>
                    <a:pt x="1087" y="1101"/>
                  </a:cubicBezTo>
                  <a:cubicBezTo>
                    <a:pt x="1087" y="1101"/>
                    <a:pt x="1088" y="1101"/>
                    <a:pt x="1088" y="1100"/>
                  </a:cubicBezTo>
                  <a:cubicBezTo>
                    <a:pt x="1089" y="1100"/>
                    <a:pt x="1090" y="1099"/>
                    <a:pt x="1091" y="1099"/>
                  </a:cubicBezTo>
                  <a:cubicBezTo>
                    <a:pt x="1092" y="1098"/>
                    <a:pt x="1092" y="1098"/>
                    <a:pt x="1093" y="1097"/>
                  </a:cubicBezTo>
                  <a:cubicBezTo>
                    <a:pt x="1094" y="1097"/>
                    <a:pt x="1095" y="1096"/>
                    <a:pt x="1096" y="1096"/>
                  </a:cubicBezTo>
                  <a:cubicBezTo>
                    <a:pt x="1097" y="1095"/>
                    <a:pt x="1098" y="1095"/>
                    <a:pt x="1098" y="1094"/>
                  </a:cubicBezTo>
                  <a:cubicBezTo>
                    <a:pt x="1099" y="1093"/>
                    <a:pt x="1101" y="1093"/>
                    <a:pt x="1102" y="1092"/>
                  </a:cubicBezTo>
                  <a:cubicBezTo>
                    <a:pt x="1102" y="1092"/>
                    <a:pt x="1103" y="1091"/>
                    <a:pt x="1104" y="1090"/>
                  </a:cubicBezTo>
                  <a:cubicBezTo>
                    <a:pt x="1105" y="1090"/>
                    <a:pt x="1107" y="1089"/>
                    <a:pt x="1108" y="1088"/>
                  </a:cubicBezTo>
                  <a:cubicBezTo>
                    <a:pt x="1109" y="1088"/>
                    <a:pt x="1110" y="1087"/>
                    <a:pt x="1111" y="1086"/>
                  </a:cubicBezTo>
                  <a:cubicBezTo>
                    <a:pt x="1112" y="1086"/>
                    <a:pt x="1113" y="1085"/>
                    <a:pt x="1115" y="1084"/>
                  </a:cubicBezTo>
                  <a:cubicBezTo>
                    <a:pt x="1116" y="1083"/>
                    <a:pt x="1116" y="1083"/>
                    <a:pt x="1117" y="1082"/>
                  </a:cubicBezTo>
                  <a:cubicBezTo>
                    <a:pt x="1119" y="1081"/>
                    <a:pt x="1121" y="1080"/>
                    <a:pt x="1123" y="1079"/>
                  </a:cubicBezTo>
                  <a:cubicBezTo>
                    <a:pt x="1123" y="1079"/>
                    <a:pt x="1123" y="1078"/>
                    <a:pt x="1124" y="1078"/>
                  </a:cubicBezTo>
                  <a:cubicBezTo>
                    <a:pt x="1185" y="1039"/>
                    <a:pt x="1289" y="971"/>
                    <a:pt x="1319" y="965"/>
                  </a:cubicBezTo>
                  <a:cubicBezTo>
                    <a:pt x="1310" y="949"/>
                    <a:pt x="1295" y="920"/>
                    <a:pt x="1290" y="91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3" name="Freeform 433">
              <a:extLst>
                <a:ext uri="{FF2B5EF4-FFF2-40B4-BE49-F238E27FC236}">
                  <a16:creationId xmlns:a16="http://schemas.microsoft.com/office/drawing/2014/main" id="{EFF76581-7D72-AE4A-887C-7C00C1AA2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306"/>
              <a:ext cx="94" cy="74"/>
            </a:xfrm>
            <a:custGeom>
              <a:avLst/>
              <a:gdLst>
                <a:gd name="T0" fmla="*/ 366 w 373"/>
                <a:gd name="T1" fmla="*/ 239 h 291"/>
                <a:gd name="T2" fmla="*/ 343 w 373"/>
                <a:gd name="T3" fmla="*/ 213 h 291"/>
                <a:gd name="T4" fmla="*/ 328 w 373"/>
                <a:gd name="T5" fmla="*/ 185 h 291"/>
                <a:gd name="T6" fmla="*/ 318 w 373"/>
                <a:gd name="T7" fmla="*/ 147 h 291"/>
                <a:gd name="T8" fmla="*/ 318 w 373"/>
                <a:gd name="T9" fmla="*/ 131 h 291"/>
                <a:gd name="T10" fmla="*/ 283 w 373"/>
                <a:gd name="T11" fmla="*/ 103 h 291"/>
                <a:gd name="T12" fmla="*/ 235 w 373"/>
                <a:gd name="T13" fmla="*/ 38 h 291"/>
                <a:gd name="T14" fmla="*/ 196 w 373"/>
                <a:gd name="T15" fmla="*/ 19 h 291"/>
                <a:gd name="T16" fmla="*/ 142 w 373"/>
                <a:gd name="T17" fmla="*/ 2 h 291"/>
                <a:gd name="T18" fmla="*/ 97 w 373"/>
                <a:gd name="T19" fmla="*/ 11 h 291"/>
                <a:gd name="T20" fmla="*/ 57 w 373"/>
                <a:gd name="T21" fmla="*/ 15 h 291"/>
                <a:gd name="T22" fmla="*/ 53 w 373"/>
                <a:gd name="T23" fmla="*/ 22 h 291"/>
                <a:gd name="T24" fmla="*/ 50 w 373"/>
                <a:gd name="T25" fmla="*/ 18 h 291"/>
                <a:gd name="T26" fmla="*/ 12 w 373"/>
                <a:gd name="T27" fmla="*/ 100 h 291"/>
                <a:gd name="T28" fmla="*/ 30 w 373"/>
                <a:gd name="T29" fmla="*/ 188 h 291"/>
                <a:gd name="T30" fmla="*/ 31 w 373"/>
                <a:gd name="T31" fmla="*/ 204 h 291"/>
                <a:gd name="T32" fmla="*/ 70 w 373"/>
                <a:gd name="T33" fmla="*/ 206 h 291"/>
                <a:gd name="T34" fmla="*/ 108 w 373"/>
                <a:gd name="T35" fmla="*/ 197 h 291"/>
                <a:gd name="T36" fmla="*/ 143 w 373"/>
                <a:gd name="T37" fmla="*/ 188 h 291"/>
                <a:gd name="T38" fmla="*/ 179 w 373"/>
                <a:gd name="T39" fmla="*/ 211 h 291"/>
                <a:gd name="T40" fmla="*/ 212 w 373"/>
                <a:gd name="T41" fmla="*/ 209 h 291"/>
                <a:gd name="T42" fmla="*/ 196 w 373"/>
                <a:gd name="T43" fmla="*/ 222 h 291"/>
                <a:gd name="T44" fmla="*/ 168 w 373"/>
                <a:gd name="T45" fmla="*/ 221 h 291"/>
                <a:gd name="T46" fmla="*/ 142 w 373"/>
                <a:gd name="T47" fmla="*/ 210 h 291"/>
                <a:gd name="T48" fmla="*/ 106 w 373"/>
                <a:gd name="T49" fmla="*/ 220 h 291"/>
                <a:gd name="T50" fmla="*/ 67 w 373"/>
                <a:gd name="T51" fmla="*/ 230 h 291"/>
                <a:gd name="T52" fmla="*/ 29 w 373"/>
                <a:gd name="T53" fmla="*/ 237 h 291"/>
                <a:gd name="T54" fmla="*/ 34 w 373"/>
                <a:gd name="T55" fmla="*/ 278 h 291"/>
                <a:gd name="T56" fmla="*/ 82 w 373"/>
                <a:gd name="T57" fmla="*/ 278 h 291"/>
                <a:gd name="T58" fmla="*/ 136 w 373"/>
                <a:gd name="T59" fmla="*/ 261 h 291"/>
                <a:gd name="T60" fmla="*/ 216 w 373"/>
                <a:gd name="T61" fmla="*/ 262 h 291"/>
                <a:gd name="T62" fmla="*/ 234 w 373"/>
                <a:gd name="T63" fmla="*/ 261 h 291"/>
                <a:gd name="T64" fmla="*/ 236 w 373"/>
                <a:gd name="T65" fmla="*/ 261 h 291"/>
                <a:gd name="T66" fmla="*/ 269 w 373"/>
                <a:gd name="T67" fmla="*/ 274 h 291"/>
                <a:gd name="T68" fmla="*/ 306 w 373"/>
                <a:gd name="T69" fmla="*/ 290 h 291"/>
                <a:gd name="T70" fmla="*/ 329 w 373"/>
                <a:gd name="T71" fmla="*/ 280 h 291"/>
                <a:gd name="T72" fmla="*/ 331 w 373"/>
                <a:gd name="T73" fmla="*/ 280 h 291"/>
                <a:gd name="T74" fmla="*/ 334 w 373"/>
                <a:gd name="T75" fmla="*/ 279 h 291"/>
                <a:gd name="T76" fmla="*/ 338 w 373"/>
                <a:gd name="T77" fmla="*/ 279 h 291"/>
                <a:gd name="T78" fmla="*/ 340 w 373"/>
                <a:gd name="T79" fmla="*/ 279 h 291"/>
                <a:gd name="T80" fmla="*/ 343 w 373"/>
                <a:gd name="T81" fmla="*/ 279 h 291"/>
                <a:gd name="T82" fmla="*/ 347 w 373"/>
                <a:gd name="T83" fmla="*/ 279 h 291"/>
                <a:gd name="T84" fmla="*/ 350 w 373"/>
                <a:gd name="T85" fmla="*/ 279 h 291"/>
                <a:gd name="T86" fmla="*/ 353 w 373"/>
                <a:gd name="T87" fmla="*/ 279 h 291"/>
                <a:gd name="T88" fmla="*/ 355 w 373"/>
                <a:gd name="T89" fmla="*/ 279 h 291"/>
                <a:gd name="T90" fmla="*/ 357 w 373"/>
                <a:gd name="T91" fmla="*/ 279 h 291"/>
                <a:gd name="T92" fmla="*/ 359 w 373"/>
                <a:gd name="T93" fmla="*/ 280 h 291"/>
                <a:gd name="T94" fmla="*/ 361 w 373"/>
                <a:gd name="T95" fmla="*/ 281 h 291"/>
                <a:gd name="T96" fmla="*/ 362 w 373"/>
                <a:gd name="T97" fmla="*/ 282 h 291"/>
                <a:gd name="T98" fmla="*/ 371 w 373"/>
                <a:gd name="T99" fmla="*/ 255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3" h="291">
                  <a:moveTo>
                    <a:pt x="371" y="255"/>
                  </a:moveTo>
                  <a:cubicBezTo>
                    <a:pt x="370" y="247"/>
                    <a:pt x="370" y="242"/>
                    <a:pt x="366" y="239"/>
                  </a:cubicBezTo>
                  <a:cubicBezTo>
                    <a:pt x="362" y="235"/>
                    <a:pt x="360" y="229"/>
                    <a:pt x="359" y="221"/>
                  </a:cubicBezTo>
                  <a:cubicBezTo>
                    <a:pt x="357" y="213"/>
                    <a:pt x="353" y="215"/>
                    <a:pt x="343" y="213"/>
                  </a:cubicBezTo>
                  <a:cubicBezTo>
                    <a:pt x="333" y="211"/>
                    <a:pt x="334" y="203"/>
                    <a:pt x="329" y="199"/>
                  </a:cubicBezTo>
                  <a:cubicBezTo>
                    <a:pt x="323" y="195"/>
                    <a:pt x="326" y="191"/>
                    <a:pt x="328" y="185"/>
                  </a:cubicBezTo>
                  <a:cubicBezTo>
                    <a:pt x="330" y="179"/>
                    <a:pt x="329" y="170"/>
                    <a:pt x="329" y="162"/>
                  </a:cubicBezTo>
                  <a:cubicBezTo>
                    <a:pt x="329" y="154"/>
                    <a:pt x="323" y="150"/>
                    <a:pt x="318" y="147"/>
                  </a:cubicBezTo>
                  <a:cubicBezTo>
                    <a:pt x="316" y="145"/>
                    <a:pt x="317" y="138"/>
                    <a:pt x="319" y="132"/>
                  </a:cubicBezTo>
                  <a:cubicBezTo>
                    <a:pt x="318" y="132"/>
                    <a:pt x="318" y="132"/>
                    <a:pt x="318" y="131"/>
                  </a:cubicBezTo>
                  <a:cubicBezTo>
                    <a:pt x="309" y="129"/>
                    <a:pt x="306" y="118"/>
                    <a:pt x="302" y="112"/>
                  </a:cubicBezTo>
                  <a:cubicBezTo>
                    <a:pt x="297" y="105"/>
                    <a:pt x="290" y="106"/>
                    <a:pt x="283" y="103"/>
                  </a:cubicBezTo>
                  <a:cubicBezTo>
                    <a:pt x="275" y="100"/>
                    <a:pt x="258" y="73"/>
                    <a:pt x="253" y="64"/>
                  </a:cubicBezTo>
                  <a:cubicBezTo>
                    <a:pt x="248" y="56"/>
                    <a:pt x="238" y="43"/>
                    <a:pt x="235" y="38"/>
                  </a:cubicBezTo>
                  <a:cubicBezTo>
                    <a:pt x="231" y="33"/>
                    <a:pt x="225" y="32"/>
                    <a:pt x="216" y="32"/>
                  </a:cubicBezTo>
                  <a:cubicBezTo>
                    <a:pt x="206" y="32"/>
                    <a:pt x="198" y="26"/>
                    <a:pt x="196" y="19"/>
                  </a:cubicBezTo>
                  <a:cubicBezTo>
                    <a:pt x="194" y="12"/>
                    <a:pt x="186" y="10"/>
                    <a:pt x="174" y="6"/>
                  </a:cubicBezTo>
                  <a:cubicBezTo>
                    <a:pt x="162" y="2"/>
                    <a:pt x="149" y="0"/>
                    <a:pt x="142" y="2"/>
                  </a:cubicBezTo>
                  <a:cubicBezTo>
                    <a:pt x="135" y="4"/>
                    <a:pt x="128" y="6"/>
                    <a:pt x="120" y="6"/>
                  </a:cubicBezTo>
                  <a:cubicBezTo>
                    <a:pt x="112" y="7"/>
                    <a:pt x="101" y="8"/>
                    <a:pt x="97" y="11"/>
                  </a:cubicBezTo>
                  <a:cubicBezTo>
                    <a:pt x="93" y="15"/>
                    <a:pt x="83" y="15"/>
                    <a:pt x="78" y="12"/>
                  </a:cubicBezTo>
                  <a:cubicBezTo>
                    <a:pt x="73" y="10"/>
                    <a:pt x="70" y="13"/>
                    <a:pt x="57" y="15"/>
                  </a:cubicBezTo>
                  <a:cubicBezTo>
                    <a:pt x="54" y="15"/>
                    <a:pt x="52" y="16"/>
                    <a:pt x="50" y="18"/>
                  </a:cubicBezTo>
                  <a:cubicBezTo>
                    <a:pt x="51" y="19"/>
                    <a:pt x="52" y="21"/>
                    <a:pt x="53" y="22"/>
                  </a:cubicBezTo>
                  <a:cubicBezTo>
                    <a:pt x="52" y="21"/>
                    <a:pt x="51" y="19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24"/>
                    <a:pt x="49" y="30"/>
                    <a:pt x="47" y="38"/>
                  </a:cubicBezTo>
                  <a:cubicBezTo>
                    <a:pt x="41" y="64"/>
                    <a:pt x="24" y="86"/>
                    <a:pt x="12" y="100"/>
                  </a:cubicBezTo>
                  <a:cubicBezTo>
                    <a:pt x="0" y="114"/>
                    <a:pt x="10" y="141"/>
                    <a:pt x="24" y="151"/>
                  </a:cubicBezTo>
                  <a:cubicBezTo>
                    <a:pt x="38" y="160"/>
                    <a:pt x="24" y="174"/>
                    <a:pt x="30" y="188"/>
                  </a:cubicBezTo>
                  <a:cubicBezTo>
                    <a:pt x="37" y="202"/>
                    <a:pt x="30" y="187"/>
                    <a:pt x="31" y="203"/>
                  </a:cubicBezTo>
                  <a:cubicBezTo>
                    <a:pt x="31" y="204"/>
                    <a:pt x="31" y="204"/>
                    <a:pt x="31" y="204"/>
                  </a:cubicBezTo>
                  <a:cubicBezTo>
                    <a:pt x="38" y="203"/>
                    <a:pt x="46" y="201"/>
                    <a:pt x="50" y="201"/>
                  </a:cubicBezTo>
                  <a:cubicBezTo>
                    <a:pt x="56" y="201"/>
                    <a:pt x="61" y="205"/>
                    <a:pt x="70" y="206"/>
                  </a:cubicBezTo>
                  <a:cubicBezTo>
                    <a:pt x="79" y="207"/>
                    <a:pt x="89" y="204"/>
                    <a:pt x="93" y="200"/>
                  </a:cubicBezTo>
                  <a:cubicBezTo>
                    <a:pt x="96" y="196"/>
                    <a:pt x="101" y="197"/>
                    <a:pt x="108" y="197"/>
                  </a:cubicBezTo>
                  <a:cubicBezTo>
                    <a:pt x="116" y="197"/>
                    <a:pt x="122" y="196"/>
                    <a:pt x="123" y="191"/>
                  </a:cubicBezTo>
                  <a:cubicBezTo>
                    <a:pt x="125" y="186"/>
                    <a:pt x="134" y="189"/>
                    <a:pt x="143" y="188"/>
                  </a:cubicBezTo>
                  <a:cubicBezTo>
                    <a:pt x="152" y="187"/>
                    <a:pt x="159" y="196"/>
                    <a:pt x="165" y="202"/>
                  </a:cubicBezTo>
                  <a:cubicBezTo>
                    <a:pt x="171" y="209"/>
                    <a:pt x="171" y="209"/>
                    <a:pt x="179" y="211"/>
                  </a:cubicBezTo>
                  <a:cubicBezTo>
                    <a:pt x="187" y="214"/>
                    <a:pt x="196" y="211"/>
                    <a:pt x="200" y="210"/>
                  </a:cubicBezTo>
                  <a:cubicBezTo>
                    <a:pt x="205" y="208"/>
                    <a:pt x="208" y="206"/>
                    <a:pt x="212" y="209"/>
                  </a:cubicBezTo>
                  <a:cubicBezTo>
                    <a:pt x="216" y="212"/>
                    <a:pt x="216" y="216"/>
                    <a:pt x="213" y="218"/>
                  </a:cubicBezTo>
                  <a:cubicBezTo>
                    <a:pt x="210" y="220"/>
                    <a:pt x="204" y="222"/>
                    <a:pt x="196" y="222"/>
                  </a:cubicBezTo>
                  <a:cubicBezTo>
                    <a:pt x="188" y="222"/>
                    <a:pt x="189" y="228"/>
                    <a:pt x="184" y="228"/>
                  </a:cubicBezTo>
                  <a:cubicBezTo>
                    <a:pt x="179" y="228"/>
                    <a:pt x="172" y="225"/>
                    <a:pt x="168" y="221"/>
                  </a:cubicBezTo>
                  <a:cubicBezTo>
                    <a:pt x="165" y="217"/>
                    <a:pt x="160" y="215"/>
                    <a:pt x="154" y="214"/>
                  </a:cubicBezTo>
                  <a:cubicBezTo>
                    <a:pt x="148" y="213"/>
                    <a:pt x="145" y="213"/>
                    <a:pt x="142" y="210"/>
                  </a:cubicBezTo>
                  <a:cubicBezTo>
                    <a:pt x="139" y="207"/>
                    <a:pt x="133" y="206"/>
                    <a:pt x="130" y="211"/>
                  </a:cubicBezTo>
                  <a:cubicBezTo>
                    <a:pt x="128" y="216"/>
                    <a:pt x="114" y="220"/>
                    <a:pt x="106" y="220"/>
                  </a:cubicBezTo>
                  <a:cubicBezTo>
                    <a:pt x="98" y="221"/>
                    <a:pt x="95" y="221"/>
                    <a:pt x="91" y="225"/>
                  </a:cubicBezTo>
                  <a:cubicBezTo>
                    <a:pt x="87" y="229"/>
                    <a:pt x="78" y="230"/>
                    <a:pt x="67" y="230"/>
                  </a:cubicBezTo>
                  <a:cubicBezTo>
                    <a:pt x="56" y="229"/>
                    <a:pt x="50" y="232"/>
                    <a:pt x="40" y="233"/>
                  </a:cubicBezTo>
                  <a:cubicBezTo>
                    <a:pt x="35" y="233"/>
                    <a:pt x="32" y="235"/>
                    <a:pt x="29" y="237"/>
                  </a:cubicBezTo>
                  <a:cubicBezTo>
                    <a:pt x="29" y="238"/>
                    <a:pt x="29" y="239"/>
                    <a:pt x="29" y="240"/>
                  </a:cubicBezTo>
                  <a:cubicBezTo>
                    <a:pt x="31" y="251"/>
                    <a:pt x="28" y="269"/>
                    <a:pt x="34" y="278"/>
                  </a:cubicBezTo>
                  <a:cubicBezTo>
                    <a:pt x="40" y="277"/>
                    <a:pt x="54" y="276"/>
                    <a:pt x="58" y="277"/>
                  </a:cubicBezTo>
                  <a:cubicBezTo>
                    <a:pt x="65" y="279"/>
                    <a:pt x="72" y="276"/>
                    <a:pt x="82" y="278"/>
                  </a:cubicBezTo>
                  <a:cubicBezTo>
                    <a:pt x="93" y="280"/>
                    <a:pt x="105" y="278"/>
                    <a:pt x="110" y="272"/>
                  </a:cubicBezTo>
                  <a:cubicBezTo>
                    <a:pt x="115" y="266"/>
                    <a:pt x="128" y="261"/>
                    <a:pt x="136" y="261"/>
                  </a:cubicBezTo>
                  <a:cubicBezTo>
                    <a:pt x="144" y="261"/>
                    <a:pt x="158" y="264"/>
                    <a:pt x="175" y="264"/>
                  </a:cubicBezTo>
                  <a:cubicBezTo>
                    <a:pt x="191" y="264"/>
                    <a:pt x="209" y="262"/>
                    <a:pt x="216" y="262"/>
                  </a:cubicBezTo>
                  <a:cubicBezTo>
                    <a:pt x="222" y="262"/>
                    <a:pt x="224" y="261"/>
                    <a:pt x="227" y="262"/>
                  </a:cubicBezTo>
                  <a:cubicBezTo>
                    <a:pt x="228" y="261"/>
                    <a:pt x="230" y="261"/>
                    <a:pt x="234" y="261"/>
                  </a:cubicBezTo>
                  <a:cubicBezTo>
                    <a:pt x="234" y="261"/>
                    <a:pt x="234" y="261"/>
                    <a:pt x="234" y="261"/>
                  </a:cubicBezTo>
                  <a:cubicBezTo>
                    <a:pt x="235" y="261"/>
                    <a:pt x="235" y="261"/>
                    <a:pt x="236" y="261"/>
                  </a:cubicBezTo>
                  <a:cubicBezTo>
                    <a:pt x="236" y="262"/>
                    <a:pt x="237" y="262"/>
                    <a:pt x="238" y="262"/>
                  </a:cubicBezTo>
                  <a:cubicBezTo>
                    <a:pt x="250" y="264"/>
                    <a:pt x="262" y="266"/>
                    <a:pt x="269" y="274"/>
                  </a:cubicBezTo>
                  <a:cubicBezTo>
                    <a:pt x="276" y="282"/>
                    <a:pt x="280" y="282"/>
                    <a:pt x="290" y="282"/>
                  </a:cubicBezTo>
                  <a:cubicBezTo>
                    <a:pt x="300" y="282"/>
                    <a:pt x="300" y="289"/>
                    <a:pt x="306" y="290"/>
                  </a:cubicBezTo>
                  <a:cubicBezTo>
                    <a:pt x="312" y="291"/>
                    <a:pt x="316" y="280"/>
                    <a:pt x="327" y="280"/>
                  </a:cubicBezTo>
                  <a:cubicBezTo>
                    <a:pt x="327" y="280"/>
                    <a:pt x="328" y="280"/>
                    <a:pt x="329" y="280"/>
                  </a:cubicBezTo>
                  <a:cubicBezTo>
                    <a:pt x="329" y="280"/>
                    <a:pt x="329" y="280"/>
                    <a:pt x="330" y="280"/>
                  </a:cubicBezTo>
                  <a:cubicBezTo>
                    <a:pt x="330" y="280"/>
                    <a:pt x="331" y="280"/>
                    <a:pt x="331" y="280"/>
                  </a:cubicBezTo>
                  <a:cubicBezTo>
                    <a:pt x="332" y="280"/>
                    <a:pt x="332" y="280"/>
                    <a:pt x="332" y="280"/>
                  </a:cubicBezTo>
                  <a:cubicBezTo>
                    <a:pt x="333" y="279"/>
                    <a:pt x="333" y="279"/>
                    <a:pt x="334" y="279"/>
                  </a:cubicBezTo>
                  <a:cubicBezTo>
                    <a:pt x="334" y="279"/>
                    <a:pt x="335" y="279"/>
                    <a:pt x="335" y="279"/>
                  </a:cubicBezTo>
                  <a:cubicBezTo>
                    <a:pt x="336" y="279"/>
                    <a:pt x="337" y="279"/>
                    <a:pt x="338" y="279"/>
                  </a:cubicBezTo>
                  <a:cubicBezTo>
                    <a:pt x="338" y="279"/>
                    <a:pt x="338" y="279"/>
                    <a:pt x="339" y="279"/>
                  </a:cubicBezTo>
                  <a:cubicBezTo>
                    <a:pt x="339" y="279"/>
                    <a:pt x="340" y="279"/>
                    <a:pt x="340" y="279"/>
                  </a:cubicBezTo>
                  <a:cubicBezTo>
                    <a:pt x="341" y="279"/>
                    <a:pt x="341" y="279"/>
                    <a:pt x="342" y="279"/>
                  </a:cubicBezTo>
                  <a:cubicBezTo>
                    <a:pt x="342" y="279"/>
                    <a:pt x="343" y="279"/>
                    <a:pt x="343" y="279"/>
                  </a:cubicBezTo>
                  <a:cubicBezTo>
                    <a:pt x="344" y="279"/>
                    <a:pt x="344" y="279"/>
                    <a:pt x="345" y="279"/>
                  </a:cubicBezTo>
                  <a:cubicBezTo>
                    <a:pt x="345" y="279"/>
                    <a:pt x="346" y="279"/>
                    <a:pt x="347" y="279"/>
                  </a:cubicBezTo>
                  <a:cubicBezTo>
                    <a:pt x="348" y="279"/>
                    <a:pt x="348" y="279"/>
                    <a:pt x="349" y="279"/>
                  </a:cubicBezTo>
                  <a:cubicBezTo>
                    <a:pt x="349" y="279"/>
                    <a:pt x="350" y="279"/>
                    <a:pt x="350" y="279"/>
                  </a:cubicBezTo>
                  <a:cubicBezTo>
                    <a:pt x="351" y="279"/>
                    <a:pt x="351" y="279"/>
                    <a:pt x="351" y="279"/>
                  </a:cubicBezTo>
                  <a:cubicBezTo>
                    <a:pt x="352" y="279"/>
                    <a:pt x="352" y="279"/>
                    <a:pt x="353" y="279"/>
                  </a:cubicBezTo>
                  <a:cubicBezTo>
                    <a:pt x="353" y="279"/>
                    <a:pt x="354" y="279"/>
                    <a:pt x="354" y="279"/>
                  </a:cubicBezTo>
                  <a:cubicBezTo>
                    <a:pt x="354" y="279"/>
                    <a:pt x="355" y="279"/>
                    <a:pt x="355" y="279"/>
                  </a:cubicBezTo>
                  <a:cubicBezTo>
                    <a:pt x="356" y="279"/>
                    <a:pt x="356" y="279"/>
                    <a:pt x="356" y="279"/>
                  </a:cubicBezTo>
                  <a:cubicBezTo>
                    <a:pt x="357" y="279"/>
                    <a:pt x="357" y="279"/>
                    <a:pt x="357" y="279"/>
                  </a:cubicBezTo>
                  <a:cubicBezTo>
                    <a:pt x="358" y="279"/>
                    <a:pt x="358" y="279"/>
                    <a:pt x="358" y="280"/>
                  </a:cubicBezTo>
                  <a:cubicBezTo>
                    <a:pt x="359" y="280"/>
                    <a:pt x="359" y="280"/>
                    <a:pt x="359" y="280"/>
                  </a:cubicBezTo>
                  <a:cubicBezTo>
                    <a:pt x="360" y="280"/>
                    <a:pt x="360" y="280"/>
                    <a:pt x="360" y="280"/>
                  </a:cubicBezTo>
                  <a:cubicBezTo>
                    <a:pt x="361" y="280"/>
                    <a:pt x="361" y="281"/>
                    <a:pt x="361" y="281"/>
                  </a:cubicBezTo>
                  <a:cubicBezTo>
                    <a:pt x="361" y="281"/>
                    <a:pt x="362" y="281"/>
                    <a:pt x="362" y="281"/>
                  </a:cubicBezTo>
                  <a:cubicBezTo>
                    <a:pt x="362" y="281"/>
                    <a:pt x="362" y="282"/>
                    <a:pt x="362" y="282"/>
                  </a:cubicBezTo>
                  <a:cubicBezTo>
                    <a:pt x="364" y="280"/>
                    <a:pt x="366" y="279"/>
                    <a:pt x="369" y="277"/>
                  </a:cubicBezTo>
                  <a:cubicBezTo>
                    <a:pt x="373" y="273"/>
                    <a:pt x="371" y="263"/>
                    <a:pt x="371" y="25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4" name="Freeform 434">
              <a:extLst>
                <a:ext uri="{FF2B5EF4-FFF2-40B4-BE49-F238E27FC236}">
                  <a16:creationId xmlns:a16="http://schemas.microsoft.com/office/drawing/2014/main" id="{AAF74BD2-D9DE-EE42-8017-519553F10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1" y="2166"/>
              <a:ext cx="266" cy="248"/>
            </a:xfrm>
            <a:custGeom>
              <a:avLst/>
              <a:gdLst>
                <a:gd name="T0" fmla="*/ 991 w 1048"/>
                <a:gd name="T1" fmla="*/ 380 h 982"/>
                <a:gd name="T2" fmla="*/ 938 w 1048"/>
                <a:gd name="T3" fmla="*/ 338 h 982"/>
                <a:gd name="T4" fmla="*/ 874 w 1048"/>
                <a:gd name="T5" fmla="*/ 301 h 982"/>
                <a:gd name="T6" fmla="*/ 840 w 1048"/>
                <a:gd name="T7" fmla="*/ 258 h 982"/>
                <a:gd name="T8" fmla="*/ 832 w 1048"/>
                <a:gd name="T9" fmla="*/ 252 h 982"/>
                <a:gd name="T10" fmla="*/ 820 w 1048"/>
                <a:gd name="T11" fmla="*/ 244 h 982"/>
                <a:gd name="T12" fmla="*/ 785 w 1048"/>
                <a:gd name="T13" fmla="*/ 220 h 982"/>
                <a:gd name="T14" fmla="*/ 663 w 1048"/>
                <a:gd name="T15" fmla="*/ 136 h 982"/>
                <a:gd name="T16" fmla="*/ 556 w 1048"/>
                <a:gd name="T17" fmla="*/ 63 h 982"/>
                <a:gd name="T18" fmla="*/ 534 w 1048"/>
                <a:gd name="T19" fmla="*/ 47 h 982"/>
                <a:gd name="T20" fmla="*/ 503 w 1048"/>
                <a:gd name="T21" fmla="*/ 26 h 982"/>
                <a:gd name="T22" fmla="*/ 488 w 1048"/>
                <a:gd name="T23" fmla="*/ 16 h 982"/>
                <a:gd name="T24" fmla="*/ 465 w 1048"/>
                <a:gd name="T25" fmla="*/ 0 h 982"/>
                <a:gd name="T26" fmla="*/ 436 w 1048"/>
                <a:gd name="T27" fmla="*/ 578 h 982"/>
                <a:gd name="T28" fmla="*/ 428 w 1048"/>
                <a:gd name="T29" fmla="*/ 639 h 982"/>
                <a:gd name="T30" fmla="*/ 173 w 1048"/>
                <a:gd name="T31" fmla="*/ 640 h 982"/>
                <a:gd name="T32" fmla="*/ 89 w 1048"/>
                <a:gd name="T33" fmla="*/ 658 h 982"/>
                <a:gd name="T34" fmla="*/ 64 w 1048"/>
                <a:gd name="T35" fmla="*/ 635 h 982"/>
                <a:gd name="T36" fmla="*/ 24 w 1048"/>
                <a:gd name="T37" fmla="*/ 676 h 982"/>
                <a:gd name="T38" fmla="*/ 21 w 1048"/>
                <a:gd name="T39" fmla="*/ 682 h 982"/>
                <a:gd name="T40" fmla="*/ 17 w 1048"/>
                <a:gd name="T41" fmla="*/ 686 h 982"/>
                <a:gd name="T42" fmla="*/ 13 w 1048"/>
                <a:gd name="T43" fmla="*/ 688 h 982"/>
                <a:gd name="T44" fmla="*/ 2 w 1048"/>
                <a:gd name="T45" fmla="*/ 704 h 982"/>
                <a:gd name="T46" fmla="*/ 13 w 1048"/>
                <a:gd name="T47" fmla="*/ 756 h 982"/>
                <a:gd name="T48" fmla="*/ 50 w 1048"/>
                <a:gd name="T49" fmla="*/ 796 h 982"/>
                <a:gd name="T50" fmla="*/ 46 w 1048"/>
                <a:gd name="T51" fmla="*/ 839 h 982"/>
                <a:gd name="T52" fmla="*/ 54 w 1048"/>
                <a:gd name="T53" fmla="*/ 863 h 982"/>
                <a:gd name="T54" fmla="*/ 95 w 1048"/>
                <a:gd name="T55" fmla="*/ 870 h 982"/>
                <a:gd name="T56" fmla="*/ 143 w 1048"/>
                <a:gd name="T57" fmla="*/ 858 h 982"/>
                <a:gd name="T58" fmla="*/ 185 w 1048"/>
                <a:gd name="T59" fmla="*/ 840 h 982"/>
                <a:gd name="T60" fmla="*/ 223 w 1048"/>
                <a:gd name="T61" fmla="*/ 883 h 982"/>
                <a:gd name="T62" fmla="*/ 232 w 1048"/>
                <a:gd name="T63" fmla="*/ 928 h 982"/>
                <a:gd name="T64" fmla="*/ 262 w 1048"/>
                <a:gd name="T65" fmla="*/ 973 h 982"/>
                <a:gd name="T66" fmla="*/ 269 w 1048"/>
                <a:gd name="T67" fmla="*/ 980 h 982"/>
                <a:gd name="T68" fmla="*/ 271 w 1048"/>
                <a:gd name="T69" fmla="*/ 982 h 982"/>
                <a:gd name="T70" fmla="*/ 272 w 1048"/>
                <a:gd name="T71" fmla="*/ 982 h 982"/>
                <a:gd name="T72" fmla="*/ 274 w 1048"/>
                <a:gd name="T73" fmla="*/ 982 h 982"/>
                <a:gd name="T74" fmla="*/ 275 w 1048"/>
                <a:gd name="T75" fmla="*/ 982 h 982"/>
                <a:gd name="T76" fmla="*/ 277 w 1048"/>
                <a:gd name="T77" fmla="*/ 981 h 982"/>
                <a:gd name="T78" fmla="*/ 278 w 1048"/>
                <a:gd name="T79" fmla="*/ 979 h 982"/>
                <a:gd name="T80" fmla="*/ 296 w 1048"/>
                <a:gd name="T81" fmla="*/ 964 h 982"/>
                <a:gd name="T82" fmla="*/ 337 w 1048"/>
                <a:gd name="T83" fmla="*/ 973 h 982"/>
                <a:gd name="T84" fmla="*/ 378 w 1048"/>
                <a:gd name="T85" fmla="*/ 964 h 982"/>
                <a:gd name="T86" fmla="*/ 418 w 1048"/>
                <a:gd name="T87" fmla="*/ 964 h 982"/>
                <a:gd name="T88" fmla="*/ 427 w 1048"/>
                <a:gd name="T89" fmla="*/ 965 h 982"/>
                <a:gd name="T90" fmla="*/ 435 w 1048"/>
                <a:gd name="T91" fmla="*/ 879 h 982"/>
                <a:gd name="T92" fmla="*/ 489 w 1048"/>
                <a:gd name="T93" fmla="*/ 853 h 982"/>
                <a:gd name="T94" fmla="*/ 515 w 1048"/>
                <a:gd name="T95" fmla="*/ 779 h 982"/>
                <a:gd name="T96" fmla="*/ 558 w 1048"/>
                <a:gd name="T97" fmla="*/ 787 h 982"/>
                <a:gd name="T98" fmla="*/ 595 w 1048"/>
                <a:gd name="T99" fmla="*/ 746 h 982"/>
                <a:gd name="T100" fmla="*/ 639 w 1048"/>
                <a:gd name="T101" fmla="*/ 723 h 982"/>
                <a:gd name="T102" fmla="*/ 677 w 1048"/>
                <a:gd name="T103" fmla="*/ 700 h 982"/>
                <a:gd name="T104" fmla="*/ 736 w 1048"/>
                <a:gd name="T105" fmla="*/ 662 h 982"/>
                <a:gd name="T106" fmla="*/ 774 w 1048"/>
                <a:gd name="T107" fmla="*/ 672 h 982"/>
                <a:gd name="T108" fmla="*/ 801 w 1048"/>
                <a:gd name="T109" fmla="*/ 673 h 982"/>
                <a:gd name="T110" fmla="*/ 847 w 1048"/>
                <a:gd name="T111" fmla="*/ 667 h 982"/>
                <a:gd name="T112" fmla="*/ 1005 w 1048"/>
                <a:gd name="T113" fmla="*/ 640 h 982"/>
                <a:gd name="T114" fmla="*/ 1048 w 1048"/>
                <a:gd name="T115" fmla="*/ 397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48" h="982">
                  <a:moveTo>
                    <a:pt x="1014" y="408"/>
                  </a:moveTo>
                  <a:cubicBezTo>
                    <a:pt x="1014" y="418"/>
                    <a:pt x="994" y="417"/>
                    <a:pt x="982" y="405"/>
                  </a:cubicBezTo>
                  <a:cubicBezTo>
                    <a:pt x="970" y="393"/>
                    <a:pt x="985" y="390"/>
                    <a:pt x="991" y="380"/>
                  </a:cubicBezTo>
                  <a:cubicBezTo>
                    <a:pt x="998" y="369"/>
                    <a:pt x="981" y="370"/>
                    <a:pt x="979" y="358"/>
                  </a:cubicBezTo>
                  <a:cubicBezTo>
                    <a:pt x="978" y="346"/>
                    <a:pt x="969" y="344"/>
                    <a:pt x="961" y="344"/>
                  </a:cubicBezTo>
                  <a:cubicBezTo>
                    <a:pt x="953" y="344"/>
                    <a:pt x="939" y="342"/>
                    <a:pt x="938" y="338"/>
                  </a:cubicBezTo>
                  <a:cubicBezTo>
                    <a:pt x="937" y="334"/>
                    <a:pt x="925" y="328"/>
                    <a:pt x="911" y="328"/>
                  </a:cubicBezTo>
                  <a:cubicBezTo>
                    <a:pt x="898" y="328"/>
                    <a:pt x="898" y="326"/>
                    <a:pt x="893" y="317"/>
                  </a:cubicBezTo>
                  <a:cubicBezTo>
                    <a:pt x="887" y="308"/>
                    <a:pt x="883" y="301"/>
                    <a:pt x="874" y="301"/>
                  </a:cubicBezTo>
                  <a:cubicBezTo>
                    <a:pt x="865" y="301"/>
                    <a:pt x="855" y="288"/>
                    <a:pt x="857" y="280"/>
                  </a:cubicBezTo>
                  <a:cubicBezTo>
                    <a:pt x="858" y="272"/>
                    <a:pt x="841" y="258"/>
                    <a:pt x="841" y="258"/>
                  </a:cubicBezTo>
                  <a:cubicBezTo>
                    <a:pt x="841" y="258"/>
                    <a:pt x="841" y="258"/>
                    <a:pt x="840" y="258"/>
                  </a:cubicBezTo>
                  <a:cubicBezTo>
                    <a:pt x="840" y="258"/>
                    <a:pt x="839" y="258"/>
                    <a:pt x="839" y="257"/>
                  </a:cubicBezTo>
                  <a:cubicBezTo>
                    <a:pt x="838" y="257"/>
                    <a:pt x="838" y="257"/>
                    <a:pt x="838" y="256"/>
                  </a:cubicBezTo>
                  <a:cubicBezTo>
                    <a:pt x="836" y="255"/>
                    <a:pt x="834" y="254"/>
                    <a:pt x="832" y="252"/>
                  </a:cubicBezTo>
                  <a:cubicBezTo>
                    <a:pt x="831" y="252"/>
                    <a:pt x="830" y="251"/>
                    <a:pt x="829" y="250"/>
                  </a:cubicBezTo>
                  <a:cubicBezTo>
                    <a:pt x="828" y="249"/>
                    <a:pt x="827" y="249"/>
                    <a:pt x="825" y="248"/>
                  </a:cubicBezTo>
                  <a:cubicBezTo>
                    <a:pt x="824" y="247"/>
                    <a:pt x="822" y="246"/>
                    <a:pt x="820" y="244"/>
                  </a:cubicBezTo>
                  <a:cubicBezTo>
                    <a:pt x="817" y="242"/>
                    <a:pt x="812" y="239"/>
                    <a:pt x="808" y="236"/>
                  </a:cubicBezTo>
                  <a:cubicBezTo>
                    <a:pt x="806" y="235"/>
                    <a:pt x="805" y="234"/>
                    <a:pt x="803" y="232"/>
                  </a:cubicBezTo>
                  <a:cubicBezTo>
                    <a:pt x="798" y="229"/>
                    <a:pt x="792" y="225"/>
                    <a:pt x="785" y="220"/>
                  </a:cubicBezTo>
                  <a:cubicBezTo>
                    <a:pt x="775" y="213"/>
                    <a:pt x="764" y="206"/>
                    <a:pt x="753" y="198"/>
                  </a:cubicBezTo>
                  <a:cubicBezTo>
                    <a:pt x="753" y="198"/>
                    <a:pt x="753" y="198"/>
                    <a:pt x="753" y="198"/>
                  </a:cubicBezTo>
                  <a:cubicBezTo>
                    <a:pt x="726" y="180"/>
                    <a:pt x="696" y="159"/>
                    <a:pt x="663" y="136"/>
                  </a:cubicBezTo>
                  <a:cubicBezTo>
                    <a:pt x="658" y="133"/>
                    <a:pt x="654" y="130"/>
                    <a:pt x="649" y="127"/>
                  </a:cubicBezTo>
                  <a:cubicBezTo>
                    <a:pt x="621" y="107"/>
                    <a:pt x="590" y="86"/>
                    <a:pt x="560" y="65"/>
                  </a:cubicBezTo>
                  <a:cubicBezTo>
                    <a:pt x="559" y="64"/>
                    <a:pt x="557" y="64"/>
                    <a:pt x="556" y="63"/>
                  </a:cubicBezTo>
                  <a:cubicBezTo>
                    <a:pt x="552" y="60"/>
                    <a:pt x="549" y="57"/>
                    <a:pt x="545" y="55"/>
                  </a:cubicBezTo>
                  <a:cubicBezTo>
                    <a:pt x="544" y="55"/>
                    <a:pt x="544" y="54"/>
                    <a:pt x="544" y="54"/>
                  </a:cubicBezTo>
                  <a:cubicBezTo>
                    <a:pt x="540" y="52"/>
                    <a:pt x="537" y="50"/>
                    <a:pt x="534" y="47"/>
                  </a:cubicBezTo>
                  <a:cubicBezTo>
                    <a:pt x="524" y="41"/>
                    <a:pt x="515" y="34"/>
                    <a:pt x="506" y="28"/>
                  </a:cubicBezTo>
                  <a:cubicBezTo>
                    <a:pt x="505" y="28"/>
                    <a:pt x="505" y="28"/>
                    <a:pt x="505" y="27"/>
                  </a:cubicBezTo>
                  <a:cubicBezTo>
                    <a:pt x="504" y="27"/>
                    <a:pt x="504" y="27"/>
                    <a:pt x="503" y="26"/>
                  </a:cubicBezTo>
                  <a:cubicBezTo>
                    <a:pt x="500" y="24"/>
                    <a:pt x="497" y="22"/>
                    <a:pt x="493" y="20"/>
                  </a:cubicBezTo>
                  <a:cubicBezTo>
                    <a:pt x="492" y="19"/>
                    <a:pt x="491" y="18"/>
                    <a:pt x="489" y="17"/>
                  </a:cubicBezTo>
                  <a:cubicBezTo>
                    <a:pt x="489" y="16"/>
                    <a:pt x="488" y="16"/>
                    <a:pt x="488" y="16"/>
                  </a:cubicBezTo>
                  <a:cubicBezTo>
                    <a:pt x="483" y="13"/>
                    <a:pt x="479" y="9"/>
                    <a:pt x="474" y="6"/>
                  </a:cubicBezTo>
                  <a:cubicBezTo>
                    <a:pt x="473" y="5"/>
                    <a:pt x="471" y="5"/>
                    <a:pt x="470" y="4"/>
                  </a:cubicBezTo>
                  <a:cubicBezTo>
                    <a:pt x="468" y="2"/>
                    <a:pt x="467" y="1"/>
                    <a:pt x="465" y="0"/>
                  </a:cubicBezTo>
                  <a:cubicBezTo>
                    <a:pt x="363" y="3"/>
                    <a:pt x="363" y="3"/>
                    <a:pt x="363" y="3"/>
                  </a:cubicBezTo>
                  <a:cubicBezTo>
                    <a:pt x="363" y="3"/>
                    <a:pt x="420" y="534"/>
                    <a:pt x="420" y="549"/>
                  </a:cubicBezTo>
                  <a:cubicBezTo>
                    <a:pt x="420" y="564"/>
                    <a:pt x="425" y="570"/>
                    <a:pt x="436" y="578"/>
                  </a:cubicBezTo>
                  <a:cubicBezTo>
                    <a:pt x="447" y="586"/>
                    <a:pt x="440" y="593"/>
                    <a:pt x="440" y="600"/>
                  </a:cubicBezTo>
                  <a:cubicBezTo>
                    <a:pt x="440" y="607"/>
                    <a:pt x="443" y="613"/>
                    <a:pt x="432" y="619"/>
                  </a:cubicBezTo>
                  <a:cubicBezTo>
                    <a:pt x="421" y="625"/>
                    <a:pt x="428" y="639"/>
                    <a:pt x="428" y="639"/>
                  </a:cubicBezTo>
                  <a:cubicBezTo>
                    <a:pt x="428" y="639"/>
                    <a:pt x="247" y="639"/>
                    <a:pt x="230" y="639"/>
                  </a:cubicBezTo>
                  <a:cubicBezTo>
                    <a:pt x="213" y="639"/>
                    <a:pt x="203" y="639"/>
                    <a:pt x="193" y="631"/>
                  </a:cubicBezTo>
                  <a:cubicBezTo>
                    <a:pt x="183" y="623"/>
                    <a:pt x="177" y="633"/>
                    <a:pt x="173" y="640"/>
                  </a:cubicBezTo>
                  <a:cubicBezTo>
                    <a:pt x="169" y="647"/>
                    <a:pt x="144" y="645"/>
                    <a:pt x="134" y="640"/>
                  </a:cubicBezTo>
                  <a:cubicBezTo>
                    <a:pt x="124" y="635"/>
                    <a:pt x="115" y="638"/>
                    <a:pt x="102" y="639"/>
                  </a:cubicBezTo>
                  <a:cubicBezTo>
                    <a:pt x="89" y="640"/>
                    <a:pt x="90" y="649"/>
                    <a:pt x="89" y="658"/>
                  </a:cubicBezTo>
                  <a:cubicBezTo>
                    <a:pt x="87" y="666"/>
                    <a:pt x="80" y="664"/>
                    <a:pt x="79" y="657"/>
                  </a:cubicBezTo>
                  <a:cubicBezTo>
                    <a:pt x="79" y="651"/>
                    <a:pt x="76" y="652"/>
                    <a:pt x="72" y="649"/>
                  </a:cubicBezTo>
                  <a:cubicBezTo>
                    <a:pt x="69" y="647"/>
                    <a:pt x="67" y="642"/>
                    <a:pt x="64" y="635"/>
                  </a:cubicBezTo>
                  <a:cubicBezTo>
                    <a:pt x="60" y="628"/>
                    <a:pt x="50" y="627"/>
                    <a:pt x="40" y="631"/>
                  </a:cubicBezTo>
                  <a:cubicBezTo>
                    <a:pt x="29" y="635"/>
                    <a:pt x="30" y="640"/>
                    <a:pt x="29" y="650"/>
                  </a:cubicBezTo>
                  <a:cubicBezTo>
                    <a:pt x="28" y="661"/>
                    <a:pt x="25" y="666"/>
                    <a:pt x="24" y="676"/>
                  </a:cubicBezTo>
                  <a:cubicBezTo>
                    <a:pt x="24" y="677"/>
                    <a:pt x="23" y="678"/>
                    <a:pt x="23" y="679"/>
                  </a:cubicBezTo>
                  <a:cubicBezTo>
                    <a:pt x="23" y="680"/>
                    <a:pt x="22" y="680"/>
                    <a:pt x="22" y="681"/>
                  </a:cubicBezTo>
                  <a:cubicBezTo>
                    <a:pt x="22" y="681"/>
                    <a:pt x="21" y="682"/>
                    <a:pt x="21" y="682"/>
                  </a:cubicBezTo>
                  <a:cubicBezTo>
                    <a:pt x="21" y="683"/>
                    <a:pt x="20" y="683"/>
                    <a:pt x="20" y="684"/>
                  </a:cubicBezTo>
                  <a:cubicBezTo>
                    <a:pt x="19" y="684"/>
                    <a:pt x="19" y="684"/>
                    <a:pt x="19" y="685"/>
                  </a:cubicBezTo>
                  <a:cubicBezTo>
                    <a:pt x="18" y="685"/>
                    <a:pt x="17" y="686"/>
                    <a:pt x="17" y="686"/>
                  </a:cubicBezTo>
                  <a:cubicBezTo>
                    <a:pt x="16" y="686"/>
                    <a:pt x="16" y="687"/>
                    <a:pt x="16" y="687"/>
                  </a:cubicBezTo>
                  <a:cubicBezTo>
                    <a:pt x="15" y="687"/>
                    <a:pt x="14" y="688"/>
                    <a:pt x="13" y="688"/>
                  </a:cubicBezTo>
                  <a:cubicBezTo>
                    <a:pt x="13" y="688"/>
                    <a:pt x="13" y="688"/>
                    <a:pt x="13" y="688"/>
                  </a:cubicBezTo>
                  <a:cubicBezTo>
                    <a:pt x="10" y="689"/>
                    <a:pt x="6" y="689"/>
                    <a:pt x="3" y="689"/>
                  </a:cubicBezTo>
                  <a:cubicBezTo>
                    <a:pt x="3" y="689"/>
                    <a:pt x="3" y="689"/>
                    <a:pt x="3" y="689"/>
                  </a:cubicBezTo>
                  <a:cubicBezTo>
                    <a:pt x="1" y="695"/>
                    <a:pt x="0" y="702"/>
                    <a:pt x="2" y="704"/>
                  </a:cubicBezTo>
                  <a:cubicBezTo>
                    <a:pt x="7" y="707"/>
                    <a:pt x="13" y="711"/>
                    <a:pt x="13" y="719"/>
                  </a:cubicBezTo>
                  <a:cubicBezTo>
                    <a:pt x="13" y="727"/>
                    <a:pt x="14" y="736"/>
                    <a:pt x="12" y="742"/>
                  </a:cubicBezTo>
                  <a:cubicBezTo>
                    <a:pt x="10" y="748"/>
                    <a:pt x="7" y="752"/>
                    <a:pt x="13" y="756"/>
                  </a:cubicBezTo>
                  <a:cubicBezTo>
                    <a:pt x="18" y="760"/>
                    <a:pt x="17" y="768"/>
                    <a:pt x="27" y="770"/>
                  </a:cubicBezTo>
                  <a:cubicBezTo>
                    <a:pt x="37" y="772"/>
                    <a:pt x="41" y="770"/>
                    <a:pt x="43" y="778"/>
                  </a:cubicBezTo>
                  <a:cubicBezTo>
                    <a:pt x="44" y="786"/>
                    <a:pt x="46" y="792"/>
                    <a:pt x="50" y="796"/>
                  </a:cubicBezTo>
                  <a:cubicBezTo>
                    <a:pt x="54" y="799"/>
                    <a:pt x="54" y="804"/>
                    <a:pt x="55" y="812"/>
                  </a:cubicBezTo>
                  <a:cubicBezTo>
                    <a:pt x="55" y="820"/>
                    <a:pt x="57" y="830"/>
                    <a:pt x="53" y="834"/>
                  </a:cubicBezTo>
                  <a:cubicBezTo>
                    <a:pt x="50" y="836"/>
                    <a:pt x="48" y="837"/>
                    <a:pt x="46" y="839"/>
                  </a:cubicBezTo>
                  <a:cubicBezTo>
                    <a:pt x="47" y="839"/>
                    <a:pt x="47" y="840"/>
                    <a:pt x="47" y="840"/>
                  </a:cubicBezTo>
                  <a:cubicBezTo>
                    <a:pt x="48" y="841"/>
                    <a:pt x="48" y="841"/>
                    <a:pt x="48" y="842"/>
                  </a:cubicBezTo>
                  <a:cubicBezTo>
                    <a:pt x="49" y="852"/>
                    <a:pt x="47" y="862"/>
                    <a:pt x="54" y="863"/>
                  </a:cubicBezTo>
                  <a:cubicBezTo>
                    <a:pt x="61" y="864"/>
                    <a:pt x="72" y="867"/>
                    <a:pt x="74" y="858"/>
                  </a:cubicBezTo>
                  <a:cubicBezTo>
                    <a:pt x="76" y="849"/>
                    <a:pt x="88" y="847"/>
                    <a:pt x="89" y="855"/>
                  </a:cubicBezTo>
                  <a:cubicBezTo>
                    <a:pt x="90" y="863"/>
                    <a:pt x="86" y="868"/>
                    <a:pt x="95" y="870"/>
                  </a:cubicBezTo>
                  <a:cubicBezTo>
                    <a:pt x="104" y="872"/>
                    <a:pt x="109" y="870"/>
                    <a:pt x="111" y="862"/>
                  </a:cubicBezTo>
                  <a:cubicBezTo>
                    <a:pt x="113" y="854"/>
                    <a:pt x="110" y="850"/>
                    <a:pt x="123" y="851"/>
                  </a:cubicBezTo>
                  <a:cubicBezTo>
                    <a:pt x="136" y="852"/>
                    <a:pt x="138" y="852"/>
                    <a:pt x="143" y="858"/>
                  </a:cubicBezTo>
                  <a:cubicBezTo>
                    <a:pt x="148" y="864"/>
                    <a:pt x="151" y="865"/>
                    <a:pt x="159" y="864"/>
                  </a:cubicBezTo>
                  <a:cubicBezTo>
                    <a:pt x="167" y="863"/>
                    <a:pt x="169" y="846"/>
                    <a:pt x="175" y="846"/>
                  </a:cubicBezTo>
                  <a:cubicBezTo>
                    <a:pt x="181" y="846"/>
                    <a:pt x="185" y="846"/>
                    <a:pt x="185" y="840"/>
                  </a:cubicBezTo>
                  <a:cubicBezTo>
                    <a:pt x="185" y="834"/>
                    <a:pt x="201" y="827"/>
                    <a:pt x="206" y="839"/>
                  </a:cubicBezTo>
                  <a:cubicBezTo>
                    <a:pt x="211" y="851"/>
                    <a:pt x="207" y="859"/>
                    <a:pt x="215" y="862"/>
                  </a:cubicBezTo>
                  <a:cubicBezTo>
                    <a:pt x="222" y="865"/>
                    <a:pt x="223" y="878"/>
                    <a:pt x="223" y="883"/>
                  </a:cubicBezTo>
                  <a:cubicBezTo>
                    <a:pt x="223" y="888"/>
                    <a:pt x="220" y="896"/>
                    <a:pt x="233" y="897"/>
                  </a:cubicBezTo>
                  <a:cubicBezTo>
                    <a:pt x="246" y="898"/>
                    <a:pt x="245" y="903"/>
                    <a:pt x="241" y="908"/>
                  </a:cubicBezTo>
                  <a:cubicBezTo>
                    <a:pt x="237" y="913"/>
                    <a:pt x="223" y="926"/>
                    <a:pt x="232" y="928"/>
                  </a:cubicBezTo>
                  <a:cubicBezTo>
                    <a:pt x="241" y="929"/>
                    <a:pt x="248" y="925"/>
                    <a:pt x="249" y="933"/>
                  </a:cubicBezTo>
                  <a:cubicBezTo>
                    <a:pt x="251" y="942"/>
                    <a:pt x="240" y="952"/>
                    <a:pt x="252" y="957"/>
                  </a:cubicBezTo>
                  <a:cubicBezTo>
                    <a:pt x="264" y="961"/>
                    <a:pt x="255" y="963"/>
                    <a:pt x="262" y="973"/>
                  </a:cubicBezTo>
                  <a:cubicBezTo>
                    <a:pt x="262" y="973"/>
                    <a:pt x="262" y="973"/>
                    <a:pt x="262" y="974"/>
                  </a:cubicBezTo>
                  <a:cubicBezTo>
                    <a:pt x="265" y="977"/>
                    <a:pt x="267" y="979"/>
                    <a:pt x="269" y="980"/>
                  </a:cubicBezTo>
                  <a:cubicBezTo>
                    <a:pt x="269" y="980"/>
                    <a:pt x="269" y="980"/>
                    <a:pt x="269" y="980"/>
                  </a:cubicBezTo>
                  <a:cubicBezTo>
                    <a:pt x="269" y="981"/>
                    <a:pt x="269" y="981"/>
                    <a:pt x="270" y="981"/>
                  </a:cubicBezTo>
                  <a:cubicBezTo>
                    <a:pt x="270" y="981"/>
                    <a:pt x="270" y="981"/>
                    <a:pt x="270" y="981"/>
                  </a:cubicBezTo>
                  <a:cubicBezTo>
                    <a:pt x="270" y="981"/>
                    <a:pt x="270" y="982"/>
                    <a:pt x="271" y="982"/>
                  </a:cubicBezTo>
                  <a:cubicBezTo>
                    <a:pt x="271" y="982"/>
                    <a:pt x="271" y="982"/>
                    <a:pt x="271" y="982"/>
                  </a:cubicBezTo>
                  <a:cubicBezTo>
                    <a:pt x="271" y="982"/>
                    <a:pt x="271" y="982"/>
                    <a:pt x="272" y="982"/>
                  </a:cubicBezTo>
                  <a:cubicBezTo>
                    <a:pt x="272" y="982"/>
                    <a:pt x="272" y="982"/>
                    <a:pt x="272" y="982"/>
                  </a:cubicBezTo>
                  <a:cubicBezTo>
                    <a:pt x="272" y="982"/>
                    <a:pt x="273" y="982"/>
                    <a:pt x="273" y="982"/>
                  </a:cubicBezTo>
                  <a:cubicBezTo>
                    <a:pt x="273" y="982"/>
                    <a:pt x="273" y="982"/>
                    <a:pt x="273" y="982"/>
                  </a:cubicBezTo>
                  <a:cubicBezTo>
                    <a:pt x="273" y="982"/>
                    <a:pt x="274" y="982"/>
                    <a:pt x="274" y="982"/>
                  </a:cubicBezTo>
                  <a:cubicBezTo>
                    <a:pt x="274" y="982"/>
                    <a:pt x="274" y="982"/>
                    <a:pt x="274" y="982"/>
                  </a:cubicBezTo>
                  <a:cubicBezTo>
                    <a:pt x="274" y="982"/>
                    <a:pt x="275" y="982"/>
                    <a:pt x="275" y="982"/>
                  </a:cubicBezTo>
                  <a:cubicBezTo>
                    <a:pt x="275" y="982"/>
                    <a:pt x="275" y="982"/>
                    <a:pt x="275" y="982"/>
                  </a:cubicBezTo>
                  <a:cubicBezTo>
                    <a:pt x="275" y="982"/>
                    <a:pt x="276" y="982"/>
                    <a:pt x="276" y="981"/>
                  </a:cubicBezTo>
                  <a:cubicBezTo>
                    <a:pt x="276" y="981"/>
                    <a:pt x="276" y="981"/>
                    <a:pt x="276" y="981"/>
                  </a:cubicBezTo>
                  <a:cubicBezTo>
                    <a:pt x="276" y="981"/>
                    <a:pt x="277" y="981"/>
                    <a:pt x="277" y="981"/>
                  </a:cubicBezTo>
                  <a:cubicBezTo>
                    <a:pt x="277" y="980"/>
                    <a:pt x="277" y="980"/>
                    <a:pt x="277" y="980"/>
                  </a:cubicBezTo>
                  <a:cubicBezTo>
                    <a:pt x="277" y="980"/>
                    <a:pt x="278" y="980"/>
                    <a:pt x="278" y="980"/>
                  </a:cubicBezTo>
                  <a:cubicBezTo>
                    <a:pt x="278" y="979"/>
                    <a:pt x="278" y="979"/>
                    <a:pt x="278" y="979"/>
                  </a:cubicBezTo>
                  <a:cubicBezTo>
                    <a:pt x="279" y="979"/>
                    <a:pt x="279" y="979"/>
                    <a:pt x="279" y="978"/>
                  </a:cubicBezTo>
                  <a:cubicBezTo>
                    <a:pt x="279" y="978"/>
                    <a:pt x="279" y="977"/>
                    <a:pt x="280" y="977"/>
                  </a:cubicBezTo>
                  <a:cubicBezTo>
                    <a:pt x="285" y="968"/>
                    <a:pt x="290" y="964"/>
                    <a:pt x="296" y="964"/>
                  </a:cubicBezTo>
                  <a:cubicBezTo>
                    <a:pt x="302" y="964"/>
                    <a:pt x="306" y="967"/>
                    <a:pt x="306" y="971"/>
                  </a:cubicBezTo>
                  <a:cubicBezTo>
                    <a:pt x="306" y="975"/>
                    <a:pt x="307" y="978"/>
                    <a:pt x="316" y="978"/>
                  </a:cubicBezTo>
                  <a:cubicBezTo>
                    <a:pt x="325" y="978"/>
                    <a:pt x="337" y="981"/>
                    <a:pt x="337" y="973"/>
                  </a:cubicBezTo>
                  <a:cubicBezTo>
                    <a:pt x="338" y="965"/>
                    <a:pt x="352" y="974"/>
                    <a:pt x="352" y="964"/>
                  </a:cubicBezTo>
                  <a:cubicBezTo>
                    <a:pt x="352" y="955"/>
                    <a:pt x="352" y="954"/>
                    <a:pt x="362" y="954"/>
                  </a:cubicBezTo>
                  <a:cubicBezTo>
                    <a:pt x="372" y="954"/>
                    <a:pt x="379" y="953"/>
                    <a:pt x="378" y="964"/>
                  </a:cubicBezTo>
                  <a:cubicBezTo>
                    <a:pt x="378" y="974"/>
                    <a:pt x="375" y="978"/>
                    <a:pt x="384" y="978"/>
                  </a:cubicBezTo>
                  <a:cubicBezTo>
                    <a:pt x="392" y="978"/>
                    <a:pt x="399" y="980"/>
                    <a:pt x="401" y="972"/>
                  </a:cubicBezTo>
                  <a:cubicBezTo>
                    <a:pt x="403" y="965"/>
                    <a:pt x="408" y="964"/>
                    <a:pt x="418" y="964"/>
                  </a:cubicBezTo>
                  <a:cubicBezTo>
                    <a:pt x="420" y="964"/>
                    <a:pt x="421" y="964"/>
                    <a:pt x="423" y="965"/>
                  </a:cubicBezTo>
                  <a:cubicBezTo>
                    <a:pt x="423" y="965"/>
                    <a:pt x="423" y="965"/>
                    <a:pt x="423" y="965"/>
                  </a:cubicBezTo>
                  <a:cubicBezTo>
                    <a:pt x="424" y="965"/>
                    <a:pt x="426" y="965"/>
                    <a:pt x="427" y="965"/>
                  </a:cubicBezTo>
                  <a:cubicBezTo>
                    <a:pt x="428" y="957"/>
                    <a:pt x="428" y="947"/>
                    <a:pt x="428" y="942"/>
                  </a:cubicBezTo>
                  <a:cubicBezTo>
                    <a:pt x="428" y="933"/>
                    <a:pt x="446" y="919"/>
                    <a:pt x="445" y="907"/>
                  </a:cubicBezTo>
                  <a:cubicBezTo>
                    <a:pt x="443" y="895"/>
                    <a:pt x="439" y="880"/>
                    <a:pt x="435" y="879"/>
                  </a:cubicBezTo>
                  <a:cubicBezTo>
                    <a:pt x="431" y="878"/>
                    <a:pt x="435" y="868"/>
                    <a:pt x="444" y="868"/>
                  </a:cubicBezTo>
                  <a:cubicBezTo>
                    <a:pt x="453" y="869"/>
                    <a:pt x="461" y="872"/>
                    <a:pt x="465" y="866"/>
                  </a:cubicBezTo>
                  <a:cubicBezTo>
                    <a:pt x="468" y="860"/>
                    <a:pt x="486" y="862"/>
                    <a:pt x="489" y="853"/>
                  </a:cubicBezTo>
                  <a:cubicBezTo>
                    <a:pt x="491" y="844"/>
                    <a:pt x="490" y="821"/>
                    <a:pt x="499" y="819"/>
                  </a:cubicBezTo>
                  <a:cubicBezTo>
                    <a:pt x="509" y="817"/>
                    <a:pt x="513" y="813"/>
                    <a:pt x="511" y="804"/>
                  </a:cubicBezTo>
                  <a:cubicBezTo>
                    <a:pt x="509" y="794"/>
                    <a:pt x="505" y="787"/>
                    <a:pt x="515" y="779"/>
                  </a:cubicBezTo>
                  <a:cubicBezTo>
                    <a:pt x="524" y="771"/>
                    <a:pt x="521" y="763"/>
                    <a:pt x="529" y="767"/>
                  </a:cubicBezTo>
                  <a:cubicBezTo>
                    <a:pt x="538" y="771"/>
                    <a:pt x="535" y="778"/>
                    <a:pt x="541" y="778"/>
                  </a:cubicBezTo>
                  <a:cubicBezTo>
                    <a:pt x="548" y="779"/>
                    <a:pt x="551" y="787"/>
                    <a:pt x="558" y="787"/>
                  </a:cubicBezTo>
                  <a:cubicBezTo>
                    <a:pt x="565" y="787"/>
                    <a:pt x="571" y="786"/>
                    <a:pt x="571" y="776"/>
                  </a:cubicBezTo>
                  <a:cubicBezTo>
                    <a:pt x="571" y="766"/>
                    <a:pt x="571" y="762"/>
                    <a:pt x="579" y="762"/>
                  </a:cubicBezTo>
                  <a:cubicBezTo>
                    <a:pt x="588" y="762"/>
                    <a:pt x="594" y="756"/>
                    <a:pt x="595" y="746"/>
                  </a:cubicBezTo>
                  <a:cubicBezTo>
                    <a:pt x="597" y="737"/>
                    <a:pt x="599" y="729"/>
                    <a:pt x="607" y="726"/>
                  </a:cubicBezTo>
                  <a:cubicBezTo>
                    <a:pt x="615" y="724"/>
                    <a:pt x="611" y="716"/>
                    <a:pt x="621" y="716"/>
                  </a:cubicBezTo>
                  <a:cubicBezTo>
                    <a:pt x="632" y="717"/>
                    <a:pt x="632" y="723"/>
                    <a:pt x="639" y="723"/>
                  </a:cubicBezTo>
                  <a:cubicBezTo>
                    <a:pt x="645" y="723"/>
                    <a:pt x="651" y="722"/>
                    <a:pt x="651" y="714"/>
                  </a:cubicBezTo>
                  <a:cubicBezTo>
                    <a:pt x="651" y="706"/>
                    <a:pt x="655" y="702"/>
                    <a:pt x="663" y="704"/>
                  </a:cubicBezTo>
                  <a:cubicBezTo>
                    <a:pt x="671" y="705"/>
                    <a:pt x="673" y="705"/>
                    <a:pt x="677" y="700"/>
                  </a:cubicBezTo>
                  <a:cubicBezTo>
                    <a:pt x="681" y="694"/>
                    <a:pt x="685" y="684"/>
                    <a:pt x="698" y="687"/>
                  </a:cubicBezTo>
                  <a:cubicBezTo>
                    <a:pt x="711" y="690"/>
                    <a:pt x="707" y="688"/>
                    <a:pt x="714" y="678"/>
                  </a:cubicBezTo>
                  <a:cubicBezTo>
                    <a:pt x="721" y="668"/>
                    <a:pt x="725" y="662"/>
                    <a:pt x="736" y="662"/>
                  </a:cubicBezTo>
                  <a:cubicBezTo>
                    <a:pt x="747" y="662"/>
                    <a:pt x="755" y="659"/>
                    <a:pt x="757" y="664"/>
                  </a:cubicBezTo>
                  <a:cubicBezTo>
                    <a:pt x="759" y="670"/>
                    <a:pt x="762" y="672"/>
                    <a:pt x="771" y="672"/>
                  </a:cubicBezTo>
                  <a:cubicBezTo>
                    <a:pt x="772" y="672"/>
                    <a:pt x="773" y="672"/>
                    <a:pt x="774" y="672"/>
                  </a:cubicBezTo>
                  <a:cubicBezTo>
                    <a:pt x="774" y="672"/>
                    <a:pt x="774" y="672"/>
                    <a:pt x="775" y="672"/>
                  </a:cubicBezTo>
                  <a:cubicBezTo>
                    <a:pt x="780" y="673"/>
                    <a:pt x="787" y="673"/>
                    <a:pt x="795" y="673"/>
                  </a:cubicBezTo>
                  <a:cubicBezTo>
                    <a:pt x="797" y="673"/>
                    <a:pt x="799" y="673"/>
                    <a:pt x="801" y="673"/>
                  </a:cubicBezTo>
                  <a:cubicBezTo>
                    <a:pt x="802" y="673"/>
                    <a:pt x="802" y="673"/>
                    <a:pt x="802" y="673"/>
                  </a:cubicBezTo>
                  <a:cubicBezTo>
                    <a:pt x="805" y="673"/>
                    <a:pt x="807" y="673"/>
                    <a:pt x="809" y="673"/>
                  </a:cubicBezTo>
                  <a:cubicBezTo>
                    <a:pt x="825" y="672"/>
                    <a:pt x="841" y="676"/>
                    <a:pt x="847" y="667"/>
                  </a:cubicBezTo>
                  <a:cubicBezTo>
                    <a:pt x="852" y="658"/>
                    <a:pt x="863" y="648"/>
                    <a:pt x="879" y="648"/>
                  </a:cubicBezTo>
                  <a:cubicBezTo>
                    <a:pt x="895" y="648"/>
                    <a:pt x="907" y="646"/>
                    <a:pt x="928" y="646"/>
                  </a:cubicBezTo>
                  <a:cubicBezTo>
                    <a:pt x="949" y="646"/>
                    <a:pt x="998" y="648"/>
                    <a:pt x="1005" y="640"/>
                  </a:cubicBezTo>
                  <a:cubicBezTo>
                    <a:pt x="1011" y="633"/>
                    <a:pt x="1031" y="625"/>
                    <a:pt x="1034" y="610"/>
                  </a:cubicBezTo>
                  <a:cubicBezTo>
                    <a:pt x="1037" y="594"/>
                    <a:pt x="1036" y="592"/>
                    <a:pt x="1042" y="581"/>
                  </a:cubicBezTo>
                  <a:cubicBezTo>
                    <a:pt x="1047" y="572"/>
                    <a:pt x="1048" y="436"/>
                    <a:pt x="1048" y="397"/>
                  </a:cubicBezTo>
                  <a:cubicBezTo>
                    <a:pt x="1047" y="397"/>
                    <a:pt x="1046" y="397"/>
                    <a:pt x="1045" y="397"/>
                  </a:cubicBezTo>
                  <a:cubicBezTo>
                    <a:pt x="1027" y="394"/>
                    <a:pt x="1014" y="397"/>
                    <a:pt x="1014" y="40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5" name="Freeform 435">
              <a:extLst>
                <a:ext uri="{FF2B5EF4-FFF2-40B4-BE49-F238E27FC236}">
                  <a16:creationId xmlns:a16="http://schemas.microsoft.com/office/drawing/2014/main" id="{34C9CAF3-B097-9C43-814C-E62798DFA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" y="3480"/>
              <a:ext cx="34" cy="26"/>
            </a:xfrm>
            <a:custGeom>
              <a:avLst/>
              <a:gdLst>
                <a:gd name="T0" fmla="*/ 61 w 134"/>
                <a:gd name="T1" fmla="*/ 25 h 101"/>
                <a:gd name="T2" fmla="*/ 49 w 134"/>
                <a:gd name="T3" fmla="*/ 27 h 101"/>
                <a:gd name="T4" fmla="*/ 32 w 134"/>
                <a:gd name="T5" fmla="*/ 30 h 101"/>
                <a:gd name="T6" fmla="*/ 48 w 134"/>
                <a:gd name="T7" fmla="*/ 43 h 101"/>
                <a:gd name="T8" fmla="*/ 50 w 134"/>
                <a:gd name="T9" fmla="*/ 57 h 101"/>
                <a:gd name="T10" fmla="*/ 36 w 134"/>
                <a:gd name="T11" fmla="*/ 59 h 101"/>
                <a:gd name="T12" fmla="*/ 41 w 134"/>
                <a:gd name="T13" fmla="*/ 77 h 101"/>
                <a:gd name="T14" fmla="*/ 24 w 134"/>
                <a:gd name="T15" fmla="*/ 74 h 101"/>
                <a:gd name="T16" fmla="*/ 7 w 134"/>
                <a:gd name="T17" fmla="*/ 61 h 101"/>
                <a:gd name="T18" fmla="*/ 7 w 134"/>
                <a:gd name="T19" fmla="*/ 71 h 101"/>
                <a:gd name="T20" fmla="*/ 21 w 134"/>
                <a:gd name="T21" fmla="*/ 96 h 101"/>
                <a:gd name="T22" fmla="*/ 48 w 134"/>
                <a:gd name="T23" fmla="*/ 98 h 101"/>
                <a:gd name="T24" fmla="*/ 77 w 134"/>
                <a:gd name="T25" fmla="*/ 88 h 101"/>
                <a:gd name="T26" fmla="*/ 96 w 134"/>
                <a:gd name="T27" fmla="*/ 72 h 101"/>
                <a:gd name="T28" fmla="*/ 120 w 134"/>
                <a:gd name="T29" fmla="*/ 47 h 101"/>
                <a:gd name="T30" fmla="*/ 133 w 134"/>
                <a:gd name="T31" fmla="*/ 34 h 101"/>
                <a:gd name="T32" fmla="*/ 119 w 134"/>
                <a:gd name="T33" fmla="*/ 30 h 101"/>
                <a:gd name="T34" fmla="*/ 106 w 134"/>
                <a:gd name="T35" fmla="*/ 30 h 101"/>
                <a:gd name="T36" fmla="*/ 99 w 134"/>
                <a:gd name="T37" fmla="*/ 14 h 101"/>
                <a:gd name="T38" fmla="*/ 90 w 134"/>
                <a:gd name="T39" fmla="*/ 23 h 101"/>
                <a:gd name="T40" fmla="*/ 86 w 134"/>
                <a:gd name="T41" fmla="*/ 14 h 101"/>
                <a:gd name="T42" fmla="*/ 79 w 134"/>
                <a:gd name="T43" fmla="*/ 2 h 101"/>
                <a:gd name="T44" fmla="*/ 71 w 134"/>
                <a:gd name="T45" fmla="*/ 17 h 101"/>
                <a:gd name="T46" fmla="*/ 61 w 134"/>
                <a:gd name="T47" fmla="*/ 2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4" h="101">
                  <a:moveTo>
                    <a:pt x="61" y="25"/>
                  </a:moveTo>
                  <a:cubicBezTo>
                    <a:pt x="61" y="25"/>
                    <a:pt x="62" y="31"/>
                    <a:pt x="49" y="27"/>
                  </a:cubicBezTo>
                  <a:cubicBezTo>
                    <a:pt x="37" y="24"/>
                    <a:pt x="30" y="25"/>
                    <a:pt x="32" y="30"/>
                  </a:cubicBezTo>
                  <a:cubicBezTo>
                    <a:pt x="34" y="36"/>
                    <a:pt x="46" y="38"/>
                    <a:pt x="48" y="43"/>
                  </a:cubicBezTo>
                  <a:cubicBezTo>
                    <a:pt x="51" y="49"/>
                    <a:pt x="59" y="57"/>
                    <a:pt x="50" y="57"/>
                  </a:cubicBezTo>
                  <a:cubicBezTo>
                    <a:pt x="40" y="57"/>
                    <a:pt x="31" y="55"/>
                    <a:pt x="36" y="59"/>
                  </a:cubicBezTo>
                  <a:cubicBezTo>
                    <a:pt x="42" y="64"/>
                    <a:pt x="47" y="75"/>
                    <a:pt x="41" y="77"/>
                  </a:cubicBezTo>
                  <a:cubicBezTo>
                    <a:pt x="34" y="79"/>
                    <a:pt x="29" y="81"/>
                    <a:pt x="24" y="74"/>
                  </a:cubicBezTo>
                  <a:cubicBezTo>
                    <a:pt x="20" y="66"/>
                    <a:pt x="14" y="61"/>
                    <a:pt x="7" y="61"/>
                  </a:cubicBezTo>
                  <a:cubicBezTo>
                    <a:pt x="0" y="62"/>
                    <a:pt x="4" y="65"/>
                    <a:pt x="7" y="71"/>
                  </a:cubicBezTo>
                  <a:cubicBezTo>
                    <a:pt x="10" y="77"/>
                    <a:pt x="15" y="94"/>
                    <a:pt x="21" y="96"/>
                  </a:cubicBezTo>
                  <a:cubicBezTo>
                    <a:pt x="28" y="98"/>
                    <a:pt x="39" y="101"/>
                    <a:pt x="48" y="98"/>
                  </a:cubicBezTo>
                  <a:cubicBezTo>
                    <a:pt x="58" y="95"/>
                    <a:pt x="70" y="93"/>
                    <a:pt x="77" y="88"/>
                  </a:cubicBezTo>
                  <a:cubicBezTo>
                    <a:pt x="84" y="82"/>
                    <a:pt x="86" y="82"/>
                    <a:pt x="96" y="72"/>
                  </a:cubicBezTo>
                  <a:cubicBezTo>
                    <a:pt x="107" y="63"/>
                    <a:pt x="115" y="50"/>
                    <a:pt x="120" y="47"/>
                  </a:cubicBezTo>
                  <a:cubicBezTo>
                    <a:pt x="126" y="43"/>
                    <a:pt x="133" y="39"/>
                    <a:pt x="133" y="34"/>
                  </a:cubicBezTo>
                  <a:cubicBezTo>
                    <a:pt x="134" y="29"/>
                    <a:pt x="122" y="25"/>
                    <a:pt x="119" y="30"/>
                  </a:cubicBezTo>
                  <a:cubicBezTo>
                    <a:pt x="117" y="34"/>
                    <a:pt x="107" y="38"/>
                    <a:pt x="106" y="30"/>
                  </a:cubicBezTo>
                  <a:cubicBezTo>
                    <a:pt x="104" y="22"/>
                    <a:pt x="105" y="14"/>
                    <a:pt x="99" y="14"/>
                  </a:cubicBezTo>
                  <a:cubicBezTo>
                    <a:pt x="92" y="14"/>
                    <a:pt x="95" y="23"/>
                    <a:pt x="90" y="23"/>
                  </a:cubicBezTo>
                  <a:cubicBezTo>
                    <a:pt x="84" y="22"/>
                    <a:pt x="84" y="19"/>
                    <a:pt x="86" y="14"/>
                  </a:cubicBezTo>
                  <a:cubicBezTo>
                    <a:pt x="88" y="8"/>
                    <a:pt x="84" y="0"/>
                    <a:pt x="79" y="2"/>
                  </a:cubicBezTo>
                  <a:cubicBezTo>
                    <a:pt x="75" y="3"/>
                    <a:pt x="78" y="15"/>
                    <a:pt x="71" y="17"/>
                  </a:cubicBezTo>
                  <a:cubicBezTo>
                    <a:pt x="64" y="18"/>
                    <a:pt x="62" y="21"/>
                    <a:pt x="61" y="2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6" name="Freeform 436">
              <a:extLst>
                <a:ext uri="{FF2B5EF4-FFF2-40B4-BE49-F238E27FC236}">
                  <a16:creationId xmlns:a16="http://schemas.microsoft.com/office/drawing/2014/main" id="{DF7143F1-EA82-4045-8CE3-D8EF6E42D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" y="3484"/>
              <a:ext cx="33" cy="25"/>
            </a:xfrm>
            <a:custGeom>
              <a:avLst/>
              <a:gdLst>
                <a:gd name="T0" fmla="*/ 63 w 134"/>
                <a:gd name="T1" fmla="*/ 5 h 96"/>
                <a:gd name="T2" fmla="*/ 48 w 134"/>
                <a:gd name="T3" fmla="*/ 27 h 96"/>
                <a:gd name="T4" fmla="*/ 33 w 134"/>
                <a:gd name="T5" fmla="*/ 46 h 96"/>
                <a:gd name="T6" fmla="*/ 14 w 134"/>
                <a:gd name="T7" fmla="*/ 67 h 96"/>
                <a:gd name="T8" fmla="*/ 9 w 134"/>
                <a:gd name="T9" fmla="*/ 81 h 96"/>
                <a:gd name="T10" fmla="*/ 30 w 134"/>
                <a:gd name="T11" fmla="*/ 91 h 96"/>
                <a:gd name="T12" fmla="*/ 42 w 134"/>
                <a:gd name="T13" fmla="*/ 79 h 96"/>
                <a:gd name="T14" fmla="*/ 52 w 134"/>
                <a:gd name="T15" fmla="*/ 71 h 96"/>
                <a:gd name="T16" fmla="*/ 64 w 134"/>
                <a:gd name="T17" fmla="*/ 78 h 96"/>
                <a:gd name="T18" fmla="*/ 78 w 134"/>
                <a:gd name="T19" fmla="*/ 83 h 96"/>
                <a:gd name="T20" fmla="*/ 76 w 134"/>
                <a:gd name="T21" fmla="*/ 69 h 96"/>
                <a:gd name="T22" fmla="*/ 74 w 134"/>
                <a:gd name="T23" fmla="*/ 61 h 96"/>
                <a:gd name="T24" fmla="*/ 96 w 134"/>
                <a:gd name="T25" fmla="*/ 58 h 96"/>
                <a:gd name="T26" fmla="*/ 104 w 134"/>
                <a:gd name="T27" fmla="*/ 52 h 96"/>
                <a:gd name="T28" fmla="*/ 117 w 134"/>
                <a:gd name="T29" fmla="*/ 50 h 96"/>
                <a:gd name="T30" fmla="*/ 122 w 134"/>
                <a:gd name="T31" fmla="*/ 45 h 96"/>
                <a:gd name="T32" fmla="*/ 133 w 134"/>
                <a:gd name="T33" fmla="*/ 34 h 96"/>
                <a:gd name="T34" fmla="*/ 126 w 134"/>
                <a:gd name="T35" fmla="*/ 19 h 96"/>
                <a:gd name="T36" fmla="*/ 112 w 134"/>
                <a:gd name="T37" fmla="*/ 8 h 96"/>
                <a:gd name="T38" fmla="*/ 96 w 134"/>
                <a:gd name="T39" fmla="*/ 18 h 96"/>
                <a:gd name="T40" fmla="*/ 88 w 134"/>
                <a:gd name="T41" fmla="*/ 4 h 96"/>
                <a:gd name="T42" fmla="*/ 63 w 134"/>
                <a:gd name="T43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4" h="96">
                  <a:moveTo>
                    <a:pt x="63" y="5"/>
                  </a:moveTo>
                  <a:cubicBezTo>
                    <a:pt x="63" y="5"/>
                    <a:pt x="51" y="22"/>
                    <a:pt x="48" y="27"/>
                  </a:cubicBezTo>
                  <a:cubicBezTo>
                    <a:pt x="45" y="33"/>
                    <a:pt x="40" y="41"/>
                    <a:pt x="33" y="46"/>
                  </a:cubicBezTo>
                  <a:cubicBezTo>
                    <a:pt x="27" y="51"/>
                    <a:pt x="19" y="63"/>
                    <a:pt x="14" y="67"/>
                  </a:cubicBezTo>
                  <a:cubicBezTo>
                    <a:pt x="9" y="70"/>
                    <a:pt x="0" y="74"/>
                    <a:pt x="9" y="81"/>
                  </a:cubicBezTo>
                  <a:cubicBezTo>
                    <a:pt x="17" y="88"/>
                    <a:pt x="29" y="96"/>
                    <a:pt x="30" y="91"/>
                  </a:cubicBezTo>
                  <a:cubicBezTo>
                    <a:pt x="32" y="85"/>
                    <a:pt x="43" y="86"/>
                    <a:pt x="42" y="79"/>
                  </a:cubicBezTo>
                  <a:cubicBezTo>
                    <a:pt x="42" y="73"/>
                    <a:pt x="47" y="67"/>
                    <a:pt x="52" y="71"/>
                  </a:cubicBezTo>
                  <a:cubicBezTo>
                    <a:pt x="57" y="75"/>
                    <a:pt x="61" y="73"/>
                    <a:pt x="64" y="78"/>
                  </a:cubicBezTo>
                  <a:cubicBezTo>
                    <a:pt x="66" y="82"/>
                    <a:pt x="76" y="85"/>
                    <a:pt x="78" y="83"/>
                  </a:cubicBezTo>
                  <a:cubicBezTo>
                    <a:pt x="80" y="81"/>
                    <a:pt x="81" y="72"/>
                    <a:pt x="76" y="69"/>
                  </a:cubicBezTo>
                  <a:cubicBezTo>
                    <a:pt x="70" y="67"/>
                    <a:pt x="67" y="61"/>
                    <a:pt x="74" y="61"/>
                  </a:cubicBezTo>
                  <a:cubicBezTo>
                    <a:pt x="81" y="61"/>
                    <a:pt x="96" y="64"/>
                    <a:pt x="96" y="58"/>
                  </a:cubicBezTo>
                  <a:cubicBezTo>
                    <a:pt x="97" y="52"/>
                    <a:pt x="95" y="52"/>
                    <a:pt x="104" y="52"/>
                  </a:cubicBezTo>
                  <a:cubicBezTo>
                    <a:pt x="113" y="53"/>
                    <a:pt x="118" y="52"/>
                    <a:pt x="117" y="50"/>
                  </a:cubicBezTo>
                  <a:cubicBezTo>
                    <a:pt x="116" y="47"/>
                    <a:pt x="116" y="45"/>
                    <a:pt x="122" y="45"/>
                  </a:cubicBezTo>
                  <a:cubicBezTo>
                    <a:pt x="128" y="44"/>
                    <a:pt x="134" y="43"/>
                    <a:pt x="133" y="34"/>
                  </a:cubicBezTo>
                  <a:cubicBezTo>
                    <a:pt x="133" y="25"/>
                    <a:pt x="134" y="17"/>
                    <a:pt x="126" y="19"/>
                  </a:cubicBezTo>
                  <a:cubicBezTo>
                    <a:pt x="119" y="20"/>
                    <a:pt x="122" y="9"/>
                    <a:pt x="112" y="8"/>
                  </a:cubicBezTo>
                  <a:cubicBezTo>
                    <a:pt x="102" y="7"/>
                    <a:pt x="105" y="22"/>
                    <a:pt x="96" y="18"/>
                  </a:cubicBezTo>
                  <a:cubicBezTo>
                    <a:pt x="87" y="14"/>
                    <a:pt x="97" y="6"/>
                    <a:pt x="88" y="4"/>
                  </a:cubicBezTo>
                  <a:cubicBezTo>
                    <a:pt x="79" y="1"/>
                    <a:pt x="66" y="0"/>
                    <a:pt x="63" y="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7" name="Freeform 437">
              <a:extLst>
                <a:ext uri="{FF2B5EF4-FFF2-40B4-BE49-F238E27FC236}">
                  <a16:creationId xmlns:a16="http://schemas.microsoft.com/office/drawing/2014/main" id="{221B8A01-D1DC-C141-92E2-D253CD346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7" y="2374"/>
              <a:ext cx="191" cy="272"/>
            </a:xfrm>
            <a:custGeom>
              <a:avLst/>
              <a:gdLst>
                <a:gd name="T0" fmla="*/ 94 w 754"/>
                <a:gd name="T1" fmla="*/ 762 h 1073"/>
                <a:gd name="T2" fmla="*/ 143 w 754"/>
                <a:gd name="T3" fmla="*/ 793 h 1073"/>
                <a:gd name="T4" fmla="*/ 189 w 754"/>
                <a:gd name="T5" fmla="*/ 783 h 1073"/>
                <a:gd name="T6" fmla="*/ 235 w 754"/>
                <a:gd name="T7" fmla="*/ 810 h 1073"/>
                <a:gd name="T8" fmla="*/ 303 w 754"/>
                <a:gd name="T9" fmla="*/ 850 h 1073"/>
                <a:gd name="T10" fmla="*/ 347 w 754"/>
                <a:gd name="T11" fmla="*/ 894 h 1073"/>
                <a:gd name="T12" fmla="*/ 381 w 754"/>
                <a:gd name="T13" fmla="*/ 947 h 1073"/>
                <a:gd name="T14" fmla="*/ 458 w 754"/>
                <a:gd name="T15" fmla="*/ 956 h 1073"/>
                <a:gd name="T16" fmla="*/ 488 w 754"/>
                <a:gd name="T17" fmla="*/ 956 h 1073"/>
                <a:gd name="T18" fmla="*/ 521 w 754"/>
                <a:gd name="T19" fmla="*/ 950 h 1073"/>
                <a:gd name="T20" fmla="*/ 569 w 754"/>
                <a:gd name="T21" fmla="*/ 982 h 1073"/>
                <a:gd name="T22" fmla="*/ 536 w 754"/>
                <a:gd name="T23" fmla="*/ 1049 h 1073"/>
                <a:gd name="T24" fmla="*/ 582 w 754"/>
                <a:gd name="T25" fmla="*/ 1073 h 1073"/>
                <a:gd name="T26" fmla="*/ 591 w 754"/>
                <a:gd name="T27" fmla="*/ 1013 h 1073"/>
                <a:gd name="T28" fmla="*/ 602 w 754"/>
                <a:gd name="T29" fmla="*/ 931 h 1073"/>
                <a:gd name="T30" fmla="*/ 613 w 754"/>
                <a:gd name="T31" fmla="*/ 877 h 1073"/>
                <a:gd name="T32" fmla="*/ 576 w 754"/>
                <a:gd name="T33" fmla="*/ 820 h 1073"/>
                <a:gd name="T34" fmla="*/ 622 w 754"/>
                <a:gd name="T35" fmla="*/ 764 h 1073"/>
                <a:gd name="T36" fmla="*/ 592 w 754"/>
                <a:gd name="T37" fmla="*/ 737 h 1073"/>
                <a:gd name="T38" fmla="*/ 652 w 754"/>
                <a:gd name="T39" fmla="*/ 693 h 1073"/>
                <a:gd name="T40" fmla="*/ 695 w 754"/>
                <a:gd name="T41" fmla="*/ 686 h 1073"/>
                <a:gd name="T42" fmla="*/ 736 w 754"/>
                <a:gd name="T43" fmla="*/ 673 h 1073"/>
                <a:gd name="T44" fmla="*/ 724 w 754"/>
                <a:gd name="T45" fmla="*/ 625 h 1073"/>
                <a:gd name="T46" fmla="*/ 732 w 754"/>
                <a:gd name="T47" fmla="*/ 568 h 1073"/>
                <a:gd name="T48" fmla="*/ 711 w 754"/>
                <a:gd name="T49" fmla="*/ 504 h 1073"/>
                <a:gd name="T50" fmla="*/ 721 w 754"/>
                <a:gd name="T51" fmla="*/ 456 h 1073"/>
                <a:gd name="T52" fmla="*/ 737 w 754"/>
                <a:gd name="T53" fmla="*/ 412 h 1073"/>
                <a:gd name="T54" fmla="*/ 699 w 754"/>
                <a:gd name="T55" fmla="*/ 404 h 1073"/>
                <a:gd name="T56" fmla="*/ 627 w 754"/>
                <a:gd name="T57" fmla="*/ 411 h 1073"/>
                <a:gd name="T58" fmla="*/ 581 w 754"/>
                <a:gd name="T59" fmla="*/ 373 h 1073"/>
                <a:gd name="T60" fmla="*/ 537 w 754"/>
                <a:gd name="T61" fmla="*/ 351 h 1073"/>
                <a:gd name="T62" fmla="*/ 470 w 754"/>
                <a:gd name="T63" fmla="*/ 357 h 1073"/>
                <a:gd name="T64" fmla="*/ 425 w 754"/>
                <a:gd name="T65" fmla="*/ 331 h 1073"/>
                <a:gd name="T66" fmla="*/ 424 w 754"/>
                <a:gd name="T67" fmla="*/ 279 h 1073"/>
                <a:gd name="T68" fmla="*/ 398 w 754"/>
                <a:gd name="T69" fmla="*/ 235 h 1073"/>
                <a:gd name="T70" fmla="*/ 372 w 754"/>
                <a:gd name="T71" fmla="*/ 215 h 1073"/>
                <a:gd name="T72" fmla="*/ 380 w 754"/>
                <a:gd name="T73" fmla="*/ 179 h 1073"/>
                <a:gd name="T74" fmla="*/ 392 w 754"/>
                <a:gd name="T75" fmla="*/ 123 h 1073"/>
                <a:gd name="T76" fmla="*/ 447 w 754"/>
                <a:gd name="T77" fmla="*/ 57 h 1073"/>
                <a:gd name="T78" fmla="*/ 485 w 754"/>
                <a:gd name="T79" fmla="*/ 43 h 1073"/>
                <a:gd name="T80" fmla="*/ 474 w 754"/>
                <a:gd name="T81" fmla="*/ 0 h 1073"/>
                <a:gd name="T82" fmla="*/ 378 w 754"/>
                <a:gd name="T83" fmla="*/ 63 h 1073"/>
                <a:gd name="T84" fmla="*/ 308 w 754"/>
                <a:gd name="T85" fmla="*/ 81 h 1073"/>
                <a:gd name="T86" fmla="*/ 243 w 754"/>
                <a:gd name="T87" fmla="*/ 101 h 1073"/>
                <a:gd name="T88" fmla="*/ 209 w 754"/>
                <a:gd name="T89" fmla="*/ 192 h 1073"/>
                <a:gd name="T90" fmla="*/ 148 w 754"/>
                <a:gd name="T91" fmla="*/ 253 h 1073"/>
                <a:gd name="T92" fmla="*/ 105 w 754"/>
                <a:gd name="T93" fmla="*/ 238 h 1073"/>
                <a:gd name="T94" fmla="*/ 102 w 754"/>
                <a:gd name="T95" fmla="*/ 264 h 1073"/>
                <a:gd name="T96" fmla="*/ 114 w 754"/>
                <a:gd name="T97" fmla="*/ 289 h 1073"/>
                <a:gd name="T98" fmla="*/ 92 w 754"/>
                <a:gd name="T99" fmla="*/ 315 h 1073"/>
                <a:gd name="T100" fmla="*/ 79 w 754"/>
                <a:gd name="T101" fmla="*/ 333 h 1073"/>
                <a:gd name="T102" fmla="*/ 80 w 754"/>
                <a:gd name="T103" fmla="*/ 343 h 1073"/>
                <a:gd name="T104" fmla="*/ 105 w 754"/>
                <a:gd name="T105" fmla="*/ 405 h 1073"/>
                <a:gd name="T106" fmla="*/ 110 w 754"/>
                <a:gd name="T107" fmla="*/ 433 h 1073"/>
                <a:gd name="T108" fmla="*/ 108 w 754"/>
                <a:gd name="T109" fmla="*/ 485 h 1073"/>
                <a:gd name="T110" fmla="*/ 105 w 754"/>
                <a:gd name="T111" fmla="*/ 543 h 1073"/>
                <a:gd name="T112" fmla="*/ 98 w 754"/>
                <a:gd name="T113" fmla="*/ 599 h 1073"/>
                <a:gd name="T114" fmla="*/ 29 w 754"/>
                <a:gd name="T115" fmla="*/ 651 h 1073"/>
                <a:gd name="T116" fmla="*/ 3 w 754"/>
                <a:gd name="T117" fmla="*/ 699 h 1073"/>
                <a:gd name="T118" fmla="*/ 27 w 754"/>
                <a:gd name="T119" fmla="*/ 721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4" h="1073">
                  <a:moveTo>
                    <a:pt x="65" y="746"/>
                  </a:moveTo>
                  <a:cubicBezTo>
                    <a:pt x="82" y="748"/>
                    <a:pt x="91" y="750"/>
                    <a:pt x="94" y="762"/>
                  </a:cubicBezTo>
                  <a:cubicBezTo>
                    <a:pt x="97" y="774"/>
                    <a:pt x="109" y="783"/>
                    <a:pt x="117" y="783"/>
                  </a:cubicBezTo>
                  <a:cubicBezTo>
                    <a:pt x="125" y="783"/>
                    <a:pt x="128" y="793"/>
                    <a:pt x="143" y="793"/>
                  </a:cubicBezTo>
                  <a:cubicBezTo>
                    <a:pt x="158" y="793"/>
                    <a:pt x="165" y="794"/>
                    <a:pt x="166" y="786"/>
                  </a:cubicBezTo>
                  <a:cubicBezTo>
                    <a:pt x="167" y="778"/>
                    <a:pt x="182" y="773"/>
                    <a:pt x="189" y="783"/>
                  </a:cubicBezTo>
                  <a:cubicBezTo>
                    <a:pt x="196" y="793"/>
                    <a:pt x="199" y="797"/>
                    <a:pt x="209" y="800"/>
                  </a:cubicBezTo>
                  <a:cubicBezTo>
                    <a:pt x="219" y="803"/>
                    <a:pt x="219" y="810"/>
                    <a:pt x="235" y="810"/>
                  </a:cubicBezTo>
                  <a:cubicBezTo>
                    <a:pt x="251" y="810"/>
                    <a:pt x="259" y="801"/>
                    <a:pt x="270" y="815"/>
                  </a:cubicBezTo>
                  <a:cubicBezTo>
                    <a:pt x="281" y="829"/>
                    <a:pt x="303" y="836"/>
                    <a:pt x="303" y="850"/>
                  </a:cubicBezTo>
                  <a:cubicBezTo>
                    <a:pt x="303" y="864"/>
                    <a:pt x="303" y="874"/>
                    <a:pt x="316" y="874"/>
                  </a:cubicBezTo>
                  <a:cubicBezTo>
                    <a:pt x="329" y="874"/>
                    <a:pt x="343" y="883"/>
                    <a:pt x="347" y="894"/>
                  </a:cubicBezTo>
                  <a:cubicBezTo>
                    <a:pt x="351" y="905"/>
                    <a:pt x="359" y="924"/>
                    <a:pt x="371" y="925"/>
                  </a:cubicBezTo>
                  <a:cubicBezTo>
                    <a:pt x="383" y="926"/>
                    <a:pt x="378" y="934"/>
                    <a:pt x="381" y="947"/>
                  </a:cubicBezTo>
                  <a:cubicBezTo>
                    <a:pt x="384" y="960"/>
                    <a:pt x="388" y="959"/>
                    <a:pt x="402" y="961"/>
                  </a:cubicBezTo>
                  <a:cubicBezTo>
                    <a:pt x="416" y="963"/>
                    <a:pt x="458" y="965"/>
                    <a:pt x="458" y="956"/>
                  </a:cubicBezTo>
                  <a:cubicBezTo>
                    <a:pt x="458" y="947"/>
                    <a:pt x="462" y="941"/>
                    <a:pt x="473" y="943"/>
                  </a:cubicBezTo>
                  <a:cubicBezTo>
                    <a:pt x="484" y="945"/>
                    <a:pt x="484" y="950"/>
                    <a:pt x="488" y="956"/>
                  </a:cubicBezTo>
                  <a:cubicBezTo>
                    <a:pt x="492" y="962"/>
                    <a:pt x="501" y="958"/>
                    <a:pt x="501" y="954"/>
                  </a:cubicBezTo>
                  <a:cubicBezTo>
                    <a:pt x="501" y="950"/>
                    <a:pt x="510" y="950"/>
                    <a:pt x="521" y="950"/>
                  </a:cubicBezTo>
                  <a:cubicBezTo>
                    <a:pt x="532" y="950"/>
                    <a:pt x="538" y="957"/>
                    <a:pt x="548" y="960"/>
                  </a:cubicBezTo>
                  <a:cubicBezTo>
                    <a:pt x="558" y="963"/>
                    <a:pt x="575" y="970"/>
                    <a:pt x="569" y="982"/>
                  </a:cubicBezTo>
                  <a:cubicBezTo>
                    <a:pt x="563" y="994"/>
                    <a:pt x="564" y="1005"/>
                    <a:pt x="552" y="1013"/>
                  </a:cubicBezTo>
                  <a:cubicBezTo>
                    <a:pt x="540" y="1021"/>
                    <a:pt x="525" y="1040"/>
                    <a:pt x="536" y="1049"/>
                  </a:cubicBezTo>
                  <a:cubicBezTo>
                    <a:pt x="547" y="1058"/>
                    <a:pt x="559" y="1043"/>
                    <a:pt x="563" y="1052"/>
                  </a:cubicBezTo>
                  <a:cubicBezTo>
                    <a:pt x="566" y="1060"/>
                    <a:pt x="570" y="1066"/>
                    <a:pt x="582" y="1073"/>
                  </a:cubicBezTo>
                  <a:cubicBezTo>
                    <a:pt x="584" y="1068"/>
                    <a:pt x="584" y="1060"/>
                    <a:pt x="584" y="1053"/>
                  </a:cubicBezTo>
                  <a:cubicBezTo>
                    <a:pt x="584" y="1041"/>
                    <a:pt x="591" y="1028"/>
                    <a:pt x="591" y="1013"/>
                  </a:cubicBezTo>
                  <a:cubicBezTo>
                    <a:pt x="591" y="997"/>
                    <a:pt x="600" y="968"/>
                    <a:pt x="600" y="961"/>
                  </a:cubicBezTo>
                  <a:cubicBezTo>
                    <a:pt x="600" y="953"/>
                    <a:pt x="602" y="941"/>
                    <a:pt x="602" y="931"/>
                  </a:cubicBezTo>
                  <a:cubicBezTo>
                    <a:pt x="602" y="921"/>
                    <a:pt x="604" y="911"/>
                    <a:pt x="609" y="901"/>
                  </a:cubicBezTo>
                  <a:cubicBezTo>
                    <a:pt x="614" y="892"/>
                    <a:pt x="614" y="888"/>
                    <a:pt x="613" y="877"/>
                  </a:cubicBezTo>
                  <a:cubicBezTo>
                    <a:pt x="612" y="865"/>
                    <a:pt x="611" y="863"/>
                    <a:pt x="607" y="853"/>
                  </a:cubicBezTo>
                  <a:cubicBezTo>
                    <a:pt x="603" y="842"/>
                    <a:pt x="584" y="827"/>
                    <a:pt x="576" y="820"/>
                  </a:cubicBezTo>
                  <a:cubicBezTo>
                    <a:pt x="568" y="813"/>
                    <a:pt x="572" y="787"/>
                    <a:pt x="574" y="773"/>
                  </a:cubicBezTo>
                  <a:cubicBezTo>
                    <a:pt x="576" y="759"/>
                    <a:pt x="608" y="765"/>
                    <a:pt x="622" y="764"/>
                  </a:cubicBezTo>
                  <a:cubicBezTo>
                    <a:pt x="636" y="763"/>
                    <a:pt x="626" y="758"/>
                    <a:pt x="627" y="747"/>
                  </a:cubicBezTo>
                  <a:cubicBezTo>
                    <a:pt x="628" y="737"/>
                    <a:pt x="605" y="739"/>
                    <a:pt x="592" y="737"/>
                  </a:cubicBezTo>
                  <a:cubicBezTo>
                    <a:pt x="580" y="735"/>
                    <a:pt x="586" y="723"/>
                    <a:pt x="583" y="703"/>
                  </a:cubicBezTo>
                  <a:cubicBezTo>
                    <a:pt x="580" y="682"/>
                    <a:pt x="628" y="693"/>
                    <a:pt x="652" y="693"/>
                  </a:cubicBezTo>
                  <a:cubicBezTo>
                    <a:pt x="676" y="694"/>
                    <a:pt x="679" y="693"/>
                    <a:pt x="679" y="685"/>
                  </a:cubicBezTo>
                  <a:cubicBezTo>
                    <a:pt x="679" y="676"/>
                    <a:pt x="690" y="679"/>
                    <a:pt x="695" y="686"/>
                  </a:cubicBezTo>
                  <a:cubicBezTo>
                    <a:pt x="700" y="693"/>
                    <a:pt x="713" y="692"/>
                    <a:pt x="715" y="685"/>
                  </a:cubicBezTo>
                  <a:cubicBezTo>
                    <a:pt x="717" y="679"/>
                    <a:pt x="719" y="677"/>
                    <a:pt x="736" y="673"/>
                  </a:cubicBezTo>
                  <a:cubicBezTo>
                    <a:pt x="752" y="670"/>
                    <a:pt x="750" y="665"/>
                    <a:pt x="748" y="649"/>
                  </a:cubicBezTo>
                  <a:cubicBezTo>
                    <a:pt x="745" y="633"/>
                    <a:pt x="741" y="635"/>
                    <a:pt x="724" y="625"/>
                  </a:cubicBezTo>
                  <a:cubicBezTo>
                    <a:pt x="708" y="615"/>
                    <a:pt x="727" y="605"/>
                    <a:pt x="740" y="593"/>
                  </a:cubicBezTo>
                  <a:cubicBezTo>
                    <a:pt x="754" y="580"/>
                    <a:pt x="743" y="572"/>
                    <a:pt x="732" y="568"/>
                  </a:cubicBezTo>
                  <a:cubicBezTo>
                    <a:pt x="720" y="564"/>
                    <a:pt x="729" y="557"/>
                    <a:pt x="718" y="545"/>
                  </a:cubicBezTo>
                  <a:cubicBezTo>
                    <a:pt x="708" y="534"/>
                    <a:pt x="710" y="515"/>
                    <a:pt x="711" y="504"/>
                  </a:cubicBezTo>
                  <a:cubicBezTo>
                    <a:pt x="712" y="493"/>
                    <a:pt x="714" y="487"/>
                    <a:pt x="712" y="475"/>
                  </a:cubicBezTo>
                  <a:cubicBezTo>
                    <a:pt x="710" y="464"/>
                    <a:pt x="711" y="461"/>
                    <a:pt x="721" y="456"/>
                  </a:cubicBezTo>
                  <a:cubicBezTo>
                    <a:pt x="731" y="451"/>
                    <a:pt x="727" y="440"/>
                    <a:pt x="729" y="433"/>
                  </a:cubicBezTo>
                  <a:cubicBezTo>
                    <a:pt x="731" y="427"/>
                    <a:pt x="737" y="420"/>
                    <a:pt x="737" y="412"/>
                  </a:cubicBezTo>
                  <a:cubicBezTo>
                    <a:pt x="737" y="404"/>
                    <a:pt x="728" y="399"/>
                    <a:pt x="718" y="398"/>
                  </a:cubicBezTo>
                  <a:cubicBezTo>
                    <a:pt x="709" y="397"/>
                    <a:pt x="707" y="398"/>
                    <a:pt x="699" y="404"/>
                  </a:cubicBezTo>
                  <a:cubicBezTo>
                    <a:pt x="691" y="410"/>
                    <a:pt x="660" y="413"/>
                    <a:pt x="651" y="409"/>
                  </a:cubicBezTo>
                  <a:cubicBezTo>
                    <a:pt x="642" y="405"/>
                    <a:pt x="630" y="405"/>
                    <a:pt x="627" y="411"/>
                  </a:cubicBezTo>
                  <a:cubicBezTo>
                    <a:pt x="624" y="417"/>
                    <a:pt x="618" y="417"/>
                    <a:pt x="610" y="410"/>
                  </a:cubicBezTo>
                  <a:cubicBezTo>
                    <a:pt x="603" y="403"/>
                    <a:pt x="590" y="387"/>
                    <a:pt x="581" y="373"/>
                  </a:cubicBezTo>
                  <a:cubicBezTo>
                    <a:pt x="572" y="360"/>
                    <a:pt x="566" y="360"/>
                    <a:pt x="556" y="359"/>
                  </a:cubicBezTo>
                  <a:cubicBezTo>
                    <a:pt x="547" y="357"/>
                    <a:pt x="546" y="357"/>
                    <a:pt x="537" y="351"/>
                  </a:cubicBezTo>
                  <a:cubicBezTo>
                    <a:pt x="528" y="344"/>
                    <a:pt x="516" y="349"/>
                    <a:pt x="513" y="357"/>
                  </a:cubicBezTo>
                  <a:cubicBezTo>
                    <a:pt x="510" y="364"/>
                    <a:pt x="486" y="357"/>
                    <a:pt x="470" y="357"/>
                  </a:cubicBezTo>
                  <a:cubicBezTo>
                    <a:pt x="455" y="357"/>
                    <a:pt x="447" y="358"/>
                    <a:pt x="444" y="353"/>
                  </a:cubicBezTo>
                  <a:cubicBezTo>
                    <a:pt x="440" y="347"/>
                    <a:pt x="436" y="337"/>
                    <a:pt x="425" y="331"/>
                  </a:cubicBezTo>
                  <a:cubicBezTo>
                    <a:pt x="414" y="325"/>
                    <a:pt x="416" y="317"/>
                    <a:pt x="415" y="302"/>
                  </a:cubicBezTo>
                  <a:cubicBezTo>
                    <a:pt x="414" y="287"/>
                    <a:pt x="422" y="289"/>
                    <a:pt x="424" y="279"/>
                  </a:cubicBezTo>
                  <a:cubicBezTo>
                    <a:pt x="427" y="268"/>
                    <a:pt x="417" y="257"/>
                    <a:pt x="409" y="252"/>
                  </a:cubicBezTo>
                  <a:cubicBezTo>
                    <a:pt x="401" y="247"/>
                    <a:pt x="398" y="244"/>
                    <a:pt x="398" y="235"/>
                  </a:cubicBezTo>
                  <a:cubicBezTo>
                    <a:pt x="397" y="227"/>
                    <a:pt x="406" y="227"/>
                    <a:pt x="406" y="218"/>
                  </a:cubicBezTo>
                  <a:cubicBezTo>
                    <a:pt x="405" y="209"/>
                    <a:pt x="382" y="215"/>
                    <a:pt x="372" y="215"/>
                  </a:cubicBezTo>
                  <a:cubicBezTo>
                    <a:pt x="363" y="215"/>
                    <a:pt x="356" y="216"/>
                    <a:pt x="361" y="207"/>
                  </a:cubicBezTo>
                  <a:cubicBezTo>
                    <a:pt x="366" y="199"/>
                    <a:pt x="371" y="191"/>
                    <a:pt x="380" y="179"/>
                  </a:cubicBezTo>
                  <a:cubicBezTo>
                    <a:pt x="390" y="168"/>
                    <a:pt x="386" y="158"/>
                    <a:pt x="386" y="145"/>
                  </a:cubicBezTo>
                  <a:cubicBezTo>
                    <a:pt x="386" y="132"/>
                    <a:pt x="390" y="130"/>
                    <a:pt x="392" y="123"/>
                  </a:cubicBezTo>
                  <a:cubicBezTo>
                    <a:pt x="394" y="115"/>
                    <a:pt x="412" y="98"/>
                    <a:pt x="419" y="91"/>
                  </a:cubicBezTo>
                  <a:cubicBezTo>
                    <a:pt x="427" y="84"/>
                    <a:pt x="443" y="65"/>
                    <a:pt x="447" y="57"/>
                  </a:cubicBezTo>
                  <a:cubicBezTo>
                    <a:pt x="451" y="49"/>
                    <a:pt x="457" y="44"/>
                    <a:pt x="467" y="42"/>
                  </a:cubicBezTo>
                  <a:cubicBezTo>
                    <a:pt x="472" y="41"/>
                    <a:pt x="479" y="42"/>
                    <a:pt x="485" y="43"/>
                  </a:cubicBezTo>
                  <a:cubicBezTo>
                    <a:pt x="496" y="40"/>
                    <a:pt x="502" y="37"/>
                    <a:pt x="502" y="27"/>
                  </a:cubicBezTo>
                  <a:cubicBezTo>
                    <a:pt x="502" y="12"/>
                    <a:pt x="485" y="0"/>
                    <a:pt x="474" y="0"/>
                  </a:cubicBezTo>
                  <a:cubicBezTo>
                    <a:pt x="462" y="0"/>
                    <a:pt x="439" y="20"/>
                    <a:pt x="432" y="31"/>
                  </a:cubicBezTo>
                  <a:cubicBezTo>
                    <a:pt x="425" y="43"/>
                    <a:pt x="386" y="57"/>
                    <a:pt x="378" y="63"/>
                  </a:cubicBezTo>
                  <a:cubicBezTo>
                    <a:pt x="369" y="68"/>
                    <a:pt x="375" y="78"/>
                    <a:pt x="349" y="76"/>
                  </a:cubicBezTo>
                  <a:cubicBezTo>
                    <a:pt x="323" y="73"/>
                    <a:pt x="313" y="70"/>
                    <a:pt x="308" y="81"/>
                  </a:cubicBezTo>
                  <a:cubicBezTo>
                    <a:pt x="302" y="93"/>
                    <a:pt x="302" y="110"/>
                    <a:pt x="282" y="97"/>
                  </a:cubicBezTo>
                  <a:cubicBezTo>
                    <a:pt x="262" y="84"/>
                    <a:pt x="260" y="88"/>
                    <a:pt x="243" y="101"/>
                  </a:cubicBezTo>
                  <a:cubicBezTo>
                    <a:pt x="226" y="114"/>
                    <a:pt x="211" y="133"/>
                    <a:pt x="217" y="150"/>
                  </a:cubicBezTo>
                  <a:cubicBezTo>
                    <a:pt x="223" y="167"/>
                    <a:pt x="227" y="187"/>
                    <a:pt x="209" y="192"/>
                  </a:cubicBezTo>
                  <a:cubicBezTo>
                    <a:pt x="190" y="196"/>
                    <a:pt x="183" y="209"/>
                    <a:pt x="173" y="220"/>
                  </a:cubicBezTo>
                  <a:cubicBezTo>
                    <a:pt x="163" y="232"/>
                    <a:pt x="148" y="242"/>
                    <a:pt x="148" y="253"/>
                  </a:cubicBezTo>
                  <a:cubicBezTo>
                    <a:pt x="148" y="265"/>
                    <a:pt x="134" y="289"/>
                    <a:pt x="123" y="266"/>
                  </a:cubicBezTo>
                  <a:cubicBezTo>
                    <a:pt x="117" y="256"/>
                    <a:pt x="112" y="246"/>
                    <a:pt x="105" y="238"/>
                  </a:cubicBezTo>
                  <a:cubicBezTo>
                    <a:pt x="104" y="242"/>
                    <a:pt x="103" y="246"/>
                    <a:pt x="103" y="249"/>
                  </a:cubicBezTo>
                  <a:cubicBezTo>
                    <a:pt x="104" y="257"/>
                    <a:pt x="99" y="256"/>
                    <a:pt x="102" y="264"/>
                  </a:cubicBezTo>
                  <a:cubicBezTo>
                    <a:pt x="105" y="271"/>
                    <a:pt x="101" y="275"/>
                    <a:pt x="107" y="276"/>
                  </a:cubicBezTo>
                  <a:cubicBezTo>
                    <a:pt x="114" y="278"/>
                    <a:pt x="114" y="285"/>
                    <a:pt x="114" y="289"/>
                  </a:cubicBezTo>
                  <a:cubicBezTo>
                    <a:pt x="114" y="292"/>
                    <a:pt x="116" y="301"/>
                    <a:pt x="110" y="306"/>
                  </a:cubicBezTo>
                  <a:cubicBezTo>
                    <a:pt x="104" y="311"/>
                    <a:pt x="95" y="322"/>
                    <a:pt x="92" y="315"/>
                  </a:cubicBezTo>
                  <a:cubicBezTo>
                    <a:pt x="89" y="309"/>
                    <a:pt x="81" y="303"/>
                    <a:pt x="80" y="308"/>
                  </a:cubicBezTo>
                  <a:cubicBezTo>
                    <a:pt x="80" y="313"/>
                    <a:pt x="81" y="329"/>
                    <a:pt x="79" y="333"/>
                  </a:cubicBezTo>
                  <a:cubicBezTo>
                    <a:pt x="78" y="335"/>
                    <a:pt x="77" y="336"/>
                    <a:pt x="76" y="337"/>
                  </a:cubicBezTo>
                  <a:cubicBezTo>
                    <a:pt x="77" y="338"/>
                    <a:pt x="78" y="340"/>
                    <a:pt x="80" y="343"/>
                  </a:cubicBezTo>
                  <a:cubicBezTo>
                    <a:pt x="90" y="358"/>
                    <a:pt x="96" y="362"/>
                    <a:pt x="100" y="373"/>
                  </a:cubicBezTo>
                  <a:cubicBezTo>
                    <a:pt x="105" y="385"/>
                    <a:pt x="105" y="399"/>
                    <a:pt x="105" y="405"/>
                  </a:cubicBezTo>
                  <a:cubicBezTo>
                    <a:pt x="105" y="411"/>
                    <a:pt x="104" y="415"/>
                    <a:pt x="108" y="419"/>
                  </a:cubicBezTo>
                  <a:cubicBezTo>
                    <a:pt x="113" y="422"/>
                    <a:pt x="114" y="428"/>
                    <a:pt x="110" y="433"/>
                  </a:cubicBezTo>
                  <a:cubicBezTo>
                    <a:pt x="105" y="439"/>
                    <a:pt x="97" y="441"/>
                    <a:pt x="99" y="452"/>
                  </a:cubicBezTo>
                  <a:cubicBezTo>
                    <a:pt x="102" y="464"/>
                    <a:pt x="103" y="473"/>
                    <a:pt x="108" y="485"/>
                  </a:cubicBezTo>
                  <a:cubicBezTo>
                    <a:pt x="114" y="496"/>
                    <a:pt x="113" y="497"/>
                    <a:pt x="112" y="514"/>
                  </a:cubicBezTo>
                  <a:cubicBezTo>
                    <a:pt x="111" y="531"/>
                    <a:pt x="97" y="533"/>
                    <a:pt x="105" y="543"/>
                  </a:cubicBezTo>
                  <a:cubicBezTo>
                    <a:pt x="112" y="554"/>
                    <a:pt x="123" y="556"/>
                    <a:pt x="116" y="568"/>
                  </a:cubicBezTo>
                  <a:cubicBezTo>
                    <a:pt x="109" y="579"/>
                    <a:pt x="104" y="585"/>
                    <a:pt x="98" y="599"/>
                  </a:cubicBezTo>
                  <a:cubicBezTo>
                    <a:pt x="92" y="612"/>
                    <a:pt x="83" y="628"/>
                    <a:pt x="70" y="634"/>
                  </a:cubicBezTo>
                  <a:cubicBezTo>
                    <a:pt x="58" y="640"/>
                    <a:pt x="34" y="643"/>
                    <a:pt x="29" y="651"/>
                  </a:cubicBezTo>
                  <a:cubicBezTo>
                    <a:pt x="25" y="659"/>
                    <a:pt x="36" y="671"/>
                    <a:pt x="20" y="679"/>
                  </a:cubicBezTo>
                  <a:cubicBezTo>
                    <a:pt x="5" y="687"/>
                    <a:pt x="0" y="690"/>
                    <a:pt x="3" y="699"/>
                  </a:cubicBezTo>
                  <a:cubicBezTo>
                    <a:pt x="4" y="702"/>
                    <a:pt x="6" y="708"/>
                    <a:pt x="6" y="713"/>
                  </a:cubicBezTo>
                  <a:cubicBezTo>
                    <a:pt x="13" y="713"/>
                    <a:pt x="22" y="715"/>
                    <a:pt x="27" y="721"/>
                  </a:cubicBezTo>
                  <a:cubicBezTo>
                    <a:pt x="36" y="731"/>
                    <a:pt x="48" y="744"/>
                    <a:pt x="65" y="74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8" name="Freeform 438">
              <a:extLst>
                <a:ext uri="{FF2B5EF4-FFF2-40B4-BE49-F238E27FC236}">
                  <a16:creationId xmlns:a16="http://schemas.microsoft.com/office/drawing/2014/main" id="{4F022228-467A-B44F-93EC-57E11FB10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555"/>
              <a:ext cx="96" cy="107"/>
            </a:xfrm>
            <a:custGeom>
              <a:avLst/>
              <a:gdLst>
                <a:gd name="T0" fmla="*/ 49 w 380"/>
                <a:gd name="T1" fmla="*/ 312 h 423"/>
                <a:gd name="T2" fmla="*/ 49 w 380"/>
                <a:gd name="T3" fmla="*/ 344 h 423"/>
                <a:gd name="T4" fmla="*/ 35 w 380"/>
                <a:gd name="T5" fmla="*/ 359 h 423"/>
                <a:gd name="T6" fmla="*/ 45 w 380"/>
                <a:gd name="T7" fmla="*/ 382 h 423"/>
                <a:gd name="T8" fmla="*/ 66 w 380"/>
                <a:gd name="T9" fmla="*/ 369 h 423"/>
                <a:gd name="T10" fmla="*/ 93 w 380"/>
                <a:gd name="T11" fmla="*/ 382 h 423"/>
                <a:gd name="T12" fmla="*/ 107 w 380"/>
                <a:gd name="T13" fmla="*/ 407 h 423"/>
                <a:gd name="T14" fmla="*/ 131 w 380"/>
                <a:gd name="T15" fmla="*/ 409 h 423"/>
                <a:gd name="T16" fmla="*/ 142 w 380"/>
                <a:gd name="T17" fmla="*/ 390 h 423"/>
                <a:gd name="T18" fmla="*/ 155 w 380"/>
                <a:gd name="T19" fmla="*/ 375 h 423"/>
                <a:gd name="T20" fmla="*/ 161 w 380"/>
                <a:gd name="T21" fmla="*/ 338 h 423"/>
                <a:gd name="T22" fmla="*/ 212 w 380"/>
                <a:gd name="T23" fmla="*/ 278 h 423"/>
                <a:gd name="T24" fmla="*/ 274 w 380"/>
                <a:gd name="T25" fmla="*/ 261 h 423"/>
                <a:gd name="T26" fmla="*/ 351 w 380"/>
                <a:gd name="T27" fmla="*/ 189 h 423"/>
                <a:gd name="T28" fmla="*/ 361 w 380"/>
                <a:gd name="T29" fmla="*/ 155 h 423"/>
                <a:gd name="T30" fmla="*/ 370 w 380"/>
                <a:gd name="T31" fmla="*/ 140 h 423"/>
                <a:gd name="T32" fmla="*/ 364 w 380"/>
                <a:gd name="T33" fmla="*/ 122 h 423"/>
                <a:gd name="T34" fmla="*/ 345 w 380"/>
                <a:gd name="T35" fmla="*/ 92 h 423"/>
                <a:gd name="T36" fmla="*/ 335 w 380"/>
                <a:gd name="T37" fmla="*/ 87 h 423"/>
                <a:gd name="T38" fmla="*/ 315 w 380"/>
                <a:gd name="T39" fmla="*/ 70 h 423"/>
                <a:gd name="T40" fmla="*/ 292 w 380"/>
                <a:gd name="T41" fmla="*/ 73 h 423"/>
                <a:gd name="T42" fmla="*/ 269 w 380"/>
                <a:gd name="T43" fmla="*/ 80 h 423"/>
                <a:gd name="T44" fmla="*/ 243 w 380"/>
                <a:gd name="T45" fmla="*/ 70 h 423"/>
                <a:gd name="T46" fmla="*/ 220 w 380"/>
                <a:gd name="T47" fmla="*/ 49 h 423"/>
                <a:gd name="T48" fmla="*/ 191 w 380"/>
                <a:gd name="T49" fmla="*/ 33 h 423"/>
                <a:gd name="T50" fmla="*/ 153 w 380"/>
                <a:gd name="T51" fmla="*/ 8 h 423"/>
                <a:gd name="T52" fmla="*/ 132 w 380"/>
                <a:gd name="T53" fmla="*/ 0 h 423"/>
                <a:gd name="T54" fmla="*/ 124 w 380"/>
                <a:gd name="T55" fmla="*/ 16 h 423"/>
                <a:gd name="T56" fmla="*/ 98 w 380"/>
                <a:gd name="T57" fmla="*/ 24 h 423"/>
                <a:gd name="T58" fmla="*/ 79 w 380"/>
                <a:gd name="T59" fmla="*/ 31 h 423"/>
                <a:gd name="T60" fmla="*/ 58 w 380"/>
                <a:gd name="T61" fmla="*/ 51 h 423"/>
                <a:gd name="T62" fmla="*/ 57 w 380"/>
                <a:gd name="T63" fmla="*/ 92 h 423"/>
                <a:gd name="T64" fmla="*/ 38 w 380"/>
                <a:gd name="T65" fmla="*/ 109 h 423"/>
                <a:gd name="T66" fmla="*/ 28 w 380"/>
                <a:gd name="T67" fmla="*/ 138 h 423"/>
                <a:gd name="T68" fmla="*/ 2 w 380"/>
                <a:gd name="T69" fmla="*/ 161 h 423"/>
                <a:gd name="T70" fmla="*/ 10 w 380"/>
                <a:gd name="T71" fmla="*/ 199 h 423"/>
                <a:gd name="T72" fmla="*/ 15 w 380"/>
                <a:gd name="T73" fmla="*/ 218 h 423"/>
                <a:gd name="T74" fmla="*/ 12 w 380"/>
                <a:gd name="T75" fmla="*/ 237 h 423"/>
                <a:gd name="T76" fmla="*/ 31 w 380"/>
                <a:gd name="T77" fmla="*/ 252 h 423"/>
                <a:gd name="T78" fmla="*/ 52 w 380"/>
                <a:gd name="T79" fmla="*/ 262 h 423"/>
                <a:gd name="T80" fmla="*/ 66 w 380"/>
                <a:gd name="T81" fmla="*/ 242 h 423"/>
                <a:gd name="T82" fmla="*/ 75 w 380"/>
                <a:gd name="T83" fmla="*/ 239 h 423"/>
                <a:gd name="T84" fmla="*/ 79 w 380"/>
                <a:gd name="T85" fmla="*/ 262 h 423"/>
                <a:gd name="T86" fmla="*/ 66 w 380"/>
                <a:gd name="T87" fmla="*/ 276 h 423"/>
                <a:gd name="T88" fmla="*/ 65 w 380"/>
                <a:gd name="T89" fmla="*/ 295 h 423"/>
                <a:gd name="T90" fmla="*/ 41 w 380"/>
                <a:gd name="T91" fmla="*/ 302 h 423"/>
                <a:gd name="T92" fmla="*/ 49 w 380"/>
                <a:gd name="T93" fmla="*/ 312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80" h="423">
                  <a:moveTo>
                    <a:pt x="49" y="312"/>
                  </a:moveTo>
                  <a:cubicBezTo>
                    <a:pt x="56" y="316"/>
                    <a:pt x="61" y="341"/>
                    <a:pt x="49" y="344"/>
                  </a:cubicBezTo>
                  <a:cubicBezTo>
                    <a:pt x="37" y="347"/>
                    <a:pt x="31" y="350"/>
                    <a:pt x="35" y="359"/>
                  </a:cubicBezTo>
                  <a:cubicBezTo>
                    <a:pt x="39" y="368"/>
                    <a:pt x="41" y="393"/>
                    <a:pt x="45" y="382"/>
                  </a:cubicBezTo>
                  <a:cubicBezTo>
                    <a:pt x="49" y="371"/>
                    <a:pt x="56" y="367"/>
                    <a:pt x="66" y="369"/>
                  </a:cubicBezTo>
                  <a:cubicBezTo>
                    <a:pt x="76" y="371"/>
                    <a:pt x="87" y="372"/>
                    <a:pt x="93" y="382"/>
                  </a:cubicBezTo>
                  <a:cubicBezTo>
                    <a:pt x="99" y="392"/>
                    <a:pt x="99" y="404"/>
                    <a:pt x="107" y="407"/>
                  </a:cubicBezTo>
                  <a:cubicBezTo>
                    <a:pt x="115" y="410"/>
                    <a:pt x="127" y="423"/>
                    <a:pt x="131" y="409"/>
                  </a:cubicBezTo>
                  <a:cubicBezTo>
                    <a:pt x="135" y="395"/>
                    <a:pt x="133" y="392"/>
                    <a:pt x="142" y="390"/>
                  </a:cubicBezTo>
                  <a:cubicBezTo>
                    <a:pt x="151" y="388"/>
                    <a:pt x="152" y="387"/>
                    <a:pt x="155" y="375"/>
                  </a:cubicBezTo>
                  <a:cubicBezTo>
                    <a:pt x="158" y="363"/>
                    <a:pt x="152" y="353"/>
                    <a:pt x="161" y="338"/>
                  </a:cubicBezTo>
                  <a:cubicBezTo>
                    <a:pt x="170" y="323"/>
                    <a:pt x="186" y="284"/>
                    <a:pt x="212" y="278"/>
                  </a:cubicBezTo>
                  <a:cubicBezTo>
                    <a:pt x="238" y="272"/>
                    <a:pt x="257" y="268"/>
                    <a:pt x="274" y="261"/>
                  </a:cubicBezTo>
                  <a:cubicBezTo>
                    <a:pt x="291" y="254"/>
                    <a:pt x="347" y="211"/>
                    <a:pt x="351" y="189"/>
                  </a:cubicBezTo>
                  <a:cubicBezTo>
                    <a:pt x="355" y="167"/>
                    <a:pt x="356" y="159"/>
                    <a:pt x="361" y="155"/>
                  </a:cubicBezTo>
                  <a:cubicBezTo>
                    <a:pt x="366" y="151"/>
                    <a:pt x="370" y="151"/>
                    <a:pt x="370" y="140"/>
                  </a:cubicBezTo>
                  <a:cubicBezTo>
                    <a:pt x="370" y="129"/>
                    <a:pt x="380" y="134"/>
                    <a:pt x="364" y="122"/>
                  </a:cubicBezTo>
                  <a:cubicBezTo>
                    <a:pt x="352" y="113"/>
                    <a:pt x="347" y="103"/>
                    <a:pt x="345" y="92"/>
                  </a:cubicBezTo>
                  <a:cubicBezTo>
                    <a:pt x="342" y="90"/>
                    <a:pt x="339" y="88"/>
                    <a:pt x="335" y="87"/>
                  </a:cubicBezTo>
                  <a:cubicBezTo>
                    <a:pt x="325" y="84"/>
                    <a:pt x="322" y="80"/>
                    <a:pt x="315" y="70"/>
                  </a:cubicBezTo>
                  <a:cubicBezTo>
                    <a:pt x="308" y="60"/>
                    <a:pt x="293" y="65"/>
                    <a:pt x="292" y="73"/>
                  </a:cubicBezTo>
                  <a:cubicBezTo>
                    <a:pt x="291" y="81"/>
                    <a:pt x="284" y="80"/>
                    <a:pt x="269" y="80"/>
                  </a:cubicBezTo>
                  <a:cubicBezTo>
                    <a:pt x="254" y="80"/>
                    <a:pt x="251" y="70"/>
                    <a:pt x="243" y="70"/>
                  </a:cubicBezTo>
                  <a:cubicBezTo>
                    <a:pt x="235" y="70"/>
                    <a:pt x="223" y="61"/>
                    <a:pt x="220" y="49"/>
                  </a:cubicBezTo>
                  <a:cubicBezTo>
                    <a:pt x="217" y="37"/>
                    <a:pt x="208" y="35"/>
                    <a:pt x="191" y="33"/>
                  </a:cubicBezTo>
                  <a:cubicBezTo>
                    <a:pt x="174" y="31"/>
                    <a:pt x="162" y="18"/>
                    <a:pt x="153" y="8"/>
                  </a:cubicBezTo>
                  <a:cubicBezTo>
                    <a:pt x="148" y="2"/>
                    <a:pt x="139" y="0"/>
                    <a:pt x="132" y="0"/>
                  </a:cubicBezTo>
                  <a:cubicBezTo>
                    <a:pt x="134" y="8"/>
                    <a:pt x="133" y="15"/>
                    <a:pt x="124" y="16"/>
                  </a:cubicBezTo>
                  <a:cubicBezTo>
                    <a:pt x="110" y="18"/>
                    <a:pt x="103" y="19"/>
                    <a:pt x="98" y="24"/>
                  </a:cubicBezTo>
                  <a:cubicBezTo>
                    <a:pt x="93" y="30"/>
                    <a:pt x="91" y="29"/>
                    <a:pt x="79" y="31"/>
                  </a:cubicBezTo>
                  <a:cubicBezTo>
                    <a:pt x="66" y="33"/>
                    <a:pt x="58" y="38"/>
                    <a:pt x="58" y="51"/>
                  </a:cubicBezTo>
                  <a:cubicBezTo>
                    <a:pt x="58" y="65"/>
                    <a:pt x="71" y="85"/>
                    <a:pt x="57" y="92"/>
                  </a:cubicBezTo>
                  <a:cubicBezTo>
                    <a:pt x="43" y="99"/>
                    <a:pt x="38" y="99"/>
                    <a:pt x="38" y="109"/>
                  </a:cubicBezTo>
                  <a:cubicBezTo>
                    <a:pt x="38" y="118"/>
                    <a:pt x="38" y="133"/>
                    <a:pt x="28" y="138"/>
                  </a:cubicBezTo>
                  <a:cubicBezTo>
                    <a:pt x="18" y="144"/>
                    <a:pt x="0" y="145"/>
                    <a:pt x="2" y="161"/>
                  </a:cubicBezTo>
                  <a:cubicBezTo>
                    <a:pt x="4" y="178"/>
                    <a:pt x="2" y="194"/>
                    <a:pt x="10" y="199"/>
                  </a:cubicBezTo>
                  <a:cubicBezTo>
                    <a:pt x="19" y="204"/>
                    <a:pt x="23" y="214"/>
                    <a:pt x="15" y="218"/>
                  </a:cubicBezTo>
                  <a:cubicBezTo>
                    <a:pt x="6" y="223"/>
                    <a:pt x="1" y="231"/>
                    <a:pt x="12" y="237"/>
                  </a:cubicBezTo>
                  <a:cubicBezTo>
                    <a:pt x="23" y="242"/>
                    <a:pt x="26" y="245"/>
                    <a:pt x="31" y="252"/>
                  </a:cubicBezTo>
                  <a:cubicBezTo>
                    <a:pt x="37" y="260"/>
                    <a:pt x="45" y="269"/>
                    <a:pt x="52" y="262"/>
                  </a:cubicBezTo>
                  <a:cubicBezTo>
                    <a:pt x="60" y="255"/>
                    <a:pt x="65" y="251"/>
                    <a:pt x="66" y="242"/>
                  </a:cubicBezTo>
                  <a:cubicBezTo>
                    <a:pt x="68" y="233"/>
                    <a:pt x="74" y="231"/>
                    <a:pt x="75" y="239"/>
                  </a:cubicBezTo>
                  <a:cubicBezTo>
                    <a:pt x="76" y="247"/>
                    <a:pt x="93" y="256"/>
                    <a:pt x="79" y="262"/>
                  </a:cubicBezTo>
                  <a:cubicBezTo>
                    <a:pt x="66" y="268"/>
                    <a:pt x="60" y="272"/>
                    <a:pt x="66" y="276"/>
                  </a:cubicBezTo>
                  <a:cubicBezTo>
                    <a:pt x="73" y="280"/>
                    <a:pt x="81" y="290"/>
                    <a:pt x="65" y="295"/>
                  </a:cubicBezTo>
                  <a:cubicBezTo>
                    <a:pt x="58" y="297"/>
                    <a:pt x="49" y="299"/>
                    <a:pt x="41" y="302"/>
                  </a:cubicBezTo>
                  <a:cubicBezTo>
                    <a:pt x="43" y="306"/>
                    <a:pt x="46" y="310"/>
                    <a:pt x="49" y="31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09" name="Freeform 439">
              <a:extLst>
                <a:ext uri="{FF2B5EF4-FFF2-40B4-BE49-F238E27FC236}">
                  <a16:creationId xmlns:a16="http://schemas.microsoft.com/office/drawing/2014/main" id="{57D6DE9B-667D-8748-8924-8AF966552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0" y="2577"/>
              <a:ext cx="206" cy="301"/>
            </a:xfrm>
            <a:custGeom>
              <a:avLst/>
              <a:gdLst>
                <a:gd name="T0" fmla="*/ 740 w 817"/>
                <a:gd name="T1" fmla="*/ 1159 h 1191"/>
                <a:gd name="T2" fmla="*/ 754 w 817"/>
                <a:gd name="T3" fmla="*/ 1136 h 1191"/>
                <a:gd name="T4" fmla="*/ 780 w 817"/>
                <a:gd name="T5" fmla="*/ 1086 h 1191"/>
                <a:gd name="T6" fmla="*/ 767 w 817"/>
                <a:gd name="T7" fmla="*/ 1027 h 1191"/>
                <a:gd name="T8" fmla="*/ 766 w 817"/>
                <a:gd name="T9" fmla="*/ 970 h 1191"/>
                <a:gd name="T10" fmla="*/ 795 w 817"/>
                <a:gd name="T11" fmla="*/ 920 h 1191"/>
                <a:gd name="T12" fmla="*/ 787 w 817"/>
                <a:gd name="T13" fmla="*/ 867 h 1191"/>
                <a:gd name="T14" fmla="*/ 807 w 817"/>
                <a:gd name="T15" fmla="*/ 810 h 1191"/>
                <a:gd name="T16" fmla="*/ 780 w 817"/>
                <a:gd name="T17" fmla="*/ 751 h 1191"/>
                <a:gd name="T18" fmla="*/ 741 w 817"/>
                <a:gd name="T19" fmla="*/ 703 h 1191"/>
                <a:gd name="T20" fmla="*/ 693 w 817"/>
                <a:gd name="T21" fmla="*/ 706 h 1191"/>
                <a:gd name="T22" fmla="*/ 687 w 817"/>
                <a:gd name="T23" fmla="*/ 634 h 1191"/>
                <a:gd name="T24" fmla="*/ 666 w 817"/>
                <a:gd name="T25" fmla="*/ 626 h 1191"/>
                <a:gd name="T26" fmla="*/ 593 w 817"/>
                <a:gd name="T27" fmla="*/ 646 h 1191"/>
                <a:gd name="T28" fmla="*/ 545 w 817"/>
                <a:gd name="T29" fmla="*/ 604 h 1191"/>
                <a:gd name="T30" fmla="*/ 523 w 817"/>
                <a:gd name="T31" fmla="*/ 570 h 1191"/>
                <a:gd name="T32" fmla="*/ 487 w 817"/>
                <a:gd name="T33" fmla="*/ 513 h 1191"/>
                <a:gd name="T34" fmla="*/ 483 w 817"/>
                <a:gd name="T35" fmla="*/ 474 h 1191"/>
                <a:gd name="T36" fmla="*/ 498 w 817"/>
                <a:gd name="T37" fmla="*/ 431 h 1191"/>
                <a:gd name="T38" fmla="*/ 519 w 817"/>
                <a:gd name="T39" fmla="*/ 399 h 1191"/>
                <a:gd name="T40" fmla="*/ 536 w 817"/>
                <a:gd name="T41" fmla="*/ 344 h 1191"/>
                <a:gd name="T42" fmla="*/ 591 w 817"/>
                <a:gd name="T43" fmla="*/ 298 h 1191"/>
                <a:gd name="T44" fmla="*/ 669 w 817"/>
                <a:gd name="T45" fmla="*/ 274 h 1191"/>
                <a:gd name="T46" fmla="*/ 721 w 817"/>
                <a:gd name="T47" fmla="*/ 279 h 1191"/>
                <a:gd name="T48" fmla="*/ 710 w 817"/>
                <a:gd name="T49" fmla="*/ 251 h 1191"/>
                <a:gd name="T50" fmla="*/ 699 w 817"/>
                <a:gd name="T51" fmla="*/ 212 h 1191"/>
                <a:gd name="T52" fmla="*/ 695 w 817"/>
                <a:gd name="T53" fmla="*/ 159 h 1191"/>
                <a:gd name="T54" fmla="*/ 648 w 817"/>
                <a:gd name="T55" fmla="*/ 153 h 1191"/>
                <a:gd name="T56" fmla="*/ 620 w 817"/>
                <a:gd name="T57" fmla="*/ 142 h 1191"/>
                <a:gd name="T58" fmla="*/ 549 w 817"/>
                <a:gd name="T59" fmla="*/ 160 h 1191"/>
                <a:gd name="T60" fmla="*/ 518 w 817"/>
                <a:gd name="T61" fmla="*/ 124 h 1191"/>
                <a:gd name="T62" fmla="*/ 463 w 817"/>
                <a:gd name="T63" fmla="*/ 73 h 1191"/>
                <a:gd name="T64" fmla="*/ 417 w 817"/>
                <a:gd name="T65" fmla="*/ 14 h 1191"/>
                <a:gd name="T66" fmla="*/ 366 w 817"/>
                <a:gd name="T67" fmla="*/ 4 h 1191"/>
                <a:gd name="T68" fmla="*/ 391 w 817"/>
                <a:gd name="T69" fmla="*/ 52 h 1191"/>
                <a:gd name="T70" fmla="*/ 372 w 817"/>
                <a:gd name="T71" fmla="*/ 101 h 1191"/>
                <a:gd name="T72" fmla="*/ 233 w 817"/>
                <a:gd name="T73" fmla="*/ 190 h 1191"/>
                <a:gd name="T74" fmla="*/ 176 w 817"/>
                <a:gd name="T75" fmla="*/ 287 h 1191"/>
                <a:gd name="T76" fmla="*/ 152 w 817"/>
                <a:gd name="T77" fmla="*/ 321 h 1191"/>
                <a:gd name="T78" fmla="*/ 114 w 817"/>
                <a:gd name="T79" fmla="*/ 294 h 1191"/>
                <a:gd name="T80" fmla="*/ 66 w 817"/>
                <a:gd name="T81" fmla="*/ 294 h 1191"/>
                <a:gd name="T82" fmla="*/ 70 w 817"/>
                <a:gd name="T83" fmla="*/ 256 h 1191"/>
                <a:gd name="T84" fmla="*/ 62 w 817"/>
                <a:gd name="T85" fmla="*/ 214 h 1191"/>
                <a:gd name="T86" fmla="*/ 14 w 817"/>
                <a:gd name="T87" fmla="*/ 264 h 1191"/>
                <a:gd name="T88" fmla="*/ 13 w 817"/>
                <a:gd name="T89" fmla="*/ 329 h 1191"/>
                <a:gd name="T90" fmla="*/ 19 w 817"/>
                <a:gd name="T91" fmla="*/ 375 h 1191"/>
                <a:gd name="T92" fmla="*/ 62 w 817"/>
                <a:gd name="T93" fmla="*/ 415 h 1191"/>
                <a:gd name="T94" fmla="*/ 146 w 817"/>
                <a:gd name="T95" fmla="*/ 517 h 1191"/>
                <a:gd name="T96" fmla="*/ 201 w 817"/>
                <a:gd name="T97" fmla="*/ 630 h 1191"/>
                <a:gd name="T98" fmla="*/ 248 w 817"/>
                <a:gd name="T99" fmla="*/ 726 h 1191"/>
                <a:gd name="T100" fmla="*/ 296 w 817"/>
                <a:gd name="T101" fmla="*/ 799 h 1191"/>
                <a:gd name="T102" fmla="*/ 334 w 817"/>
                <a:gd name="T103" fmla="*/ 869 h 1191"/>
                <a:gd name="T104" fmla="*/ 347 w 817"/>
                <a:gd name="T105" fmla="*/ 930 h 1191"/>
                <a:gd name="T106" fmla="*/ 410 w 817"/>
                <a:gd name="T107" fmla="*/ 997 h 1191"/>
                <a:gd name="T108" fmla="*/ 502 w 817"/>
                <a:gd name="T109" fmla="*/ 1050 h 1191"/>
                <a:gd name="T110" fmla="*/ 601 w 817"/>
                <a:gd name="T111" fmla="*/ 1098 h 1191"/>
                <a:gd name="T112" fmla="*/ 660 w 817"/>
                <a:gd name="T113" fmla="*/ 1152 h 1191"/>
                <a:gd name="T114" fmla="*/ 709 w 817"/>
                <a:gd name="T115" fmla="*/ 1187 h 1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7" h="1191">
                  <a:moveTo>
                    <a:pt x="733" y="1181"/>
                  </a:moveTo>
                  <a:cubicBezTo>
                    <a:pt x="739" y="1173"/>
                    <a:pt x="741" y="1168"/>
                    <a:pt x="740" y="1159"/>
                  </a:cubicBezTo>
                  <a:cubicBezTo>
                    <a:pt x="739" y="1149"/>
                    <a:pt x="742" y="1143"/>
                    <a:pt x="746" y="1140"/>
                  </a:cubicBezTo>
                  <a:cubicBezTo>
                    <a:pt x="749" y="1138"/>
                    <a:pt x="751" y="1137"/>
                    <a:pt x="754" y="1136"/>
                  </a:cubicBezTo>
                  <a:cubicBezTo>
                    <a:pt x="752" y="1130"/>
                    <a:pt x="754" y="1124"/>
                    <a:pt x="752" y="1118"/>
                  </a:cubicBezTo>
                  <a:cubicBezTo>
                    <a:pt x="750" y="1110"/>
                    <a:pt x="769" y="1093"/>
                    <a:pt x="780" y="1086"/>
                  </a:cubicBezTo>
                  <a:cubicBezTo>
                    <a:pt x="791" y="1078"/>
                    <a:pt x="793" y="1056"/>
                    <a:pt x="783" y="1050"/>
                  </a:cubicBezTo>
                  <a:cubicBezTo>
                    <a:pt x="773" y="1043"/>
                    <a:pt x="771" y="1036"/>
                    <a:pt x="767" y="1027"/>
                  </a:cubicBezTo>
                  <a:cubicBezTo>
                    <a:pt x="762" y="1018"/>
                    <a:pt x="762" y="1005"/>
                    <a:pt x="769" y="996"/>
                  </a:cubicBezTo>
                  <a:cubicBezTo>
                    <a:pt x="777" y="988"/>
                    <a:pt x="773" y="974"/>
                    <a:pt x="766" y="970"/>
                  </a:cubicBezTo>
                  <a:cubicBezTo>
                    <a:pt x="759" y="965"/>
                    <a:pt x="766" y="956"/>
                    <a:pt x="773" y="947"/>
                  </a:cubicBezTo>
                  <a:cubicBezTo>
                    <a:pt x="779" y="938"/>
                    <a:pt x="788" y="932"/>
                    <a:pt x="795" y="920"/>
                  </a:cubicBezTo>
                  <a:cubicBezTo>
                    <a:pt x="803" y="908"/>
                    <a:pt x="795" y="905"/>
                    <a:pt x="790" y="898"/>
                  </a:cubicBezTo>
                  <a:cubicBezTo>
                    <a:pt x="785" y="892"/>
                    <a:pt x="783" y="874"/>
                    <a:pt x="787" y="867"/>
                  </a:cubicBezTo>
                  <a:cubicBezTo>
                    <a:pt x="792" y="860"/>
                    <a:pt x="793" y="853"/>
                    <a:pt x="793" y="838"/>
                  </a:cubicBezTo>
                  <a:cubicBezTo>
                    <a:pt x="794" y="824"/>
                    <a:pt x="797" y="824"/>
                    <a:pt x="807" y="810"/>
                  </a:cubicBezTo>
                  <a:cubicBezTo>
                    <a:pt x="817" y="796"/>
                    <a:pt x="802" y="782"/>
                    <a:pt x="796" y="774"/>
                  </a:cubicBezTo>
                  <a:cubicBezTo>
                    <a:pt x="790" y="767"/>
                    <a:pt x="789" y="760"/>
                    <a:pt x="780" y="751"/>
                  </a:cubicBezTo>
                  <a:cubicBezTo>
                    <a:pt x="771" y="742"/>
                    <a:pt x="767" y="742"/>
                    <a:pt x="764" y="720"/>
                  </a:cubicBezTo>
                  <a:cubicBezTo>
                    <a:pt x="761" y="699"/>
                    <a:pt x="749" y="704"/>
                    <a:pt x="741" y="703"/>
                  </a:cubicBezTo>
                  <a:cubicBezTo>
                    <a:pt x="734" y="702"/>
                    <a:pt x="722" y="700"/>
                    <a:pt x="717" y="709"/>
                  </a:cubicBezTo>
                  <a:cubicBezTo>
                    <a:pt x="711" y="718"/>
                    <a:pt x="701" y="711"/>
                    <a:pt x="693" y="706"/>
                  </a:cubicBezTo>
                  <a:cubicBezTo>
                    <a:pt x="685" y="702"/>
                    <a:pt x="682" y="690"/>
                    <a:pt x="682" y="678"/>
                  </a:cubicBezTo>
                  <a:cubicBezTo>
                    <a:pt x="682" y="665"/>
                    <a:pt x="687" y="644"/>
                    <a:pt x="687" y="634"/>
                  </a:cubicBezTo>
                  <a:cubicBezTo>
                    <a:pt x="686" y="625"/>
                    <a:pt x="695" y="618"/>
                    <a:pt x="695" y="608"/>
                  </a:cubicBezTo>
                  <a:cubicBezTo>
                    <a:pt x="694" y="598"/>
                    <a:pt x="672" y="617"/>
                    <a:pt x="666" y="626"/>
                  </a:cubicBezTo>
                  <a:cubicBezTo>
                    <a:pt x="660" y="634"/>
                    <a:pt x="653" y="634"/>
                    <a:pt x="636" y="642"/>
                  </a:cubicBezTo>
                  <a:cubicBezTo>
                    <a:pt x="619" y="650"/>
                    <a:pt x="607" y="646"/>
                    <a:pt x="593" y="646"/>
                  </a:cubicBezTo>
                  <a:cubicBezTo>
                    <a:pt x="580" y="646"/>
                    <a:pt x="583" y="630"/>
                    <a:pt x="581" y="618"/>
                  </a:cubicBezTo>
                  <a:cubicBezTo>
                    <a:pt x="578" y="607"/>
                    <a:pt x="557" y="605"/>
                    <a:pt x="545" y="604"/>
                  </a:cubicBezTo>
                  <a:cubicBezTo>
                    <a:pt x="533" y="602"/>
                    <a:pt x="531" y="594"/>
                    <a:pt x="533" y="585"/>
                  </a:cubicBezTo>
                  <a:cubicBezTo>
                    <a:pt x="535" y="576"/>
                    <a:pt x="530" y="574"/>
                    <a:pt x="523" y="570"/>
                  </a:cubicBezTo>
                  <a:cubicBezTo>
                    <a:pt x="517" y="565"/>
                    <a:pt x="517" y="557"/>
                    <a:pt x="508" y="548"/>
                  </a:cubicBezTo>
                  <a:cubicBezTo>
                    <a:pt x="499" y="538"/>
                    <a:pt x="493" y="522"/>
                    <a:pt x="487" y="513"/>
                  </a:cubicBezTo>
                  <a:cubicBezTo>
                    <a:pt x="480" y="504"/>
                    <a:pt x="483" y="504"/>
                    <a:pt x="471" y="494"/>
                  </a:cubicBezTo>
                  <a:cubicBezTo>
                    <a:pt x="460" y="485"/>
                    <a:pt x="474" y="478"/>
                    <a:pt x="483" y="474"/>
                  </a:cubicBezTo>
                  <a:cubicBezTo>
                    <a:pt x="493" y="469"/>
                    <a:pt x="485" y="463"/>
                    <a:pt x="482" y="455"/>
                  </a:cubicBezTo>
                  <a:cubicBezTo>
                    <a:pt x="479" y="447"/>
                    <a:pt x="491" y="439"/>
                    <a:pt x="498" y="431"/>
                  </a:cubicBezTo>
                  <a:cubicBezTo>
                    <a:pt x="505" y="423"/>
                    <a:pt x="512" y="424"/>
                    <a:pt x="521" y="420"/>
                  </a:cubicBezTo>
                  <a:cubicBezTo>
                    <a:pt x="529" y="416"/>
                    <a:pt x="525" y="408"/>
                    <a:pt x="519" y="399"/>
                  </a:cubicBezTo>
                  <a:cubicBezTo>
                    <a:pt x="513" y="390"/>
                    <a:pt x="522" y="384"/>
                    <a:pt x="529" y="376"/>
                  </a:cubicBezTo>
                  <a:cubicBezTo>
                    <a:pt x="535" y="368"/>
                    <a:pt x="539" y="351"/>
                    <a:pt x="536" y="344"/>
                  </a:cubicBezTo>
                  <a:cubicBezTo>
                    <a:pt x="533" y="336"/>
                    <a:pt x="542" y="331"/>
                    <a:pt x="551" y="327"/>
                  </a:cubicBezTo>
                  <a:cubicBezTo>
                    <a:pt x="559" y="323"/>
                    <a:pt x="577" y="312"/>
                    <a:pt x="591" y="298"/>
                  </a:cubicBezTo>
                  <a:cubicBezTo>
                    <a:pt x="604" y="284"/>
                    <a:pt x="619" y="289"/>
                    <a:pt x="635" y="288"/>
                  </a:cubicBezTo>
                  <a:cubicBezTo>
                    <a:pt x="652" y="288"/>
                    <a:pt x="661" y="281"/>
                    <a:pt x="669" y="274"/>
                  </a:cubicBezTo>
                  <a:cubicBezTo>
                    <a:pt x="678" y="266"/>
                    <a:pt x="683" y="268"/>
                    <a:pt x="691" y="272"/>
                  </a:cubicBezTo>
                  <a:cubicBezTo>
                    <a:pt x="699" y="275"/>
                    <a:pt x="711" y="280"/>
                    <a:pt x="721" y="279"/>
                  </a:cubicBezTo>
                  <a:cubicBezTo>
                    <a:pt x="726" y="279"/>
                    <a:pt x="728" y="276"/>
                    <a:pt x="729" y="272"/>
                  </a:cubicBezTo>
                  <a:cubicBezTo>
                    <a:pt x="717" y="265"/>
                    <a:pt x="713" y="259"/>
                    <a:pt x="710" y="251"/>
                  </a:cubicBezTo>
                  <a:cubicBezTo>
                    <a:pt x="706" y="242"/>
                    <a:pt x="694" y="257"/>
                    <a:pt x="683" y="248"/>
                  </a:cubicBezTo>
                  <a:cubicBezTo>
                    <a:pt x="672" y="239"/>
                    <a:pt x="687" y="220"/>
                    <a:pt x="699" y="212"/>
                  </a:cubicBezTo>
                  <a:cubicBezTo>
                    <a:pt x="711" y="204"/>
                    <a:pt x="710" y="193"/>
                    <a:pt x="716" y="181"/>
                  </a:cubicBezTo>
                  <a:cubicBezTo>
                    <a:pt x="722" y="169"/>
                    <a:pt x="705" y="162"/>
                    <a:pt x="695" y="159"/>
                  </a:cubicBezTo>
                  <a:cubicBezTo>
                    <a:pt x="685" y="156"/>
                    <a:pt x="679" y="149"/>
                    <a:pt x="668" y="149"/>
                  </a:cubicBezTo>
                  <a:cubicBezTo>
                    <a:pt x="657" y="149"/>
                    <a:pt x="648" y="149"/>
                    <a:pt x="648" y="153"/>
                  </a:cubicBezTo>
                  <a:cubicBezTo>
                    <a:pt x="648" y="157"/>
                    <a:pt x="639" y="161"/>
                    <a:pt x="635" y="155"/>
                  </a:cubicBezTo>
                  <a:cubicBezTo>
                    <a:pt x="631" y="149"/>
                    <a:pt x="631" y="144"/>
                    <a:pt x="620" y="142"/>
                  </a:cubicBezTo>
                  <a:cubicBezTo>
                    <a:pt x="609" y="140"/>
                    <a:pt x="605" y="146"/>
                    <a:pt x="605" y="155"/>
                  </a:cubicBezTo>
                  <a:cubicBezTo>
                    <a:pt x="605" y="164"/>
                    <a:pt x="563" y="162"/>
                    <a:pt x="549" y="160"/>
                  </a:cubicBezTo>
                  <a:cubicBezTo>
                    <a:pt x="535" y="158"/>
                    <a:pt x="531" y="159"/>
                    <a:pt x="528" y="146"/>
                  </a:cubicBezTo>
                  <a:cubicBezTo>
                    <a:pt x="525" y="133"/>
                    <a:pt x="530" y="125"/>
                    <a:pt x="518" y="124"/>
                  </a:cubicBezTo>
                  <a:cubicBezTo>
                    <a:pt x="506" y="123"/>
                    <a:pt x="498" y="104"/>
                    <a:pt x="494" y="93"/>
                  </a:cubicBezTo>
                  <a:cubicBezTo>
                    <a:pt x="490" y="82"/>
                    <a:pt x="476" y="73"/>
                    <a:pt x="463" y="73"/>
                  </a:cubicBezTo>
                  <a:cubicBezTo>
                    <a:pt x="450" y="73"/>
                    <a:pt x="450" y="63"/>
                    <a:pt x="450" y="49"/>
                  </a:cubicBezTo>
                  <a:cubicBezTo>
                    <a:pt x="450" y="35"/>
                    <a:pt x="428" y="28"/>
                    <a:pt x="417" y="14"/>
                  </a:cubicBezTo>
                  <a:cubicBezTo>
                    <a:pt x="406" y="0"/>
                    <a:pt x="398" y="9"/>
                    <a:pt x="382" y="9"/>
                  </a:cubicBezTo>
                  <a:cubicBezTo>
                    <a:pt x="373" y="9"/>
                    <a:pt x="369" y="7"/>
                    <a:pt x="366" y="4"/>
                  </a:cubicBezTo>
                  <a:cubicBezTo>
                    <a:pt x="368" y="15"/>
                    <a:pt x="373" y="25"/>
                    <a:pt x="385" y="34"/>
                  </a:cubicBezTo>
                  <a:cubicBezTo>
                    <a:pt x="401" y="46"/>
                    <a:pt x="391" y="41"/>
                    <a:pt x="391" y="52"/>
                  </a:cubicBezTo>
                  <a:cubicBezTo>
                    <a:pt x="391" y="63"/>
                    <a:pt x="387" y="63"/>
                    <a:pt x="382" y="67"/>
                  </a:cubicBezTo>
                  <a:cubicBezTo>
                    <a:pt x="377" y="71"/>
                    <a:pt x="376" y="79"/>
                    <a:pt x="372" y="101"/>
                  </a:cubicBezTo>
                  <a:cubicBezTo>
                    <a:pt x="368" y="123"/>
                    <a:pt x="312" y="166"/>
                    <a:pt x="295" y="173"/>
                  </a:cubicBezTo>
                  <a:cubicBezTo>
                    <a:pt x="278" y="180"/>
                    <a:pt x="259" y="184"/>
                    <a:pt x="233" y="190"/>
                  </a:cubicBezTo>
                  <a:cubicBezTo>
                    <a:pt x="207" y="196"/>
                    <a:pt x="191" y="235"/>
                    <a:pt x="182" y="250"/>
                  </a:cubicBezTo>
                  <a:cubicBezTo>
                    <a:pt x="173" y="265"/>
                    <a:pt x="179" y="275"/>
                    <a:pt x="176" y="287"/>
                  </a:cubicBezTo>
                  <a:cubicBezTo>
                    <a:pt x="173" y="299"/>
                    <a:pt x="172" y="300"/>
                    <a:pt x="163" y="302"/>
                  </a:cubicBezTo>
                  <a:cubicBezTo>
                    <a:pt x="154" y="304"/>
                    <a:pt x="156" y="307"/>
                    <a:pt x="152" y="321"/>
                  </a:cubicBezTo>
                  <a:cubicBezTo>
                    <a:pt x="148" y="335"/>
                    <a:pt x="136" y="322"/>
                    <a:pt x="128" y="319"/>
                  </a:cubicBezTo>
                  <a:cubicBezTo>
                    <a:pt x="120" y="316"/>
                    <a:pt x="120" y="304"/>
                    <a:pt x="114" y="294"/>
                  </a:cubicBezTo>
                  <a:cubicBezTo>
                    <a:pt x="108" y="284"/>
                    <a:pt x="97" y="283"/>
                    <a:pt x="87" y="281"/>
                  </a:cubicBezTo>
                  <a:cubicBezTo>
                    <a:pt x="77" y="279"/>
                    <a:pt x="70" y="283"/>
                    <a:pt x="66" y="294"/>
                  </a:cubicBezTo>
                  <a:cubicBezTo>
                    <a:pt x="62" y="305"/>
                    <a:pt x="60" y="280"/>
                    <a:pt x="56" y="271"/>
                  </a:cubicBezTo>
                  <a:cubicBezTo>
                    <a:pt x="52" y="262"/>
                    <a:pt x="58" y="259"/>
                    <a:pt x="70" y="256"/>
                  </a:cubicBezTo>
                  <a:cubicBezTo>
                    <a:pt x="82" y="253"/>
                    <a:pt x="77" y="228"/>
                    <a:pt x="70" y="224"/>
                  </a:cubicBezTo>
                  <a:cubicBezTo>
                    <a:pt x="67" y="222"/>
                    <a:pt x="64" y="218"/>
                    <a:pt x="62" y="214"/>
                  </a:cubicBezTo>
                  <a:cubicBezTo>
                    <a:pt x="52" y="218"/>
                    <a:pt x="44" y="223"/>
                    <a:pt x="38" y="231"/>
                  </a:cubicBezTo>
                  <a:cubicBezTo>
                    <a:pt x="27" y="247"/>
                    <a:pt x="27" y="255"/>
                    <a:pt x="14" y="264"/>
                  </a:cubicBezTo>
                  <a:cubicBezTo>
                    <a:pt x="1" y="274"/>
                    <a:pt x="0" y="286"/>
                    <a:pt x="3" y="299"/>
                  </a:cubicBezTo>
                  <a:cubicBezTo>
                    <a:pt x="6" y="313"/>
                    <a:pt x="7" y="314"/>
                    <a:pt x="13" y="329"/>
                  </a:cubicBezTo>
                  <a:cubicBezTo>
                    <a:pt x="19" y="344"/>
                    <a:pt x="26" y="344"/>
                    <a:pt x="27" y="354"/>
                  </a:cubicBezTo>
                  <a:cubicBezTo>
                    <a:pt x="28" y="364"/>
                    <a:pt x="28" y="370"/>
                    <a:pt x="19" y="375"/>
                  </a:cubicBezTo>
                  <a:cubicBezTo>
                    <a:pt x="10" y="380"/>
                    <a:pt x="4" y="389"/>
                    <a:pt x="24" y="395"/>
                  </a:cubicBezTo>
                  <a:cubicBezTo>
                    <a:pt x="44" y="402"/>
                    <a:pt x="49" y="403"/>
                    <a:pt x="62" y="415"/>
                  </a:cubicBezTo>
                  <a:cubicBezTo>
                    <a:pt x="76" y="426"/>
                    <a:pt x="102" y="451"/>
                    <a:pt x="112" y="471"/>
                  </a:cubicBezTo>
                  <a:cubicBezTo>
                    <a:pt x="122" y="491"/>
                    <a:pt x="135" y="503"/>
                    <a:pt x="146" y="517"/>
                  </a:cubicBezTo>
                  <a:cubicBezTo>
                    <a:pt x="157" y="532"/>
                    <a:pt x="157" y="532"/>
                    <a:pt x="167" y="564"/>
                  </a:cubicBezTo>
                  <a:cubicBezTo>
                    <a:pt x="178" y="596"/>
                    <a:pt x="195" y="607"/>
                    <a:pt x="201" y="630"/>
                  </a:cubicBezTo>
                  <a:cubicBezTo>
                    <a:pt x="207" y="654"/>
                    <a:pt x="217" y="672"/>
                    <a:pt x="230" y="687"/>
                  </a:cubicBezTo>
                  <a:cubicBezTo>
                    <a:pt x="243" y="703"/>
                    <a:pt x="248" y="711"/>
                    <a:pt x="248" y="726"/>
                  </a:cubicBezTo>
                  <a:cubicBezTo>
                    <a:pt x="249" y="741"/>
                    <a:pt x="240" y="755"/>
                    <a:pt x="258" y="767"/>
                  </a:cubicBezTo>
                  <a:cubicBezTo>
                    <a:pt x="276" y="780"/>
                    <a:pt x="279" y="778"/>
                    <a:pt x="296" y="799"/>
                  </a:cubicBezTo>
                  <a:cubicBezTo>
                    <a:pt x="312" y="821"/>
                    <a:pt x="311" y="829"/>
                    <a:pt x="320" y="838"/>
                  </a:cubicBezTo>
                  <a:cubicBezTo>
                    <a:pt x="329" y="848"/>
                    <a:pt x="342" y="860"/>
                    <a:pt x="334" y="869"/>
                  </a:cubicBezTo>
                  <a:cubicBezTo>
                    <a:pt x="327" y="878"/>
                    <a:pt x="318" y="880"/>
                    <a:pt x="322" y="893"/>
                  </a:cubicBezTo>
                  <a:cubicBezTo>
                    <a:pt x="325" y="907"/>
                    <a:pt x="332" y="920"/>
                    <a:pt x="347" y="930"/>
                  </a:cubicBezTo>
                  <a:cubicBezTo>
                    <a:pt x="362" y="940"/>
                    <a:pt x="380" y="955"/>
                    <a:pt x="384" y="969"/>
                  </a:cubicBezTo>
                  <a:cubicBezTo>
                    <a:pt x="389" y="982"/>
                    <a:pt x="400" y="993"/>
                    <a:pt x="410" y="997"/>
                  </a:cubicBezTo>
                  <a:cubicBezTo>
                    <a:pt x="420" y="1002"/>
                    <a:pt x="432" y="1005"/>
                    <a:pt x="447" y="1018"/>
                  </a:cubicBezTo>
                  <a:cubicBezTo>
                    <a:pt x="462" y="1030"/>
                    <a:pt x="480" y="1042"/>
                    <a:pt x="502" y="1050"/>
                  </a:cubicBezTo>
                  <a:cubicBezTo>
                    <a:pt x="525" y="1057"/>
                    <a:pt x="542" y="1066"/>
                    <a:pt x="559" y="1075"/>
                  </a:cubicBezTo>
                  <a:cubicBezTo>
                    <a:pt x="575" y="1084"/>
                    <a:pt x="587" y="1089"/>
                    <a:pt x="601" y="1098"/>
                  </a:cubicBezTo>
                  <a:cubicBezTo>
                    <a:pt x="616" y="1108"/>
                    <a:pt x="632" y="1111"/>
                    <a:pt x="637" y="1127"/>
                  </a:cubicBezTo>
                  <a:cubicBezTo>
                    <a:pt x="641" y="1143"/>
                    <a:pt x="646" y="1145"/>
                    <a:pt x="660" y="1152"/>
                  </a:cubicBezTo>
                  <a:cubicBezTo>
                    <a:pt x="673" y="1159"/>
                    <a:pt x="687" y="1161"/>
                    <a:pt x="696" y="1184"/>
                  </a:cubicBezTo>
                  <a:cubicBezTo>
                    <a:pt x="700" y="1184"/>
                    <a:pt x="705" y="1185"/>
                    <a:pt x="709" y="1187"/>
                  </a:cubicBezTo>
                  <a:cubicBezTo>
                    <a:pt x="718" y="1191"/>
                    <a:pt x="728" y="1189"/>
                    <a:pt x="733" y="118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0" name="Freeform 440">
              <a:extLst>
                <a:ext uri="{FF2B5EF4-FFF2-40B4-BE49-F238E27FC236}">
                  <a16:creationId xmlns:a16="http://schemas.microsoft.com/office/drawing/2014/main" id="{C53884D9-F14A-C341-9F6F-6CB748835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3346"/>
              <a:ext cx="18" cy="23"/>
            </a:xfrm>
            <a:custGeom>
              <a:avLst/>
              <a:gdLst>
                <a:gd name="T0" fmla="*/ 37 w 72"/>
                <a:gd name="T1" fmla="*/ 4 h 92"/>
                <a:gd name="T2" fmla="*/ 15 w 72"/>
                <a:gd name="T3" fmla="*/ 7 h 92"/>
                <a:gd name="T4" fmla="*/ 11 w 72"/>
                <a:gd name="T5" fmla="*/ 19 h 92"/>
                <a:gd name="T6" fmla="*/ 24 w 72"/>
                <a:gd name="T7" fmla="*/ 28 h 92"/>
                <a:gd name="T8" fmla="*/ 35 w 72"/>
                <a:gd name="T9" fmla="*/ 39 h 92"/>
                <a:gd name="T10" fmla="*/ 40 w 72"/>
                <a:gd name="T11" fmla="*/ 52 h 92"/>
                <a:gd name="T12" fmla="*/ 45 w 72"/>
                <a:gd name="T13" fmla="*/ 62 h 92"/>
                <a:gd name="T14" fmla="*/ 40 w 72"/>
                <a:gd name="T15" fmla="*/ 79 h 92"/>
                <a:gd name="T16" fmla="*/ 46 w 72"/>
                <a:gd name="T17" fmla="*/ 82 h 92"/>
                <a:gd name="T18" fmla="*/ 56 w 72"/>
                <a:gd name="T19" fmla="*/ 63 h 92"/>
                <a:gd name="T20" fmla="*/ 64 w 72"/>
                <a:gd name="T21" fmla="*/ 51 h 92"/>
                <a:gd name="T22" fmla="*/ 59 w 72"/>
                <a:gd name="T23" fmla="*/ 32 h 92"/>
                <a:gd name="T24" fmla="*/ 62 w 72"/>
                <a:gd name="T25" fmla="*/ 21 h 92"/>
                <a:gd name="T26" fmla="*/ 72 w 72"/>
                <a:gd name="T27" fmla="*/ 13 h 92"/>
                <a:gd name="T28" fmla="*/ 59 w 72"/>
                <a:gd name="T29" fmla="*/ 4 h 92"/>
                <a:gd name="T30" fmla="*/ 51 w 72"/>
                <a:gd name="T31" fmla="*/ 16 h 92"/>
                <a:gd name="T32" fmla="*/ 37 w 72"/>
                <a:gd name="T33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92">
                  <a:moveTo>
                    <a:pt x="37" y="4"/>
                  </a:moveTo>
                  <a:cubicBezTo>
                    <a:pt x="37" y="4"/>
                    <a:pt x="19" y="3"/>
                    <a:pt x="15" y="7"/>
                  </a:cubicBezTo>
                  <a:cubicBezTo>
                    <a:pt x="11" y="11"/>
                    <a:pt x="0" y="18"/>
                    <a:pt x="11" y="19"/>
                  </a:cubicBezTo>
                  <a:cubicBezTo>
                    <a:pt x="21" y="20"/>
                    <a:pt x="23" y="22"/>
                    <a:pt x="24" y="28"/>
                  </a:cubicBezTo>
                  <a:cubicBezTo>
                    <a:pt x="24" y="34"/>
                    <a:pt x="31" y="37"/>
                    <a:pt x="35" y="39"/>
                  </a:cubicBezTo>
                  <a:cubicBezTo>
                    <a:pt x="39" y="40"/>
                    <a:pt x="34" y="50"/>
                    <a:pt x="40" y="52"/>
                  </a:cubicBezTo>
                  <a:cubicBezTo>
                    <a:pt x="46" y="54"/>
                    <a:pt x="52" y="57"/>
                    <a:pt x="45" y="62"/>
                  </a:cubicBezTo>
                  <a:cubicBezTo>
                    <a:pt x="39" y="68"/>
                    <a:pt x="39" y="72"/>
                    <a:pt x="40" y="79"/>
                  </a:cubicBezTo>
                  <a:cubicBezTo>
                    <a:pt x="41" y="85"/>
                    <a:pt x="44" y="92"/>
                    <a:pt x="46" y="82"/>
                  </a:cubicBezTo>
                  <a:cubicBezTo>
                    <a:pt x="47" y="73"/>
                    <a:pt x="50" y="65"/>
                    <a:pt x="56" y="63"/>
                  </a:cubicBezTo>
                  <a:cubicBezTo>
                    <a:pt x="63" y="60"/>
                    <a:pt x="64" y="59"/>
                    <a:pt x="64" y="51"/>
                  </a:cubicBezTo>
                  <a:cubicBezTo>
                    <a:pt x="64" y="44"/>
                    <a:pt x="62" y="36"/>
                    <a:pt x="59" y="32"/>
                  </a:cubicBezTo>
                  <a:cubicBezTo>
                    <a:pt x="55" y="28"/>
                    <a:pt x="54" y="21"/>
                    <a:pt x="62" y="21"/>
                  </a:cubicBezTo>
                  <a:cubicBezTo>
                    <a:pt x="71" y="21"/>
                    <a:pt x="71" y="20"/>
                    <a:pt x="72" y="13"/>
                  </a:cubicBezTo>
                  <a:cubicBezTo>
                    <a:pt x="72" y="6"/>
                    <a:pt x="63" y="0"/>
                    <a:pt x="59" y="4"/>
                  </a:cubicBezTo>
                  <a:cubicBezTo>
                    <a:pt x="55" y="8"/>
                    <a:pt x="57" y="20"/>
                    <a:pt x="51" y="16"/>
                  </a:cubicBezTo>
                  <a:cubicBezTo>
                    <a:pt x="45" y="12"/>
                    <a:pt x="47" y="5"/>
                    <a:pt x="37" y="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1" name="Freeform 441">
              <a:extLst>
                <a:ext uri="{FF2B5EF4-FFF2-40B4-BE49-F238E27FC236}">
                  <a16:creationId xmlns:a16="http://schemas.microsoft.com/office/drawing/2014/main" id="{273DCDD6-4D95-E548-8985-A12E89109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3329"/>
              <a:ext cx="3" cy="8"/>
            </a:xfrm>
            <a:custGeom>
              <a:avLst/>
              <a:gdLst>
                <a:gd name="T0" fmla="*/ 1 w 11"/>
                <a:gd name="T1" fmla="*/ 12 h 30"/>
                <a:gd name="T2" fmla="*/ 6 w 11"/>
                <a:gd name="T3" fmla="*/ 29 h 30"/>
                <a:gd name="T4" fmla="*/ 10 w 11"/>
                <a:gd name="T5" fmla="*/ 21 h 30"/>
                <a:gd name="T6" fmla="*/ 1 w 11"/>
                <a:gd name="T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30">
                  <a:moveTo>
                    <a:pt x="1" y="12"/>
                  </a:moveTo>
                  <a:cubicBezTo>
                    <a:pt x="1" y="12"/>
                    <a:pt x="0" y="28"/>
                    <a:pt x="6" y="29"/>
                  </a:cubicBezTo>
                  <a:cubicBezTo>
                    <a:pt x="11" y="30"/>
                    <a:pt x="10" y="26"/>
                    <a:pt x="10" y="21"/>
                  </a:cubicBezTo>
                  <a:cubicBezTo>
                    <a:pt x="9" y="16"/>
                    <a:pt x="7" y="0"/>
                    <a:pt x="1" y="1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2" name="Freeform 442">
              <a:extLst>
                <a:ext uri="{FF2B5EF4-FFF2-40B4-BE49-F238E27FC236}">
                  <a16:creationId xmlns:a16="http://schemas.microsoft.com/office/drawing/2014/main" id="{3984C41C-E79C-E648-82F4-5B40D5D58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" y="3332"/>
              <a:ext cx="2" cy="8"/>
            </a:xfrm>
            <a:custGeom>
              <a:avLst/>
              <a:gdLst>
                <a:gd name="T0" fmla="*/ 2 w 8"/>
                <a:gd name="T1" fmla="*/ 12 h 34"/>
                <a:gd name="T2" fmla="*/ 0 w 8"/>
                <a:gd name="T3" fmla="*/ 23 h 34"/>
                <a:gd name="T4" fmla="*/ 7 w 8"/>
                <a:gd name="T5" fmla="*/ 26 h 34"/>
                <a:gd name="T6" fmla="*/ 2 w 8"/>
                <a:gd name="T7" fmla="*/ 1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4">
                  <a:moveTo>
                    <a:pt x="2" y="12"/>
                  </a:moveTo>
                  <a:cubicBezTo>
                    <a:pt x="2" y="12"/>
                    <a:pt x="0" y="15"/>
                    <a:pt x="0" y="23"/>
                  </a:cubicBezTo>
                  <a:cubicBezTo>
                    <a:pt x="0" y="30"/>
                    <a:pt x="6" y="34"/>
                    <a:pt x="7" y="26"/>
                  </a:cubicBezTo>
                  <a:cubicBezTo>
                    <a:pt x="8" y="18"/>
                    <a:pt x="6" y="0"/>
                    <a:pt x="2" y="1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3" name="Freeform 443">
              <a:extLst>
                <a:ext uri="{FF2B5EF4-FFF2-40B4-BE49-F238E27FC236}">
                  <a16:creationId xmlns:a16="http://schemas.microsoft.com/office/drawing/2014/main" id="{D4BE9DB9-52A8-CA43-A3AB-CBC158D10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8" y="3336"/>
              <a:ext cx="3" cy="7"/>
            </a:xfrm>
            <a:custGeom>
              <a:avLst/>
              <a:gdLst>
                <a:gd name="T0" fmla="*/ 4 w 12"/>
                <a:gd name="T1" fmla="*/ 10 h 27"/>
                <a:gd name="T2" fmla="*/ 5 w 12"/>
                <a:gd name="T3" fmla="*/ 25 h 27"/>
                <a:gd name="T4" fmla="*/ 12 w 12"/>
                <a:gd name="T5" fmla="*/ 20 h 27"/>
                <a:gd name="T6" fmla="*/ 4 w 12"/>
                <a:gd name="T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7">
                  <a:moveTo>
                    <a:pt x="4" y="10"/>
                  </a:moveTo>
                  <a:cubicBezTo>
                    <a:pt x="4" y="10"/>
                    <a:pt x="0" y="22"/>
                    <a:pt x="5" y="25"/>
                  </a:cubicBezTo>
                  <a:cubicBezTo>
                    <a:pt x="9" y="27"/>
                    <a:pt x="11" y="24"/>
                    <a:pt x="12" y="20"/>
                  </a:cubicBezTo>
                  <a:cubicBezTo>
                    <a:pt x="12" y="16"/>
                    <a:pt x="8" y="0"/>
                    <a:pt x="4" y="1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4" name="Freeform 444">
              <a:extLst>
                <a:ext uri="{FF2B5EF4-FFF2-40B4-BE49-F238E27FC236}">
                  <a16:creationId xmlns:a16="http://schemas.microsoft.com/office/drawing/2014/main" id="{630BBE46-320A-AA45-8361-1037FE9CF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6" y="3459"/>
              <a:ext cx="12" cy="19"/>
            </a:xfrm>
            <a:custGeom>
              <a:avLst/>
              <a:gdLst>
                <a:gd name="T0" fmla="*/ 14 w 47"/>
                <a:gd name="T1" fmla="*/ 6 h 72"/>
                <a:gd name="T2" fmla="*/ 5 w 47"/>
                <a:gd name="T3" fmla="*/ 22 h 72"/>
                <a:gd name="T4" fmla="*/ 3 w 47"/>
                <a:gd name="T5" fmla="*/ 47 h 72"/>
                <a:gd name="T6" fmla="*/ 17 w 47"/>
                <a:gd name="T7" fmla="*/ 61 h 72"/>
                <a:gd name="T8" fmla="*/ 21 w 47"/>
                <a:gd name="T9" fmla="*/ 42 h 72"/>
                <a:gd name="T10" fmla="*/ 32 w 47"/>
                <a:gd name="T11" fmla="*/ 29 h 72"/>
                <a:gd name="T12" fmla="*/ 46 w 47"/>
                <a:gd name="T13" fmla="*/ 15 h 72"/>
                <a:gd name="T14" fmla="*/ 34 w 47"/>
                <a:gd name="T15" fmla="*/ 5 h 72"/>
                <a:gd name="T16" fmla="*/ 14 w 47"/>
                <a:gd name="T17" fmla="*/ 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72">
                  <a:moveTo>
                    <a:pt x="14" y="6"/>
                  </a:moveTo>
                  <a:cubicBezTo>
                    <a:pt x="14" y="6"/>
                    <a:pt x="7" y="17"/>
                    <a:pt x="5" y="22"/>
                  </a:cubicBezTo>
                  <a:cubicBezTo>
                    <a:pt x="3" y="28"/>
                    <a:pt x="0" y="38"/>
                    <a:pt x="3" y="47"/>
                  </a:cubicBezTo>
                  <a:cubicBezTo>
                    <a:pt x="6" y="55"/>
                    <a:pt x="15" y="72"/>
                    <a:pt x="17" y="61"/>
                  </a:cubicBezTo>
                  <a:cubicBezTo>
                    <a:pt x="18" y="50"/>
                    <a:pt x="17" y="46"/>
                    <a:pt x="21" y="42"/>
                  </a:cubicBezTo>
                  <a:cubicBezTo>
                    <a:pt x="25" y="37"/>
                    <a:pt x="23" y="29"/>
                    <a:pt x="32" y="29"/>
                  </a:cubicBezTo>
                  <a:cubicBezTo>
                    <a:pt x="41" y="29"/>
                    <a:pt x="46" y="22"/>
                    <a:pt x="46" y="15"/>
                  </a:cubicBezTo>
                  <a:cubicBezTo>
                    <a:pt x="47" y="9"/>
                    <a:pt x="42" y="6"/>
                    <a:pt x="34" y="5"/>
                  </a:cubicBezTo>
                  <a:cubicBezTo>
                    <a:pt x="25" y="4"/>
                    <a:pt x="19" y="0"/>
                    <a:pt x="14" y="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5" name="Freeform 445">
              <a:extLst>
                <a:ext uri="{FF2B5EF4-FFF2-40B4-BE49-F238E27FC236}">
                  <a16:creationId xmlns:a16="http://schemas.microsoft.com/office/drawing/2014/main" id="{919E8DC4-0A5D-714E-8487-117CFA930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" y="3483"/>
              <a:ext cx="14" cy="10"/>
            </a:xfrm>
            <a:custGeom>
              <a:avLst/>
              <a:gdLst>
                <a:gd name="T0" fmla="*/ 47 w 56"/>
                <a:gd name="T1" fmla="*/ 8 h 41"/>
                <a:gd name="T2" fmla="*/ 33 w 56"/>
                <a:gd name="T3" fmla="*/ 16 h 41"/>
                <a:gd name="T4" fmla="*/ 10 w 56"/>
                <a:gd name="T5" fmla="*/ 18 h 41"/>
                <a:gd name="T6" fmla="*/ 7 w 56"/>
                <a:gd name="T7" fmla="*/ 39 h 41"/>
                <a:gd name="T8" fmla="*/ 19 w 56"/>
                <a:gd name="T9" fmla="*/ 34 h 41"/>
                <a:gd name="T10" fmla="*/ 42 w 56"/>
                <a:gd name="T11" fmla="*/ 25 h 41"/>
                <a:gd name="T12" fmla="*/ 55 w 56"/>
                <a:gd name="T13" fmla="*/ 12 h 41"/>
                <a:gd name="T14" fmla="*/ 47 w 56"/>
                <a:gd name="T15" fmla="*/ 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41">
                  <a:moveTo>
                    <a:pt x="47" y="8"/>
                  </a:moveTo>
                  <a:cubicBezTo>
                    <a:pt x="47" y="8"/>
                    <a:pt x="44" y="16"/>
                    <a:pt x="33" y="16"/>
                  </a:cubicBezTo>
                  <a:cubicBezTo>
                    <a:pt x="23" y="16"/>
                    <a:pt x="12" y="13"/>
                    <a:pt x="10" y="18"/>
                  </a:cubicBezTo>
                  <a:cubicBezTo>
                    <a:pt x="8" y="23"/>
                    <a:pt x="0" y="38"/>
                    <a:pt x="7" y="39"/>
                  </a:cubicBezTo>
                  <a:cubicBezTo>
                    <a:pt x="15" y="41"/>
                    <a:pt x="11" y="35"/>
                    <a:pt x="19" y="34"/>
                  </a:cubicBezTo>
                  <a:cubicBezTo>
                    <a:pt x="27" y="32"/>
                    <a:pt x="41" y="29"/>
                    <a:pt x="42" y="25"/>
                  </a:cubicBezTo>
                  <a:cubicBezTo>
                    <a:pt x="43" y="21"/>
                    <a:pt x="54" y="18"/>
                    <a:pt x="55" y="12"/>
                  </a:cubicBezTo>
                  <a:cubicBezTo>
                    <a:pt x="56" y="5"/>
                    <a:pt x="50" y="0"/>
                    <a:pt x="47" y="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6" name="Freeform 446">
              <a:extLst>
                <a:ext uri="{FF2B5EF4-FFF2-40B4-BE49-F238E27FC236}">
                  <a16:creationId xmlns:a16="http://schemas.microsoft.com/office/drawing/2014/main" id="{D487B3AB-7838-A445-99D4-DB342070F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2" y="3495"/>
              <a:ext cx="13" cy="9"/>
            </a:xfrm>
            <a:custGeom>
              <a:avLst/>
              <a:gdLst>
                <a:gd name="T0" fmla="*/ 22 w 50"/>
                <a:gd name="T1" fmla="*/ 2 h 37"/>
                <a:gd name="T2" fmla="*/ 4 w 50"/>
                <a:gd name="T3" fmla="*/ 5 h 37"/>
                <a:gd name="T4" fmla="*/ 6 w 50"/>
                <a:gd name="T5" fmla="*/ 23 h 37"/>
                <a:gd name="T6" fmla="*/ 24 w 50"/>
                <a:gd name="T7" fmla="*/ 37 h 37"/>
                <a:gd name="T8" fmla="*/ 37 w 50"/>
                <a:gd name="T9" fmla="*/ 22 h 37"/>
                <a:gd name="T10" fmla="*/ 22 w 50"/>
                <a:gd name="T11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37">
                  <a:moveTo>
                    <a:pt x="22" y="2"/>
                  </a:moveTo>
                  <a:cubicBezTo>
                    <a:pt x="22" y="2"/>
                    <a:pt x="7" y="0"/>
                    <a:pt x="4" y="5"/>
                  </a:cubicBezTo>
                  <a:cubicBezTo>
                    <a:pt x="0" y="10"/>
                    <a:pt x="1" y="15"/>
                    <a:pt x="6" y="23"/>
                  </a:cubicBezTo>
                  <a:cubicBezTo>
                    <a:pt x="11" y="30"/>
                    <a:pt x="10" y="37"/>
                    <a:pt x="24" y="37"/>
                  </a:cubicBezTo>
                  <a:cubicBezTo>
                    <a:pt x="38" y="37"/>
                    <a:pt x="50" y="28"/>
                    <a:pt x="37" y="22"/>
                  </a:cubicBezTo>
                  <a:cubicBezTo>
                    <a:pt x="24" y="16"/>
                    <a:pt x="30" y="2"/>
                    <a:pt x="22" y="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7" name="Freeform 447">
              <a:extLst>
                <a:ext uri="{FF2B5EF4-FFF2-40B4-BE49-F238E27FC236}">
                  <a16:creationId xmlns:a16="http://schemas.microsoft.com/office/drawing/2014/main" id="{C9D006CC-C78E-5C40-B25C-16F652DF9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5" y="3500"/>
              <a:ext cx="10" cy="11"/>
            </a:xfrm>
            <a:custGeom>
              <a:avLst/>
              <a:gdLst>
                <a:gd name="T0" fmla="*/ 17 w 43"/>
                <a:gd name="T1" fmla="*/ 16 h 43"/>
                <a:gd name="T2" fmla="*/ 1 w 43"/>
                <a:gd name="T3" fmla="*/ 18 h 43"/>
                <a:gd name="T4" fmla="*/ 14 w 43"/>
                <a:gd name="T5" fmla="*/ 32 h 43"/>
                <a:gd name="T6" fmla="*/ 25 w 43"/>
                <a:gd name="T7" fmla="*/ 38 h 43"/>
                <a:gd name="T8" fmla="*/ 35 w 43"/>
                <a:gd name="T9" fmla="*/ 28 h 43"/>
                <a:gd name="T10" fmla="*/ 41 w 43"/>
                <a:gd name="T11" fmla="*/ 14 h 43"/>
                <a:gd name="T12" fmla="*/ 30 w 43"/>
                <a:gd name="T13" fmla="*/ 7 h 43"/>
                <a:gd name="T14" fmla="*/ 28 w 43"/>
                <a:gd name="T15" fmla="*/ 23 h 43"/>
                <a:gd name="T16" fmla="*/ 17 w 43"/>
                <a:gd name="T17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43">
                  <a:moveTo>
                    <a:pt x="17" y="16"/>
                  </a:moveTo>
                  <a:cubicBezTo>
                    <a:pt x="17" y="16"/>
                    <a:pt x="0" y="10"/>
                    <a:pt x="1" y="18"/>
                  </a:cubicBezTo>
                  <a:cubicBezTo>
                    <a:pt x="1" y="26"/>
                    <a:pt x="11" y="24"/>
                    <a:pt x="14" y="32"/>
                  </a:cubicBezTo>
                  <a:cubicBezTo>
                    <a:pt x="17" y="41"/>
                    <a:pt x="23" y="43"/>
                    <a:pt x="25" y="38"/>
                  </a:cubicBezTo>
                  <a:cubicBezTo>
                    <a:pt x="26" y="33"/>
                    <a:pt x="35" y="32"/>
                    <a:pt x="35" y="28"/>
                  </a:cubicBezTo>
                  <a:cubicBezTo>
                    <a:pt x="35" y="23"/>
                    <a:pt x="43" y="19"/>
                    <a:pt x="41" y="14"/>
                  </a:cubicBezTo>
                  <a:cubicBezTo>
                    <a:pt x="39" y="8"/>
                    <a:pt x="32" y="0"/>
                    <a:pt x="30" y="7"/>
                  </a:cubicBezTo>
                  <a:cubicBezTo>
                    <a:pt x="29" y="15"/>
                    <a:pt x="35" y="23"/>
                    <a:pt x="28" y="23"/>
                  </a:cubicBezTo>
                  <a:cubicBezTo>
                    <a:pt x="21" y="23"/>
                    <a:pt x="24" y="18"/>
                    <a:pt x="17" y="1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8" name="Freeform 448">
              <a:extLst>
                <a:ext uri="{FF2B5EF4-FFF2-40B4-BE49-F238E27FC236}">
                  <a16:creationId xmlns:a16="http://schemas.microsoft.com/office/drawing/2014/main" id="{6B527D5C-5DAA-FD40-A5C9-7B5752342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1" y="3517"/>
              <a:ext cx="24" cy="15"/>
            </a:xfrm>
            <a:custGeom>
              <a:avLst/>
              <a:gdLst>
                <a:gd name="T0" fmla="*/ 34 w 98"/>
                <a:gd name="T1" fmla="*/ 18 h 59"/>
                <a:gd name="T2" fmla="*/ 0 w 98"/>
                <a:gd name="T3" fmla="*/ 9 h 59"/>
                <a:gd name="T4" fmla="*/ 13 w 98"/>
                <a:gd name="T5" fmla="*/ 26 h 59"/>
                <a:gd name="T6" fmla="*/ 44 w 98"/>
                <a:gd name="T7" fmla="*/ 34 h 59"/>
                <a:gd name="T8" fmla="*/ 66 w 98"/>
                <a:gd name="T9" fmla="*/ 46 h 59"/>
                <a:gd name="T10" fmla="*/ 97 w 98"/>
                <a:gd name="T11" fmla="*/ 54 h 59"/>
                <a:gd name="T12" fmla="*/ 82 w 98"/>
                <a:gd name="T13" fmla="*/ 39 h 59"/>
                <a:gd name="T14" fmla="*/ 53 w 98"/>
                <a:gd name="T15" fmla="*/ 26 h 59"/>
                <a:gd name="T16" fmla="*/ 34 w 98"/>
                <a:gd name="T17" fmla="*/ 1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59">
                  <a:moveTo>
                    <a:pt x="34" y="18"/>
                  </a:moveTo>
                  <a:cubicBezTo>
                    <a:pt x="34" y="18"/>
                    <a:pt x="0" y="0"/>
                    <a:pt x="0" y="9"/>
                  </a:cubicBezTo>
                  <a:cubicBezTo>
                    <a:pt x="0" y="19"/>
                    <a:pt x="4" y="23"/>
                    <a:pt x="13" y="26"/>
                  </a:cubicBezTo>
                  <a:cubicBezTo>
                    <a:pt x="23" y="29"/>
                    <a:pt x="36" y="29"/>
                    <a:pt x="44" y="34"/>
                  </a:cubicBezTo>
                  <a:cubicBezTo>
                    <a:pt x="51" y="38"/>
                    <a:pt x="58" y="42"/>
                    <a:pt x="66" y="46"/>
                  </a:cubicBezTo>
                  <a:cubicBezTo>
                    <a:pt x="75" y="49"/>
                    <a:pt x="95" y="59"/>
                    <a:pt x="97" y="54"/>
                  </a:cubicBezTo>
                  <a:cubicBezTo>
                    <a:pt x="98" y="50"/>
                    <a:pt x="94" y="42"/>
                    <a:pt x="82" y="39"/>
                  </a:cubicBezTo>
                  <a:cubicBezTo>
                    <a:pt x="70" y="35"/>
                    <a:pt x="57" y="31"/>
                    <a:pt x="53" y="26"/>
                  </a:cubicBezTo>
                  <a:cubicBezTo>
                    <a:pt x="49" y="22"/>
                    <a:pt x="47" y="22"/>
                    <a:pt x="34" y="1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19" name="Freeform 449">
              <a:extLst>
                <a:ext uri="{FF2B5EF4-FFF2-40B4-BE49-F238E27FC236}">
                  <a16:creationId xmlns:a16="http://schemas.microsoft.com/office/drawing/2014/main" id="{E8F332B7-00C9-624D-A9FA-276725CCC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3514"/>
              <a:ext cx="98" cy="69"/>
            </a:xfrm>
            <a:custGeom>
              <a:avLst/>
              <a:gdLst>
                <a:gd name="T0" fmla="*/ 350 w 386"/>
                <a:gd name="T1" fmla="*/ 204 h 273"/>
                <a:gd name="T2" fmla="*/ 292 w 386"/>
                <a:gd name="T3" fmla="*/ 203 h 273"/>
                <a:gd name="T4" fmla="*/ 241 w 386"/>
                <a:gd name="T5" fmla="*/ 191 h 273"/>
                <a:gd name="T6" fmla="*/ 231 w 386"/>
                <a:gd name="T7" fmla="*/ 0 h 273"/>
                <a:gd name="T8" fmla="*/ 194 w 386"/>
                <a:gd name="T9" fmla="*/ 1 h 273"/>
                <a:gd name="T10" fmla="*/ 172 w 386"/>
                <a:gd name="T11" fmla="*/ 21 h 273"/>
                <a:gd name="T12" fmla="*/ 126 w 386"/>
                <a:gd name="T13" fmla="*/ 41 h 273"/>
                <a:gd name="T14" fmla="*/ 161 w 386"/>
                <a:gd name="T15" fmla="*/ 68 h 273"/>
                <a:gd name="T16" fmla="*/ 192 w 386"/>
                <a:gd name="T17" fmla="*/ 74 h 273"/>
                <a:gd name="T18" fmla="*/ 147 w 386"/>
                <a:gd name="T19" fmla="*/ 106 h 273"/>
                <a:gd name="T20" fmla="*/ 179 w 386"/>
                <a:gd name="T21" fmla="*/ 149 h 273"/>
                <a:gd name="T22" fmla="*/ 133 w 386"/>
                <a:gd name="T23" fmla="*/ 130 h 273"/>
                <a:gd name="T24" fmla="*/ 116 w 386"/>
                <a:gd name="T25" fmla="*/ 87 h 273"/>
                <a:gd name="T26" fmla="*/ 93 w 386"/>
                <a:gd name="T27" fmla="*/ 125 h 273"/>
                <a:gd name="T28" fmla="*/ 91 w 386"/>
                <a:gd name="T29" fmla="*/ 138 h 273"/>
                <a:gd name="T30" fmla="*/ 38 w 386"/>
                <a:gd name="T31" fmla="*/ 116 h 273"/>
                <a:gd name="T32" fmla="*/ 9 w 386"/>
                <a:gd name="T33" fmla="*/ 143 h 273"/>
                <a:gd name="T34" fmla="*/ 38 w 386"/>
                <a:gd name="T35" fmla="*/ 137 h 273"/>
                <a:gd name="T36" fmla="*/ 69 w 386"/>
                <a:gd name="T37" fmla="*/ 156 h 273"/>
                <a:gd name="T38" fmla="*/ 24 w 386"/>
                <a:gd name="T39" fmla="*/ 172 h 273"/>
                <a:gd name="T40" fmla="*/ 83 w 386"/>
                <a:gd name="T41" fmla="*/ 183 h 273"/>
                <a:gd name="T42" fmla="*/ 97 w 386"/>
                <a:gd name="T43" fmla="*/ 212 h 273"/>
                <a:gd name="T44" fmla="*/ 141 w 386"/>
                <a:gd name="T45" fmla="*/ 198 h 273"/>
                <a:gd name="T46" fmla="*/ 162 w 386"/>
                <a:gd name="T47" fmla="*/ 229 h 273"/>
                <a:gd name="T48" fmla="*/ 208 w 386"/>
                <a:gd name="T49" fmla="*/ 241 h 273"/>
                <a:gd name="T50" fmla="*/ 244 w 386"/>
                <a:gd name="T51" fmla="*/ 248 h 273"/>
                <a:gd name="T52" fmla="*/ 280 w 386"/>
                <a:gd name="T53" fmla="*/ 256 h 273"/>
                <a:gd name="T54" fmla="*/ 272 w 386"/>
                <a:gd name="T55" fmla="*/ 212 h 273"/>
                <a:gd name="T56" fmla="*/ 317 w 386"/>
                <a:gd name="T57" fmla="*/ 229 h 273"/>
                <a:gd name="T58" fmla="*/ 331 w 386"/>
                <a:gd name="T59" fmla="*/ 217 h 273"/>
                <a:gd name="T60" fmla="*/ 367 w 386"/>
                <a:gd name="T61" fmla="*/ 227 h 273"/>
                <a:gd name="T62" fmla="*/ 377 w 386"/>
                <a:gd name="T63" fmla="*/ 22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86" h="273">
                  <a:moveTo>
                    <a:pt x="377" y="221"/>
                  </a:moveTo>
                  <a:cubicBezTo>
                    <a:pt x="373" y="219"/>
                    <a:pt x="359" y="215"/>
                    <a:pt x="350" y="204"/>
                  </a:cubicBezTo>
                  <a:cubicBezTo>
                    <a:pt x="341" y="193"/>
                    <a:pt x="329" y="198"/>
                    <a:pt x="323" y="203"/>
                  </a:cubicBezTo>
                  <a:cubicBezTo>
                    <a:pt x="317" y="209"/>
                    <a:pt x="301" y="207"/>
                    <a:pt x="292" y="203"/>
                  </a:cubicBezTo>
                  <a:cubicBezTo>
                    <a:pt x="283" y="199"/>
                    <a:pt x="274" y="195"/>
                    <a:pt x="265" y="200"/>
                  </a:cubicBezTo>
                  <a:cubicBezTo>
                    <a:pt x="255" y="205"/>
                    <a:pt x="241" y="191"/>
                    <a:pt x="241" y="191"/>
                  </a:cubicBezTo>
                  <a:cubicBezTo>
                    <a:pt x="241" y="3"/>
                    <a:pt x="241" y="3"/>
                    <a:pt x="241" y="3"/>
                  </a:cubicBezTo>
                  <a:cubicBezTo>
                    <a:pt x="239" y="1"/>
                    <a:pt x="236" y="0"/>
                    <a:pt x="231" y="0"/>
                  </a:cubicBezTo>
                  <a:cubicBezTo>
                    <a:pt x="218" y="1"/>
                    <a:pt x="223" y="8"/>
                    <a:pt x="212" y="6"/>
                  </a:cubicBezTo>
                  <a:cubicBezTo>
                    <a:pt x="201" y="4"/>
                    <a:pt x="198" y="1"/>
                    <a:pt x="194" y="1"/>
                  </a:cubicBezTo>
                  <a:cubicBezTo>
                    <a:pt x="189" y="1"/>
                    <a:pt x="183" y="1"/>
                    <a:pt x="182" y="4"/>
                  </a:cubicBezTo>
                  <a:cubicBezTo>
                    <a:pt x="181" y="7"/>
                    <a:pt x="181" y="20"/>
                    <a:pt x="172" y="21"/>
                  </a:cubicBezTo>
                  <a:cubicBezTo>
                    <a:pt x="172" y="21"/>
                    <a:pt x="141" y="18"/>
                    <a:pt x="140" y="28"/>
                  </a:cubicBezTo>
                  <a:cubicBezTo>
                    <a:pt x="139" y="39"/>
                    <a:pt x="125" y="31"/>
                    <a:pt x="126" y="41"/>
                  </a:cubicBezTo>
                  <a:cubicBezTo>
                    <a:pt x="127" y="51"/>
                    <a:pt x="129" y="76"/>
                    <a:pt x="139" y="76"/>
                  </a:cubicBezTo>
                  <a:cubicBezTo>
                    <a:pt x="150" y="76"/>
                    <a:pt x="158" y="76"/>
                    <a:pt x="161" y="68"/>
                  </a:cubicBezTo>
                  <a:cubicBezTo>
                    <a:pt x="164" y="61"/>
                    <a:pt x="176" y="66"/>
                    <a:pt x="182" y="66"/>
                  </a:cubicBezTo>
                  <a:cubicBezTo>
                    <a:pt x="189" y="66"/>
                    <a:pt x="197" y="66"/>
                    <a:pt x="192" y="74"/>
                  </a:cubicBezTo>
                  <a:cubicBezTo>
                    <a:pt x="187" y="83"/>
                    <a:pt x="184" y="90"/>
                    <a:pt x="173" y="91"/>
                  </a:cubicBezTo>
                  <a:cubicBezTo>
                    <a:pt x="161" y="92"/>
                    <a:pt x="146" y="96"/>
                    <a:pt x="147" y="106"/>
                  </a:cubicBezTo>
                  <a:cubicBezTo>
                    <a:pt x="148" y="115"/>
                    <a:pt x="141" y="126"/>
                    <a:pt x="158" y="130"/>
                  </a:cubicBezTo>
                  <a:cubicBezTo>
                    <a:pt x="174" y="135"/>
                    <a:pt x="184" y="145"/>
                    <a:pt x="179" y="149"/>
                  </a:cubicBezTo>
                  <a:cubicBezTo>
                    <a:pt x="174" y="152"/>
                    <a:pt x="149" y="155"/>
                    <a:pt x="140" y="150"/>
                  </a:cubicBezTo>
                  <a:cubicBezTo>
                    <a:pt x="132" y="144"/>
                    <a:pt x="130" y="139"/>
                    <a:pt x="133" y="130"/>
                  </a:cubicBezTo>
                  <a:cubicBezTo>
                    <a:pt x="136" y="122"/>
                    <a:pt x="131" y="116"/>
                    <a:pt x="129" y="110"/>
                  </a:cubicBezTo>
                  <a:cubicBezTo>
                    <a:pt x="126" y="104"/>
                    <a:pt x="116" y="87"/>
                    <a:pt x="116" y="87"/>
                  </a:cubicBezTo>
                  <a:cubicBezTo>
                    <a:pt x="116" y="87"/>
                    <a:pt x="112" y="100"/>
                    <a:pt x="106" y="106"/>
                  </a:cubicBezTo>
                  <a:cubicBezTo>
                    <a:pt x="100" y="111"/>
                    <a:pt x="81" y="115"/>
                    <a:pt x="93" y="125"/>
                  </a:cubicBezTo>
                  <a:cubicBezTo>
                    <a:pt x="105" y="135"/>
                    <a:pt x="114" y="133"/>
                    <a:pt x="111" y="140"/>
                  </a:cubicBezTo>
                  <a:cubicBezTo>
                    <a:pt x="109" y="148"/>
                    <a:pt x="96" y="145"/>
                    <a:pt x="91" y="138"/>
                  </a:cubicBezTo>
                  <a:cubicBezTo>
                    <a:pt x="86" y="130"/>
                    <a:pt x="80" y="124"/>
                    <a:pt x="69" y="120"/>
                  </a:cubicBezTo>
                  <a:cubicBezTo>
                    <a:pt x="59" y="115"/>
                    <a:pt x="48" y="117"/>
                    <a:pt x="38" y="116"/>
                  </a:cubicBezTo>
                  <a:cubicBezTo>
                    <a:pt x="29" y="115"/>
                    <a:pt x="25" y="109"/>
                    <a:pt x="21" y="117"/>
                  </a:cubicBezTo>
                  <a:cubicBezTo>
                    <a:pt x="17" y="126"/>
                    <a:pt x="0" y="141"/>
                    <a:pt x="9" y="143"/>
                  </a:cubicBezTo>
                  <a:cubicBezTo>
                    <a:pt x="19" y="145"/>
                    <a:pt x="18" y="131"/>
                    <a:pt x="24" y="137"/>
                  </a:cubicBezTo>
                  <a:cubicBezTo>
                    <a:pt x="31" y="142"/>
                    <a:pt x="36" y="142"/>
                    <a:pt x="38" y="137"/>
                  </a:cubicBezTo>
                  <a:cubicBezTo>
                    <a:pt x="40" y="131"/>
                    <a:pt x="47" y="129"/>
                    <a:pt x="54" y="137"/>
                  </a:cubicBezTo>
                  <a:cubicBezTo>
                    <a:pt x="62" y="144"/>
                    <a:pt x="77" y="154"/>
                    <a:pt x="69" y="156"/>
                  </a:cubicBezTo>
                  <a:cubicBezTo>
                    <a:pt x="62" y="158"/>
                    <a:pt x="60" y="172"/>
                    <a:pt x="51" y="166"/>
                  </a:cubicBezTo>
                  <a:cubicBezTo>
                    <a:pt x="43" y="159"/>
                    <a:pt x="16" y="162"/>
                    <a:pt x="24" y="172"/>
                  </a:cubicBezTo>
                  <a:cubicBezTo>
                    <a:pt x="33" y="183"/>
                    <a:pt x="32" y="184"/>
                    <a:pt x="47" y="183"/>
                  </a:cubicBezTo>
                  <a:cubicBezTo>
                    <a:pt x="62" y="182"/>
                    <a:pt x="83" y="174"/>
                    <a:pt x="83" y="183"/>
                  </a:cubicBezTo>
                  <a:cubicBezTo>
                    <a:pt x="83" y="192"/>
                    <a:pt x="60" y="201"/>
                    <a:pt x="72" y="203"/>
                  </a:cubicBezTo>
                  <a:cubicBezTo>
                    <a:pt x="83" y="206"/>
                    <a:pt x="88" y="205"/>
                    <a:pt x="97" y="212"/>
                  </a:cubicBezTo>
                  <a:cubicBezTo>
                    <a:pt x="107" y="220"/>
                    <a:pt x="130" y="233"/>
                    <a:pt x="131" y="222"/>
                  </a:cubicBezTo>
                  <a:cubicBezTo>
                    <a:pt x="132" y="211"/>
                    <a:pt x="125" y="198"/>
                    <a:pt x="141" y="198"/>
                  </a:cubicBezTo>
                  <a:cubicBezTo>
                    <a:pt x="158" y="198"/>
                    <a:pt x="165" y="196"/>
                    <a:pt x="163" y="206"/>
                  </a:cubicBezTo>
                  <a:cubicBezTo>
                    <a:pt x="161" y="215"/>
                    <a:pt x="148" y="223"/>
                    <a:pt x="162" y="229"/>
                  </a:cubicBezTo>
                  <a:cubicBezTo>
                    <a:pt x="176" y="236"/>
                    <a:pt x="188" y="248"/>
                    <a:pt x="198" y="252"/>
                  </a:cubicBezTo>
                  <a:cubicBezTo>
                    <a:pt x="209" y="256"/>
                    <a:pt x="221" y="249"/>
                    <a:pt x="208" y="241"/>
                  </a:cubicBezTo>
                  <a:cubicBezTo>
                    <a:pt x="195" y="234"/>
                    <a:pt x="197" y="222"/>
                    <a:pt x="212" y="229"/>
                  </a:cubicBezTo>
                  <a:cubicBezTo>
                    <a:pt x="227" y="237"/>
                    <a:pt x="234" y="248"/>
                    <a:pt x="244" y="248"/>
                  </a:cubicBezTo>
                  <a:cubicBezTo>
                    <a:pt x="253" y="248"/>
                    <a:pt x="260" y="260"/>
                    <a:pt x="276" y="267"/>
                  </a:cubicBezTo>
                  <a:cubicBezTo>
                    <a:pt x="292" y="273"/>
                    <a:pt x="293" y="267"/>
                    <a:pt x="280" y="256"/>
                  </a:cubicBezTo>
                  <a:cubicBezTo>
                    <a:pt x="267" y="245"/>
                    <a:pt x="262" y="238"/>
                    <a:pt x="260" y="227"/>
                  </a:cubicBezTo>
                  <a:cubicBezTo>
                    <a:pt x="258" y="216"/>
                    <a:pt x="266" y="199"/>
                    <a:pt x="272" y="212"/>
                  </a:cubicBezTo>
                  <a:cubicBezTo>
                    <a:pt x="277" y="225"/>
                    <a:pt x="277" y="236"/>
                    <a:pt x="291" y="231"/>
                  </a:cubicBezTo>
                  <a:cubicBezTo>
                    <a:pt x="305" y="227"/>
                    <a:pt x="312" y="222"/>
                    <a:pt x="317" y="229"/>
                  </a:cubicBezTo>
                  <a:cubicBezTo>
                    <a:pt x="321" y="237"/>
                    <a:pt x="334" y="244"/>
                    <a:pt x="338" y="236"/>
                  </a:cubicBezTo>
                  <a:cubicBezTo>
                    <a:pt x="342" y="227"/>
                    <a:pt x="338" y="228"/>
                    <a:pt x="331" y="217"/>
                  </a:cubicBezTo>
                  <a:cubicBezTo>
                    <a:pt x="323" y="207"/>
                    <a:pt x="332" y="195"/>
                    <a:pt x="342" y="208"/>
                  </a:cubicBezTo>
                  <a:cubicBezTo>
                    <a:pt x="353" y="221"/>
                    <a:pt x="358" y="221"/>
                    <a:pt x="367" y="227"/>
                  </a:cubicBezTo>
                  <a:cubicBezTo>
                    <a:pt x="375" y="233"/>
                    <a:pt x="384" y="237"/>
                    <a:pt x="386" y="231"/>
                  </a:cubicBezTo>
                  <a:cubicBezTo>
                    <a:pt x="383" y="227"/>
                    <a:pt x="380" y="223"/>
                    <a:pt x="377" y="22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0" name="Freeform 450">
              <a:extLst>
                <a:ext uri="{FF2B5EF4-FFF2-40B4-BE49-F238E27FC236}">
                  <a16:creationId xmlns:a16="http://schemas.microsoft.com/office/drawing/2014/main" id="{30A6F919-EDE5-4542-A863-BAE22E9F5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" y="2864"/>
              <a:ext cx="140" cy="684"/>
            </a:xfrm>
            <a:custGeom>
              <a:avLst/>
              <a:gdLst>
                <a:gd name="T0" fmla="*/ 452 w 556"/>
                <a:gd name="T1" fmla="*/ 196 h 2704"/>
                <a:gd name="T2" fmla="*/ 428 w 556"/>
                <a:gd name="T3" fmla="*/ 62 h 2704"/>
                <a:gd name="T4" fmla="*/ 381 w 556"/>
                <a:gd name="T5" fmla="*/ 23 h 2704"/>
                <a:gd name="T6" fmla="*/ 354 w 556"/>
                <a:gd name="T7" fmla="*/ 115 h 2704"/>
                <a:gd name="T8" fmla="*/ 353 w 556"/>
                <a:gd name="T9" fmla="*/ 324 h 2704"/>
                <a:gd name="T10" fmla="*/ 335 w 556"/>
                <a:gd name="T11" fmla="*/ 463 h 2704"/>
                <a:gd name="T12" fmla="*/ 310 w 556"/>
                <a:gd name="T13" fmla="*/ 641 h 2704"/>
                <a:gd name="T14" fmla="*/ 282 w 556"/>
                <a:gd name="T15" fmla="*/ 793 h 2704"/>
                <a:gd name="T16" fmla="*/ 272 w 556"/>
                <a:gd name="T17" fmla="*/ 952 h 2704"/>
                <a:gd name="T18" fmla="*/ 253 w 556"/>
                <a:gd name="T19" fmla="*/ 1109 h 2704"/>
                <a:gd name="T20" fmla="*/ 181 w 556"/>
                <a:gd name="T21" fmla="*/ 1302 h 2704"/>
                <a:gd name="T22" fmla="*/ 157 w 556"/>
                <a:gd name="T23" fmla="*/ 1439 h 2704"/>
                <a:gd name="T24" fmla="*/ 120 w 556"/>
                <a:gd name="T25" fmla="*/ 1645 h 2704"/>
                <a:gd name="T26" fmla="*/ 103 w 556"/>
                <a:gd name="T27" fmla="*/ 1757 h 2704"/>
                <a:gd name="T28" fmla="*/ 152 w 556"/>
                <a:gd name="T29" fmla="*/ 1775 h 2704"/>
                <a:gd name="T30" fmla="*/ 179 w 556"/>
                <a:gd name="T31" fmla="*/ 1679 h 2704"/>
                <a:gd name="T32" fmla="*/ 193 w 556"/>
                <a:gd name="T33" fmla="*/ 1744 h 2704"/>
                <a:gd name="T34" fmla="*/ 173 w 556"/>
                <a:gd name="T35" fmla="*/ 1903 h 2704"/>
                <a:gd name="T36" fmla="*/ 149 w 556"/>
                <a:gd name="T37" fmla="*/ 2016 h 2704"/>
                <a:gd name="T38" fmla="*/ 84 w 556"/>
                <a:gd name="T39" fmla="*/ 1988 h 2704"/>
                <a:gd name="T40" fmla="*/ 9 w 556"/>
                <a:gd name="T41" fmla="*/ 2090 h 2704"/>
                <a:gd name="T42" fmla="*/ 97 w 556"/>
                <a:gd name="T43" fmla="*/ 2122 h 2704"/>
                <a:gd name="T44" fmla="*/ 152 w 556"/>
                <a:gd name="T45" fmla="*/ 2199 h 2704"/>
                <a:gd name="T46" fmla="*/ 103 w 556"/>
                <a:gd name="T47" fmla="*/ 2227 h 2704"/>
                <a:gd name="T48" fmla="*/ 23 w 556"/>
                <a:gd name="T49" fmla="*/ 2196 h 2704"/>
                <a:gd name="T50" fmla="*/ 23 w 556"/>
                <a:gd name="T51" fmla="*/ 2286 h 2704"/>
                <a:gd name="T52" fmla="*/ 29 w 556"/>
                <a:gd name="T53" fmla="*/ 2335 h 2704"/>
                <a:gd name="T54" fmla="*/ 106 w 556"/>
                <a:gd name="T55" fmla="*/ 2350 h 2704"/>
                <a:gd name="T56" fmla="*/ 82 w 556"/>
                <a:gd name="T57" fmla="*/ 2444 h 2704"/>
                <a:gd name="T58" fmla="*/ 109 w 556"/>
                <a:gd name="T59" fmla="*/ 2492 h 2704"/>
                <a:gd name="T60" fmla="*/ 159 w 556"/>
                <a:gd name="T61" fmla="*/ 2519 h 2704"/>
                <a:gd name="T62" fmla="*/ 186 w 556"/>
                <a:gd name="T63" fmla="*/ 2535 h 2704"/>
                <a:gd name="T64" fmla="*/ 168 w 556"/>
                <a:gd name="T65" fmla="*/ 2580 h 2704"/>
                <a:gd name="T66" fmla="*/ 218 w 556"/>
                <a:gd name="T67" fmla="*/ 2639 h 2704"/>
                <a:gd name="T68" fmla="*/ 210 w 556"/>
                <a:gd name="T69" fmla="*/ 2590 h 2704"/>
                <a:gd name="T70" fmla="*/ 283 w 556"/>
                <a:gd name="T71" fmla="*/ 2616 h 2704"/>
                <a:gd name="T72" fmla="*/ 148 w 556"/>
                <a:gd name="T73" fmla="*/ 2657 h 2704"/>
                <a:gd name="T74" fmla="*/ 234 w 556"/>
                <a:gd name="T75" fmla="*/ 2683 h 2704"/>
                <a:gd name="T76" fmla="*/ 330 w 556"/>
                <a:gd name="T77" fmla="*/ 2597 h 2704"/>
                <a:gd name="T78" fmla="*/ 438 w 556"/>
                <a:gd name="T79" fmla="*/ 2546 h 2704"/>
                <a:gd name="T80" fmla="*/ 400 w 556"/>
                <a:gd name="T81" fmla="*/ 2531 h 2704"/>
                <a:gd name="T82" fmla="*/ 225 w 556"/>
                <a:gd name="T83" fmla="*/ 2458 h 2704"/>
                <a:gd name="T84" fmla="*/ 173 w 556"/>
                <a:gd name="T85" fmla="*/ 2414 h 2704"/>
                <a:gd name="T86" fmla="*/ 197 w 556"/>
                <a:gd name="T87" fmla="*/ 2269 h 2704"/>
                <a:gd name="T88" fmla="*/ 224 w 556"/>
                <a:gd name="T89" fmla="*/ 2152 h 2704"/>
                <a:gd name="T90" fmla="*/ 265 w 556"/>
                <a:gd name="T91" fmla="*/ 2031 h 2704"/>
                <a:gd name="T92" fmla="*/ 242 w 556"/>
                <a:gd name="T93" fmla="*/ 1931 h 2704"/>
                <a:gd name="T94" fmla="*/ 259 w 556"/>
                <a:gd name="T95" fmla="*/ 1848 h 2704"/>
                <a:gd name="T96" fmla="*/ 259 w 556"/>
                <a:gd name="T97" fmla="*/ 1716 h 2704"/>
                <a:gd name="T98" fmla="*/ 262 w 556"/>
                <a:gd name="T99" fmla="*/ 1558 h 2704"/>
                <a:gd name="T100" fmla="*/ 306 w 556"/>
                <a:gd name="T101" fmla="*/ 1434 h 2704"/>
                <a:gd name="T102" fmla="*/ 336 w 556"/>
                <a:gd name="T103" fmla="*/ 1282 h 2704"/>
                <a:gd name="T104" fmla="*/ 364 w 556"/>
                <a:gd name="T105" fmla="*/ 1152 h 2704"/>
                <a:gd name="T106" fmla="*/ 360 w 556"/>
                <a:gd name="T107" fmla="*/ 1032 h 2704"/>
                <a:gd name="T108" fmla="*/ 346 w 556"/>
                <a:gd name="T109" fmla="*/ 915 h 2704"/>
                <a:gd name="T110" fmla="*/ 368 w 556"/>
                <a:gd name="T111" fmla="*/ 799 h 2704"/>
                <a:gd name="T112" fmla="*/ 436 w 556"/>
                <a:gd name="T113" fmla="*/ 661 h 2704"/>
                <a:gd name="T114" fmla="*/ 470 w 556"/>
                <a:gd name="T115" fmla="*/ 570 h 2704"/>
                <a:gd name="T116" fmla="*/ 491 w 556"/>
                <a:gd name="T117" fmla="*/ 452 h 2704"/>
                <a:gd name="T118" fmla="*/ 514 w 556"/>
                <a:gd name="T119" fmla="*/ 355 h 2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56" h="2704">
                  <a:moveTo>
                    <a:pt x="514" y="355"/>
                  </a:moveTo>
                  <a:cubicBezTo>
                    <a:pt x="498" y="352"/>
                    <a:pt x="504" y="336"/>
                    <a:pt x="500" y="315"/>
                  </a:cubicBezTo>
                  <a:cubicBezTo>
                    <a:pt x="496" y="294"/>
                    <a:pt x="486" y="282"/>
                    <a:pt x="484" y="266"/>
                  </a:cubicBezTo>
                  <a:cubicBezTo>
                    <a:pt x="481" y="250"/>
                    <a:pt x="478" y="238"/>
                    <a:pt x="468" y="233"/>
                  </a:cubicBezTo>
                  <a:cubicBezTo>
                    <a:pt x="458" y="228"/>
                    <a:pt x="460" y="206"/>
                    <a:pt x="452" y="196"/>
                  </a:cubicBezTo>
                  <a:cubicBezTo>
                    <a:pt x="444" y="186"/>
                    <a:pt x="447" y="174"/>
                    <a:pt x="452" y="170"/>
                  </a:cubicBezTo>
                  <a:cubicBezTo>
                    <a:pt x="458" y="167"/>
                    <a:pt x="460" y="158"/>
                    <a:pt x="456" y="151"/>
                  </a:cubicBezTo>
                  <a:cubicBezTo>
                    <a:pt x="451" y="144"/>
                    <a:pt x="459" y="137"/>
                    <a:pt x="462" y="126"/>
                  </a:cubicBezTo>
                  <a:cubicBezTo>
                    <a:pt x="466" y="116"/>
                    <a:pt x="456" y="110"/>
                    <a:pt x="443" y="102"/>
                  </a:cubicBezTo>
                  <a:cubicBezTo>
                    <a:pt x="430" y="94"/>
                    <a:pt x="426" y="76"/>
                    <a:pt x="428" y="62"/>
                  </a:cubicBezTo>
                  <a:cubicBezTo>
                    <a:pt x="430" y="48"/>
                    <a:pt x="428" y="35"/>
                    <a:pt x="419" y="32"/>
                  </a:cubicBezTo>
                  <a:cubicBezTo>
                    <a:pt x="410" y="30"/>
                    <a:pt x="410" y="12"/>
                    <a:pt x="400" y="6"/>
                  </a:cubicBezTo>
                  <a:cubicBezTo>
                    <a:pt x="398" y="4"/>
                    <a:pt x="396" y="2"/>
                    <a:pt x="395" y="0"/>
                  </a:cubicBezTo>
                  <a:cubicBezTo>
                    <a:pt x="392" y="1"/>
                    <a:pt x="390" y="2"/>
                    <a:pt x="387" y="4"/>
                  </a:cubicBezTo>
                  <a:cubicBezTo>
                    <a:pt x="383" y="7"/>
                    <a:pt x="380" y="13"/>
                    <a:pt x="381" y="23"/>
                  </a:cubicBezTo>
                  <a:cubicBezTo>
                    <a:pt x="382" y="32"/>
                    <a:pt x="380" y="37"/>
                    <a:pt x="374" y="45"/>
                  </a:cubicBezTo>
                  <a:cubicBezTo>
                    <a:pt x="369" y="53"/>
                    <a:pt x="359" y="55"/>
                    <a:pt x="350" y="51"/>
                  </a:cubicBezTo>
                  <a:cubicBezTo>
                    <a:pt x="346" y="49"/>
                    <a:pt x="341" y="48"/>
                    <a:pt x="337" y="48"/>
                  </a:cubicBezTo>
                  <a:cubicBezTo>
                    <a:pt x="338" y="49"/>
                    <a:pt x="338" y="51"/>
                    <a:pt x="339" y="52"/>
                  </a:cubicBezTo>
                  <a:cubicBezTo>
                    <a:pt x="348" y="79"/>
                    <a:pt x="344" y="99"/>
                    <a:pt x="354" y="115"/>
                  </a:cubicBezTo>
                  <a:cubicBezTo>
                    <a:pt x="365" y="130"/>
                    <a:pt x="372" y="161"/>
                    <a:pt x="367" y="172"/>
                  </a:cubicBezTo>
                  <a:cubicBezTo>
                    <a:pt x="363" y="182"/>
                    <a:pt x="353" y="179"/>
                    <a:pt x="353" y="195"/>
                  </a:cubicBezTo>
                  <a:cubicBezTo>
                    <a:pt x="353" y="210"/>
                    <a:pt x="359" y="211"/>
                    <a:pt x="361" y="231"/>
                  </a:cubicBezTo>
                  <a:cubicBezTo>
                    <a:pt x="364" y="251"/>
                    <a:pt x="361" y="271"/>
                    <a:pt x="357" y="285"/>
                  </a:cubicBezTo>
                  <a:cubicBezTo>
                    <a:pt x="352" y="299"/>
                    <a:pt x="353" y="311"/>
                    <a:pt x="353" y="324"/>
                  </a:cubicBezTo>
                  <a:cubicBezTo>
                    <a:pt x="353" y="337"/>
                    <a:pt x="352" y="349"/>
                    <a:pt x="343" y="355"/>
                  </a:cubicBezTo>
                  <a:cubicBezTo>
                    <a:pt x="334" y="362"/>
                    <a:pt x="322" y="373"/>
                    <a:pt x="331" y="383"/>
                  </a:cubicBezTo>
                  <a:cubicBezTo>
                    <a:pt x="341" y="393"/>
                    <a:pt x="350" y="398"/>
                    <a:pt x="343" y="406"/>
                  </a:cubicBezTo>
                  <a:cubicBezTo>
                    <a:pt x="337" y="415"/>
                    <a:pt x="332" y="424"/>
                    <a:pt x="334" y="437"/>
                  </a:cubicBezTo>
                  <a:cubicBezTo>
                    <a:pt x="336" y="449"/>
                    <a:pt x="334" y="448"/>
                    <a:pt x="335" y="463"/>
                  </a:cubicBezTo>
                  <a:cubicBezTo>
                    <a:pt x="335" y="479"/>
                    <a:pt x="334" y="498"/>
                    <a:pt x="339" y="502"/>
                  </a:cubicBezTo>
                  <a:cubicBezTo>
                    <a:pt x="344" y="506"/>
                    <a:pt x="335" y="512"/>
                    <a:pt x="326" y="520"/>
                  </a:cubicBezTo>
                  <a:cubicBezTo>
                    <a:pt x="317" y="529"/>
                    <a:pt x="328" y="538"/>
                    <a:pt x="330" y="555"/>
                  </a:cubicBezTo>
                  <a:cubicBezTo>
                    <a:pt x="332" y="571"/>
                    <a:pt x="331" y="581"/>
                    <a:pt x="323" y="600"/>
                  </a:cubicBezTo>
                  <a:cubicBezTo>
                    <a:pt x="315" y="619"/>
                    <a:pt x="311" y="623"/>
                    <a:pt x="310" y="641"/>
                  </a:cubicBezTo>
                  <a:cubicBezTo>
                    <a:pt x="309" y="660"/>
                    <a:pt x="311" y="663"/>
                    <a:pt x="303" y="674"/>
                  </a:cubicBezTo>
                  <a:cubicBezTo>
                    <a:pt x="295" y="685"/>
                    <a:pt x="294" y="685"/>
                    <a:pt x="294" y="701"/>
                  </a:cubicBezTo>
                  <a:cubicBezTo>
                    <a:pt x="293" y="718"/>
                    <a:pt x="303" y="724"/>
                    <a:pt x="293" y="735"/>
                  </a:cubicBezTo>
                  <a:cubicBezTo>
                    <a:pt x="282" y="746"/>
                    <a:pt x="274" y="753"/>
                    <a:pt x="274" y="764"/>
                  </a:cubicBezTo>
                  <a:cubicBezTo>
                    <a:pt x="275" y="775"/>
                    <a:pt x="273" y="784"/>
                    <a:pt x="282" y="793"/>
                  </a:cubicBezTo>
                  <a:cubicBezTo>
                    <a:pt x="291" y="802"/>
                    <a:pt x="290" y="812"/>
                    <a:pt x="287" y="823"/>
                  </a:cubicBezTo>
                  <a:cubicBezTo>
                    <a:pt x="283" y="834"/>
                    <a:pt x="270" y="845"/>
                    <a:pt x="264" y="855"/>
                  </a:cubicBezTo>
                  <a:cubicBezTo>
                    <a:pt x="257" y="865"/>
                    <a:pt x="253" y="875"/>
                    <a:pt x="258" y="896"/>
                  </a:cubicBezTo>
                  <a:cubicBezTo>
                    <a:pt x="262" y="917"/>
                    <a:pt x="261" y="925"/>
                    <a:pt x="267" y="932"/>
                  </a:cubicBezTo>
                  <a:cubicBezTo>
                    <a:pt x="273" y="938"/>
                    <a:pt x="272" y="937"/>
                    <a:pt x="272" y="952"/>
                  </a:cubicBezTo>
                  <a:cubicBezTo>
                    <a:pt x="271" y="967"/>
                    <a:pt x="269" y="973"/>
                    <a:pt x="275" y="983"/>
                  </a:cubicBezTo>
                  <a:cubicBezTo>
                    <a:pt x="281" y="993"/>
                    <a:pt x="282" y="997"/>
                    <a:pt x="279" y="1011"/>
                  </a:cubicBezTo>
                  <a:cubicBezTo>
                    <a:pt x="276" y="1026"/>
                    <a:pt x="274" y="1031"/>
                    <a:pt x="267" y="1036"/>
                  </a:cubicBezTo>
                  <a:cubicBezTo>
                    <a:pt x="260" y="1041"/>
                    <a:pt x="259" y="1049"/>
                    <a:pt x="260" y="1068"/>
                  </a:cubicBezTo>
                  <a:cubicBezTo>
                    <a:pt x="261" y="1087"/>
                    <a:pt x="260" y="1101"/>
                    <a:pt x="253" y="1109"/>
                  </a:cubicBezTo>
                  <a:cubicBezTo>
                    <a:pt x="245" y="1118"/>
                    <a:pt x="251" y="1118"/>
                    <a:pt x="244" y="1137"/>
                  </a:cubicBezTo>
                  <a:cubicBezTo>
                    <a:pt x="237" y="1157"/>
                    <a:pt x="235" y="1163"/>
                    <a:pt x="232" y="1179"/>
                  </a:cubicBezTo>
                  <a:cubicBezTo>
                    <a:pt x="229" y="1195"/>
                    <a:pt x="221" y="1186"/>
                    <a:pt x="216" y="1209"/>
                  </a:cubicBezTo>
                  <a:cubicBezTo>
                    <a:pt x="210" y="1231"/>
                    <a:pt x="202" y="1232"/>
                    <a:pt x="198" y="1251"/>
                  </a:cubicBezTo>
                  <a:cubicBezTo>
                    <a:pt x="194" y="1270"/>
                    <a:pt x="193" y="1289"/>
                    <a:pt x="181" y="1302"/>
                  </a:cubicBezTo>
                  <a:cubicBezTo>
                    <a:pt x="170" y="1316"/>
                    <a:pt x="171" y="1328"/>
                    <a:pt x="171" y="1335"/>
                  </a:cubicBezTo>
                  <a:cubicBezTo>
                    <a:pt x="171" y="1341"/>
                    <a:pt x="163" y="1349"/>
                    <a:pt x="157" y="1349"/>
                  </a:cubicBezTo>
                  <a:cubicBezTo>
                    <a:pt x="150" y="1348"/>
                    <a:pt x="136" y="1349"/>
                    <a:pt x="135" y="1360"/>
                  </a:cubicBezTo>
                  <a:cubicBezTo>
                    <a:pt x="134" y="1371"/>
                    <a:pt x="142" y="1401"/>
                    <a:pt x="149" y="1412"/>
                  </a:cubicBezTo>
                  <a:cubicBezTo>
                    <a:pt x="157" y="1423"/>
                    <a:pt x="157" y="1422"/>
                    <a:pt x="157" y="1439"/>
                  </a:cubicBezTo>
                  <a:cubicBezTo>
                    <a:pt x="156" y="1456"/>
                    <a:pt x="157" y="1478"/>
                    <a:pt x="160" y="1489"/>
                  </a:cubicBezTo>
                  <a:cubicBezTo>
                    <a:pt x="164" y="1501"/>
                    <a:pt x="162" y="1527"/>
                    <a:pt x="154" y="1534"/>
                  </a:cubicBezTo>
                  <a:cubicBezTo>
                    <a:pt x="147" y="1540"/>
                    <a:pt x="133" y="1552"/>
                    <a:pt x="133" y="1566"/>
                  </a:cubicBezTo>
                  <a:cubicBezTo>
                    <a:pt x="133" y="1579"/>
                    <a:pt x="135" y="1599"/>
                    <a:pt x="127" y="1609"/>
                  </a:cubicBezTo>
                  <a:cubicBezTo>
                    <a:pt x="120" y="1620"/>
                    <a:pt x="114" y="1634"/>
                    <a:pt x="120" y="1645"/>
                  </a:cubicBezTo>
                  <a:cubicBezTo>
                    <a:pt x="125" y="1656"/>
                    <a:pt x="128" y="1663"/>
                    <a:pt x="133" y="1673"/>
                  </a:cubicBezTo>
                  <a:cubicBezTo>
                    <a:pt x="138" y="1683"/>
                    <a:pt x="151" y="1697"/>
                    <a:pt x="137" y="1697"/>
                  </a:cubicBezTo>
                  <a:cubicBezTo>
                    <a:pt x="122" y="1698"/>
                    <a:pt x="110" y="1690"/>
                    <a:pt x="109" y="1706"/>
                  </a:cubicBezTo>
                  <a:cubicBezTo>
                    <a:pt x="108" y="1722"/>
                    <a:pt x="122" y="1728"/>
                    <a:pt x="111" y="1733"/>
                  </a:cubicBezTo>
                  <a:cubicBezTo>
                    <a:pt x="101" y="1739"/>
                    <a:pt x="100" y="1747"/>
                    <a:pt x="103" y="1757"/>
                  </a:cubicBezTo>
                  <a:cubicBezTo>
                    <a:pt x="106" y="1766"/>
                    <a:pt x="106" y="1776"/>
                    <a:pt x="102" y="1784"/>
                  </a:cubicBezTo>
                  <a:cubicBezTo>
                    <a:pt x="99" y="1792"/>
                    <a:pt x="93" y="1803"/>
                    <a:pt x="102" y="1811"/>
                  </a:cubicBezTo>
                  <a:cubicBezTo>
                    <a:pt x="112" y="1819"/>
                    <a:pt x="137" y="1824"/>
                    <a:pt x="138" y="1816"/>
                  </a:cubicBezTo>
                  <a:cubicBezTo>
                    <a:pt x="138" y="1807"/>
                    <a:pt x="140" y="1798"/>
                    <a:pt x="147" y="1794"/>
                  </a:cubicBezTo>
                  <a:cubicBezTo>
                    <a:pt x="153" y="1790"/>
                    <a:pt x="159" y="1782"/>
                    <a:pt x="152" y="1775"/>
                  </a:cubicBezTo>
                  <a:cubicBezTo>
                    <a:pt x="145" y="1768"/>
                    <a:pt x="132" y="1762"/>
                    <a:pt x="138" y="1756"/>
                  </a:cubicBezTo>
                  <a:cubicBezTo>
                    <a:pt x="144" y="1749"/>
                    <a:pt x="152" y="1747"/>
                    <a:pt x="151" y="1736"/>
                  </a:cubicBezTo>
                  <a:cubicBezTo>
                    <a:pt x="149" y="1725"/>
                    <a:pt x="160" y="1729"/>
                    <a:pt x="159" y="1719"/>
                  </a:cubicBezTo>
                  <a:cubicBezTo>
                    <a:pt x="158" y="1709"/>
                    <a:pt x="147" y="1706"/>
                    <a:pt x="161" y="1700"/>
                  </a:cubicBezTo>
                  <a:cubicBezTo>
                    <a:pt x="175" y="1694"/>
                    <a:pt x="178" y="1686"/>
                    <a:pt x="179" y="1679"/>
                  </a:cubicBezTo>
                  <a:cubicBezTo>
                    <a:pt x="180" y="1673"/>
                    <a:pt x="192" y="1679"/>
                    <a:pt x="197" y="1679"/>
                  </a:cubicBezTo>
                  <a:cubicBezTo>
                    <a:pt x="202" y="1679"/>
                    <a:pt x="208" y="1687"/>
                    <a:pt x="204" y="1692"/>
                  </a:cubicBezTo>
                  <a:cubicBezTo>
                    <a:pt x="200" y="1696"/>
                    <a:pt x="190" y="1703"/>
                    <a:pt x="199" y="1710"/>
                  </a:cubicBezTo>
                  <a:cubicBezTo>
                    <a:pt x="207" y="1716"/>
                    <a:pt x="224" y="1722"/>
                    <a:pt x="209" y="1727"/>
                  </a:cubicBezTo>
                  <a:cubicBezTo>
                    <a:pt x="194" y="1731"/>
                    <a:pt x="189" y="1724"/>
                    <a:pt x="193" y="1744"/>
                  </a:cubicBezTo>
                  <a:cubicBezTo>
                    <a:pt x="196" y="1764"/>
                    <a:pt x="201" y="1773"/>
                    <a:pt x="191" y="1788"/>
                  </a:cubicBezTo>
                  <a:cubicBezTo>
                    <a:pt x="181" y="1802"/>
                    <a:pt x="168" y="1820"/>
                    <a:pt x="174" y="1827"/>
                  </a:cubicBezTo>
                  <a:cubicBezTo>
                    <a:pt x="180" y="1834"/>
                    <a:pt x="185" y="1844"/>
                    <a:pt x="179" y="1855"/>
                  </a:cubicBezTo>
                  <a:cubicBezTo>
                    <a:pt x="173" y="1866"/>
                    <a:pt x="162" y="1886"/>
                    <a:pt x="177" y="1888"/>
                  </a:cubicBezTo>
                  <a:cubicBezTo>
                    <a:pt x="192" y="1890"/>
                    <a:pt x="180" y="1901"/>
                    <a:pt x="173" y="1903"/>
                  </a:cubicBezTo>
                  <a:cubicBezTo>
                    <a:pt x="165" y="1905"/>
                    <a:pt x="160" y="1912"/>
                    <a:pt x="163" y="1924"/>
                  </a:cubicBezTo>
                  <a:cubicBezTo>
                    <a:pt x="166" y="1937"/>
                    <a:pt x="165" y="1951"/>
                    <a:pt x="165" y="1959"/>
                  </a:cubicBezTo>
                  <a:cubicBezTo>
                    <a:pt x="165" y="1968"/>
                    <a:pt x="171" y="1978"/>
                    <a:pt x="158" y="1982"/>
                  </a:cubicBezTo>
                  <a:cubicBezTo>
                    <a:pt x="145" y="1986"/>
                    <a:pt x="137" y="1982"/>
                    <a:pt x="141" y="1993"/>
                  </a:cubicBezTo>
                  <a:cubicBezTo>
                    <a:pt x="145" y="2004"/>
                    <a:pt x="155" y="2002"/>
                    <a:pt x="149" y="2016"/>
                  </a:cubicBezTo>
                  <a:cubicBezTo>
                    <a:pt x="142" y="2029"/>
                    <a:pt x="140" y="2046"/>
                    <a:pt x="136" y="2038"/>
                  </a:cubicBezTo>
                  <a:cubicBezTo>
                    <a:pt x="132" y="2029"/>
                    <a:pt x="129" y="2018"/>
                    <a:pt x="123" y="2016"/>
                  </a:cubicBezTo>
                  <a:cubicBezTo>
                    <a:pt x="117" y="2015"/>
                    <a:pt x="104" y="2018"/>
                    <a:pt x="104" y="2004"/>
                  </a:cubicBezTo>
                  <a:cubicBezTo>
                    <a:pt x="104" y="1990"/>
                    <a:pt x="105" y="1984"/>
                    <a:pt x="96" y="1980"/>
                  </a:cubicBezTo>
                  <a:cubicBezTo>
                    <a:pt x="87" y="1976"/>
                    <a:pt x="91" y="1970"/>
                    <a:pt x="84" y="1988"/>
                  </a:cubicBezTo>
                  <a:cubicBezTo>
                    <a:pt x="77" y="2005"/>
                    <a:pt x="76" y="2010"/>
                    <a:pt x="64" y="2014"/>
                  </a:cubicBezTo>
                  <a:cubicBezTo>
                    <a:pt x="52" y="2018"/>
                    <a:pt x="43" y="2025"/>
                    <a:pt x="51" y="2030"/>
                  </a:cubicBezTo>
                  <a:cubicBezTo>
                    <a:pt x="58" y="2034"/>
                    <a:pt x="57" y="2039"/>
                    <a:pt x="45" y="2044"/>
                  </a:cubicBezTo>
                  <a:cubicBezTo>
                    <a:pt x="33" y="2048"/>
                    <a:pt x="31" y="2053"/>
                    <a:pt x="22" y="2062"/>
                  </a:cubicBezTo>
                  <a:cubicBezTo>
                    <a:pt x="14" y="2072"/>
                    <a:pt x="0" y="2080"/>
                    <a:pt x="9" y="2090"/>
                  </a:cubicBezTo>
                  <a:cubicBezTo>
                    <a:pt x="19" y="2101"/>
                    <a:pt x="28" y="2103"/>
                    <a:pt x="30" y="2091"/>
                  </a:cubicBezTo>
                  <a:cubicBezTo>
                    <a:pt x="31" y="2079"/>
                    <a:pt x="45" y="2079"/>
                    <a:pt x="52" y="2087"/>
                  </a:cubicBezTo>
                  <a:cubicBezTo>
                    <a:pt x="60" y="2095"/>
                    <a:pt x="62" y="2099"/>
                    <a:pt x="74" y="2095"/>
                  </a:cubicBezTo>
                  <a:cubicBezTo>
                    <a:pt x="86" y="2091"/>
                    <a:pt x="97" y="2085"/>
                    <a:pt x="101" y="2092"/>
                  </a:cubicBezTo>
                  <a:cubicBezTo>
                    <a:pt x="104" y="2099"/>
                    <a:pt x="107" y="2117"/>
                    <a:pt x="97" y="2122"/>
                  </a:cubicBezTo>
                  <a:cubicBezTo>
                    <a:pt x="87" y="2127"/>
                    <a:pt x="90" y="2145"/>
                    <a:pt x="86" y="2152"/>
                  </a:cubicBezTo>
                  <a:cubicBezTo>
                    <a:pt x="82" y="2160"/>
                    <a:pt x="87" y="2168"/>
                    <a:pt x="98" y="2170"/>
                  </a:cubicBezTo>
                  <a:cubicBezTo>
                    <a:pt x="109" y="2173"/>
                    <a:pt x="121" y="2177"/>
                    <a:pt x="127" y="2170"/>
                  </a:cubicBezTo>
                  <a:cubicBezTo>
                    <a:pt x="133" y="2163"/>
                    <a:pt x="146" y="2167"/>
                    <a:pt x="149" y="2174"/>
                  </a:cubicBezTo>
                  <a:cubicBezTo>
                    <a:pt x="151" y="2182"/>
                    <a:pt x="163" y="2198"/>
                    <a:pt x="152" y="2199"/>
                  </a:cubicBezTo>
                  <a:cubicBezTo>
                    <a:pt x="140" y="2200"/>
                    <a:pt x="123" y="2193"/>
                    <a:pt x="120" y="2188"/>
                  </a:cubicBezTo>
                  <a:cubicBezTo>
                    <a:pt x="117" y="2182"/>
                    <a:pt x="105" y="2177"/>
                    <a:pt x="96" y="2183"/>
                  </a:cubicBezTo>
                  <a:cubicBezTo>
                    <a:pt x="88" y="2189"/>
                    <a:pt x="81" y="2188"/>
                    <a:pt x="85" y="2197"/>
                  </a:cubicBezTo>
                  <a:cubicBezTo>
                    <a:pt x="89" y="2207"/>
                    <a:pt x="101" y="2210"/>
                    <a:pt x="106" y="2213"/>
                  </a:cubicBezTo>
                  <a:cubicBezTo>
                    <a:pt x="110" y="2217"/>
                    <a:pt x="117" y="2222"/>
                    <a:pt x="103" y="2227"/>
                  </a:cubicBezTo>
                  <a:cubicBezTo>
                    <a:pt x="89" y="2233"/>
                    <a:pt x="71" y="2230"/>
                    <a:pt x="71" y="2221"/>
                  </a:cubicBezTo>
                  <a:cubicBezTo>
                    <a:pt x="71" y="2212"/>
                    <a:pt x="65" y="2215"/>
                    <a:pt x="65" y="2204"/>
                  </a:cubicBezTo>
                  <a:cubicBezTo>
                    <a:pt x="65" y="2193"/>
                    <a:pt x="82" y="2181"/>
                    <a:pt x="67" y="2183"/>
                  </a:cubicBezTo>
                  <a:cubicBezTo>
                    <a:pt x="52" y="2186"/>
                    <a:pt x="50" y="2197"/>
                    <a:pt x="42" y="2190"/>
                  </a:cubicBezTo>
                  <a:cubicBezTo>
                    <a:pt x="35" y="2182"/>
                    <a:pt x="26" y="2187"/>
                    <a:pt x="23" y="2196"/>
                  </a:cubicBezTo>
                  <a:cubicBezTo>
                    <a:pt x="20" y="2206"/>
                    <a:pt x="12" y="2227"/>
                    <a:pt x="16" y="2237"/>
                  </a:cubicBezTo>
                  <a:cubicBezTo>
                    <a:pt x="21" y="2247"/>
                    <a:pt x="28" y="2245"/>
                    <a:pt x="36" y="2238"/>
                  </a:cubicBezTo>
                  <a:cubicBezTo>
                    <a:pt x="43" y="2232"/>
                    <a:pt x="54" y="2225"/>
                    <a:pt x="54" y="2237"/>
                  </a:cubicBezTo>
                  <a:cubicBezTo>
                    <a:pt x="54" y="2249"/>
                    <a:pt x="60" y="2253"/>
                    <a:pt x="44" y="2261"/>
                  </a:cubicBezTo>
                  <a:cubicBezTo>
                    <a:pt x="28" y="2268"/>
                    <a:pt x="21" y="2278"/>
                    <a:pt x="23" y="2286"/>
                  </a:cubicBezTo>
                  <a:cubicBezTo>
                    <a:pt x="25" y="2293"/>
                    <a:pt x="40" y="2317"/>
                    <a:pt x="50" y="2303"/>
                  </a:cubicBezTo>
                  <a:cubicBezTo>
                    <a:pt x="59" y="2289"/>
                    <a:pt x="52" y="2264"/>
                    <a:pt x="65" y="2279"/>
                  </a:cubicBezTo>
                  <a:cubicBezTo>
                    <a:pt x="78" y="2294"/>
                    <a:pt x="70" y="2302"/>
                    <a:pt x="65" y="2309"/>
                  </a:cubicBezTo>
                  <a:cubicBezTo>
                    <a:pt x="59" y="2317"/>
                    <a:pt x="68" y="2326"/>
                    <a:pt x="45" y="2325"/>
                  </a:cubicBezTo>
                  <a:cubicBezTo>
                    <a:pt x="23" y="2324"/>
                    <a:pt x="11" y="2329"/>
                    <a:pt x="29" y="2335"/>
                  </a:cubicBezTo>
                  <a:cubicBezTo>
                    <a:pt x="47" y="2341"/>
                    <a:pt x="60" y="2348"/>
                    <a:pt x="64" y="2341"/>
                  </a:cubicBezTo>
                  <a:cubicBezTo>
                    <a:pt x="67" y="2335"/>
                    <a:pt x="85" y="2354"/>
                    <a:pt x="86" y="2338"/>
                  </a:cubicBezTo>
                  <a:cubicBezTo>
                    <a:pt x="87" y="2322"/>
                    <a:pt x="88" y="2308"/>
                    <a:pt x="102" y="2307"/>
                  </a:cubicBezTo>
                  <a:cubicBezTo>
                    <a:pt x="116" y="2306"/>
                    <a:pt x="111" y="2316"/>
                    <a:pt x="110" y="2327"/>
                  </a:cubicBezTo>
                  <a:cubicBezTo>
                    <a:pt x="109" y="2339"/>
                    <a:pt x="120" y="2346"/>
                    <a:pt x="106" y="2350"/>
                  </a:cubicBezTo>
                  <a:cubicBezTo>
                    <a:pt x="92" y="2354"/>
                    <a:pt x="73" y="2362"/>
                    <a:pt x="87" y="2372"/>
                  </a:cubicBezTo>
                  <a:cubicBezTo>
                    <a:pt x="101" y="2381"/>
                    <a:pt x="117" y="2388"/>
                    <a:pt x="102" y="2391"/>
                  </a:cubicBezTo>
                  <a:cubicBezTo>
                    <a:pt x="87" y="2394"/>
                    <a:pt x="77" y="2399"/>
                    <a:pt x="80" y="2405"/>
                  </a:cubicBezTo>
                  <a:cubicBezTo>
                    <a:pt x="83" y="2410"/>
                    <a:pt x="66" y="2411"/>
                    <a:pt x="66" y="2420"/>
                  </a:cubicBezTo>
                  <a:cubicBezTo>
                    <a:pt x="66" y="2428"/>
                    <a:pt x="74" y="2450"/>
                    <a:pt x="82" y="2444"/>
                  </a:cubicBezTo>
                  <a:cubicBezTo>
                    <a:pt x="89" y="2437"/>
                    <a:pt x="100" y="2428"/>
                    <a:pt x="109" y="2438"/>
                  </a:cubicBezTo>
                  <a:cubicBezTo>
                    <a:pt x="117" y="2448"/>
                    <a:pt x="106" y="2469"/>
                    <a:pt x="116" y="2464"/>
                  </a:cubicBezTo>
                  <a:cubicBezTo>
                    <a:pt x="127" y="2459"/>
                    <a:pt x="141" y="2455"/>
                    <a:pt x="142" y="2465"/>
                  </a:cubicBezTo>
                  <a:cubicBezTo>
                    <a:pt x="143" y="2475"/>
                    <a:pt x="131" y="2473"/>
                    <a:pt x="131" y="2478"/>
                  </a:cubicBezTo>
                  <a:cubicBezTo>
                    <a:pt x="130" y="2484"/>
                    <a:pt x="117" y="2487"/>
                    <a:pt x="109" y="2492"/>
                  </a:cubicBezTo>
                  <a:cubicBezTo>
                    <a:pt x="101" y="2497"/>
                    <a:pt x="84" y="2501"/>
                    <a:pt x="96" y="2508"/>
                  </a:cubicBezTo>
                  <a:cubicBezTo>
                    <a:pt x="108" y="2516"/>
                    <a:pt x="120" y="2524"/>
                    <a:pt x="120" y="2517"/>
                  </a:cubicBezTo>
                  <a:cubicBezTo>
                    <a:pt x="120" y="2510"/>
                    <a:pt x="118" y="2501"/>
                    <a:pt x="128" y="2501"/>
                  </a:cubicBezTo>
                  <a:cubicBezTo>
                    <a:pt x="138" y="2501"/>
                    <a:pt x="146" y="2494"/>
                    <a:pt x="146" y="2504"/>
                  </a:cubicBezTo>
                  <a:cubicBezTo>
                    <a:pt x="146" y="2515"/>
                    <a:pt x="150" y="2520"/>
                    <a:pt x="159" y="2519"/>
                  </a:cubicBezTo>
                  <a:cubicBezTo>
                    <a:pt x="167" y="2518"/>
                    <a:pt x="176" y="2523"/>
                    <a:pt x="178" y="2512"/>
                  </a:cubicBezTo>
                  <a:cubicBezTo>
                    <a:pt x="179" y="2501"/>
                    <a:pt x="183" y="2497"/>
                    <a:pt x="192" y="2499"/>
                  </a:cubicBezTo>
                  <a:cubicBezTo>
                    <a:pt x="201" y="2501"/>
                    <a:pt x="206" y="2501"/>
                    <a:pt x="206" y="2509"/>
                  </a:cubicBezTo>
                  <a:cubicBezTo>
                    <a:pt x="206" y="2517"/>
                    <a:pt x="201" y="2521"/>
                    <a:pt x="194" y="2523"/>
                  </a:cubicBezTo>
                  <a:cubicBezTo>
                    <a:pt x="187" y="2525"/>
                    <a:pt x="194" y="2533"/>
                    <a:pt x="186" y="2535"/>
                  </a:cubicBezTo>
                  <a:cubicBezTo>
                    <a:pt x="179" y="2538"/>
                    <a:pt x="178" y="2532"/>
                    <a:pt x="167" y="2532"/>
                  </a:cubicBezTo>
                  <a:cubicBezTo>
                    <a:pt x="156" y="2532"/>
                    <a:pt x="150" y="2532"/>
                    <a:pt x="145" y="2540"/>
                  </a:cubicBezTo>
                  <a:cubicBezTo>
                    <a:pt x="140" y="2548"/>
                    <a:pt x="129" y="2559"/>
                    <a:pt x="139" y="2563"/>
                  </a:cubicBezTo>
                  <a:cubicBezTo>
                    <a:pt x="150" y="2568"/>
                    <a:pt x="146" y="2578"/>
                    <a:pt x="158" y="2577"/>
                  </a:cubicBezTo>
                  <a:cubicBezTo>
                    <a:pt x="171" y="2576"/>
                    <a:pt x="166" y="2571"/>
                    <a:pt x="168" y="2580"/>
                  </a:cubicBezTo>
                  <a:cubicBezTo>
                    <a:pt x="171" y="2589"/>
                    <a:pt x="151" y="2596"/>
                    <a:pt x="159" y="2602"/>
                  </a:cubicBezTo>
                  <a:cubicBezTo>
                    <a:pt x="167" y="2609"/>
                    <a:pt x="175" y="2615"/>
                    <a:pt x="182" y="2613"/>
                  </a:cubicBezTo>
                  <a:cubicBezTo>
                    <a:pt x="190" y="2611"/>
                    <a:pt x="193" y="2609"/>
                    <a:pt x="194" y="2616"/>
                  </a:cubicBezTo>
                  <a:cubicBezTo>
                    <a:pt x="195" y="2624"/>
                    <a:pt x="189" y="2631"/>
                    <a:pt x="199" y="2635"/>
                  </a:cubicBezTo>
                  <a:cubicBezTo>
                    <a:pt x="209" y="2640"/>
                    <a:pt x="214" y="2645"/>
                    <a:pt x="218" y="2639"/>
                  </a:cubicBezTo>
                  <a:cubicBezTo>
                    <a:pt x="223" y="2633"/>
                    <a:pt x="230" y="2630"/>
                    <a:pt x="237" y="2625"/>
                  </a:cubicBezTo>
                  <a:cubicBezTo>
                    <a:pt x="245" y="2620"/>
                    <a:pt x="255" y="2608"/>
                    <a:pt x="269" y="2600"/>
                  </a:cubicBezTo>
                  <a:cubicBezTo>
                    <a:pt x="283" y="2593"/>
                    <a:pt x="289" y="2589"/>
                    <a:pt x="279" y="2586"/>
                  </a:cubicBezTo>
                  <a:cubicBezTo>
                    <a:pt x="268" y="2583"/>
                    <a:pt x="253" y="2573"/>
                    <a:pt x="245" y="2580"/>
                  </a:cubicBezTo>
                  <a:cubicBezTo>
                    <a:pt x="236" y="2586"/>
                    <a:pt x="217" y="2593"/>
                    <a:pt x="210" y="2590"/>
                  </a:cubicBezTo>
                  <a:cubicBezTo>
                    <a:pt x="202" y="2587"/>
                    <a:pt x="186" y="2571"/>
                    <a:pt x="209" y="2569"/>
                  </a:cubicBezTo>
                  <a:cubicBezTo>
                    <a:pt x="231" y="2568"/>
                    <a:pt x="238" y="2567"/>
                    <a:pt x="244" y="2566"/>
                  </a:cubicBezTo>
                  <a:cubicBezTo>
                    <a:pt x="250" y="2564"/>
                    <a:pt x="266" y="2564"/>
                    <a:pt x="275" y="2571"/>
                  </a:cubicBezTo>
                  <a:cubicBezTo>
                    <a:pt x="283" y="2577"/>
                    <a:pt x="294" y="2582"/>
                    <a:pt x="295" y="2593"/>
                  </a:cubicBezTo>
                  <a:cubicBezTo>
                    <a:pt x="296" y="2605"/>
                    <a:pt x="302" y="2612"/>
                    <a:pt x="283" y="2616"/>
                  </a:cubicBezTo>
                  <a:cubicBezTo>
                    <a:pt x="265" y="2620"/>
                    <a:pt x="258" y="2626"/>
                    <a:pt x="251" y="2629"/>
                  </a:cubicBezTo>
                  <a:cubicBezTo>
                    <a:pt x="244" y="2632"/>
                    <a:pt x="238" y="2646"/>
                    <a:pt x="233" y="2651"/>
                  </a:cubicBezTo>
                  <a:cubicBezTo>
                    <a:pt x="228" y="2656"/>
                    <a:pt x="221" y="2661"/>
                    <a:pt x="207" y="2656"/>
                  </a:cubicBezTo>
                  <a:cubicBezTo>
                    <a:pt x="193" y="2652"/>
                    <a:pt x="172" y="2646"/>
                    <a:pt x="165" y="2646"/>
                  </a:cubicBezTo>
                  <a:cubicBezTo>
                    <a:pt x="159" y="2646"/>
                    <a:pt x="148" y="2648"/>
                    <a:pt x="148" y="2657"/>
                  </a:cubicBezTo>
                  <a:cubicBezTo>
                    <a:pt x="148" y="2666"/>
                    <a:pt x="147" y="2670"/>
                    <a:pt x="156" y="2675"/>
                  </a:cubicBezTo>
                  <a:cubicBezTo>
                    <a:pt x="165" y="2681"/>
                    <a:pt x="175" y="2685"/>
                    <a:pt x="168" y="2692"/>
                  </a:cubicBezTo>
                  <a:cubicBezTo>
                    <a:pt x="161" y="2699"/>
                    <a:pt x="170" y="2701"/>
                    <a:pt x="182" y="2702"/>
                  </a:cubicBezTo>
                  <a:cubicBezTo>
                    <a:pt x="194" y="2702"/>
                    <a:pt x="211" y="2704"/>
                    <a:pt x="214" y="2696"/>
                  </a:cubicBezTo>
                  <a:cubicBezTo>
                    <a:pt x="216" y="2689"/>
                    <a:pt x="237" y="2694"/>
                    <a:pt x="234" y="2683"/>
                  </a:cubicBezTo>
                  <a:cubicBezTo>
                    <a:pt x="231" y="2671"/>
                    <a:pt x="238" y="2669"/>
                    <a:pt x="248" y="2669"/>
                  </a:cubicBezTo>
                  <a:cubicBezTo>
                    <a:pt x="258" y="2669"/>
                    <a:pt x="265" y="2672"/>
                    <a:pt x="276" y="2675"/>
                  </a:cubicBezTo>
                  <a:cubicBezTo>
                    <a:pt x="287" y="2678"/>
                    <a:pt x="309" y="2686"/>
                    <a:pt x="311" y="2670"/>
                  </a:cubicBezTo>
                  <a:cubicBezTo>
                    <a:pt x="312" y="2655"/>
                    <a:pt x="316" y="2627"/>
                    <a:pt x="320" y="2621"/>
                  </a:cubicBezTo>
                  <a:cubicBezTo>
                    <a:pt x="324" y="2616"/>
                    <a:pt x="329" y="2606"/>
                    <a:pt x="330" y="2597"/>
                  </a:cubicBezTo>
                  <a:cubicBezTo>
                    <a:pt x="331" y="2587"/>
                    <a:pt x="335" y="2580"/>
                    <a:pt x="342" y="2580"/>
                  </a:cubicBezTo>
                  <a:cubicBezTo>
                    <a:pt x="349" y="2580"/>
                    <a:pt x="358" y="2588"/>
                    <a:pt x="361" y="2581"/>
                  </a:cubicBezTo>
                  <a:cubicBezTo>
                    <a:pt x="365" y="2574"/>
                    <a:pt x="375" y="2567"/>
                    <a:pt x="385" y="2567"/>
                  </a:cubicBezTo>
                  <a:cubicBezTo>
                    <a:pt x="394" y="2566"/>
                    <a:pt x="411" y="2565"/>
                    <a:pt x="415" y="2557"/>
                  </a:cubicBezTo>
                  <a:cubicBezTo>
                    <a:pt x="419" y="2549"/>
                    <a:pt x="427" y="2536"/>
                    <a:pt x="438" y="2546"/>
                  </a:cubicBezTo>
                  <a:cubicBezTo>
                    <a:pt x="450" y="2555"/>
                    <a:pt x="466" y="2561"/>
                    <a:pt x="475" y="2561"/>
                  </a:cubicBezTo>
                  <a:cubicBezTo>
                    <a:pt x="476" y="2561"/>
                    <a:pt x="477" y="2561"/>
                    <a:pt x="478" y="2560"/>
                  </a:cubicBezTo>
                  <a:cubicBezTo>
                    <a:pt x="476" y="2556"/>
                    <a:pt x="471" y="2552"/>
                    <a:pt x="465" y="2548"/>
                  </a:cubicBezTo>
                  <a:cubicBezTo>
                    <a:pt x="455" y="2541"/>
                    <a:pt x="446" y="2540"/>
                    <a:pt x="436" y="2535"/>
                  </a:cubicBezTo>
                  <a:cubicBezTo>
                    <a:pt x="426" y="2530"/>
                    <a:pt x="408" y="2536"/>
                    <a:pt x="400" y="2531"/>
                  </a:cubicBezTo>
                  <a:cubicBezTo>
                    <a:pt x="392" y="2526"/>
                    <a:pt x="366" y="2526"/>
                    <a:pt x="342" y="2526"/>
                  </a:cubicBezTo>
                  <a:cubicBezTo>
                    <a:pt x="318" y="2526"/>
                    <a:pt x="288" y="2526"/>
                    <a:pt x="278" y="2526"/>
                  </a:cubicBezTo>
                  <a:cubicBezTo>
                    <a:pt x="268" y="2526"/>
                    <a:pt x="253" y="2526"/>
                    <a:pt x="250" y="2515"/>
                  </a:cubicBezTo>
                  <a:cubicBezTo>
                    <a:pt x="246" y="2504"/>
                    <a:pt x="234" y="2503"/>
                    <a:pt x="225" y="2494"/>
                  </a:cubicBezTo>
                  <a:cubicBezTo>
                    <a:pt x="216" y="2486"/>
                    <a:pt x="225" y="2469"/>
                    <a:pt x="225" y="2458"/>
                  </a:cubicBezTo>
                  <a:cubicBezTo>
                    <a:pt x="225" y="2446"/>
                    <a:pt x="225" y="2443"/>
                    <a:pt x="232" y="2435"/>
                  </a:cubicBezTo>
                  <a:cubicBezTo>
                    <a:pt x="240" y="2427"/>
                    <a:pt x="227" y="2422"/>
                    <a:pt x="227" y="2418"/>
                  </a:cubicBezTo>
                  <a:cubicBezTo>
                    <a:pt x="227" y="2414"/>
                    <a:pt x="221" y="2411"/>
                    <a:pt x="209" y="2408"/>
                  </a:cubicBezTo>
                  <a:cubicBezTo>
                    <a:pt x="197" y="2406"/>
                    <a:pt x="195" y="2409"/>
                    <a:pt x="191" y="2414"/>
                  </a:cubicBezTo>
                  <a:cubicBezTo>
                    <a:pt x="187" y="2420"/>
                    <a:pt x="180" y="2418"/>
                    <a:pt x="173" y="2414"/>
                  </a:cubicBezTo>
                  <a:cubicBezTo>
                    <a:pt x="166" y="2411"/>
                    <a:pt x="162" y="2400"/>
                    <a:pt x="164" y="2388"/>
                  </a:cubicBezTo>
                  <a:cubicBezTo>
                    <a:pt x="166" y="2376"/>
                    <a:pt x="155" y="2376"/>
                    <a:pt x="150" y="2369"/>
                  </a:cubicBezTo>
                  <a:cubicBezTo>
                    <a:pt x="146" y="2362"/>
                    <a:pt x="147" y="2315"/>
                    <a:pt x="150" y="2304"/>
                  </a:cubicBezTo>
                  <a:cubicBezTo>
                    <a:pt x="152" y="2292"/>
                    <a:pt x="168" y="2297"/>
                    <a:pt x="175" y="2289"/>
                  </a:cubicBezTo>
                  <a:cubicBezTo>
                    <a:pt x="182" y="2281"/>
                    <a:pt x="186" y="2278"/>
                    <a:pt x="197" y="2269"/>
                  </a:cubicBezTo>
                  <a:cubicBezTo>
                    <a:pt x="208" y="2260"/>
                    <a:pt x="209" y="2250"/>
                    <a:pt x="208" y="2238"/>
                  </a:cubicBezTo>
                  <a:cubicBezTo>
                    <a:pt x="206" y="2227"/>
                    <a:pt x="222" y="2228"/>
                    <a:pt x="226" y="2219"/>
                  </a:cubicBezTo>
                  <a:cubicBezTo>
                    <a:pt x="230" y="2210"/>
                    <a:pt x="226" y="2204"/>
                    <a:pt x="222" y="2194"/>
                  </a:cubicBezTo>
                  <a:cubicBezTo>
                    <a:pt x="218" y="2184"/>
                    <a:pt x="212" y="2188"/>
                    <a:pt x="214" y="2177"/>
                  </a:cubicBezTo>
                  <a:cubicBezTo>
                    <a:pt x="215" y="2166"/>
                    <a:pt x="223" y="2163"/>
                    <a:pt x="224" y="2152"/>
                  </a:cubicBezTo>
                  <a:cubicBezTo>
                    <a:pt x="226" y="2142"/>
                    <a:pt x="231" y="2144"/>
                    <a:pt x="244" y="2137"/>
                  </a:cubicBezTo>
                  <a:cubicBezTo>
                    <a:pt x="258" y="2130"/>
                    <a:pt x="248" y="2116"/>
                    <a:pt x="248" y="2100"/>
                  </a:cubicBezTo>
                  <a:cubicBezTo>
                    <a:pt x="248" y="2084"/>
                    <a:pt x="263" y="2092"/>
                    <a:pt x="264" y="2080"/>
                  </a:cubicBezTo>
                  <a:cubicBezTo>
                    <a:pt x="264" y="2068"/>
                    <a:pt x="274" y="2063"/>
                    <a:pt x="258" y="2054"/>
                  </a:cubicBezTo>
                  <a:cubicBezTo>
                    <a:pt x="243" y="2044"/>
                    <a:pt x="254" y="2038"/>
                    <a:pt x="265" y="2031"/>
                  </a:cubicBezTo>
                  <a:cubicBezTo>
                    <a:pt x="276" y="2024"/>
                    <a:pt x="258" y="2014"/>
                    <a:pt x="259" y="2005"/>
                  </a:cubicBezTo>
                  <a:cubicBezTo>
                    <a:pt x="260" y="1996"/>
                    <a:pt x="270" y="1993"/>
                    <a:pt x="284" y="1983"/>
                  </a:cubicBezTo>
                  <a:cubicBezTo>
                    <a:pt x="298" y="1973"/>
                    <a:pt x="281" y="1969"/>
                    <a:pt x="276" y="1958"/>
                  </a:cubicBezTo>
                  <a:cubicBezTo>
                    <a:pt x="270" y="1948"/>
                    <a:pt x="260" y="1947"/>
                    <a:pt x="251" y="1945"/>
                  </a:cubicBezTo>
                  <a:cubicBezTo>
                    <a:pt x="242" y="1943"/>
                    <a:pt x="242" y="1937"/>
                    <a:pt x="242" y="1931"/>
                  </a:cubicBezTo>
                  <a:cubicBezTo>
                    <a:pt x="242" y="1925"/>
                    <a:pt x="262" y="1934"/>
                    <a:pt x="273" y="1934"/>
                  </a:cubicBezTo>
                  <a:cubicBezTo>
                    <a:pt x="284" y="1934"/>
                    <a:pt x="298" y="1926"/>
                    <a:pt x="298" y="1915"/>
                  </a:cubicBezTo>
                  <a:cubicBezTo>
                    <a:pt x="299" y="1904"/>
                    <a:pt x="278" y="1906"/>
                    <a:pt x="266" y="1904"/>
                  </a:cubicBezTo>
                  <a:cubicBezTo>
                    <a:pt x="253" y="1903"/>
                    <a:pt x="254" y="1889"/>
                    <a:pt x="261" y="1878"/>
                  </a:cubicBezTo>
                  <a:cubicBezTo>
                    <a:pt x="268" y="1866"/>
                    <a:pt x="256" y="1860"/>
                    <a:pt x="259" y="1848"/>
                  </a:cubicBezTo>
                  <a:cubicBezTo>
                    <a:pt x="262" y="1837"/>
                    <a:pt x="249" y="1832"/>
                    <a:pt x="252" y="1821"/>
                  </a:cubicBezTo>
                  <a:cubicBezTo>
                    <a:pt x="254" y="1810"/>
                    <a:pt x="252" y="1805"/>
                    <a:pt x="243" y="1800"/>
                  </a:cubicBezTo>
                  <a:cubicBezTo>
                    <a:pt x="234" y="1796"/>
                    <a:pt x="238" y="1750"/>
                    <a:pt x="238" y="1744"/>
                  </a:cubicBezTo>
                  <a:cubicBezTo>
                    <a:pt x="238" y="1738"/>
                    <a:pt x="248" y="1734"/>
                    <a:pt x="256" y="1730"/>
                  </a:cubicBezTo>
                  <a:cubicBezTo>
                    <a:pt x="264" y="1726"/>
                    <a:pt x="259" y="1723"/>
                    <a:pt x="259" y="1716"/>
                  </a:cubicBezTo>
                  <a:cubicBezTo>
                    <a:pt x="259" y="1708"/>
                    <a:pt x="257" y="1708"/>
                    <a:pt x="253" y="1702"/>
                  </a:cubicBezTo>
                  <a:cubicBezTo>
                    <a:pt x="249" y="1696"/>
                    <a:pt x="250" y="1671"/>
                    <a:pt x="251" y="1658"/>
                  </a:cubicBezTo>
                  <a:cubicBezTo>
                    <a:pt x="252" y="1644"/>
                    <a:pt x="250" y="1634"/>
                    <a:pt x="250" y="1630"/>
                  </a:cubicBezTo>
                  <a:cubicBezTo>
                    <a:pt x="250" y="1625"/>
                    <a:pt x="251" y="1612"/>
                    <a:pt x="257" y="1603"/>
                  </a:cubicBezTo>
                  <a:cubicBezTo>
                    <a:pt x="263" y="1594"/>
                    <a:pt x="262" y="1570"/>
                    <a:pt x="262" y="1558"/>
                  </a:cubicBezTo>
                  <a:cubicBezTo>
                    <a:pt x="262" y="1547"/>
                    <a:pt x="261" y="1539"/>
                    <a:pt x="270" y="1534"/>
                  </a:cubicBezTo>
                  <a:cubicBezTo>
                    <a:pt x="280" y="1530"/>
                    <a:pt x="283" y="1520"/>
                    <a:pt x="279" y="1509"/>
                  </a:cubicBezTo>
                  <a:cubicBezTo>
                    <a:pt x="275" y="1498"/>
                    <a:pt x="280" y="1482"/>
                    <a:pt x="290" y="1475"/>
                  </a:cubicBezTo>
                  <a:cubicBezTo>
                    <a:pt x="300" y="1468"/>
                    <a:pt x="305" y="1474"/>
                    <a:pt x="314" y="1463"/>
                  </a:cubicBezTo>
                  <a:cubicBezTo>
                    <a:pt x="322" y="1452"/>
                    <a:pt x="305" y="1439"/>
                    <a:pt x="306" y="1434"/>
                  </a:cubicBezTo>
                  <a:cubicBezTo>
                    <a:pt x="308" y="1430"/>
                    <a:pt x="309" y="1420"/>
                    <a:pt x="300" y="1408"/>
                  </a:cubicBezTo>
                  <a:cubicBezTo>
                    <a:pt x="292" y="1395"/>
                    <a:pt x="301" y="1354"/>
                    <a:pt x="298" y="1346"/>
                  </a:cubicBezTo>
                  <a:cubicBezTo>
                    <a:pt x="294" y="1339"/>
                    <a:pt x="297" y="1332"/>
                    <a:pt x="298" y="1325"/>
                  </a:cubicBezTo>
                  <a:cubicBezTo>
                    <a:pt x="298" y="1318"/>
                    <a:pt x="302" y="1305"/>
                    <a:pt x="314" y="1301"/>
                  </a:cubicBezTo>
                  <a:cubicBezTo>
                    <a:pt x="326" y="1297"/>
                    <a:pt x="328" y="1287"/>
                    <a:pt x="336" y="1282"/>
                  </a:cubicBezTo>
                  <a:cubicBezTo>
                    <a:pt x="344" y="1278"/>
                    <a:pt x="348" y="1268"/>
                    <a:pt x="348" y="1260"/>
                  </a:cubicBezTo>
                  <a:cubicBezTo>
                    <a:pt x="348" y="1252"/>
                    <a:pt x="349" y="1241"/>
                    <a:pt x="342" y="1238"/>
                  </a:cubicBezTo>
                  <a:cubicBezTo>
                    <a:pt x="334" y="1236"/>
                    <a:pt x="338" y="1223"/>
                    <a:pt x="338" y="1213"/>
                  </a:cubicBezTo>
                  <a:cubicBezTo>
                    <a:pt x="338" y="1203"/>
                    <a:pt x="346" y="1194"/>
                    <a:pt x="349" y="1185"/>
                  </a:cubicBezTo>
                  <a:cubicBezTo>
                    <a:pt x="352" y="1176"/>
                    <a:pt x="358" y="1163"/>
                    <a:pt x="364" y="1152"/>
                  </a:cubicBezTo>
                  <a:cubicBezTo>
                    <a:pt x="370" y="1140"/>
                    <a:pt x="375" y="1138"/>
                    <a:pt x="379" y="1123"/>
                  </a:cubicBezTo>
                  <a:cubicBezTo>
                    <a:pt x="383" y="1108"/>
                    <a:pt x="377" y="1104"/>
                    <a:pt x="383" y="1091"/>
                  </a:cubicBezTo>
                  <a:cubicBezTo>
                    <a:pt x="389" y="1078"/>
                    <a:pt x="380" y="1080"/>
                    <a:pt x="369" y="1075"/>
                  </a:cubicBezTo>
                  <a:cubicBezTo>
                    <a:pt x="358" y="1070"/>
                    <a:pt x="359" y="1060"/>
                    <a:pt x="364" y="1051"/>
                  </a:cubicBezTo>
                  <a:cubicBezTo>
                    <a:pt x="370" y="1042"/>
                    <a:pt x="370" y="1040"/>
                    <a:pt x="360" y="1032"/>
                  </a:cubicBezTo>
                  <a:cubicBezTo>
                    <a:pt x="351" y="1025"/>
                    <a:pt x="353" y="1013"/>
                    <a:pt x="352" y="1006"/>
                  </a:cubicBezTo>
                  <a:cubicBezTo>
                    <a:pt x="350" y="998"/>
                    <a:pt x="347" y="990"/>
                    <a:pt x="346" y="982"/>
                  </a:cubicBezTo>
                  <a:cubicBezTo>
                    <a:pt x="346" y="975"/>
                    <a:pt x="342" y="980"/>
                    <a:pt x="334" y="966"/>
                  </a:cubicBezTo>
                  <a:cubicBezTo>
                    <a:pt x="326" y="953"/>
                    <a:pt x="331" y="948"/>
                    <a:pt x="332" y="940"/>
                  </a:cubicBezTo>
                  <a:cubicBezTo>
                    <a:pt x="332" y="931"/>
                    <a:pt x="340" y="921"/>
                    <a:pt x="346" y="915"/>
                  </a:cubicBezTo>
                  <a:cubicBezTo>
                    <a:pt x="352" y="909"/>
                    <a:pt x="351" y="898"/>
                    <a:pt x="354" y="884"/>
                  </a:cubicBezTo>
                  <a:cubicBezTo>
                    <a:pt x="356" y="870"/>
                    <a:pt x="362" y="870"/>
                    <a:pt x="371" y="868"/>
                  </a:cubicBezTo>
                  <a:cubicBezTo>
                    <a:pt x="380" y="865"/>
                    <a:pt x="380" y="851"/>
                    <a:pt x="377" y="846"/>
                  </a:cubicBezTo>
                  <a:cubicBezTo>
                    <a:pt x="374" y="842"/>
                    <a:pt x="373" y="835"/>
                    <a:pt x="376" y="823"/>
                  </a:cubicBezTo>
                  <a:cubicBezTo>
                    <a:pt x="380" y="811"/>
                    <a:pt x="370" y="810"/>
                    <a:pt x="368" y="799"/>
                  </a:cubicBezTo>
                  <a:cubicBezTo>
                    <a:pt x="366" y="788"/>
                    <a:pt x="372" y="783"/>
                    <a:pt x="382" y="774"/>
                  </a:cubicBezTo>
                  <a:cubicBezTo>
                    <a:pt x="392" y="764"/>
                    <a:pt x="388" y="754"/>
                    <a:pt x="388" y="741"/>
                  </a:cubicBezTo>
                  <a:cubicBezTo>
                    <a:pt x="387" y="728"/>
                    <a:pt x="395" y="722"/>
                    <a:pt x="404" y="715"/>
                  </a:cubicBezTo>
                  <a:cubicBezTo>
                    <a:pt x="412" y="708"/>
                    <a:pt x="419" y="700"/>
                    <a:pt x="426" y="690"/>
                  </a:cubicBezTo>
                  <a:cubicBezTo>
                    <a:pt x="434" y="679"/>
                    <a:pt x="435" y="670"/>
                    <a:pt x="436" y="661"/>
                  </a:cubicBezTo>
                  <a:cubicBezTo>
                    <a:pt x="436" y="652"/>
                    <a:pt x="447" y="642"/>
                    <a:pt x="456" y="642"/>
                  </a:cubicBezTo>
                  <a:cubicBezTo>
                    <a:pt x="466" y="643"/>
                    <a:pt x="471" y="639"/>
                    <a:pt x="476" y="630"/>
                  </a:cubicBezTo>
                  <a:cubicBezTo>
                    <a:pt x="482" y="622"/>
                    <a:pt x="475" y="615"/>
                    <a:pt x="468" y="610"/>
                  </a:cubicBezTo>
                  <a:cubicBezTo>
                    <a:pt x="462" y="606"/>
                    <a:pt x="458" y="602"/>
                    <a:pt x="458" y="590"/>
                  </a:cubicBezTo>
                  <a:cubicBezTo>
                    <a:pt x="458" y="578"/>
                    <a:pt x="470" y="576"/>
                    <a:pt x="470" y="570"/>
                  </a:cubicBezTo>
                  <a:cubicBezTo>
                    <a:pt x="470" y="565"/>
                    <a:pt x="466" y="555"/>
                    <a:pt x="462" y="546"/>
                  </a:cubicBezTo>
                  <a:cubicBezTo>
                    <a:pt x="457" y="536"/>
                    <a:pt x="456" y="522"/>
                    <a:pt x="462" y="516"/>
                  </a:cubicBezTo>
                  <a:cubicBezTo>
                    <a:pt x="468" y="510"/>
                    <a:pt x="472" y="502"/>
                    <a:pt x="463" y="492"/>
                  </a:cubicBezTo>
                  <a:cubicBezTo>
                    <a:pt x="454" y="481"/>
                    <a:pt x="462" y="475"/>
                    <a:pt x="464" y="471"/>
                  </a:cubicBezTo>
                  <a:cubicBezTo>
                    <a:pt x="467" y="467"/>
                    <a:pt x="482" y="461"/>
                    <a:pt x="491" y="452"/>
                  </a:cubicBezTo>
                  <a:cubicBezTo>
                    <a:pt x="500" y="444"/>
                    <a:pt x="519" y="436"/>
                    <a:pt x="530" y="433"/>
                  </a:cubicBezTo>
                  <a:cubicBezTo>
                    <a:pt x="542" y="430"/>
                    <a:pt x="544" y="422"/>
                    <a:pt x="544" y="414"/>
                  </a:cubicBezTo>
                  <a:cubicBezTo>
                    <a:pt x="544" y="406"/>
                    <a:pt x="545" y="400"/>
                    <a:pt x="549" y="394"/>
                  </a:cubicBezTo>
                  <a:cubicBezTo>
                    <a:pt x="553" y="388"/>
                    <a:pt x="552" y="380"/>
                    <a:pt x="554" y="362"/>
                  </a:cubicBezTo>
                  <a:cubicBezTo>
                    <a:pt x="556" y="343"/>
                    <a:pt x="530" y="358"/>
                    <a:pt x="514" y="35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1" name="Freeform 451">
              <a:extLst>
                <a:ext uri="{FF2B5EF4-FFF2-40B4-BE49-F238E27FC236}">
                  <a16:creationId xmlns:a16="http://schemas.microsoft.com/office/drawing/2014/main" id="{F9C3BDFB-8070-5944-8643-3C903FA05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7" y="2378"/>
              <a:ext cx="6" cy="4"/>
            </a:xfrm>
            <a:custGeom>
              <a:avLst/>
              <a:gdLst>
                <a:gd name="T0" fmla="*/ 6 w 21"/>
                <a:gd name="T1" fmla="*/ 4 h 18"/>
                <a:gd name="T2" fmla="*/ 4 w 21"/>
                <a:gd name="T3" fmla="*/ 11 h 18"/>
                <a:gd name="T4" fmla="*/ 14 w 21"/>
                <a:gd name="T5" fmla="*/ 18 h 18"/>
                <a:gd name="T6" fmla="*/ 18 w 21"/>
                <a:gd name="T7" fmla="*/ 12 h 18"/>
                <a:gd name="T8" fmla="*/ 6 w 21"/>
                <a:gd name="T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8">
                  <a:moveTo>
                    <a:pt x="6" y="4"/>
                  </a:moveTo>
                  <a:cubicBezTo>
                    <a:pt x="6" y="4"/>
                    <a:pt x="0" y="8"/>
                    <a:pt x="4" y="11"/>
                  </a:cubicBezTo>
                  <a:cubicBezTo>
                    <a:pt x="7" y="13"/>
                    <a:pt x="10" y="18"/>
                    <a:pt x="14" y="18"/>
                  </a:cubicBezTo>
                  <a:cubicBezTo>
                    <a:pt x="17" y="18"/>
                    <a:pt x="21" y="17"/>
                    <a:pt x="18" y="12"/>
                  </a:cubicBezTo>
                  <a:cubicBezTo>
                    <a:pt x="15" y="7"/>
                    <a:pt x="8" y="0"/>
                    <a:pt x="6" y="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2" name="Freeform 452">
              <a:extLst>
                <a:ext uri="{FF2B5EF4-FFF2-40B4-BE49-F238E27FC236}">
                  <a16:creationId xmlns:a16="http://schemas.microsoft.com/office/drawing/2014/main" id="{7F668EE8-9C48-1E42-B8EB-5011D9A0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4" y="2392"/>
              <a:ext cx="10" cy="8"/>
            </a:xfrm>
            <a:custGeom>
              <a:avLst/>
              <a:gdLst>
                <a:gd name="T0" fmla="*/ 25 w 38"/>
                <a:gd name="T1" fmla="*/ 13 h 34"/>
                <a:gd name="T2" fmla="*/ 15 w 38"/>
                <a:gd name="T3" fmla="*/ 19 h 34"/>
                <a:gd name="T4" fmla="*/ 0 w 38"/>
                <a:gd name="T5" fmla="*/ 28 h 34"/>
                <a:gd name="T6" fmla="*/ 15 w 38"/>
                <a:gd name="T7" fmla="*/ 34 h 34"/>
                <a:gd name="T8" fmla="*/ 36 w 38"/>
                <a:gd name="T9" fmla="*/ 24 h 34"/>
                <a:gd name="T10" fmla="*/ 25 w 38"/>
                <a:gd name="T11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4">
                  <a:moveTo>
                    <a:pt x="25" y="13"/>
                  </a:moveTo>
                  <a:cubicBezTo>
                    <a:pt x="25" y="13"/>
                    <a:pt x="25" y="19"/>
                    <a:pt x="15" y="19"/>
                  </a:cubicBezTo>
                  <a:cubicBezTo>
                    <a:pt x="5" y="19"/>
                    <a:pt x="0" y="24"/>
                    <a:pt x="0" y="28"/>
                  </a:cubicBezTo>
                  <a:cubicBezTo>
                    <a:pt x="1" y="32"/>
                    <a:pt x="8" y="34"/>
                    <a:pt x="15" y="34"/>
                  </a:cubicBezTo>
                  <a:cubicBezTo>
                    <a:pt x="21" y="34"/>
                    <a:pt x="33" y="31"/>
                    <a:pt x="36" y="24"/>
                  </a:cubicBezTo>
                  <a:cubicBezTo>
                    <a:pt x="38" y="17"/>
                    <a:pt x="27" y="0"/>
                    <a:pt x="25" y="1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3" name="Freeform 453">
              <a:extLst>
                <a:ext uri="{FF2B5EF4-FFF2-40B4-BE49-F238E27FC236}">
                  <a16:creationId xmlns:a16="http://schemas.microsoft.com/office/drawing/2014/main" id="{5BA8F587-0EC8-C144-8575-464C72FEE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375"/>
              <a:ext cx="12" cy="7"/>
            </a:xfrm>
            <a:custGeom>
              <a:avLst/>
              <a:gdLst>
                <a:gd name="T0" fmla="*/ 26 w 44"/>
                <a:gd name="T1" fmla="*/ 6 h 28"/>
                <a:gd name="T2" fmla="*/ 11 w 44"/>
                <a:gd name="T3" fmla="*/ 2 h 28"/>
                <a:gd name="T4" fmla="*/ 8 w 44"/>
                <a:gd name="T5" fmla="*/ 10 h 28"/>
                <a:gd name="T6" fmla="*/ 22 w 44"/>
                <a:gd name="T7" fmla="*/ 22 h 28"/>
                <a:gd name="T8" fmla="*/ 41 w 44"/>
                <a:gd name="T9" fmla="*/ 24 h 28"/>
                <a:gd name="T10" fmla="*/ 34 w 44"/>
                <a:gd name="T11" fmla="*/ 12 h 28"/>
                <a:gd name="T12" fmla="*/ 26 w 44"/>
                <a:gd name="T13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28">
                  <a:moveTo>
                    <a:pt x="26" y="6"/>
                  </a:moveTo>
                  <a:cubicBezTo>
                    <a:pt x="26" y="6"/>
                    <a:pt x="13" y="4"/>
                    <a:pt x="11" y="2"/>
                  </a:cubicBezTo>
                  <a:cubicBezTo>
                    <a:pt x="9" y="0"/>
                    <a:pt x="0" y="5"/>
                    <a:pt x="8" y="10"/>
                  </a:cubicBezTo>
                  <a:cubicBezTo>
                    <a:pt x="16" y="16"/>
                    <a:pt x="20" y="20"/>
                    <a:pt x="22" y="22"/>
                  </a:cubicBezTo>
                  <a:cubicBezTo>
                    <a:pt x="23" y="24"/>
                    <a:pt x="38" y="28"/>
                    <a:pt x="41" y="24"/>
                  </a:cubicBezTo>
                  <a:cubicBezTo>
                    <a:pt x="44" y="21"/>
                    <a:pt x="39" y="14"/>
                    <a:pt x="34" y="12"/>
                  </a:cubicBezTo>
                  <a:cubicBezTo>
                    <a:pt x="29" y="11"/>
                    <a:pt x="33" y="7"/>
                    <a:pt x="26" y="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4" name="Freeform 454">
              <a:extLst>
                <a:ext uri="{FF2B5EF4-FFF2-40B4-BE49-F238E27FC236}">
                  <a16:creationId xmlns:a16="http://schemas.microsoft.com/office/drawing/2014/main" id="{A89CE3C4-D663-034B-B1B2-A1D0995F7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" y="2379"/>
              <a:ext cx="219" cy="188"/>
            </a:xfrm>
            <a:custGeom>
              <a:avLst/>
              <a:gdLst>
                <a:gd name="T0" fmla="*/ 775 w 868"/>
                <a:gd name="T1" fmla="*/ 415 h 741"/>
                <a:gd name="T2" fmla="*/ 782 w 868"/>
                <a:gd name="T3" fmla="*/ 363 h 741"/>
                <a:gd name="T4" fmla="*/ 820 w 868"/>
                <a:gd name="T5" fmla="*/ 346 h 741"/>
                <a:gd name="T6" fmla="*/ 813 w 868"/>
                <a:gd name="T7" fmla="*/ 310 h 741"/>
                <a:gd name="T8" fmla="*/ 854 w 868"/>
                <a:gd name="T9" fmla="*/ 269 h 741"/>
                <a:gd name="T10" fmla="*/ 856 w 868"/>
                <a:gd name="T11" fmla="*/ 231 h 741"/>
                <a:gd name="T12" fmla="*/ 800 w 868"/>
                <a:gd name="T13" fmla="*/ 230 h 741"/>
                <a:gd name="T14" fmla="*/ 781 w 868"/>
                <a:gd name="T15" fmla="*/ 218 h 741"/>
                <a:gd name="T16" fmla="*/ 803 w 868"/>
                <a:gd name="T17" fmla="*/ 175 h 741"/>
                <a:gd name="T18" fmla="*/ 738 w 868"/>
                <a:gd name="T19" fmla="*/ 147 h 741"/>
                <a:gd name="T20" fmla="*/ 693 w 868"/>
                <a:gd name="T21" fmla="*/ 127 h 741"/>
                <a:gd name="T22" fmla="*/ 694 w 868"/>
                <a:gd name="T23" fmla="*/ 103 h 741"/>
                <a:gd name="T24" fmla="*/ 678 w 868"/>
                <a:gd name="T25" fmla="*/ 89 h 741"/>
                <a:gd name="T26" fmla="*/ 579 w 868"/>
                <a:gd name="T27" fmla="*/ 109 h 741"/>
                <a:gd name="T28" fmla="*/ 466 w 868"/>
                <a:gd name="T29" fmla="*/ 104 h 741"/>
                <a:gd name="T30" fmla="*/ 369 w 868"/>
                <a:gd name="T31" fmla="*/ 107 h 741"/>
                <a:gd name="T32" fmla="*/ 277 w 868"/>
                <a:gd name="T33" fmla="*/ 44 h 741"/>
                <a:gd name="T34" fmla="*/ 214 w 868"/>
                <a:gd name="T35" fmla="*/ 0 h 741"/>
                <a:gd name="T36" fmla="*/ 195 w 868"/>
                <a:gd name="T37" fmla="*/ 54 h 741"/>
                <a:gd name="T38" fmla="*/ 126 w 868"/>
                <a:gd name="T39" fmla="*/ 111 h 741"/>
                <a:gd name="T40" fmla="*/ 136 w 868"/>
                <a:gd name="T41" fmla="*/ 195 h 741"/>
                <a:gd name="T42" fmla="*/ 89 w 868"/>
                <a:gd name="T43" fmla="*/ 157 h 741"/>
                <a:gd name="T44" fmla="*/ 112 w 868"/>
                <a:gd name="T45" fmla="*/ 73 h 741"/>
                <a:gd name="T46" fmla="*/ 129 w 868"/>
                <a:gd name="T47" fmla="*/ 23 h 741"/>
                <a:gd name="T48" fmla="*/ 91 w 868"/>
                <a:gd name="T49" fmla="*/ 37 h 741"/>
                <a:gd name="T50" fmla="*/ 36 w 868"/>
                <a:gd name="T51" fmla="*/ 103 h 741"/>
                <a:gd name="T52" fmla="*/ 24 w 868"/>
                <a:gd name="T53" fmla="*/ 159 h 741"/>
                <a:gd name="T54" fmla="*/ 16 w 868"/>
                <a:gd name="T55" fmla="*/ 195 h 741"/>
                <a:gd name="T56" fmla="*/ 42 w 868"/>
                <a:gd name="T57" fmla="*/ 215 h 741"/>
                <a:gd name="T58" fmla="*/ 68 w 868"/>
                <a:gd name="T59" fmla="*/ 259 h 741"/>
                <a:gd name="T60" fmla="*/ 69 w 868"/>
                <a:gd name="T61" fmla="*/ 311 h 741"/>
                <a:gd name="T62" fmla="*/ 114 w 868"/>
                <a:gd name="T63" fmla="*/ 337 h 741"/>
                <a:gd name="T64" fmla="*/ 181 w 868"/>
                <a:gd name="T65" fmla="*/ 331 h 741"/>
                <a:gd name="T66" fmla="*/ 225 w 868"/>
                <a:gd name="T67" fmla="*/ 353 h 741"/>
                <a:gd name="T68" fmla="*/ 271 w 868"/>
                <a:gd name="T69" fmla="*/ 391 h 741"/>
                <a:gd name="T70" fmla="*/ 343 w 868"/>
                <a:gd name="T71" fmla="*/ 384 h 741"/>
                <a:gd name="T72" fmla="*/ 381 w 868"/>
                <a:gd name="T73" fmla="*/ 392 h 741"/>
                <a:gd name="T74" fmla="*/ 365 w 868"/>
                <a:gd name="T75" fmla="*/ 436 h 741"/>
                <a:gd name="T76" fmla="*/ 355 w 868"/>
                <a:gd name="T77" fmla="*/ 484 h 741"/>
                <a:gd name="T78" fmla="*/ 376 w 868"/>
                <a:gd name="T79" fmla="*/ 548 h 741"/>
                <a:gd name="T80" fmla="*/ 368 w 868"/>
                <a:gd name="T81" fmla="*/ 605 h 741"/>
                <a:gd name="T82" fmla="*/ 389 w 868"/>
                <a:gd name="T83" fmla="*/ 650 h 741"/>
                <a:gd name="T84" fmla="*/ 410 w 868"/>
                <a:gd name="T85" fmla="*/ 710 h 741"/>
                <a:gd name="T86" fmla="*/ 453 w 868"/>
                <a:gd name="T87" fmla="*/ 736 h 741"/>
                <a:gd name="T88" fmla="*/ 496 w 868"/>
                <a:gd name="T89" fmla="*/ 722 h 741"/>
                <a:gd name="T90" fmla="*/ 535 w 868"/>
                <a:gd name="T91" fmla="*/ 713 h 741"/>
                <a:gd name="T92" fmla="*/ 590 w 868"/>
                <a:gd name="T93" fmla="*/ 686 h 741"/>
                <a:gd name="T94" fmla="*/ 635 w 868"/>
                <a:gd name="T95" fmla="*/ 646 h 741"/>
                <a:gd name="T96" fmla="*/ 601 w 868"/>
                <a:gd name="T97" fmla="*/ 618 h 741"/>
                <a:gd name="T98" fmla="*/ 582 w 868"/>
                <a:gd name="T99" fmla="*/ 554 h 741"/>
                <a:gd name="T100" fmla="*/ 573 w 868"/>
                <a:gd name="T101" fmla="*/ 517 h 741"/>
                <a:gd name="T102" fmla="*/ 625 w 868"/>
                <a:gd name="T103" fmla="*/ 534 h 741"/>
                <a:gd name="T104" fmla="*/ 665 w 868"/>
                <a:gd name="T105" fmla="*/ 553 h 741"/>
                <a:gd name="T106" fmla="*/ 693 w 868"/>
                <a:gd name="T107" fmla="*/ 525 h 741"/>
                <a:gd name="T108" fmla="*/ 747 w 868"/>
                <a:gd name="T109" fmla="*/ 509 h 741"/>
                <a:gd name="T110" fmla="*/ 796 w 868"/>
                <a:gd name="T111" fmla="*/ 489 h 741"/>
                <a:gd name="T112" fmla="*/ 814 w 868"/>
                <a:gd name="T113" fmla="*/ 458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8" h="741">
                  <a:moveTo>
                    <a:pt x="800" y="438"/>
                  </a:moveTo>
                  <a:cubicBezTo>
                    <a:pt x="796" y="428"/>
                    <a:pt x="789" y="430"/>
                    <a:pt x="775" y="415"/>
                  </a:cubicBezTo>
                  <a:cubicBezTo>
                    <a:pt x="761" y="400"/>
                    <a:pt x="772" y="395"/>
                    <a:pt x="780" y="385"/>
                  </a:cubicBezTo>
                  <a:cubicBezTo>
                    <a:pt x="788" y="375"/>
                    <a:pt x="782" y="370"/>
                    <a:pt x="782" y="363"/>
                  </a:cubicBezTo>
                  <a:cubicBezTo>
                    <a:pt x="782" y="356"/>
                    <a:pt x="790" y="355"/>
                    <a:pt x="802" y="353"/>
                  </a:cubicBezTo>
                  <a:cubicBezTo>
                    <a:pt x="814" y="351"/>
                    <a:pt x="807" y="345"/>
                    <a:pt x="820" y="346"/>
                  </a:cubicBezTo>
                  <a:cubicBezTo>
                    <a:pt x="833" y="347"/>
                    <a:pt x="830" y="341"/>
                    <a:pt x="833" y="331"/>
                  </a:cubicBezTo>
                  <a:cubicBezTo>
                    <a:pt x="836" y="321"/>
                    <a:pt x="826" y="320"/>
                    <a:pt x="813" y="310"/>
                  </a:cubicBezTo>
                  <a:cubicBezTo>
                    <a:pt x="800" y="300"/>
                    <a:pt x="823" y="289"/>
                    <a:pt x="830" y="283"/>
                  </a:cubicBezTo>
                  <a:cubicBezTo>
                    <a:pt x="837" y="277"/>
                    <a:pt x="840" y="272"/>
                    <a:pt x="854" y="269"/>
                  </a:cubicBezTo>
                  <a:cubicBezTo>
                    <a:pt x="868" y="266"/>
                    <a:pt x="859" y="257"/>
                    <a:pt x="858" y="250"/>
                  </a:cubicBezTo>
                  <a:cubicBezTo>
                    <a:pt x="857" y="246"/>
                    <a:pt x="856" y="238"/>
                    <a:pt x="856" y="231"/>
                  </a:cubicBezTo>
                  <a:cubicBezTo>
                    <a:pt x="855" y="231"/>
                    <a:pt x="854" y="231"/>
                    <a:pt x="853" y="230"/>
                  </a:cubicBezTo>
                  <a:cubicBezTo>
                    <a:pt x="833" y="228"/>
                    <a:pt x="814" y="220"/>
                    <a:pt x="800" y="230"/>
                  </a:cubicBezTo>
                  <a:cubicBezTo>
                    <a:pt x="786" y="240"/>
                    <a:pt x="777" y="248"/>
                    <a:pt x="769" y="238"/>
                  </a:cubicBezTo>
                  <a:cubicBezTo>
                    <a:pt x="760" y="228"/>
                    <a:pt x="781" y="229"/>
                    <a:pt x="781" y="218"/>
                  </a:cubicBezTo>
                  <a:cubicBezTo>
                    <a:pt x="781" y="206"/>
                    <a:pt x="791" y="207"/>
                    <a:pt x="793" y="196"/>
                  </a:cubicBezTo>
                  <a:cubicBezTo>
                    <a:pt x="794" y="185"/>
                    <a:pt x="809" y="186"/>
                    <a:pt x="803" y="175"/>
                  </a:cubicBezTo>
                  <a:cubicBezTo>
                    <a:pt x="797" y="163"/>
                    <a:pt x="786" y="157"/>
                    <a:pt x="774" y="157"/>
                  </a:cubicBezTo>
                  <a:cubicBezTo>
                    <a:pt x="763" y="157"/>
                    <a:pt x="761" y="153"/>
                    <a:pt x="738" y="147"/>
                  </a:cubicBezTo>
                  <a:cubicBezTo>
                    <a:pt x="715" y="142"/>
                    <a:pt x="703" y="159"/>
                    <a:pt x="698" y="146"/>
                  </a:cubicBezTo>
                  <a:cubicBezTo>
                    <a:pt x="694" y="133"/>
                    <a:pt x="703" y="130"/>
                    <a:pt x="693" y="127"/>
                  </a:cubicBezTo>
                  <a:cubicBezTo>
                    <a:pt x="683" y="124"/>
                    <a:pt x="671" y="129"/>
                    <a:pt x="672" y="114"/>
                  </a:cubicBezTo>
                  <a:cubicBezTo>
                    <a:pt x="674" y="100"/>
                    <a:pt x="677" y="103"/>
                    <a:pt x="694" y="103"/>
                  </a:cubicBezTo>
                  <a:cubicBezTo>
                    <a:pt x="711" y="103"/>
                    <a:pt x="724" y="99"/>
                    <a:pt x="724" y="90"/>
                  </a:cubicBezTo>
                  <a:cubicBezTo>
                    <a:pt x="724" y="81"/>
                    <a:pt x="703" y="86"/>
                    <a:pt x="678" y="89"/>
                  </a:cubicBezTo>
                  <a:cubicBezTo>
                    <a:pt x="654" y="91"/>
                    <a:pt x="645" y="96"/>
                    <a:pt x="628" y="96"/>
                  </a:cubicBezTo>
                  <a:cubicBezTo>
                    <a:pt x="611" y="96"/>
                    <a:pt x="594" y="93"/>
                    <a:pt x="579" y="109"/>
                  </a:cubicBezTo>
                  <a:cubicBezTo>
                    <a:pt x="565" y="124"/>
                    <a:pt x="528" y="133"/>
                    <a:pt x="506" y="126"/>
                  </a:cubicBezTo>
                  <a:cubicBezTo>
                    <a:pt x="485" y="119"/>
                    <a:pt x="478" y="117"/>
                    <a:pt x="466" y="104"/>
                  </a:cubicBezTo>
                  <a:cubicBezTo>
                    <a:pt x="455" y="91"/>
                    <a:pt x="423" y="93"/>
                    <a:pt x="409" y="94"/>
                  </a:cubicBezTo>
                  <a:cubicBezTo>
                    <a:pt x="394" y="96"/>
                    <a:pt x="402" y="114"/>
                    <a:pt x="369" y="107"/>
                  </a:cubicBezTo>
                  <a:cubicBezTo>
                    <a:pt x="336" y="100"/>
                    <a:pt x="343" y="104"/>
                    <a:pt x="327" y="80"/>
                  </a:cubicBezTo>
                  <a:cubicBezTo>
                    <a:pt x="311" y="56"/>
                    <a:pt x="301" y="47"/>
                    <a:pt x="277" y="44"/>
                  </a:cubicBezTo>
                  <a:cubicBezTo>
                    <a:pt x="253" y="41"/>
                    <a:pt x="238" y="50"/>
                    <a:pt x="232" y="28"/>
                  </a:cubicBezTo>
                  <a:cubicBezTo>
                    <a:pt x="227" y="7"/>
                    <a:pt x="224" y="0"/>
                    <a:pt x="214" y="0"/>
                  </a:cubicBezTo>
                  <a:cubicBezTo>
                    <a:pt x="204" y="0"/>
                    <a:pt x="195" y="10"/>
                    <a:pt x="201" y="21"/>
                  </a:cubicBezTo>
                  <a:cubicBezTo>
                    <a:pt x="207" y="33"/>
                    <a:pt x="220" y="53"/>
                    <a:pt x="195" y="54"/>
                  </a:cubicBezTo>
                  <a:cubicBezTo>
                    <a:pt x="171" y="56"/>
                    <a:pt x="146" y="71"/>
                    <a:pt x="139" y="74"/>
                  </a:cubicBezTo>
                  <a:cubicBezTo>
                    <a:pt x="132" y="77"/>
                    <a:pt x="119" y="99"/>
                    <a:pt x="126" y="111"/>
                  </a:cubicBezTo>
                  <a:cubicBezTo>
                    <a:pt x="134" y="124"/>
                    <a:pt x="154" y="143"/>
                    <a:pt x="154" y="160"/>
                  </a:cubicBezTo>
                  <a:cubicBezTo>
                    <a:pt x="154" y="177"/>
                    <a:pt x="151" y="192"/>
                    <a:pt x="136" y="195"/>
                  </a:cubicBezTo>
                  <a:cubicBezTo>
                    <a:pt x="122" y="197"/>
                    <a:pt x="112" y="196"/>
                    <a:pt x="109" y="187"/>
                  </a:cubicBezTo>
                  <a:cubicBezTo>
                    <a:pt x="106" y="179"/>
                    <a:pt x="89" y="177"/>
                    <a:pt x="89" y="157"/>
                  </a:cubicBezTo>
                  <a:cubicBezTo>
                    <a:pt x="89" y="137"/>
                    <a:pt x="111" y="129"/>
                    <a:pt x="111" y="111"/>
                  </a:cubicBezTo>
                  <a:cubicBezTo>
                    <a:pt x="111" y="94"/>
                    <a:pt x="124" y="89"/>
                    <a:pt x="112" y="73"/>
                  </a:cubicBezTo>
                  <a:cubicBezTo>
                    <a:pt x="101" y="57"/>
                    <a:pt x="91" y="35"/>
                    <a:pt x="112" y="28"/>
                  </a:cubicBezTo>
                  <a:cubicBezTo>
                    <a:pt x="118" y="26"/>
                    <a:pt x="124" y="25"/>
                    <a:pt x="129" y="23"/>
                  </a:cubicBezTo>
                  <a:cubicBezTo>
                    <a:pt x="123" y="22"/>
                    <a:pt x="116" y="21"/>
                    <a:pt x="111" y="22"/>
                  </a:cubicBezTo>
                  <a:cubicBezTo>
                    <a:pt x="101" y="24"/>
                    <a:pt x="95" y="29"/>
                    <a:pt x="91" y="37"/>
                  </a:cubicBezTo>
                  <a:cubicBezTo>
                    <a:pt x="87" y="45"/>
                    <a:pt x="71" y="64"/>
                    <a:pt x="63" y="71"/>
                  </a:cubicBezTo>
                  <a:cubicBezTo>
                    <a:pt x="56" y="78"/>
                    <a:pt x="38" y="95"/>
                    <a:pt x="36" y="103"/>
                  </a:cubicBezTo>
                  <a:cubicBezTo>
                    <a:pt x="34" y="110"/>
                    <a:pt x="30" y="112"/>
                    <a:pt x="30" y="125"/>
                  </a:cubicBezTo>
                  <a:cubicBezTo>
                    <a:pt x="30" y="138"/>
                    <a:pt x="34" y="148"/>
                    <a:pt x="24" y="159"/>
                  </a:cubicBezTo>
                  <a:cubicBezTo>
                    <a:pt x="15" y="171"/>
                    <a:pt x="10" y="179"/>
                    <a:pt x="5" y="187"/>
                  </a:cubicBezTo>
                  <a:cubicBezTo>
                    <a:pt x="0" y="196"/>
                    <a:pt x="7" y="195"/>
                    <a:pt x="16" y="195"/>
                  </a:cubicBezTo>
                  <a:cubicBezTo>
                    <a:pt x="26" y="195"/>
                    <a:pt x="49" y="189"/>
                    <a:pt x="50" y="198"/>
                  </a:cubicBezTo>
                  <a:cubicBezTo>
                    <a:pt x="50" y="207"/>
                    <a:pt x="41" y="207"/>
                    <a:pt x="42" y="215"/>
                  </a:cubicBezTo>
                  <a:cubicBezTo>
                    <a:pt x="42" y="224"/>
                    <a:pt x="45" y="227"/>
                    <a:pt x="53" y="232"/>
                  </a:cubicBezTo>
                  <a:cubicBezTo>
                    <a:pt x="61" y="237"/>
                    <a:pt x="71" y="248"/>
                    <a:pt x="68" y="259"/>
                  </a:cubicBezTo>
                  <a:cubicBezTo>
                    <a:pt x="66" y="269"/>
                    <a:pt x="58" y="267"/>
                    <a:pt x="59" y="282"/>
                  </a:cubicBezTo>
                  <a:cubicBezTo>
                    <a:pt x="60" y="297"/>
                    <a:pt x="58" y="305"/>
                    <a:pt x="69" y="311"/>
                  </a:cubicBezTo>
                  <a:cubicBezTo>
                    <a:pt x="80" y="317"/>
                    <a:pt x="84" y="327"/>
                    <a:pt x="88" y="333"/>
                  </a:cubicBezTo>
                  <a:cubicBezTo>
                    <a:pt x="91" y="338"/>
                    <a:pt x="99" y="337"/>
                    <a:pt x="114" y="337"/>
                  </a:cubicBezTo>
                  <a:cubicBezTo>
                    <a:pt x="130" y="337"/>
                    <a:pt x="154" y="344"/>
                    <a:pt x="157" y="337"/>
                  </a:cubicBezTo>
                  <a:cubicBezTo>
                    <a:pt x="160" y="329"/>
                    <a:pt x="172" y="324"/>
                    <a:pt x="181" y="331"/>
                  </a:cubicBezTo>
                  <a:cubicBezTo>
                    <a:pt x="190" y="337"/>
                    <a:pt x="191" y="337"/>
                    <a:pt x="200" y="339"/>
                  </a:cubicBezTo>
                  <a:cubicBezTo>
                    <a:pt x="210" y="340"/>
                    <a:pt x="216" y="340"/>
                    <a:pt x="225" y="353"/>
                  </a:cubicBezTo>
                  <a:cubicBezTo>
                    <a:pt x="234" y="367"/>
                    <a:pt x="247" y="383"/>
                    <a:pt x="254" y="390"/>
                  </a:cubicBezTo>
                  <a:cubicBezTo>
                    <a:pt x="262" y="397"/>
                    <a:pt x="268" y="397"/>
                    <a:pt x="271" y="391"/>
                  </a:cubicBezTo>
                  <a:cubicBezTo>
                    <a:pt x="274" y="385"/>
                    <a:pt x="286" y="385"/>
                    <a:pt x="295" y="389"/>
                  </a:cubicBezTo>
                  <a:cubicBezTo>
                    <a:pt x="304" y="393"/>
                    <a:pt x="335" y="390"/>
                    <a:pt x="343" y="384"/>
                  </a:cubicBezTo>
                  <a:cubicBezTo>
                    <a:pt x="351" y="378"/>
                    <a:pt x="353" y="377"/>
                    <a:pt x="362" y="378"/>
                  </a:cubicBezTo>
                  <a:cubicBezTo>
                    <a:pt x="372" y="379"/>
                    <a:pt x="381" y="384"/>
                    <a:pt x="381" y="392"/>
                  </a:cubicBezTo>
                  <a:cubicBezTo>
                    <a:pt x="381" y="400"/>
                    <a:pt x="375" y="407"/>
                    <a:pt x="373" y="413"/>
                  </a:cubicBezTo>
                  <a:cubicBezTo>
                    <a:pt x="371" y="420"/>
                    <a:pt x="375" y="431"/>
                    <a:pt x="365" y="436"/>
                  </a:cubicBezTo>
                  <a:cubicBezTo>
                    <a:pt x="355" y="441"/>
                    <a:pt x="354" y="444"/>
                    <a:pt x="356" y="455"/>
                  </a:cubicBezTo>
                  <a:cubicBezTo>
                    <a:pt x="358" y="467"/>
                    <a:pt x="356" y="473"/>
                    <a:pt x="355" y="484"/>
                  </a:cubicBezTo>
                  <a:cubicBezTo>
                    <a:pt x="354" y="495"/>
                    <a:pt x="352" y="514"/>
                    <a:pt x="362" y="525"/>
                  </a:cubicBezTo>
                  <a:cubicBezTo>
                    <a:pt x="373" y="537"/>
                    <a:pt x="364" y="544"/>
                    <a:pt x="376" y="548"/>
                  </a:cubicBezTo>
                  <a:cubicBezTo>
                    <a:pt x="387" y="552"/>
                    <a:pt x="398" y="560"/>
                    <a:pt x="384" y="573"/>
                  </a:cubicBezTo>
                  <a:cubicBezTo>
                    <a:pt x="371" y="585"/>
                    <a:pt x="352" y="595"/>
                    <a:pt x="368" y="605"/>
                  </a:cubicBezTo>
                  <a:cubicBezTo>
                    <a:pt x="385" y="615"/>
                    <a:pt x="389" y="613"/>
                    <a:pt x="392" y="629"/>
                  </a:cubicBezTo>
                  <a:cubicBezTo>
                    <a:pt x="394" y="641"/>
                    <a:pt x="395" y="647"/>
                    <a:pt x="389" y="650"/>
                  </a:cubicBezTo>
                  <a:cubicBezTo>
                    <a:pt x="396" y="654"/>
                    <a:pt x="403" y="660"/>
                    <a:pt x="404" y="665"/>
                  </a:cubicBezTo>
                  <a:cubicBezTo>
                    <a:pt x="406" y="675"/>
                    <a:pt x="398" y="708"/>
                    <a:pt x="410" y="710"/>
                  </a:cubicBezTo>
                  <a:cubicBezTo>
                    <a:pt x="422" y="712"/>
                    <a:pt x="428" y="714"/>
                    <a:pt x="435" y="723"/>
                  </a:cubicBezTo>
                  <a:cubicBezTo>
                    <a:pt x="442" y="732"/>
                    <a:pt x="439" y="734"/>
                    <a:pt x="453" y="736"/>
                  </a:cubicBezTo>
                  <a:cubicBezTo>
                    <a:pt x="467" y="738"/>
                    <a:pt x="478" y="741"/>
                    <a:pt x="481" y="732"/>
                  </a:cubicBezTo>
                  <a:cubicBezTo>
                    <a:pt x="484" y="723"/>
                    <a:pt x="487" y="716"/>
                    <a:pt x="496" y="722"/>
                  </a:cubicBezTo>
                  <a:cubicBezTo>
                    <a:pt x="505" y="728"/>
                    <a:pt x="505" y="736"/>
                    <a:pt x="516" y="731"/>
                  </a:cubicBezTo>
                  <a:cubicBezTo>
                    <a:pt x="527" y="726"/>
                    <a:pt x="521" y="714"/>
                    <a:pt x="535" y="713"/>
                  </a:cubicBezTo>
                  <a:cubicBezTo>
                    <a:pt x="549" y="712"/>
                    <a:pt x="544" y="699"/>
                    <a:pt x="560" y="699"/>
                  </a:cubicBezTo>
                  <a:cubicBezTo>
                    <a:pt x="576" y="699"/>
                    <a:pt x="588" y="701"/>
                    <a:pt x="590" y="686"/>
                  </a:cubicBezTo>
                  <a:cubicBezTo>
                    <a:pt x="592" y="671"/>
                    <a:pt x="592" y="664"/>
                    <a:pt x="607" y="659"/>
                  </a:cubicBezTo>
                  <a:cubicBezTo>
                    <a:pt x="622" y="654"/>
                    <a:pt x="633" y="655"/>
                    <a:pt x="635" y="646"/>
                  </a:cubicBezTo>
                  <a:cubicBezTo>
                    <a:pt x="637" y="637"/>
                    <a:pt x="643" y="631"/>
                    <a:pt x="625" y="629"/>
                  </a:cubicBezTo>
                  <a:cubicBezTo>
                    <a:pt x="607" y="627"/>
                    <a:pt x="601" y="630"/>
                    <a:pt x="601" y="618"/>
                  </a:cubicBezTo>
                  <a:cubicBezTo>
                    <a:pt x="601" y="606"/>
                    <a:pt x="594" y="599"/>
                    <a:pt x="588" y="596"/>
                  </a:cubicBezTo>
                  <a:cubicBezTo>
                    <a:pt x="582" y="593"/>
                    <a:pt x="594" y="567"/>
                    <a:pt x="582" y="554"/>
                  </a:cubicBezTo>
                  <a:cubicBezTo>
                    <a:pt x="570" y="541"/>
                    <a:pt x="559" y="535"/>
                    <a:pt x="559" y="526"/>
                  </a:cubicBezTo>
                  <a:cubicBezTo>
                    <a:pt x="559" y="517"/>
                    <a:pt x="559" y="515"/>
                    <a:pt x="573" y="517"/>
                  </a:cubicBezTo>
                  <a:cubicBezTo>
                    <a:pt x="587" y="519"/>
                    <a:pt x="601" y="516"/>
                    <a:pt x="604" y="526"/>
                  </a:cubicBezTo>
                  <a:cubicBezTo>
                    <a:pt x="607" y="536"/>
                    <a:pt x="613" y="529"/>
                    <a:pt x="625" y="534"/>
                  </a:cubicBezTo>
                  <a:cubicBezTo>
                    <a:pt x="637" y="539"/>
                    <a:pt x="647" y="529"/>
                    <a:pt x="653" y="538"/>
                  </a:cubicBezTo>
                  <a:cubicBezTo>
                    <a:pt x="659" y="547"/>
                    <a:pt x="658" y="552"/>
                    <a:pt x="665" y="553"/>
                  </a:cubicBezTo>
                  <a:cubicBezTo>
                    <a:pt x="672" y="554"/>
                    <a:pt x="683" y="560"/>
                    <a:pt x="682" y="547"/>
                  </a:cubicBezTo>
                  <a:cubicBezTo>
                    <a:pt x="681" y="534"/>
                    <a:pt x="684" y="525"/>
                    <a:pt x="693" y="525"/>
                  </a:cubicBezTo>
                  <a:cubicBezTo>
                    <a:pt x="702" y="525"/>
                    <a:pt x="698" y="518"/>
                    <a:pt x="714" y="519"/>
                  </a:cubicBezTo>
                  <a:cubicBezTo>
                    <a:pt x="730" y="520"/>
                    <a:pt x="731" y="509"/>
                    <a:pt x="747" y="509"/>
                  </a:cubicBezTo>
                  <a:cubicBezTo>
                    <a:pt x="763" y="509"/>
                    <a:pt x="763" y="506"/>
                    <a:pt x="776" y="500"/>
                  </a:cubicBezTo>
                  <a:cubicBezTo>
                    <a:pt x="789" y="494"/>
                    <a:pt x="792" y="499"/>
                    <a:pt x="796" y="489"/>
                  </a:cubicBezTo>
                  <a:cubicBezTo>
                    <a:pt x="800" y="479"/>
                    <a:pt x="812" y="482"/>
                    <a:pt x="814" y="470"/>
                  </a:cubicBezTo>
                  <a:cubicBezTo>
                    <a:pt x="814" y="465"/>
                    <a:pt x="814" y="462"/>
                    <a:pt x="814" y="458"/>
                  </a:cubicBezTo>
                  <a:cubicBezTo>
                    <a:pt x="804" y="455"/>
                    <a:pt x="803" y="446"/>
                    <a:pt x="800" y="43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5" name="Freeform 455">
              <a:extLst>
                <a:ext uri="{FF2B5EF4-FFF2-40B4-BE49-F238E27FC236}">
                  <a16:creationId xmlns:a16="http://schemas.microsoft.com/office/drawing/2014/main" id="{F83FDBC1-AD30-0A48-9D1B-678528628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9" y="2438"/>
              <a:ext cx="83" cy="122"/>
            </a:xfrm>
            <a:custGeom>
              <a:avLst/>
              <a:gdLst>
                <a:gd name="T0" fmla="*/ 296 w 327"/>
                <a:gd name="T1" fmla="*/ 406 h 485"/>
                <a:gd name="T2" fmla="*/ 282 w 327"/>
                <a:gd name="T3" fmla="*/ 383 h 485"/>
                <a:gd name="T4" fmla="*/ 272 w 327"/>
                <a:gd name="T5" fmla="*/ 353 h 485"/>
                <a:gd name="T6" fmla="*/ 255 w 327"/>
                <a:gd name="T7" fmla="*/ 322 h 485"/>
                <a:gd name="T8" fmla="*/ 230 w 327"/>
                <a:gd name="T9" fmla="*/ 302 h 485"/>
                <a:gd name="T10" fmla="*/ 230 w 327"/>
                <a:gd name="T11" fmla="*/ 248 h 485"/>
                <a:gd name="T12" fmla="*/ 268 w 327"/>
                <a:gd name="T13" fmla="*/ 232 h 485"/>
                <a:gd name="T14" fmla="*/ 272 w 327"/>
                <a:gd name="T15" fmla="*/ 200 h 485"/>
                <a:gd name="T16" fmla="*/ 284 w 327"/>
                <a:gd name="T17" fmla="*/ 176 h 485"/>
                <a:gd name="T18" fmla="*/ 287 w 327"/>
                <a:gd name="T19" fmla="*/ 164 h 485"/>
                <a:gd name="T20" fmla="*/ 241 w 327"/>
                <a:gd name="T21" fmla="*/ 131 h 485"/>
                <a:gd name="T22" fmla="*/ 208 w 327"/>
                <a:gd name="T23" fmla="*/ 105 h 485"/>
                <a:gd name="T24" fmla="*/ 195 w 327"/>
                <a:gd name="T25" fmla="*/ 73 h 485"/>
                <a:gd name="T26" fmla="*/ 138 w 327"/>
                <a:gd name="T27" fmla="*/ 24 h 485"/>
                <a:gd name="T28" fmla="*/ 95 w 327"/>
                <a:gd name="T29" fmla="*/ 0 h 485"/>
                <a:gd name="T30" fmla="*/ 97 w 327"/>
                <a:gd name="T31" fmla="*/ 19 h 485"/>
                <a:gd name="T32" fmla="*/ 93 w 327"/>
                <a:gd name="T33" fmla="*/ 38 h 485"/>
                <a:gd name="T34" fmla="*/ 69 w 327"/>
                <a:gd name="T35" fmla="*/ 52 h 485"/>
                <a:gd name="T36" fmla="*/ 52 w 327"/>
                <a:gd name="T37" fmla="*/ 79 h 485"/>
                <a:gd name="T38" fmla="*/ 72 w 327"/>
                <a:gd name="T39" fmla="*/ 100 h 485"/>
                <a:gd name="T40" fmla="*/ 59 w 327"/>
                <a:gd name="T41" fmla="*/ 115 h 485"/>
                <a:gd name="T42" fmla="*/ 41 w 327"/>
                <a:gd name="T43" fmla="*/ 122 h 485"/>
                <a:gd name="T44" fmla="*/ 21 w 327"/>
                <a:gd name="T45" fmla="*/ 132 h 485"/>
                <a:gd name="T46" fmla="*/ 19 w 327"/>
                <a:gd name="T47" fmla="*/ 154 h 485"/>
                <a:gd name="T48" fmla="*/ 14 w 327"/>
                <a:gd name="T49" fmla="*/ 184 h 485"/>
                <a:gd name="T50" fmla="*/ 39 w 327"/>
                <a:gd name="T51" fmla="*/ 207 h 485"/>
                <a:gd name="T52" fmla="*/ 53 w 327"/>
                <a:gd name="T53" fmla="*/ 227 h 485"/>
                <a:gd name="T54" fmla="*/ 71 w 327"/>
                <a:gd name="T55" fmla="*/ 219 h 485"/>
                <a:gd name="T56" fmla="*/ 95 w 327"/>
                <a:gd name="T57" fmla="*/ 243 h 485"/>
                <a:gd name="T58" fmla="*/ 94 w 327"/>
                <a:gd name="T59" fmla="*/ 267 h 485"/>
                <a:gd name="T60" fmla="*/ 111 w 327"/>
                <a:gd name="T61" fmla="*/ 283 h 485"/>
                <a:gd name="T62" fmla="*/ 120 w 327"/>
                <a:gd name="T63" fmla="*/ 309 h 485"/>
                <a:gd name="T64" fmla="*/ 106 w 327"/>
                <a:gd name="T65" fmla="*/ 332 h 485"/>
                <a:gd name="T66" fmla="*/ 100 w 327"/>
                <a:gd name="T67" fmla="*/ 360 h 485"/>
                <a:gd name="T68" fmla="*/ 99 w 327"/>
                <a:gd name="T69" fmla="*/ 395 h 485"/>
                <a:gd name="T70" fmla="*/ 107 w 327"/>
                <a:gd name="T71" fmla="*/ 417 h 485"/>
                <a:gd name="T72" fmla="*/ 127 w 327"/>
                <a:gd name="T73" fmla="*/ 446 h 485"/>
                <a:gd name="T74" fmla="*/ 157 w 327"/>
                <a:gd name="T75" fmla="*/ 474 h 485"/>
                <a:gd name="T76" fmla="*/ 186 w 327"/>
                <a:gd name="T77" fmla="*/ 471 h 485"/>
                <a:gd name="T78" fmla="*/ 209 w 327"/>
                <a:gd name="T79" fmla="*/ 453 h 485"/>
                <a:gd name="T80" fmla="*/ 229 w 327"/>
                <a:gd name="T81" fmla="*/ 449 h 485"/>
                <a:gd name="T82" fmla="*/ 261 w 327"/>
                <a:gd name="T83" fmla="*/ 434 h 485"/>
                <a:gd name="T84" fmla="*/ 292 w 327"/>
                <a:gd name="T85" fmla="*/ 431 h 485"/>
                <a:gd name="T86" fmla="*/ 327 w 327"/>
                <a:gd name="T87" fmla="*/ 433 h 485"/>
                <a:gd name="T88" fmla="*/ 319 w 327"/>
                <a:gd name="T89" fmla="*/ 420 h 485"/>
                <a:gd name="T90" fmla="*/ 296 w 327"/>
                <a:gd name="T91" fmla="*/ 40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7" h="485">
                  <a:moveTo>
                    <a:pt x="296" y="406"/>
                  </a:moveTo>
                  <a:cubicBezTo>
                    <a:pt x="293" y="394"/>
                    <a:pt x="289" y="392"/>
                    <a:pt x="282" y="383"/>
                  </a:cubicBezTo>
                  <a:cubicBezTo>
                    <a:pt x="275" y="374"/>
                    <a:pt x="272" y="368"/>
                    <a:pt x="272" y="353"/>
                  </a:cubicBezTo>
                  <a:cubicBezTo>
                    <a:pt x="272" y="338"/>
                    <a:pt x="260" y="334"/>
                    <a:pt x="255" y="322"/>
                  </a:cubicBezTo>
                  <a:cubicBezTo>
                    <a:pt x="250" y="310"/>
                    <a:pt x="236" y="308"/>
                    <a:pt x="230" y="302"/>
                  </a:cubicBezTo>
                  <a:cubicBezTo>
                    <a:pt x="224" y="296"/>
                    <a:pt x="223" y="262"/>
                    <a:pt x="230" y="248"/>
                  </a:cubicBezTo>
                  <a:cubicBezTo>
                    <a:pt x="237" y="234"/>
                    <a:pt x="253" y="234"/>
                    <a:pt x="268" y="232"/>
                  </a:cubicBezTo>
                  <a:cubicBezTo>
                    <a:pt x="283" y="230"/>
                    <a:pt x="272" y="208"/>
                    <a:pt x="272" y="200"/>
                  </a:cubicBezTo>
                  <a:cubicBezTo>
                    <a:pt x="272" y="192"/>
                    <a:pt x="274" y="186"/>
                    <a:pt x="284" y="176"/>
                  </a:cubicBezTo>
                  <a:cubicBezTo>
                    <a:pt x="287" y="173"/>
                    <a:pt x="288" y="169"/>
                    <a:pt x="287" y="164"/>
                  </a:cubicBezTo>
                  <a:cubicBezTo>
                    <a:pt x="262" y="156"/>
                    <a:pt x="249" y="142"/>
                    <a:pt x="241" y="131"/>
                  </a:cubicBezTo>
                  <a:cubicBezTo>
                    <a:pt x="231" y="118"/>
                    <a:pt x="220" y="105"/>
                    <a:pt x="208" y="105"/>
                  </a:cubicBezTo>
                  <a:cubicBezTo>
                    <a:pt x="197" y="105"/>
                    <a:pt x="195" y="88"/>
                    <a:pt x="195" y="73"/>
                  </a:cubicBezTo>
                  <a:cubicBezTo>
                    <a:pt x="195" y="57"/>
                    <a:pt x="158" y="37"/>
                    <a:pt x="138" y="24"/>
                  </a:cubicBezTo>
                  <a:cubicBezTo>
                    <a:pt x="119" y="11"/>
                    <a:pt x="113" y="3"/>
                    <a:pt x="95" y="0"/>
                  </a:cubicBezTo>
                  <a:cubicBezTo>
                    <a:pt x="95" y="7"/>
                    <a:pt x="96" y="15"/>
                    <a:pt x="97" y="19"/>
                  </a:cubicBezTo>
                  <a:cubicBezTo>
                    <a:pt x="98" y="26"/>
                    <a:pt x="107" y="35"/>
                    <a:pt x="93" y="38"/>
                  </a:cubicBezTo>
                  <a:cubicBezTo>
                    <a:pt x="79" y="41"/>
                    <a:pt x="76" y="46"/>
                    <a:pt x="69" y="52"/>
                  </a:cubicBezTo>
                  <a:cubicBezTo>
                    <a:pt x="62" y="58"/>
                    <a:pt x="39" y="69"/>
                    <a:pt x="52" y="79"/>
                  </a:cubicBezTo>
                  <a:cubicBezTo>
                    <a:pt x="65" y="89"/>
                    <a:pt x="75" y="90"/>
                    <a:pt x="72" y="100"/>
                  </a:cubicBezTo>
                  <a:cubicBezTo>
                    <a:pt x="69" y="110"/>
                    <a:pt x="72" y="116"/>
                    <a:pt x="59" y="115"/>
                  </a:cubicBezTo>
                  <a:cubicBezTo>
                    <a:pt x="46" y="114"/>
                    <a:pt x="53" y="120"/>
                    <a:pt x="41" y="122"/>
                  </a:cubicBezTo>
                  <a:cubicBezTo>
                    <a:pt x="29" y="124"/>
                    <a:pt x="21" y="125"/>
                    <a:pt x="21" y="132"/>
                  </a:cubicBezTo>
                  <a:cubicBezTo>
                    <a:pt x="21" y="139"/>
                    <a:pt x="27" y="144"/>
                    <a:pt x="19" y="154"/>
                  </a:cubicBezTo>
                  <a:cubicBezTo>
                    <a:pt x="11" y="164"/>
                    <a:pt x="0" y="169"/>
                    <a:pt x="14" y="184"/>
                  </a:cubicBezTo>
                  <a:cubicBezTo>
                    <a:pt x="28" y="199"/>
                    <a:pt x="35" y="197"/>
                    <a:pt x="39" y="207"/>
                  </a:cubicBezTo>
                  <a:cubicBezTo>
                    <a:pt x="42" y="215"/>
                    <a:pt x="43" y="224"/>
                    <a:pt x="53" y="227"/>
                  </a:cubicBezTo>
                  <a:cubicBezTo>
                    <a:pt x="54" y="222"/>
                    <a:pt x="56" y="218"/>
                    <a:pt x="71" y="219"/>
                  </a:cubicBezTo>
                  <a:cubicBezTo>
                    <a:pt x="94" y="220"/>
                    <a:pt x="97" y="229"/>
                    <a:pt x="95" y="243"/>
                  </a:cubicBezTo>
                  <a:cubicBezTo>
                    <a:pt x="93" y="257"/>
                    <a:pt x="78" y="263"/>
                    <a:pt x="94" y="267"/>
                  </a:cubicBezTo>
                  <a:cubicBezTo>
                    <a:pt x="110" y="271"/>
                    <a:pt x="110" y="276"/>
                    <a:pt x="111" y="283"/>
                  </a:cubicBezTo>
                  <a:cubicBezTo>
                    <a:pt x="112" y="290"/>
                    <a:pt x="133" y="301"/>
                    <a:pt x="120" y="309"/>
                  </a:cubicBezTo>
                  <a:cubicBezTo>
                    <a:pt x="107" y="317"/>
                    <a:pt x="102" y="321"/>
                    <a:pt x="106" y="332"/>
                  </a:cubicBezTo>
                  <a:cubicBezTo>
                    <a:pt x="110" y="343"/>
                    <a:pt x="104" y="353"/>
                    <a:pt x="100" y="360"/>
                  </a:cubicBezTo>
                  <a:cubicBezTo>
                    <a:pt x="96" y="367"/>
                    <a:pt x="97" y="386"/>
                    <a:pt x="99" y="395"/>
                  </a:cubicBezTo>
                  <a:cubicBezTo>
                    <a:pt x="101" y="404"/>
                    <a:pt x="106" y="406"/>
                    <a:pt x="107" y="417"/>
                  </a:cubicBezTo>
                  <a:cubicBezTo>
                    <a:pt x="108" y="428"/>
                    <a:pt x="116" y="435"/>
                    <a:pt x="127" y="446"/>
                  </a:cubicBezTo>
                  <a:cubicBezTo>
                    <a:pt x="138" y="457"/>
                    <a:pt x="153" y="471"/>
                    <a:pt x="157" y="474"/>
                  </a:cubicBezTo>
                  <a:cubicBezTo>
                    <a:pt x="161" y="477"/>
                    <a:pt x="178" y="485"/>
                    <a:pt x="186" y="471"/>
                  </a:cubicBezTo>
                  <a:cubicBezTo>
                    <a:pt x="194" y="457"/>
                    <a:pt x="206" y="447"/>
                    <a:pt x="209" y="453"/>
                  </a:cubicBezTo>
                  <a:cubicBezTo>
                    <a:pt x="212" y="459"/>
                    <a:pt x="222" y="458"/>
                    <a:pt x="229" y="449"/>
                  </a:cubicBezTo>
                  <a:cubicBezTo>
                    <a:pt x="236" y="440"/>
                    <a:pt x="247" y="436"/>
                    <a:pt x="261" y="434"/>
                  </a:cubicBezTo>
                  <a:cubicBezTo>
                    <a:pt x="275" y="432"/>
                    <a:pt x="281" y="431"/>
                    <a:pt x="292" y="431"/>
                  </a:cubicBezTo>
                  <a:cubicBezTo>
                    <a:pt x="298" y="431"/>
                    <a:pt x="313" y="433"/>
                    <a:pt x="327" y="433"/>
                  </a:cubicBezTo>
                  <a:cubicBezTo>
                    <a:pt x="325" y="428"/>
                    <a:pt x="323" y="423"/>
                    <a:pt x="319" y="420"/>
                  </a:cubicBezTo>
                  <a:cubicBezTo>
                    <a:pt x="312" y="414"/>
                    <a:pt x="299" y="418"/>
                    <a:pt x="296" y="40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6" name="Freeform 456">
              <a:extLst>
                <a:ext uri="{FF2B5EF4-FFF2-40B4-BE49-F238E27FC236}">
                  <a16:creationId xmlns:a16="http://schemas.microsoft.com/office/drawing/2014/main" id="{52892109-9BDD-DA4F-AD88-30F02E20F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483"/>
              <a:ext cx="50" cy="60"/>
            </a:xfrm>
            <a:custGeom>
              <a:avLst/>
              <a:gdLst>
                <a:gd name="T0" fmla="*/ 182 w 196"/>
                <a:gd name="T1" fmla="*/ 86 h 241"/>
                <a:gd name="T2" fmla="*/ 130 w 196"/>
                <a:gd name="T3" fmla="*/ 42 h 241"/>
                <a:gd name="T4" fmla="*/ 89 w 196"/>
                <a:gd name="T5" fmla="*/ 19 h 241"/>
                <a:gd name="T6" fmla="*/ 39 w 196"/>
                <a:gd name="T7" fmla="*/ 0 h 241"/>
                <a:gd name="T8" fmla="*/ 35 w 196"/>
                <a:gd name="T9" fmla="*/ 30 h 241"/>
                <a:gd name="T10" fmla="*/ 7 w 196"/>
                <a:gd name="T11" fmla="*/ 58 h 241"/>
                <a:gd name="T12" fmla="*/ 6 w 196"/>
                <a:gd name="T13" fmla="*/ 89 h 241"/>
                <a:gd name="T14" fmla="*/ 18 w 196"/>
                <a:gd name="T15" fmla="*/ 117 h 241"/>
                <a:gd name="T16" fmla="*/ 25 w 196"/>
                <a:gd name="T17" fmla="*/ 164 h 241"/>
                <a:gd name="T18" fmla="*/ 26 w 196"/>
                <a:gd name="T19" fmla="*/ 201 h 241"/>
                <a:gd name="T20" fmla="*/ 11 w 196"/>
                <a:gd name="T21" fmla="*/ 229 h 241"/>
                <a:gd name="T22" fmla="*/ 8 w 196"/>
                <a:gd name="T23" fmla="*/ 238 h 241"/>
                <a:gd name="T24" fmla="*/ 22 w 196"/>
                <a:gd name="T25" fmla="*/ 239 h 241"/>
                <a:gd name="T26" fmla="*/ 68 w 196"/>
                <a:gd name="T27" fmla="*/ 228 h 241"/>
                <a:gd name="T28" fmla="*/ 135 w 196"/>
                <a:gd name="T29" fmla="*/ 198 h 241"/>
                <a:gd name="T30" fmla="*/ 172 w 196"/>
                <a:gd name="T31" fmla="*/ 133 h 241"/>
                <a:gd name="T32" fmla="*/ 196 w 196"/>
                <a:gd name="T33" fmla="*/ 90 h 241"/>
                <a:gd name="T34" fmla="*/ 182 w 196"/>
                <a:gd name="T35" fmla="*/ 8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6" h="241">
                  <a:moveTo>
                    <a:pt x="182" y="86"/>
                  </a:moveTo>
                  <a:cubicBezTo>
                    <a:pt x="145" y="78"/>
                    <a:pt x="152" y="53"/>
                    <a:pt x="130" y="42"/>
                  </a:cubicBezTo>
                  <a:cubicBezTo>
                    <a:pt x="109" y="30"/>
                    <a:pt x="107" y="19"/>
                    <a:pt x="89" y="19"/>
                  </a:cubicBezTo>
                  <a:cubicBezTo>
                    <a:pt x="76" y="19"/>
                    <a:pt x="57" y="8"/>
                    <a:pt x="39" y="0"/>
                  </a:cubicBezTo>
                  <a:cubicBezTo>
                    <a:pt x="40" y="11"/>
                    <a:pt x="40" y="24"/>
                    <a:pt x="35" y="30"/>
                  </a:cubicBezTo>
                  <a:cubicBezTo>
                    <a:pt x="26" y="39"/>
                    <a:pt x="7" y="46"/>
                    <a:pt x="7" y="58"/>
                  </a:cubicBezTo>
                  <a:cubicBezTo>
                    <a:pt x="7" y="70"/>
                    <a:pt x="0" y="81"/>
                    <a:pt x="6" y="89"/>
                  </a:cubicBezTo>
                  <a:cubicBezTo>
                    <a:pt x="12" y="97"/>
                    <a:pt x="14" y="103"/>
                    <a:pt x="18" y="117"/>
                  </a:cubicBezTo>
                  <a:cubicBezTo>
                    <a:pt x="22" y="131"/>
                    <a:pt x="25" y="150"/>
                    <a:pt x="25" y="164"/>
                  </a:cubicBezTo>
                  <a:cubicBezTo>
                    <a:pt x="25" y="178"/>
                    <a:pt x="37" y="192"/>
                    <a:pt x="26" y="201"/>
                  </a:cubicBezTo>
                  <a:cubicBezTo>
                    <a:pt x="15" y="210"/>
                    <a:pt x="13" y="220"/>
                    <a:pt x="11" y="229"/>
                  </a:cubicBezTo>
                  <a:cubicBezTo>
                    <a:pt x="10" y="232"/>
                    <a:pt x="9" y="235"/>
                    <a:pt x="8" y="238"/>
                  </a:cubicBezTo>
                  <a:cubicBezTo>
                    <a:pt x="12" y="239"/>
                    <a:pt x="17" y="239"/>
                    <a:pt x="22" y="239"/>
                  </a:cubicBezTo>
                  <a:cubicBezTo>
                    <a:pt x="47" y="237"/>
                    <a:pt x="53" y="227"/>
                    <a:pt x="68" y="228"/>
                  </a:cubicBezTo>
                  <a:cubicBezTo>
                    <a:pt x="83" y="229"/>
                    <a:pt x="121" y="241"/>
                    <a:pt x="135" y="198"/>
                  </a:cubicBezTo>
                  <a:cubicBezTo>
                    <a:pt x="149" y="155"/>
                    <a:pt x="159" y="148"/>
                    <a:pt x="172" y="133"/>
                  </a:cubicBezTo>
                  <a:cubicBezTo>
                    <a:pt x="182" y="121"/>
                    <a:pt x="185" y="102"/>
                    <a:pt x="196" y="90"/>
                  </a:cubicBezTo>
                  <a:cubicBezTo>
                    <a:pt x="192" y="89"/>
                    <a:pt x="187" y="87"/>
                    <a:pt x="182" y="8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7" name="Freeform 457">
              <a:extLst>
                <a:ext uri="{FF2B5EF4-FFF2-40B4-BE49-F238E27FC236}">
                  <a16:creationId xmlns:a16="http://schemas.microsoft.com/office/drawing/2014/main" id="{FCD3827B-ACC1-274B-BABC-B15F21F16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" y="2478"/>
              <a:ext cx="65" cy="69"/>
            </a:xfrm>
            <a:custGeom>
              <a:avLst/>
              <a:gdLst>
                <a:gd name="T0" fmla="*/ 242 w 256"/>
                <a:gd name="T1" fmla="*/ 217 h 272"/>
                <a:gd name="T2" fmla="*/ 241 w 256"/>
                <a:gd name="T3" fmla="*/ 180 h 272"/>
                <a:gd name="T4" fmla="*/ 234 w 256"/>
                <a:gd name="T5" fmla="*/ 133 h 272"/>
                <a:gd name="T6" fmla="*/ 222 w 256"/>
                <a:gd name="T7" fmla="*/ 105 h 272"/>
                <a:gd name="T8" fmla="*/ 223 w 256"/>
                <a:gd name="T9" fmla="*/ 74 h 272"/>
                <a:gd name="T10" fmla="*/ 251 w 256"/>
                <a:gd name="T11" fmla="*/ 46 h 272"/>
                <a:gd name="T12" fmla="*/ 255 w 256"/>
                <a:gd name="T13" fmla="*/ 16 h 272"/>
                <a:gd name="T14" fmla="*/ 230 w 256"/>
                <a:gd name="T15" fmla="*/ 8 h 272"/>
                <a:gd name="T16" fmla="*/ 187 w 256"/>
                <a:gd name="T17" fmla="*/ 6 h 272"/>
                <a:gd name="T18" fmla="*/ 161 w 256"/>
                <a:gd name="T19" fmla="*/ 8 h 272"/>
                <a:gd name="T20" fmla="*/ 127 w 256"/>
                <a:gd name="T21" fmla="*/ 13 h 272"/>
                <a:gd name="T22" fmla="*/ 84 w 256"/>
                <a:gd name="T23" fmla="*/ 8 h 272"/>
                <a:gd name="T24" fmla="*/ 64 w 256"/>
                <a:gd name="T25" fmla="*/ 3 h 272"/>
                <a:gd name="T26" fmla="*/ 61 w 256"/>
                <a:gd name="T27" fmla="*/ 15 h 272"/>
                <a:gd name="T28" fmla="*/ 49 w 256"/>
                <a:gd name="T29" fmla="*/ 39 h 272"/>
                <a:gd name="T30" fmla="*/ 45 w 256"/>
                <a:gd name="T31" fmla="*/ 71 h 272"/>
                <a:gd name="T32" fmla="*/ 7 w 256"/>
                <a:gd name="T33" fmla="*/ 87 h 272"/>
                <a:gd name="T34" fmla="*/ 7 w 256"/>
                <a:gd name="T35" fmla="*/ 141 h 272"/>
                <a:gd name="T36" fmla="*/ 32 w 256"/>
                <a:gd name="T37" fmla="*/ 161 h 272"/>
                <a:gd name="T38" fmla="*/ 49 w 256"/>
                <a:gd name="T39" fmla="*/ 192 h 272"/>
                <a:gd name="T40" fmla="*/ 59 w 256"/>
                <a:gd name="T41" fmla="*/ 222 h 272"/>
                <a:gd name="T42" fmla="*/ 73 w 256"/>
                <a:gd name="T43" fmla="*/ 245 h 272"/>
                <a:gd name="T44" fmla="*/ 96 w 256"/>
                <a:gd name="T45" fmla="*/ 259 h 272"/>
                <a:gd name="T46" fmla="*/ 104 w 256"/>
                <a:gd name="T47" fmla="*/ 272 h 272"/>
                <a:gd name="T48" fmla="*/ 125 w 256"/>
                <a:gd name="T49" fmla="*/ 265 h 272"/>
                <a:gd name="T50" fmla="*/ 140 w 256"/>
                <a:gd name="T51" fmla="*/ 234 h 272"/>
                <a:gd name="T52" fmla="*/ 170 w 256"/>
                <a:gd name="T53" fmla="*/ 231 h 272"/>
                <a:gd name="T54" fmla="*/ 201 w 256"/>
                <a:gd name="T55" fmla="*/ 230 h 272"/>
                <a:gd name="T56" fmla="*/ 224 w 256"/>
                <a:gd name="T57" fmla="*/ 254 h 272"/>
                <a:gd name="T58" fmla="*/ 227 w 256"/>
                <a:gd name="T59" fmla="*/ 245 h 272"/>
                <a:gd name="T60" fmla="*/ 242 w 256"/>
                <a:gd name="T61" fmla="*/ 217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56" h="272">
                  <a:moveTo>
                    <a:pt x="242" y="217"/>
                  </a:moveTo>
                  <a:cubicBezTo>
                    <a:pt x="253" y="208"/>
                    <a:pt x="241" y="194"/>
                    <a:pt x="241" y="180"/>
                  </a:cubicBezTo>
                  <a:cubicBezTo>
                    <a:pt x="241" y="166"/>
                    <a:pt x="238" y="147"/>
                    <a:pt x="234" y="133"/>
                  </a:cubicBezTo>
                  <a:cubicBezTo>
                    <a:pt x="230" y="119"/>
                    <a:pt x="228" y="113"/>
                    <a:pt x="222" y="105"/>
                  </a:cubicBezTo>
                  <a:cubicBezTo>
                    <a:pt x="216" y="97"/>
                    <a:pt x="223" y="86"/>
                    <a:pt x="223" y="74"/>
                  </a:cubicBezTo>
                  <a:cubicBezTo>
                    <a:pt x="223" y="62"/>
                    <a:pt x="242" y="55"/>
                    <a:pt x="251" y="46"/>
                  </a:cubicBezTo>
                  <a:cubicBezTo>
                    <a:pt x="256" y="40"/>
                    <a:pt x="256" y="27"/>
                    <a:pt x="255" y="16"/>
                  </a:cubicBezTo>
                  <a:cubicBezTo>
                    <a:pt x="246" y="12"/>
                    <a:pt x="238" y="8"/>
                    <a:pt x="230" y="8"/>
                  </a:cubicBezTo>
                  <a:cubicBezTo>
                    <a:pt x="209" y="5"/>
                    <a:pt x="196" y="0"/>
                    <a:pt x="187" y="6"/>
                  </a:cubicBezTo>
                  <a:cubicBezTo>
                    <a:pt x="179" y="12"/>
                    <a:pt x="179" y="12"/>
                    <a:pt x="161" y="8"/>
                  </a:cubicBezTo>
                  <a:cubicBezTo>
                    <a:pt x="144" y="3"/>
                    <a:pt x="134" y="9"/>
                    <a:pt x="127" y="13"/>
                  </a:cubicBezTo>
                  <a:cubicBezTo>
                    <a:pt x="120" y="18"/>
                    <a:pt x="123" y="13"/>
                    <a:pt x="84" y="8"/>
                  </a:cubicBezTo>
                  <a:cubicBezTo>
                    <a:pt x="77" y="6"/>
                    <a:pt x="70" y="5"/>
                    <a:pt x="64" y="3"/>
                  </a:cubicBezTo>
                  <a:cubicBezTo>
                    <a:pt x="65" y="8"/>
                    <a:pt x="64" y="12"/>
                    <a:pt x="61" y="15"/>
                  </a:cubicBezTo>
                  <a:cubicBezTo>
                    <a:pt x="51" y="25"/>
                    <a:pt x="49" y="31"/>
                    <a:pt x="49" y="39"/>
                  </a:cubicBezTo>
                  <a:cubicBezTo>
                    <a:pt x="49" y="47"/>
                    <a:pt x="60" y="69"/>
                    <a:pt x="45" y="71"/>
                  </a:cubicBezTo>
                  <a:cubicBezTo>
                    <a:pt x="30" y="73"/>
                    <a:pt x="14" y="73"/>
                    <a:pt x="7" y="87"/>
                  </a:cubicBezTo>
                  <a:cubicBezTo>
                    <a:pt x="0" y="101"/>
                    <a:pt x="1" y="135"/>
                    <a:pt x="7" y="141"/>
                  </a:cubicBezTo>
                  <a:cubicBezTo>
                    <a:pt x="13" y="147"/>
                    <a:pt x="27" y="149"/>
                    <a:pt x="32" y="161"/>
                  </a:cubicBezTo>
                  <a:cubicBezTo>
                    <a:pt x="37" y="173"/>
                    <a:pt x="49" y="177"/>
                    <a:pt x="49" y="192"/>
                  </a:cubicBezTo>
                  <a:cubicBezTo>
                    <a:pt x="49" y="207"/>
                    <a:pt x="52" y="213"/>
                    <a:pt x="59" y="222"/>
                  </a:cubicBezTo>
                  <a:cubicBezTo>
                    <a:pt x="66" y="231"/>
                    <a:pt x="70" y="233"/>
                    <a:pt x="73" y="245"/>
                  </a:cubicBezTo>
                  <a:cubicBezTo>
                    <a:pt x="76" y="257"/>
                    <a:pt x="89" y="253"/>
                    <a:pt x="96" y="259"/>
                  </a:cubicBezTo>
                  <a:cubicBezTo>
                    <a:pt x="100" y="262"/>
                    <a:pt x="102" y="267"/>
                    <a:pt x="104" y="272"/>
                  </a:cubicBezTo>
                  <a:cubicBezTo>
                    <a:pt x="115" y="272"/>
                    <a:pt x="125" y="271"/>
                    <a:pt x="125" y="265"/>
                  </a:cubicBezTo>
                  <a:cubicBezTo>
                    <a:pt x="125" y="252"/>
                    <a:pt x="125" y="234"/>
                    <a:pt x="140" y="234"/>
                  </a:cubicBezTo>
                  <a:cubicBezTo>
                    <a:pt x="155" y="234"/>
                    <a:pt x="165" y="236"/>
                    <a:pt x="170" y="231"/>
                  </a:cubicBezTo>
                  <a:cubicBezTo>
                    <a:pt x="175" y="226"/>
                    <a:pt x="197" y="221"/>
                    <a:pt x="201" y="230"/>
                  </a:cubicBezTo>
                  <a:cubicBezTo>
                    <a:pt x="204" y="237"/>
                    <a:pt x="210" y="250"/>
                    <a:pt x="224" y="254"/>
                  </a:cubicBezTo>
                  <a:cubicBezTo>
                    <a:pt x="225" y="251"/>
                    <a:pt x="226" y="248"/>
                    <a:pt x="227" y="245"/>
                  </a:cubicBezTo>
                  <a:cubicBezTo>
                    <a:pt x="229" y="236"/>
                    <a:pt x="231" y="226"/>
                    <a:pt x="242" y="21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8" name="Freeform 458">
              <a:extLst>
                <a:ext uri="{FF2B5EF4-FFF2-40B4-BE49-F238E27FC236}">
                  <a16:creationId xmlns:a16="http://schemas.microsoft.com/office/drawing/2014/main" id="{C84334DB-69E5-1640-AD94-6107D4B90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" y="2892"/>
              <a:ext cx="137" cy="142"/>
            </a:xfrm>
            <a:custGeom>
              <a:avLst/>
              <a:gdLst>
                <a:gd name="T0" fmla="*/ 537 w 539"/>
                <a:gd name="T1" fmla="*/ 333 h 561"/>
                <a:gd name="T2" fmla="*/ 519 w 539"/>
                <a:gd name="T3" fmla="*/ 307 h 561"/>
                <a:gd name="T4" fmla="*/ 498 w 539"/>
                <a:gd name="T5" fmla="*/ 316 h 561"/>
                <a:gd name="T6" fmla="*/ 463 w 539"/>
                <a:gd name="T7" fmla="*/ 317 h 561"/>
                <a:gd name="T8" fmla="*/ 445 w 539"/>
                <a:gd name="T9" fmla="*/ 264 h 561"/>
                <a:gd name="T10" fmla="*/ 430 w 539"/>
                <a:gd name="T11" fmla="*/ 217 h 561"/>
                <a:gd name="T12" fmla="*/ 406 w 539"/>
                <a:gd name="T13" fmla="*/ 196 h 561"/>
                <a:gd name="T14" fmla="*/ 385 w 539"/>
                <a:gd name="T15" fmla="*/ 202 h 561"/>
                <a:gd name="T16" fmla="*/ 350 w 539"/>
                <a:gd name="T17" fmla="*/ 206 h 561"/>
                <a:gd name="T18" fmla="*/ 314 w 539"/>
                <a:gd name="T19" fmla="*/ 197 h 561"/>
                <a:gd name="T20" fmla="*/ 299 w 539"/>
                <a:gd name="T21" fmla="*/ 177 h 561"/>
                <a:gd name="T22" fmla="*/ 300 w 539"/>
                <a:gd name="T23" fmla="*/ 140 h 561"/>
                <a:gd name="T24" fmla="*/ 303 w 539"/>
                <a:gd name="T25" fmla="*/ 105 h 561"/>
                <a:gd name="T26" fmla="*/ 289 w 539"/>
                <a:gd name="T27" fmla="*/ 77 h 561"/>
                <a:gd name="T28" fmla="*/ 296 w 539"/>
                <a:gd name="T29" fmla="*/ 54 h 561"/>
                <a:gd name="T30" fmla="*/ 299 w 539"/>
                <a:gd name="T31" fmla="*/ 45 h 561"/>
                <a:gd name="T32" fmla="*/ 275 w 539"/>
                <a:gd name="T33" fmla="*/ 36 h 561"/>
                <a:gd name="T34" fmla="*/ 237 w 539"/>
                <a:gd name="T35" fmla="*/ 9 h 561"/>
                <a:gd name="T36" fmla="*/ 176 w 539"/>
                <a:gd name="T37" fmla="*/ 2 h 561"/>
                <a:gd name="T38" fmla="*/ 141 w 539"/>
                <a:gd name="T39" fmla="*/ 11 h 561"/>
                <a:gd name="T40" fmla="*/ 91 w 539"/>
                <a:gd name="T41" fmla="*/ 20 h 561"/>
                <a:gd name="T42" fmla="*/ 61 w 539"/>
                <a:gd name="T43" fmla="*/ 31 h 561"/>
                <a:gd name="T44" fmla="*/ 34 w 539"/>
                <a:gd name="T45" fmla="*/ 75 h 561"/>
                <a:gd name="T46" fmla="*/ 23 w 539"/>
                <a:gd name="T47" fmla="*/ 127 h 561"/>
                <a:gd name="T48" fmla="*/ 17 w 539"/>
                <a:gd name="T49" fmla="*/ 152 h 561"/>
                <a:gd name="T50" fmla="*/ 5 w 539"/>
                <a:gd name="T51" fmla="*/ 175 h 561"/>
                <a:gd name="T52" fmla="*/ 0 w 539"/>
                <a:gd name="T53" fmla="*/ 193 h 561"/>
                <a:gd name="T54" fmla="*/ 18 w 539"/>
                <a:gd name="T55" fmla="*/ 218 h 561"/>
                <a:gd name="T56" fmla="*/ 44 w 539"/>
                <a:gd name="T57" fmla="*/ 252 h 561"/>
                <a:gd name="T58" fmla="*/ 75 w 539"/>
                <a:gd name="T59" fmla="*/ 279 h 561"/>
                <a:gd name="T60" fmla="*/ 104 w 539"/>
                <a:gd name="T61" fmla="*/ 305 h 561"/>
                <a:gd name="T62" fmla="*/ 159 w 539"/>
                <a:gd name="T63" fmla="*/ 321 h 561"/>
                <a:gd name="T64" fmla="*/ 235 w 539"/>
                <a:gd name="T65" fmla="*/ 371 h 561"/>
                <a:gd name="T66" fmla="*/ 306 w 539"/>
                <a:gd name="T67" fmla="*/ 400 h 561"/>
                <a:gd name="T68" fmla="*/ 315 w 539"/>
                <a:gd name="T69" fmla="*/ 432 h 561"/>
                <a:gd name="T70" fmla="*/ 300 w 539"/>
                <a:gd name="T71" fmla="*/ 454 h 561"/>
                <a:gd name="T72" fmla="*/ 286 w 539"/>
                <a:gd name="T73" fmla="*/ 480 h 561"/>
                <a:gd name="T74" fmla="*/ 264 w 539"/>
                <a:gd name="T75" fmla="*/ 527 h 561"/>
                <a:gd name="T76" fmla="*/ 284 w 539"/>
                <a:gd name="T77" fmla="*/ 547 h 561"/>
                <a:gd name="T78" fmla="*/ 328 w 539"/>
                <a:gd name="T79" fmla="*/ 554 h 561"/>
                <a:gd name="T80" fmla="*/ 374 w 539"/>
                <a:gd name="T81" fmla="*/ 559 h 561"/>
                <a:gd name="T82" fmla="*/ 405 w 539"/>
                <a:gd name="T83" fmla="*/ 550 h 561"/>
                <a:gd name="T84" fmla="*/ 433 w 539"/>
                <a:gd name="T85" fmla="*/ 551 h 561"/>
                <a:gd name="T86" fmla="*/ 451 w 539"/>
                <a:gd name="T87" fmla="*/ 534 h 561"/>
                <a:gd name="T88" fmla="*/ 496 w 539"/>
                <a:gd name="T89" fmla="*/ 504 h 561"/>
                <a:gd name="T90" fmla="*/ 511 w 539"/>
                <a:gd name="T91" fmla="*/ 446 h 561"/>
                <a:gd name="T92" fmla="*/ 513 w 539"/>
                <a:gd name="T93" fmla="*/ 410 h 561"/>
                <a:gd name="T94" fmla="*/ 529 w 539"/>
                <a:gd name="T95" fmla="*/ 368 h 561"/>
                <a:gd name="T96" fmla="*/ 537 w 539"/>
                <a:gd name="T97" fmla="*/ 33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9" h="561">
                  <a:moveTo>
                    <a:pt x="537" y="333"/>
                  </a:moveTo>
                  <a:cubicBezTo>
                    <a:pt x="537" y="318"/>
                    <a:pt x="529" y="313"/>
                    <a:pt x="519" y="307"/>
                  </a:cubicBezTo>
                  <a:cubicBezTo>
                    <a:pt x="509" y="301"/>
                    <a:pt x="504" y="306"/>
                    <a:pt x="498" y="316"/>
                  </a:cubicBezTo>
                  <a:cubicBezTo>
                    <a:pt x="492" y="326"/>
                    <a:pt x="478" y="320"/>
                    <a:pt x="463" y="317"/>
                  </a:cubicBezTo>
                  <a:cubicBezTo>
                    <a:pt x="448" y="314"/>
                    <a:pt x="449" y="281"/>
                    <a:pt x="445" y="264"/>
                  </a:cubicBezTo>
                  <a:cubicBezTo>
                    <a:pt x="441" y="247"/>
                    <a:pt x="431" y="233"/>
                    <a:pt x="430" y="217"/>
                  </a:cubicBezTo>
                  <a:cubicBezTo>
                    <a:pt x="429" y="201"/>
                    <a:pt x="418" y="207"/>
                    <a:pt x="406" y="196"/>
                  </a:cubicBezTo>
                  <a:cubicBezTo>
                    <a:pt x="394" y="185"/>
                    <a:pt x="388" y="195"/>
                    <a:pt x="385" y="202"/>
                  </a:cubicBezTo>
                  <a:cubicBezTo>
                    <a:pt x="382" y="209"/>
                    <a:pt x="361" y="210"/>
                    <a:pt x="350" y="206"/>
                  </a:cubicBezTo>
                  <a:cubicBezTo>
                    <a:pt x="339" y="202"/>
                    <a:pt x="333" y="199"/>
                    <a:pt x="314" y="197"/>
                  </a:cubicBezTo>
                  <a:cubicBezTo>
                    <a:pt x="295" y="195"/>
                    <a:pt x="302" y="186"/>
                    <a:pt x="299" y="177"/>
                  </a:cubicBezTo>
                  <a:cubicBezTo>
                    <a:pt x="296" y="168"/>
                    <a:pt x="296" y="150"/>
                    <a:pt x="300" y="140"/>
                  </a:cubicBezTo>
                  <a:cubicBezTo>
                    <a:pt x="304" y="130"/>
                    <a:pt x="301" y="120"/>
                    <a:pt x="303" y="105"/>
                  </a:cubicBezTo>
                  <a:cubicBezTo>
                    <a:pt x="305" y="90"/>
                    <a:pt x="300" y="87"/>
                    <a:pt x="289" y="77"/>
                  </a:cubicBezTo>
                  <a:cubicBezTo>
                    <a:pt x="279" y="67"/>
                    <a:pt x="288" y="65"/>
                    <a:pt x="296" y="54"/>
                  </a:cubicBezTo>
                  <a:cubicBezTo>
                    <a:pt x="299" y="50"/>
                    <a:pt x="299" y="47"/>
                    <a:pt x="299" y="45"/>
                  </a:cubicBezTo>
                  <a:cubicBezTo>
                    <a:pt x="290" y="45"/>
                    <a:pt x="283" y="44"/>
                    <a:pt x="275" y="36"/>
                  </a:cubicBezTo>
                  <a:cubicBezTo>
                    <a:pt x="265" y="24"/>
                    <a:pt x="245" y="16"/>
                    <a:pt x="237" y="9"/>
                  </a:cubicBezTo>
                  <a:cubicBezTo>
                    <a:pt x="230" y="2"/>
                    <a:pt x="197" y="4"/>
                    <a:pt x="176" y="2"/>
                  </a:cubicBezTo>
                  <a:cubicBezTo>
                    <a:pt x="155" y="0"/>
                    <a:pt x="149" y="5"/>
                    <a:pt x="141" y="11"/>
                  </a:cubicBezTo>
                  <a:cubicBezTo>
                    <a:pt x="133" y="17"/>
                    <a:pt x="109" y="19"/>
                    <a:pt x="91" y="20"/>
                  </a:cubicBezTo>
                  <a:cubicBezTo>
                    <a:pt x="73" y="20"/>
                    <a:pt x="75" y="24"/>
                    <a:pt x="61" y="31"/>
                  </a:cubicBezTo>
                  <a:cubicBezTo>
                    <a:pt x="46" y="38"/>
                    <a:pt x="47" y="64"/>
                    <a:pt x="34" y="75"/>
                  </a:cubicBezTo>
                  <a:cubicBezTo>
                    <a:pt x="21" y="86"/>
                    <a:pt x="23" y="110"/>
                    <a:pt x="23" y="127"/>
                  </a:cubicBezTo>
                  <a:cubicBezTo>
                    <a:pt x="22" y="144"/>
                    <a:pt x="22" y="146"/>
                    <a:pt x="17" y="152"/>
                  </a:cubicBezTo>
                  <a:cubicBezTo>
                    <a:pt x="11" y="158"/>
                    <a:pt x="7" y="165"/>
                    <a:pt x="5" y="175"/>
                  </a:cubicBezTo>
                  <a:cubicBezTo>
                    <a:pt x="4" y="180"/>
                    <a:pt x="2" y="187"/>
                    <a:pt x="0" y="193"/>
                  </a:cubicBezTo>
                  <a:cubicBezTo>
                    <a:pt x="8" y="200"/>
                    <a:pt x="10" y="211"/>
                    <a:pt x="18" y="218"/>
                  </a:cubicBezTo>
                  <a:cubicBezTo>
                    <a:pt x="29" y="228"/>
                    <a:pt x="34" y="237"/>
                    <a:pt x="44" y="252"/>
                  </a:cubicBezTo>
                  <a:cubicBezTo>
                    <a:pt x="54" y="267"/>
                    <a:pt x="62" y="274"/>
                    <a:pt x="75" y="279"/>
                  </a:cubicBezTo>
                  <a:cubicBezTo>
                    <a:pt x="88" y="284"/>
                    <a:pt x="97" y="291"/>
                    <a:pt x="104" y="305"/>
                  </a:cubicBezTo>
                  <a:cubicBezTo>
                    <a:pt x="111" y="319"/>
                    <a:pt x="135" y="322"/>
                    <a:pt x="159" y="321"/>
                  </a:cubicBezTo>
                  <a:cubicBezTo>
                    <a:pt x="183" y="320"/>
                    <a:pt x="214" y="357"/>
                    <a:pt x="235" y="371"/>
                  </a:cubicBezTo>
                  <a:cubicBezTo>
                    <a:pt x="256" y="385"/>
                    <a:pt x="291" y="386"/>
                    <a:pt x="306" y="400"/>
                  </a:cubicBezTo>
                  <a:cubicBezTo>
                    <a:pt x="321" y="414"/>
                    <a:pt x="320" y="418"/>
                    <a:pt x="315" y="432"/>
                  </a:cubicBezTo>
                  <a:cubicBezTo>
                    <a:pt x="310" y="446"/>
                    <a:pt x="311" y="446"/>
                    <a:pt x="300" y="454"/>
                  </a:cubicBezTo>
                  <a:cubicBezTo>
                    <a:pt x="289" y="462"/>
                    <a:pt x="287" y="458"/>
                    <a:pt x="286" y="480"/>
                  </a:cubicBezTo>
                  <a:cubicBezTo>
                    <a:pt x="285" y="502"/>
                    <a:pt x="286" y="507"/>
                    <a:pt x="264" y="527"/>
                  </a:cubicBezTo>
                  <a:cubicBezTo>
                    <a:pt x="242" y="547"/>
                    <a:pt x="261" y="547"/>
                    <a:pt x="284" y="547"/>
                  </a:cubicBezTo>
                  <a:cubicBezTo>
                    <a:pt x="307" y="547"/>
                    <a:pt x="314" y="550"/>
                    <a:pt x="328" y="554"/>
                  </a:cubicBezTo>
                  <a:cubicBezTo>
                    <a:pt x="342" y="558"/>
                    <a:pt x="356" y="557"/>
                    <a:pt x="374" y="559"/>
                  </a:cubicBezTo>
                  <a:cubicBezTo>
                    <a:pt x="392" y="561"/>
                    <a:pt x="394" y="560"/>
                    <a:pt x="405" y="550"/>
                  </a:cubicBezTo>
                  <a:cubicBezTo>
                    <a:pt x="416" y="540"/>
                    <a:pt x="425" y="548"/>
                    <a:pt x="433" y="551"/>
                  </a:cubicBezTo>
                  <a:cubicBezTo>
                    <a:pt x="441" y="554"/>
                    <a:pt x="450" y="549"/>
                    <a:pt x="451" y="534"/>
                  </a:cubicBezTo>
                  <a:cubicBezTo>
                    <a:pt x="452" y="519"/>
                    <a:pt x="475" y="519"/>
                    <a:pt x="496" y="504"/>
                  </a:cubicBezTo>
                  <a:cubicBezTo>
                    <a:pt x="517" y="489"/>
                    <a:pt x="511" y="463"/>
                    <a:pt x="511" y="446"/>
                  </a:cubicBezTo>
                  <a:cubicBezTo>
                    <a:pt x="511" y="429"/>
                    <a:pt x="512" y="422"/>
                    <a:pt x="513" y="410"/>
                  </a:cubicBezTo>
                  <a:cubicBezTo>
                    <a:pt x="514" y="398"/>
                    <a:pt x="519" y="387"/>
                    <a:pt x="529" y="368"/>
                  </a:cubicBezTo>
                  <a:cubicBezTo>
                    <a:pt x="539" y="349"/>
                    <a:pt x="537" y="348"/>
                    <a:pt x="537" y="33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29" name="Freeform 459">
              <a:extLst>
                <a:ext uri="{FF2B5EF4-FFF2-40B4-BE49-F238E27FC236}">
                  <a16:creationId xmlns:a16="http://schemas.microsoft.com/office/drawing/2014/main" id="{24C5B8ED-0C24-8747-9E5B-D1DAEB236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" y="2734"/>
              <a:ext cx="196" cy="226"/>
            </a:xfrm>
            <a:custGeom>
              <a:avLst/>
              <a:gdLst>
                <a:gd name="T0" fmla="*/ 469 w 772"/>
                <a:gd name="T1" fmla="*/ 753 h 894"/>
                <a:gd name="T2" fmla="*/ 507 w 772"/>
                <a:gd name="T3" fmla="*/ 657 h 894"/>
                <a:gd name="T4" fmla="*/ 587 w 772"/>
                <a:gd name="T5" fmla="*/ 637 h 894"/>
                <a:gd name="T6" fmla="*/ 683 w 772"/>
                <a:gd name="T7" fmla="*/ 635 h 894"/>
                <a:gd name="T8" fmla="*/ 745 w 772"/>
                <a:gd name="T9" fmla="*/ 671 h 894"/>
                <a:gd name="T10" fmla="*/ 747 w 772"/>
                <a:gd name="T11" fmla="*/ 631 h 894"/>
                <a:gd name="T12" fmla="*/ 759 w 772"/>
                <a:gd name="T13" fmla="*/ 581 h 894"/>
                <a:gd name="T14" fmla="*/ 761 w 772"/>
                <a:gd name="T15" fmla="*/ 540 h 894"/>
                <a:gd name="T16" fmla="*/ 735 w 772"/>
                <a:gd name="T17" fmla="*/ 505 h 894"/>
                <a:gd name="T18" fmla="*/ 709 w 772"/>
                <a:gd name="T19" fmla="*/ 474 h 894"/>
                <a:gd name="T20" fmla="*/ 715 w 772"/>
                <a:gd name="T21" fmla="*/ 432 h 894"/>
                <a:gd name="T22" fmla="*/ 598 w 772"/>
                <a:gd name="T23" fmla="*/ 383 h 894"/>
                <a:gd name="T24" fmla="*/ 590 w 772"/>
                <a:gd name="T25" fmla="*/ 347 h 894"/>
                <a:gd name="T26" fmla="*/ 587 w 772"/>
                <a:gd name="T27" fmla="*/ 309 h 894"/>
                <a:gd name="T28" fmla="*/ 571 w 772"/>
                <a:gd name="T29" fmla="*/ 260 h 894"/>
                <a:gd name="T30" fmla="*/ 489 w 772"/>
                <a:gd name="T31" fmla="*/ 242 h 894"/>
                <a:gd name="T32" fmla="*/ 426 w 772"/>
                <a:gd name="T33" fmla="*/ 206 h 894"/>
                <a:gd name="T34" fmla="*/ 351 w 772"/>
                <a:gd name="T35" fmla="*/ 186 h 894"/>
                <a:gd name="T36" fmla="*/ 306 w 772"/>
                <a:gd name="T37" fmla="*/ 158 h 894"/>
                <a:gd name="T38" fmla="*/ 272 w 772"/>
                <a:gd name="T39" fmla="*/ 113 h 894"/>
                <a:gd name="T40" fmla="*/ 265 w 772"/>
                <a:gd name="T41" fmla="*/ 65 h 894"/>
                <a:gd name="T42" fmla="*/ 274 w 772"/>
                <a:gd name="T43" fmla="*/ 34 h 894"/>
                <a:gd name="T44" fmla="*/ 259 w 772"/>
                <a:gd name="T45" fmla="*/ 5 h 894"/>
                <a:gd name="T46" fmla="*/ 204 w 772"/>
                <a:gd name="T47" fmla="*/ 15 h 894"/>
                <a:gd name="T48" fmla="*/ 155 w 772"/>
                <a:gd name="T49" fmla="*/ 42 h 894"/>
                <a:gd name="T50" fmla="*/ 102 w 772"/>
                <a:gd name="T51" fmla="*/ 68 h 894"/>
                <a:gd name="T52" fmla="*/ 55 w 772"/>
                <a:gd name="T53" fmla="*/ 91 h 894"/>
                <a:gd name="T54" fmla="*/ 7 w 772"/>
                <a:gd name="T55" fmla="*/ 85 h 894"/>
                <a:gd name="T56" fmla="*/ 30 w 772"/>
                <a:gd name="T57" fmla="*/ 131 h 894"/>
                <a:gd name="T58" fmla="*/ 57 w 772"/>
                <a:gd name="T59" fmla="*/ 190 h 894"/>
                <a:gd name="T60" fmla="*/ 37 w 772"/>
                <a:gd name="T61" fmla="*/ 247 h 894"/>
                <a:gd name="T62" fmla="*/ 45 w 772"/>
                <a:gd name="T63" fmla="*/ 300 h 894"/>
                <a:gd name="T64" fmla="*/ 16 w 772"/>
                <a:gd name="T65" fmla="*/ 350 h 894"/>
                <a:gd name="T66" fmla="*/ 17 w 772"/>
                <a:gd name="T67" fmla="*/ 407 h 894"/>
                <a:gd name="T68" fmla="*/ 30 w 772"/>
                <a:gd name="T69" fmla="*/ 466 h 894"/>
                <a:gd name="T70" fmla="*/ 9 w 772"/>
                <a:gd name="T71" fmla="*/ 522 h 894"/>
                <a:gd name="T72" fmla="*/ 37 w 772"/>
                <a:gd name="T73" fmla="*/ 578 h 894"/>
                <a:gd name="T74" fmla="*/ 71 w 772"/>
                <a:gd name="T75" fmla="*/ 642 h 894"/>
                <a:gd name="T76" fmla="*/ 61 w 772"/>
                <a:gd name="T77" fmla="*/ 686 h 894"/>
                <a:gd name="T78" fmla="*/ 77 w 772"/>
                <a:gd name="T79" fmla="*/ 749 h 894"/>
                <a:gd name="T80" fmla="*/ 109 w 772"/>
                <a:gd name="T81" fmla="*/ 831 h 894"/>
                <a:gd name="T82" fmla="*/ 158 w 772"/>
                <a:gd name="T83" fmla="*/ 869 h 894"/>
                <a:gd name="T84" fmla="*/ 210 w 772"/>
                <a:gd name="T85" fmla="*/ 808 h 894"/>
                <a:gd name="T86" fmla="*/ 291 w 772"/>
                <a:gd name="T87" fmla="*/ 817 h 894"/>
                <a:gd name="T88" fmla="*/ 337 w 772"/>
                <a:gd name="T89" fmla="*/ 871 h 894"/>
                <a:gd name="T90" fmla="*/ 369 w 772"/>
                <a:gd name="T91" fmla="*/ 814 h 894"/>
                <a:gd name="T92" fmla="*/ 446 w 772"/>
                <a:gd name="T93" fmla="*/ 819 h 894"/>
                <a:gd name="T94" fmla="*/ 463 w 772"/>
                <a:gd name="T95" fmla="*/ 778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2" h="894">
                  <a:moveTo>
                    <a:pt x="463" y="778"/>
                  </a:moveTo>
                  <a:cubicBezTo>
                    <a:pt x="468" y="772"/>
                    <a:pt x="468" y="770"/>
                    <a:pt x="469" y="753"/>
                  </a:cubicBezTo>
                  <a:cubicBezTo>
                    <a:pt x="469" y="736"/>
                    <a:pt x="467" y="712"/>
                    <a:pt x="480" y="701"/>
                  </a:cubicBezTo>
                  <a:cubicBezTo>
                    <a:pt x="493" y="690"/>
                    <a:pt x="492" y="664"/>
                    <a:pt x="507" y="657"/>
                  </a:cubicBezTo>
                  <a:cubicBezTo>
                    <a:pt x="521" y="650"/>
                    <a:pt x="519" y="646"/>
                    <a:pt x="537" y="646"/>
                  </a:cubicBezTo>
                  <a:cubicBezTo>
                    <a:pt x="555" y="645"/>
                    <a:pt x="579" y="643"/>
                    <a:pt x="587" y="637"/>
                  </a:cubicBezTo>
                  <a:cubicBezTo>
                    <a:pt x="595" y="631"/>
                    <a:pt x="601" y="626"/>
                    <a:pt x="622" y="628"/>
                  </a:cubicBezTo>
                  <a:cubicBezTo>
                    <a:pt x="643" y="630"/>
                    <a:pt x="676" y="628"/>
                    <a:pt x="683" y="635"/>
                  </a:cubicBezTo>
                  <a:cubicBezTo>
                    <a:pt x="691" y="642"/>
                    <a:pt x="711" y="650"/>
                    <a:pt x="721" y="662"/>
                  </a:cubicBezTo>
                  <a:cubicBezTo>
                    <a:pt x="729" y="670"/>
                    <a:pt x="736" y="671"/>
                    <a:pt x="745" y="671"/>
                  </a:cubicBezTo>
                  <a:cubicBezTo>
                    <a:pt x="744" y="667"/>
                    <a:pt x="741" y="665"/>
                    <a:pt x="739" y="660"/>
                  </a:cubicBezTo>
                  <a:cubicBezTo>
                    <a:pt x="737" y="651"/>
                    <a:pt x="740" y="639"/>
                    <a:pt x="747" y="631"/>
                  </a:cubicBezTo>
                  <a:cubicBezTo>
                    <a:pt x="754" y="623"/>
                    <a:pt x="756" y="620"/>
                    <a:pt x="755" y="613"/>
                  </a:cubicBezTo>
                  <a:cubicBezTo>
                    <a:pt x="755" y="605"/>
                    <a:pt x="759" y="591"/>
                    <a:pt x="759" y="581"/>
                  </a:cubicBezTo>
                  <a:cubicBezTo>
                    <a:pt x="759" y="571"/>
                    <a:pt x="769" y="569"/>
                    <a:pt x="771" y="560"/>
                  </a:cubicBezTo>
                  <a:cubicBezTo>
                    <a:pt x="772" y="552"/>
                    <a:pt x="766" y="544"/>
                    <a:pt x="761" y="540"/>
                  </a:cubicBezTo>
                  <a:cubicBezTo>
                    <a:pt x="755" y="536"/>
                    <a:pt x="757" y="533"/>
                    <a:pt x="757" y="522"/>
                  </a:cubicBezTo>
                  <a:cubicBezTo>
                    <a:pt x="757" y="512"/>
                    <a:pt x="744" y="508"/>
                    <a:pt x="735" y="505"/>
                  </a:cubicBezTo>
                  <a:cubicBezTo>
                    <a:pt x="726" y="502"/>
                    <a:pt x="718" y="499"/>
                    <a:pt x="717" y="495"/>
                  </a:cubicBezTo>
                  <a:cubicBezTo>
                    <a:pt x="715" y="491"/>
                    <a:pt x="710" y="481"/>
                    <a:pt x="709" y="474"/>
                  </a:cubicBezTo>
                  <a:cubicBezTo>
                    <a:pt x="709" y="467"/>
                    <a:pt x="708" y="461"/>
                    <a:pt x="714" y="455"/>
                  </a:cubicBezTo>
                  <a:cubicBezTo>
                    <a:pt x="720" y="449"/>
                    <a:pt x="715" y="432"/>
                    <a:pt x="715" y="432"/>
                  </a:cubicBezTo>
                  <a:cubicBezTo>
                    <a:pt x="598" y="432"/>
                    <a:pt x="598" y="432"/>
                    <a:pt x="598" y="432"/>
                  </a:cubicBezTo>
                  <a:cubicBezTo>
                    <a:pt x="598" y="432"/>
                    <a:pt x="598" y="398"/>
                    <a:pt x="598" y="383"/>
                  </a:cubicBezTo>
                  <a:cubicBezTo>
                    <a:pt x="602" y="369"/>
                    <a:pt x="592" y="372"/>
                    <a:pt x="585" y="364"/>
                  </a:cubicBezTo>
                  <a:cubicBezTo>
                    <a:pt x="578" y="356"/>
                    <a:pt x="581" y="352"/>
                    <a:pt x="590" y="347"/>
                  </a:cubicBezTo>
                  <a:cubicBezTo>
                    <a:pt x="598" y="342"/>
                    <a:pt x="595" y="333"/>
                    <a:pt x="591" y="326"/>
                  </a:cubicBezTo>
                  <a:cubicBezTo>
                    <a:pt x="587" y="319"/>
                    <a:pt x="594" y="316"/>
                    <a:pt x="587" y="309"/>
                  </a:cubicBezTo>
                  <a:cubicBezTo>
                    <a:pt x="580" y="301"/>
                    <a:pt x="585" y="297"/>
                    <a:pt x="586" y="286"/>
                  </a:cubicBezTo>
                  <a:cubicBezTo>
                    <a:pt x="587" y="276"/>
                    <a:pt x="579" y="268"/>
                    <a:pt x="571" y="260"/>
                  </a:cubicBezTo>
                  <a:cubicBezTo>
                    <a:pt x="563" y="251"/>
                    <a:pt x="545" y="254"/>
                    <a:pt x="529" y="254"/>
                  </a:cubicBezTo>
                  <a:cubicBezTo>
                    <a:pt x="514" y="254"/>
                    <a:pt x="493" y="252"/>
                    <a:pt x="489" y="242"/>
                  </a:cubicBezTo>
                  <a:cubicBezTo>
                    <a:pt x="484" y="231"/>
                    <a:pt x="462" y="223"/>
                    <a:pt x="450" y="222"/>
                  </a:cubicBezTo>
                  <a:cubicBezTo>
                    <a:pt x="438" y="221"/>
                    <a:pt x="432" y="218"/>
                    <a:pt x="426" y="206"/>
                  </a:cubicBezTo>
                  <a:cubicBezTo>
                    <a:pt x="420" y="195"/>
                    <a:pt x="402" y="200"/>
                    <a:pt x="394" y="190"/>
                  </a:cubicBezTo>
                  <a:cubicBezTo>
                    <a:pt x="385" y="181"/>
                    <a:pt x="364" y="187"/>
                    <a:pt x="351" y="186"/>
                  </a:cubicBezTo>
                  <a:cubicBezTo>
                    <a:pt x="338" y="185"/>
                    <a:pt x="329" y="183"/>
                    <a:pt x="326" y="176"/>
                  </a:cubicBezTo>
                  <a:cubicBezTo>
                    <a:pt x="323" y="168"/>
                    <a:pt x="315" y="162"/>
                    <a:pt x="306" y="158"/>
                  </a:cubicBezTo>
                  <a:cubicBezTo>
                    <a:pt x="298" y="153"/>
                    <a:pt x="291" y="143"/>
                    <a:pt x="287" y="134"/>
                  </a:cubicBezTo>
                  <a:cubicBezTo>
                    <a:pt x="284" y="125"/>
                    <a:pt x="279" y="120"/>
                    <a:pt x="272" y="113"/>
                  </a:cubicBezTo>
                  <a:cubicBezTo>
                    <a:pt x="266" y="105"/>
                    <a:pt x="268" y="97"/>
                    <a:pt x="269" y="88"/>
                  </a:cubicBezTo>
                  <a:cubicBezTo>
                    <a:pt x="270" y="79"/>
                    <a:pt x="269" y="74"/>
                    <a:pt x="265" y="65"/>
                  </a:cubicBezTo>
                  <a:cubicBezTo>
                    <a:pt x="261" y="56"/>
                    <a:pt x="267" y="56"/>
                    <a:pt x="266" y="51"/>
                  </a:cubicBezTo>
                  <a:cubicBezTo>
                    <a:pt x="266" y="46"/>
                    <a:pt x="268" y="40"/>
                    <a:pt x="274" y="34"/>
                  </a:cubicBezTo>
                  <a:cubicBezTo>
                    <a:pt x="280" y="28"/>
                    <a:pt x="275" y="18"/>
                    <a:pt x="273" y="11"/>
                  </a:cubicBezTo>
                  <a:cubicBezTo>
                    <a:pt x="270" y="3"/>
                    <a:pt x="263" y="0"/>
                    <a:pt x="259" y="5"/>
                  </a:cubicBezTo>
                  <a:cubicBezTo>
                    <a:pt x="254" y="10"/>
                    <a:pt x="239" y="8"/>
                    <a:pt x="230" y="8"/>
                  </a:cubicBezTo>
                  <a:cubicBezTo>
                    <a:pt x="222" y="8"/>
                    <a:pt x="209" y="9"/>
                    <a:pt x="204" y="15"/>
                  </a:cubicBezTo>
                  <a:cubicBezTo>
                    <a:pt x="199" y="21"/>
                    <a:pt x="181" y="22"/>
                    <a:pt x="177" y="28"/>
                  </a:cubicBezTo>
                  <a:cubicBezTo>
                    <a:pt x="172" y="35"/>
                    <a:pt x="167" y="40"/>
                    <a:pt x="155" y="42"/>
                  </a:cubicBezTo>
                  <a:cubicBezTo>
                    <a:pt x="144" y="45"/>
                    <a:pt x="136" y="50"/>
                    <a:pt x="130" y="59"/>
                  </a:cubicBezTo>
                  <a:cubicBezTo>
                    <a:pt x="125" y="68"/>
                    <a:pt x="113" y="65"/>
                    <a:pt x="102" y="68"/>
                  </a:cubicBezTo>
                  <a:cubicBezTo>
                    <a:pt x="92" y="71"/>
                    <a:pt x="83" y="79"/>
                    <a:pt x="80" y="89"/>
                  </a:cubicBezTo>
                  <a:cubicBezTo>
                    <a:pt x="77" y="99"/>
                    <a:pt x="59" y="98"/>
                    <a:pt x="55" y="91"/>
                  </a:cubicBezTo>
                  <a:cubicBezTo>
                    <a:pt x="51" y="85"/>
                    <a:pt x="57" y="92"/>
                    <a:pt x="29" y="87"/>
                  </a:cubicBezTo>
                  <a:cubicBezTo>
                    <a:pt x="18" y="85"/>
                    <a:pt x="11" y="85"/>
                    <a:pt x="7" y="85"/>
                  </a:cubicBezTo>
                  <a:cubicBezTo>
                    <a:pt x="10" y="88"/>
                    <a:pt x="13" y="92"/>
                    <a:pt x="14" y="100"/>
                  </a:cubicBezTo>
                  <a:cubicBezTo>
                    <a:pt x="17" y="122"/>
                    <a:pt x="21" y="122"/>
                    <a:pt x="30" y="131"/>
                  </a:cubicBezTo>
                  <a:cubicBezTo>
                    <a:pt x="39" y="140"/>
                    <a:pt x="40" y="147"/>
                    <a:pt x="46" y="154"/>
                  </a:cubicBezTo>
                  <a:cubicBezTo>
                    <a:pt x="52" y="162"/>
                    <a:pt x="67" y="176"/>
                    <a:pt x="57" y="190"/>
                  </a:cubicBezTo>
                  <a:cubicBezTo>
                    <a:pt x="47" y="204"/>
                    <a:pt x="44" y="204"/>
                    <a:pt x="43" y="218"/>
                  </a:cubicBezTo>
                  <a:cubicBezTo>
                    <a:pt x="43" y="233"/>
                    <a:pt x="42" y="240"/>
                    <a:pt x="37" y="247"/>
                  </a:cubicBezTo>
                  <a:cubicBezTo>
                    <a:pt x="33" y="254"/>
                    <a:pt x="35" y="272"/>
                    <a:pt x="40" y="278"/>
                  </a:cubicBezTo>
                  <a:cubicBezTo>
                    <a:pt x="45" y="285"/>
                    <a:pt x="53" y="288"/>
                    <a:pt x="45" y="300"/>
                  </a:cubicBezTo>
                  <a:cubicBezTo>
                    <a:pt x="38" y="312"/>
                    <a:pt x="29" y="318"/>
                    <a:pt x="23" y="327"/>
                  </a:cubicBezTo>
                  <a:cubicBezTo>
                    <a:pt x="16" y="336"/>
                    <a:pt x="9" y="345"/>
                    <a:pt x="16" y="350"/>
                  </a:cubicBezTo>
                  <a:cubicBezTo>
                    <a:pt x="23" y="354"/>
                    <a:pt x="27" y="368"/>
                    <a:pt x="19" y="376"/>
                  </a:cubicBezTo>
                  <a:cubicBezTo>
                    <a:pt x="12" y="385"/>
                    <a:pt x="12" y="398"/>
                    <a:pt x="17" y="407"/>
                  </a:cubicBezTo>
                  <a:cubicBezTo>
                    <a:pt x="21" y="416"/>
                    <a:pt x="23" y="423"/>
                    <a:pt x="33" y="430"/>
                  </a:cubicBezTo>
                  <a:cubicBezTo>
                    <a:pt x="43" y="436"/>
                    <a:pt x="41" y="458"/>
                    <a:pt x="30" y="466"/>
                  </a:cubicBezTo>
                  <a:cubicBezTo>
                    <a:pt x="19" y="473"/>
                    <a:pt x="0" y="490"/>
                    <a:pt x="2" y="498"/>
                  </a:cubicBezTo>
                  <a:cubicBezTo>
                    <a:pt x="4" y="506"/>
                    <a:pt x="0" y="516"/>
                    <a:pt x="9" y="522"/>
                  </a:cubicBezTo>
                  <a:cubicBezTo>
                    <a:pt x="19" y="528"/>
                    <a:pt x="19" y="546"/>
                    <a:pt x="28" y="548"/>
                  </a:cubicBezTo>
                  <a:cubicBezTo>
                    <a:pt x="37" y="551"/>
                    <a:pt x="39" y="564"/>
                    <a:pt x="37" y="578"/>
                  </a:cubicBezTo>
                  <a:cubicBezTo>
                    <a:pt x="35" y="592"/>
                    <a:pt x="39" y="610"/>
                    <a:pt x="52" y="618"/>
                  </a:cubicBezTo>
                  <a:cubicBezTo>
                    <a:pt x="65" y="626"/>
                    <a:pt x="75" y="632"/>
                    <a:pt x="71" y="642"/>
                  </a:cubicBezTo>
                  <a:cubicBezTo>
                    <a:pt x="68" y="653"/>
                    <a:pt x="60" y="660"/>
                    <a:pt x="65" y="667"/>
                  </a:cubicBezTo>
                  <a:cubicBezTo>
                    <a:pt x="69" y="674"/>
                    <a:pt x="67" y="683"/>
                    <a:pt x="61" y="686"/>
                  </a:cubicBezTo>
                  <a:cubicBezTo>
                    <a:pt x="56" y="690"/>
                    <a:pt x="53" y="702"/>
                    <a:pt x="61" y="712"/>
                  </a:cubicBezTo>
                  <a:cubicBezTo>
                    <a:pt x="69" y="722"/>
                    <a:pt x="67" y="744"/>
                    <a:pt x="77" y="749"/>
                  </a:cubicBezTo>
                  <a:cubicBezTo>
                    <a:pt x="87" y="754"/>
                    <a:pt x="90" y="766"/>
                    <a:pt x="93" y="782"/>
                  </a:cubicBezTo>
                  <a:cubicBezTo>
                    <a:pt x="95" y="798"/>
                    <a:pt x="105" y="810"/>
                    <a:pt x="109" y="831"/>
                  </a:cubicBezTo>
                  <a:cubicBezTo>
                    <a:pt x="113" y="852"/>
                    <a:pt x="107" y="868"/>
                    <a:pt x="123" y="871"/>
                  </a:cubicBezTo>
                  <a:cubicBezTo>
                    <a:pt x="135" y="873"/>
                    <a:pt x="150" y="867"/>
                    <a:pt x="158" y="869"/>
                  </a:cubicBezTo>
                  <a:cubicBezTo>
                    <a:pt x="164" y="858"/>
                    <a:pt x="167" y="856"/>
                    <a:pt x="175" y="844"/>
                  </a:cubicBezTo>
                  <a:cubicBezTo>
                    <a:pt x="185" y="829"/>
                    <a:pt x="199" y="829"/>
                    <a:pt x="210" y="808"/>
                  </a:cubicBezTo>
                  <a:cubicBezTo>
                    <a:pt x="221" y="787"/>
                    <a:pt x="229" y="804"/>
                    <a:pt x="242" y="812"/>
                  </a:cubicBezTo>
                  <a:cubicBezTo>
                    <a:pt x="255" y="820"/>
                    <a:pt x="275" y="819"/>
                    <a:pt x="291" y="817"/>
                  </a:cubicBezTo>
                  <a:cubicBezTo>
                    <a:pt x="307" y="815"/>
                    <a:pt x="316" y="822"/>
                    <a:pt x="320" y="829"/>
                  </a:cubicBezTo>
                  <a:cubicBezTo>
                    <a:pt x="324" y="836"/>
                    <a:pt x="333" y="848"/>
                    <a:pt x="337" y="871"/>
                  </a:cubicBezTo>
                  <a:cubicBezTo>
                    <a:pt x="341" y="894"/>
                    <a:pt x="349" y="856"/>
                    <a:pt x="349" y="847"/>
                  </a:cubicBezTo>
                  <a:cubicBezTo>
                    <a:pt x="349" y="838"/>
                    <a:pt x="360" y="821"/>
                    <a:pt x="369" y="814"/>
                  </a:cubicBezTo>
                  <a:cubicBezTo>
                    <a:pt x="378" y="807"/>
                    <a:pt x="407" y="810"/>
                    <a:pt x="430" y="812"/>
                  </a:cubicBezTo>
                  <a:cubicBezTo>
                    <a:pt x="437" y="812"/>
                    <a:pt x="442" y="815"/>
                    <a:pt x="446" y="819"/>
                  </a:cubicBezTo>
                  <a:cubicBezTo>
                    <a:pt x="448" y="813"/>
                    <a:pt x="450" y="806"/>
                    <a:pt x="451" y="801"/>
                  </a:cubicBezTo>
                  <a:cubicBezTo>
                    <a:pt x="453" y="791"/>
                    <a:pt x="457" y="784"/>
                    <a:pt x="463" y="77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0" name="Freeform 460">
              <a:extLst>
                <a:ext uri="{FF2B5EF4-FFF2-40B4-BE49-F238E27FC236}">
                  <a16:creationId xmlns:a16="http://schemas.microsoft.com/office/drawing/2014/main" id="{6814CDC9-6336-654B-9029-0FACB092F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7" y="3515"/>
              <a:ext cx="60" cy="57"/>
            </a:xfrm>
            <a:custGeom>
              <a:avLst/>
              <a:gdLst>
                <a:gd name="T0" fmla="*/ 224 w 237"/>
                <a:gd name="T1" fmla="*/ 175 h 228"/>
                <a:gd name="T2" fmla="*/ 174 w 237"/>
                <a:gd name="T3" fmla="*/ 170 h 228"/>
                <a:gd name="T4" fmla="*/ 121 w 237"/>
                <a:gd name="T5" fmla="*/ 142 h 228"/>
                <a:gd name="T6" fmla="*/ 38 w 237"/>
                <a:gd name="T7" fmla="*/ 75 h 228"/>
                <a:gd name="T8" fmla="*/ 20 w 237"/>
                <a:gd name="T9" fmla="*/ 56 h 228"/>
                <a:gd name="T10" fmla="*/ 13 w 237"/>
                <a:gd name="T11" fmla="*/ 39 h 228"/>
                <a:gd name="T12" fmla="*/ 9 w 237"/>
                <a:gd name="T13" fmla="*/ 8 h 228"/>
                <a:gd name="T14" fmla="*/ 0 w 237"/>
                <a:gd name="T15" fmla="*/ 0 h 228"/>
                <a:gd name="T16" fmla="*/ 0 w 237"/>
                <a:gd name="T17" fmla="*/ 188 h 228"/>
                <a:gd name="T18" fmla="*/ 24 w 237"/>
                <a:gd name="T19" fmla="*/ 197 h 228"/>
                <a:gd name="T20" fmla="*/ 51 w 237"/>
                <a:gd name="T21" fmla="*/ 200 h 228"/>
                <a:gd name="T22" fmla="*/ 82 w 237"/>
                <a:gd name="T23" fmla="*/ 200 h 228"/>
                <a:gd name="T24" fmla="*/ 109 w 237"/>
                <a:gd name="T25" fmla="*/ 201 h 228"/>
                <a:gd name="T26" fmla="*/ 136 w 237"/>
                <a:gd name="T27" fmla="*/ 218 h 228"/>
                <a:gd name="T28" fmla="*/ 145 w 237"/>
                <a:gd name="T29" fmla="*/ 228 h 228"/>
                <a:gd name="T30" fmla="*/ 146 w 237"/>
                <a:gd name="T31" fmla="*/ 224 h 228"/>
                <a:gd name="T32" fmla="*/ 158 w 237"/>
                <a:gd name="T33" fmla="*/ 206 h 228"/>
                <a:gd name="T34" fmla="*/ 217 w 237"/>
                <a:gd name="T35" fmla="*/ 198 h 228"/>
                <a:gd name="T36" fmla="*/ 224 w 237"/>
                <a:gd name="T37" fmla="*/ 17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7" h="228">
                  <a:moveTo>
                    <a:pt x="224" y="175"/>
                  </a:moveTo>
                  <a:cubicBezTo>
                    <a:pt x="211" y="169"/>
                    <a:pt x="192" y="169"/>
                    <a:pt x="174" y="170"/>
                  </a:cubicBezTo>
                  <a:cubicBezTo>
                    <a:pt x="155" y="171"/>
                    <a:pt x="146" y="159"/>
                    <a:pt x="121" y="142"/>
                  </a:cubicBezTo>
                  <a:cubicBezTo>
                    <a:pt x="96" y="126"/>
                    <a:pt x="46" y="87"/>
                    <a:pt x="38" y="75"/>
                  </a:cubicBezTo>
                  <a:cubicBezTo>
                    <a:pt x="31" y="63"/>
                    <a:pt x="29" y="56"/>
                    <a:pt x="20" y="56"/>
                  </a:cubicBezTo>
                  <a:cubicBezTo>
                    <a:pt x="10" y="56"/>
                    <a:pt x="3" y="39"/>
                    <a:pt x="13" y="39"/>
                  </a:cubicBezTo>
                  <a:cubicBezTo>
                    <a:pt x="24" y="39"/>
                    <a:pt x="19" y="12"/>
                    <a:pt x="9" y="8"/>
                  </a:cubicBezTo>
                  <a:cubicBezTo>
                    <a:pt x="4" y="6"/>
                    <a:pt x="2" y="2"/>
                    <a:pt x="0" y="0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4" y="202"/>
                    <a:pt x="24" y="197"/>
                  </a:cubicBezTo>
                  <a:cubicBezTo>
                    <a:pt x="33" y="192"/>
                    <a:pt x="42" y="196"/>
                    <a:pt x="51" y="200"/>
                  </a:cubicBezTo>
                  <a:cubicBezTo>
                    <a:pt x="60" y="204"/>
                    <a:pt x="76" y="206"/>
                    <a:pt x="82" y="200"/>
                  </a:cubicBezTo>
                  <a:cubicBezTo>
                    <a:pt x="88" y="195"/>
                    <a:pt x="100" y="190"/>
                    <a:pt x="109" y="201"/>
                  </a:cubicBezTo>
                  <a:cubicBezTo>
                    <a:pt x="118" y="212"/>
                    <a:pt x="132" y="216"/>
                    <a:pt x="136" y="218"/>
                  </a:cubicBezTo>
                  <a:cubicBezTo>
                    <a:pt x="139" y="220"/>
                    <a:pt x="142" y="224"/>
                    <a:pt x="145" y="228"/>
                  </a:cubicBezTo>
                  <a:cubicBezTo>
                    <a:pt x="145" y="227"/>
                    <a:pt x="146" y="226"/>
                    <a:pt x="146" y="224"/>
                  </a:cubicBezTo>
                  <a:cubicBezTo>
                    <a:pt x="146" y="213"/>
                    <a:pt x="141" y="206"/>
                    <a:pt x="158" y="206"/>
                  </a:cubicBezTo>
                  <a:cubicBezTo>
                    <a:pt x="176" y="206"/>
                    <a:pt x="214" y="208"/>
                    <a:pt x="217" y="198"/>
                  </a:cubicBezTo>
                  <a:cubicBezTo>
                    <a:pt x="219" y="189"/>
                    <a:pt x="237" y="180"/>
                    <a:pt x="224" y="17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1" name="Freeform 461">
              <a:extLst>
                <a:ext uri="{FF2B5EF4-FFF2-40B4-BE49-F238E27FC236}">
                  <a16:creationId xmlns:a16="http://schemas.microsoft.com/office/drawing/2014/main" id="{B9147458-0666-3C43-936F-05BE5F732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" y="2933"/>
              <a:ext cx="322" cy="579"/>
            </a:xfrm>
            <a:custGeom>
              <a:avLst/>
              <a:gdLst>
                <a:gd name="T0" fmla="*/ 974 w 1272"/>
                <a:gd name="T1" fmla="*/ 731 h 2289"/>
                <a:gd name="T2" fmla="*/ 1019 w 1272"/>
                <a:gd name="T3" fmla="*/ 580 h 2289"/>
                <a:gd name="T4" fmla="*/ 1133 w 1272"/>
                <a:gd name="T5" fmla="*/ 449 h 2289"/>
                <a:gd name="T6" fmla="*/ 1264 w 1272"/>
                <a:gd name="T7" fmla="*/ 319 h 2289"/>
                <a:gd name="T8" fmla="*/ 1203 w 1272"/>
                <a:gd name="T9" fmla="*/ 262 h 2289"/>
                <a:gd name="T10" fmla="*/ 1124 w 1272"/>
                <a:gd name="T11" fmla="*/ 390 h 2289"/>
                <a:gd name="T12" fmla="*/ 975 w 1272"/>
                <a:gd name="T13" fmla="*/ 386 h 2289"/>
                <a:gd name="T14" fmla="*/ 1006 w 1272"/>
                <a:gd name="T15" fmla="*/ 271 h 2289"/>
                <a:gd name="T16" fmla="*/ 795 w 1272"/>
                <a:gd name="T17" fmla="*/ 144 h 2289"/>
                <a:gd name="T18" fmla="*/ 675 w 1272"/>
                <a:gd name="T19" fmla="*/ 25 h 2289"/>
                <a:gd name="T20" fmla="*/ 565 w 1272"/>
                <a:gd name="T21" fmla="*/ 42 h 2289"/>
                <a:gd name="T22" fmla="*/ 420 w 1272"/>
                <a:gd name="T23" fmla="*/ 57 h 2289"/>
                <a:gd name="T24" fmla="*/ 398 w 1272"/>
                <a:gd name="T25" fmla="*/ 143 h 2289"/>
                <a:gd name="T26" fmla="*/ 317 w 1272"/>
                <a:gd name="T27" fmla="*/ 221 h 2289"/>
                <a:gd name="T28" fmla="*/ 312 w 1272"/>
                <a:gd name="T29" fmla="*/ 319 h 2289"/>
                <a:gd name="T30" fmla="*/ 290 w 1272"/>
                <a:gd name="T31" fmla="*/ 390 h 2289"/>
                <a:gd name="T32" fmla="*/ 236 w 1272"/>
                <a:gd name="T33" fmla="*/ 503 h 2289"/>
                <a:gd name="T34" fmla="*/ 225 w 1272"/>
                <a:gd name="T35" fmla="*/ 597 h 2289"/>
                <a:gd name="T36" fmla="*/ 188 w 1272"/>
                <a:gd name="T37" fmla="*/ 695 h 2289"/>
                <a:gd name="T38" fmla="*/ 218 w 1272"/>
                <a:gd name="T39" fmla="*/ 780 h 2289"/>
                <a:gd name="T40" fmla="*/ 218 w 1272"/>
                <a:gd name="T41" fmla="*/ 881 h 2289"/>
                <a:gd name="T42" fmla="*/ 202 w 1272"/>
                <a:gd name="T43" fmla="*/ 989 h 2289"/>
                <a:gd name="T44" fmla="*/ 152 w 1272"/>
                <a:gd name="T45" fmla="*/ 1075 h 2289"/>
                <a:gd name="T46" fmla="*/ 144 w 1272"/>
                <a:gd name="T47" fmla="*/ 1204 h 2289"/>
                <a:gd name="T48" fmla="*/ 111 w 1272"/>
                <a:gd name="T49" fmla="*/ 1332 h 2289"/>
                <a:gd name="T50" fmla="*/ 113 w 1272"/>
                <a:gd name="T51" fmla="*/ 1445 h 2289"/>
                <a:gd name="T52" fmla="*/ 106 w 1272"/>
                <a:gd name="T53" fmla="*/ 1550 h 2289"/>
                <a:gd name="T54" fmla="*/ 152 w 1272"/>
                <a:gd name="T55" fmla="*/ 1644 h 2289"/>
                <a:gd name="T56" fmla="*/ 130 w 1272"/>
                <a:gd name="T57" fmla="*/ 1687 h 2289"/>
                <a:gd name="T58" fmla="*/ 112 w 1272"/>
                <a:gd name="T59" fmla="*/ 1783 h 2289"/>
                <a:gd name="T60" fmla="*/ 78 w 1272"/>
                <a:gd name="T61" fmla="*/ 1881 h 2289"/>
                <a:gd name="T62" fmla="*/ 62 w 1272"/>
                <a:gd name="T63" fmla="*/ 1967 h 2289"/>
                <a:gd name="T64" fmla="*/ 4 w 1272"/>
                <a:gd name="T65" fmla="*/ 2098 h 2289"/>
                <a:gd name="T66" fmla="*/ 63 w 1272"/>
                <a:gd name="T67" fmla="*/ 2137 h 2289"/>
                <a:gd name="T68" fmla="*/ 79 w 1272"/>
                <a:gd name="T69" fmla="*/ 2223 h 2289"/>
                <a:gd name="T70" fmla="*/ 254 w 1272"/>
                <a:gd name="T71" fmla="*/ 2260 h 2289"/>
                <a:gd name="T72" fmla="*/ 328 w 1272"/>
                <a:gd name="T73" fmla="*/ 2260 h 2289"/>
                <a:gd name="T74" fmla="*/ 376 w 1272"/>
                <a:gd name="T75" fmla="*/ 2071 h 2289"/>
                <a:gd name="T76" fmla="*/ 492 w 1272"/>
                <a:gd name="T77" fmla="*/ 1897 h 2289"/>
                <a:gd name="T78" fmla="*/ 407 w 1272"/>
                <a:gd name="T79" fmla="*/ 1803 h 2289"/>
                <a:gd name="T80" fmla="*/ 479 w 1272"/>
                <a:gd name="T81" fmla="*/ 1671 h 2289"/>
                <a:gd name="T82" fmla="*/ 535 w 1272"/>
                <a:gd name="T83" fmla="*/ 1561 h 2289"/>
                <a:gd name="T84" fmla="*/ 555 w 1272"/>
                <a:gd name="T85" fmla="*/ 1495 h 2289"/>
                <a:gd name="T86" fmla="*/ 637 w 1272"/>
                <a:gd name="T87" fmla="*/ 1493 h 2289"/>
                <a:gd name="T88" fmla="*/ 587 w 1272"/>
                <a:gd name="T89" fmla="*/ 1469 h 2289"/>
                <a:gd name="T90" fmla="*/ 540 w 1272"/>
                <a:gd name="T91" fmla="*/ 1378 h 2289"/>
                <a:gd name="T92" fmla="*/ 614 w 1272"/>
                <a:gd name="T93" fmla="*/ 1373 h 2289"/>
                <a:gd name="T94" fmla="*/ 709 w 1272"/>
                <a:gd name="T95" fmla="*/ 1310 h 2289"/>
                <a:gd name="T96" fmla="*/ 718 w 1272"/>
                <a:gd name="T97" fmla="*/ 1219 h 2289"/>
                <a:gd name="T98" fmla="*/ 794 w 1272"/>
                <a:gd name="T99" fmla="*/ 1218 h 2289"/>
                <a:gd name="T100" fmla="*/ 1065 w 1272"/>
                <a:gd name="T101" fmla="*/ 1077 h 2289"/>
                <a:gd name="T102" fmla="*/ 1035 w 1272"/>
                <a:gd name="T103" fmla="*/ 931 h 2289"/>
                <a:gd name="T104" fmla="*/ 1001 w 1272"/>
                <a:gd name="T105" fmla="*/ 884 h 2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72" h="2289">
                  <a:moveTo>
                    <a:pt x="979" y="840"/>
                  </a:moveTo>
                  <a:cubicBezTo>
                    <a:pt x="971" y="831"/>
                    <a:pt x="974" y="819"/>
                    <a:pt x="973" y="807"/>
                  </a:cubicBezTo>
                  <a:cubicBezTo>
                    <a:pt x="972" y="795"/>
                    <a:pt x="971" y="786"/>
                    <a:pt x="979" y="774"/>
                  </a:cubicBezTo>
                  <a:cubicBezTo>
                    <a:pt x="987" y="762"/>
                    <a:pt x="978" y="749"/>
                    <a:pt x="974" y="731"/>
                  </a:cubicBezTo>
                  <a:cubicBezTo>
                    <a:pt x="970" y="713"/>
                    <a:pt x="975" y="706"/>
                    <a:pt x="984" y="696"/>
                  </a:cubicBezTo>
                  <a:cubicBezTo>
                    <a:pt x="993" y="686"/>
                    <a:pt x="986" y="662"/>
                    <a:pt x="995" y="648"/>
                  </a:cubicBezTo>
                  <a:cubicBezTo>
                    <a:pt x="1004" y="634"/>
                    <a:pt x="996" y="627"/>
                    <a:pt x="994" y="614"/>
                  </a:cubicBezTo>
                  <a:cubicBezTo>
                    <a:pt x="992" y="601"/>
                    <a:pt x="1005" y="588"/>
                    <a:pt x="1019" y="580"/>
                  </a:cubicBezTo>
                  <a:cubicBezTo>
                    <a:pt x="1033" y="572"/>
                    <a:pt x="1029" y="560"/>
                    <a:pt x="1045" y="553"/>
                  </a:cubicBezTo>
                  <a:cubicBezTo>
                    <a:pt x="1061" y="546"/>
                    <a:pt x="1060" y="536"/>
                    <a:pt x="1071" y="519"/>
                  </a:cubicBezTo>
                  <a:cubicBezTo>
                    <a:pt x="1082" y="502"/>
                    <a:pt x="1094" y="501"/>
                    <a:pt x="1104" y="486"/>
                  </a:cubicBezTo>
                  <a:cubicBezTo>
                    <a:pt x="1114" y="471"/>
                    <a:pt x="1120" y="468"/>
                    <a:pt x="1133" y="449"/>
                  </a:cubicBezTo>
                  <a:cubicBezTo>
                    <a:pt x="1146" y="430"/>
                    <a:pt x="1158" y="429"/>
                    <a:pt x="1172" y="418"/>
                  </a:cubicBezTo>
                  <a:cubicBezTo>
                    <a:pt x="1186" y="407"/>
                    <a:pt x="1198" y="391"/>
                    <a:pt x="1235" y="383"/>
                  </a:cubicBezTo>
                  <a:cubicBezTo>
                    <a:pt x="1272" y="375"/>
                    <a:pt x="1257" y="360"/>
                    <a:pt x="1256" y="346"/>
                  </a:cubicBezTo>
                  <a:cubicBezTo>
                    <a:pt x="1255" y="332"/>
                    <a:pt x="1257" y="327"/>
                    <a:pt x="1264" y="319"/>
                  </a:cubicBezTo>
                  <a:cubicBezTo>
                    <a:pt x="1271" y="311"/>
                    <a:pt x="1266" y="303"/>
                    <a:pt x="1262" y="298"/>
                  </a:cubicBezTo>
                  <a:cubicBezTo>
                    <a:pt x="1258" y="293"/>
                    <a:pt x="1254" y="284"/>
                    <a:pt x="1254" y="275"/>
                  </a:cubicBezTo>
                  <a:cubicBezTo>
                    <a:pt x="1254" y="266"/>
                    <a:pt x="1243" y="263"/>
                    <a:pt x="1227" y="263"/>
                  </a:cubicBezTo>
                  <a:cubicBezTo>
                    <a:pt x="1218" y="263"/>
                    <a:pt x="1209" y="262"/>
                    <a:pt x="1203" y="262"/>
                  </a:cubicBezTo>
                  <a:cubicBezTo>
                    <a:pt x="1202" y="268"/>
                    <a:pt x="1202" y="275"/>
                    <a:pt x="1202" y="285"/>
                  </a:cubicBezTo>
                  <a:cubicBezTo>
                    <a:pt x="1202" y="302"/>
                    <a:pt x="1208" y="328"/>
                    <a:pt x="1187" y="343"/>
                  </a:cubicBezTo>
                  <a:cubicBezTo>
                    <a:pt x="1166" y="358"/>
                    <a:pt x="1143" y="358"/>
                    <a:pt x="1142" y="373"/>
                  </a:cubicBezTo>
                  <a:cubicBezTo>
                    <a:pt x="1141" y="388"/>
                    <a:pt x="1132" y="393"/>
                    <a:pt x="1124" y="390"/>
                  </a:cubicBezTo>
                  <a:cubicBezTo>
                    <a:pt x="1116" y="387"/>
                    <a:pt x="1107" y="379"/>
                    <a:pt x="1096" y="389"/>
                  </a:cubicBezTo>
                  <a:cubicBezTo>
                    <a:pt x="1085" y="399"/>
                    <a:pt x="1083" y="400"/>
                    <a:pt x="1065" y="398"/>
                  </a:cubicBezTo>
                  <a:cubicBezTo>
                    <a:pt x="1047" y="396"/>
                    <a:pt x="1033" y="397"/>
                    <a:pt x="1019" y="393"/>
                  </a:cubicBezTo>
                  <a:cubicBezTo>
                    <a:pt x="1005" y="389"/>
                    <a:pt x="998" y="386"/>
                    <a:pt x="975" y="386"/>
                  </a:cubicBezTo>
                  <a:cubicBezTo>
                    <a:pt x="952" y="386"/>
                    <a:pt x="933" y="386"/>
                    <a:pt x="955" y="366"/>
                  </a:cubicBezTo>
                  <a:cubicBezTo>
                    <a:pt x="977" y="346"/>
                    <a:pt x="976" y="341"/>
                    <a:pt x="977" y="319"/>
                  </a:cubicBezTo>
                  <a:cubicBezTo>
                    <a:pt x="978" y="297"/>
                    <a:pt x="980" y="301"/>
                    <a:pt x="991" y="293"/>
                  </a:cubicBezTo>
                  <a:cubicBezTo>
                    <a:pt x="1002" y="285"/>
                    <a:pt x="1001" y="285"/>
                    <a:pt x="1006" y="271"/>
                  </a:cubicBezTo>
                  <a:cubicBezTo>
                    <a:pt x="1011" y="257"/>
                    <a:pt x="1012" y="253"/>
                    <a:pt x="997" y="239"/>
                  </a:cubicBezTo>
                  <a:cubicBezTo>
                    <a:pt x="982" y="225"/>
                    <a:pt x="947" y="224"/>
                    <a:pt x="926" y="210"/>
                  </a:cubicBezTo>
                  <a:cubicBezTo>
                    <a:pt x="905" y="196"/>
                    <a:pt x="874" y="159"/>
                    <a:pt x="850" y="160"/>
                  </a:cubicBezTo>
                  <a:cubicBezTo>
                    <a:pt x="826" y="161"/>
                    <a:pt x="802" y="158"/>
                    <a:pt x="795" y="144"/>
                  </a:cubicBezTo>
                  <a:cubicBezTo>
                    <a:pt x="788" y="130"/>
                    <a:pt x="779" y="123"/>
                    <a:pt x="766" y="118"/>
                  </a:cubicBezTo>
                  <a:cubicBezTo>
                    <a:pt x="753" y="113"/>
                    <a:pt x="745" y="106"/>
                    <a:pt x="735" y="91"/>
                  </a:cubicBezTo>
                  <a:cubicBezTo>
                    <a:pt x="725" y="76"/>
                    <a:pt x="720" y="67"/>
                    <a:pt x="709" y="57"/>
                  </a:cubicBezTo>
                  <a:cubicBezTo>
                    <a:pt x="698" y="47"/>
                    <a:pt x="698" y="27"/>
                    <a:pt x="675" y="25"/>
                  </a:cubicBezTo>
                  <a:cubicBezTo>
                    <a:pt x="652" y="23"/>
                    <a:pt x="623" y="20"/>
                    <a:pt x="614" y="27"/>
                  </a:cubicBezTo>
                  <a:cubicBezTo>
                    <a:pt x="605" y="34"/>
                    <a:pt x="594" y="51"/>
                    <a:pt x="594" y="60"/>
                  </a:cubicBezTo>
                  <a:cubicBezTo>
                    <a:pt x="594" y="69"/>
                    <a:pt x="586" y="107"/>
                    <a:pt x="582" y="84"/>
                  </a:cubicBezTo>
                  <a:cubicBezTo>
                    <a:pt x="578" y="61"/>
                    <a:pt x="569" y="49"/>
                    <a:pt x="565" y="42"/>
                  </a:cubicBezTo>
                  <a:cubicBezTo>
                    <a:pt x="561" y="35"/>
                    <a:pt x="552" y="28"/>
                    <a:pt x="536" y="30"/>
                  </a:cubicBezTo>
                  <a:cubicBezTo>
                    <a:pt x="520" y="32"/>
                    <a:pt x="500" y="33"/>
                    <a:pt x="487" y="25"/>
                  </a:cubicBezTo>
                  <a:cubicBezTo>
                    <a:pt x="474" y="17"/>
                    <a:pt x="466" y="0"/>
                    <a:pt x="455" y="21"/>
                  </a:cubicBezTo>
                  <a:cubicBezTo>
                    <a:pt x="444" y="42"/>
                    <a:pt x="430" y="42"/>
                    <a:pt x="420" y="57"/>
                  </a:cubicBezTo>
                  <a:cubicBezTo>
                    <a:pt x="412" y="69"/>
                    <a:pt x="409" y="71"/>
                    <a:pt x="403" y="82"/>
                  </a:cubicBezTo>
                  <a:cubicBezTo>
                    <a:pt x="406" y="83"/>
                    <a:pt x="408" y="85"/>
                    <a:pt x="408" y="91"/>
                  </a:cubicBezTo>
                  <a:cubicBezTo>
                    <a:pt x="406" y="109"/>
                    <a:pt x="407" y="117"/>
                    <a:pt x="403" y="123"/>
                  </a:cubicBezTo>
                  <a:cubicBezTo>
                    <a:pt x="399" y="129"/>
                    <a:pt x="398" y="135"/>
                    <a:pt x="398" y="143"/>
                  </a:cubicBezTo>
                  <a:cubicBezTo>
                    <a:pt x="398" y="151"/>
                    <a:pt x="396" y="159"/>
                    <a:pt x="384" y="162"/>
                  </a:cubicBezTo>
                  <a:cubicBezTo>
                    <a:pt x="373" y="165"/>
                    <a:pt x="354" y="173"/>
                    <a:pt x="345" y="181"/>
                  </a:cubicBezTo>
                  <a:cubicBezTo>
                    <a:pt x="336" y="190"/>
                    <a:pt x="321" y="196"/>
                    <a:pt x="318" y="200"/>
                  </a:cubicBezTo>
                  <a:cubicBezTo>
                    <a:pt x="316" y="204"/>
                    <a:pt x="308" y="210"/>
                    <a:pt x="317" y="221"/>
                  </a:cubicBezTo>
                  <a:cubicBezTo>
                    <a:pt x="326" y="231"/>
                    <a:pt x="322" y="239"/>
                    <a:pt x="316" y="245"/>
                  </a:cubicBezTo>
                  <a:cubicBezTo>
                    <a:pt x="310" y="251"/>
                    <a:pt x="311" y="265"/>
                    <a:pt x="316" y="275"/>
                  </a:cubicBezTo>
                  <a:cubicBezTo>
                    <a:pt x="320" y="284"/>
                    <a:pt x="324" y="294"/>
                    <a:pt x="324" y="299"/>
                  </a:cubicBezTo>
                  <a:cubicBezTo>
                    <a:pt x="324" y="305"/>
                    <a:pt x="312" y="307"/>
                    <a:pt x="312" y="319"/>
                  </a:cubicBezTo>
                  <a:cubicBezTo>
                    <a:pt x="312" y="331"/>
                    <a:pt x="316" y="335"/>
                    <a:pt x="322" y="339"/>
                  </a:cubicBezTo>
                  <a:cubicBezTo>
                    <a:pt x="329" y="344"/>
                    <a:pt x="336" y="351"/>
                    <a:pt x="330" y="359"/>
                  </a:cubicBezTo>
                  <a:cubicBezTo>
                    <a:pt x="325" y="368"/>
                    <a:pt x="320" y="372"/>
                    <a:pt x="310" y="371"/>
                  </a:cubicBezTo>
                  <a:cubicBezTo>
                    <a:pt x="301" y="371"/>
                    <a:pt x="290" y="381"/>
                    <a:pt x="290" y="390"/>
                  </a:cubicBezTo>
                  <a:cubicBezTo>
                    <a:pt x="289" y="399"/>
                    <a:pt x="288" y="408"/>
                    <a:pt x="280" y="419"/>
                  </a:cubicBezTo>
                  <a:cubicBezTo>
                    <a:pt x="273" y="429"/>
                    <a:pt x="266" y="437"/>
                    <a:pt x="258" y="444"/>
                  </a:cubicBezTo>
                  <a:cubicBezTo>
                    <a:pt x="249" y="451"/>
                    <a:pt x="241" y="457"/>
                    <a:pt x="242" y="470"/>
                  </a:cubicBezTo>
                  <a:cubicBezTo>
                    <a:pt x="242" y="483"/>
                    <a:pt x="246" y="493"/>
                    <a:pt x="236" y="503"/>
                  </a:cubicBezTo>
                  <a:cubicBezTo>
                    <a:pt x="226" y="512"/>
                    <a:pt x="220" y="517"/>
                    <a:pt x="222" y="528"/>
                  </a:cubicBezTo>
                  <a:cubicBezTo>
                    <a:pt x="224" y="539"/>
                    <a:pt x="234" y="540"/>
                    <a:pt x="230" y="552"/>
                  </a:cubicBezTo>
                  <a:cubicBezTo>
                    <a:pt x="227" y="564"/>
                    <a:pt x="228" y="571"/>
                    <a:pt x="231" y="575"/>
                  </a:cubicBezTo>
                  <a:cubicBezTo>
                    <a:pt x="234" y="580"/>
                    <a:pt x="234" y="594"/>
                    <a:pt x="225" y="597"/>
                  </a:cubicBezTo>
                  <a:cubicBezTo>
                    <a:pt x="216" y="599"/>
                    <a:pt x="210" y="599"/>
                    <a:pt x="208" y="613"/>
                  </a:cubicBezTo>
                  <a:cubicBezTo>
                    <a:pt x="205" y="627"/>
                    <a:pt x="206" y="638"/>
                    <a:pt x="200" y="644"/>
                  </a:cubicBezTo>
                  <a:cubicBezTo>
                    <a:pt x="194" y="650"/>
                    <a:pt x="186" y="660"/>
                    <a:pt x="186" y="669"/>
                  </a:cubicBezTo>
                  <a:cubicBezTo>
                    <a:pt x="185" y="677"/>
                    <a:pt x="180" y="682"/>
                    <a:pt x="188" y="695"/>
                  </a:cubicBezTo>
                  <a:cubicBezTo>
                    <a:pt x="196" y="709"/>
                    <a:pt x="200" y="704"/>
                    <a:pt x="200" y="711"/>
                  </a:cubicBezTo>
                  <a:cubicBezTo>
                    <a:pt x="201" y="719"/>
                    <a:pt x="204" y="727"/>
                    <a:pt x="206" y="735"/>
                  </a:cubicBezTo>
                  <a:cubicBezTo>
                    <a:pt x="207" y="742"/>
                    <a:pt x="205" y="754"/>
                    <a:pt x="214" y="761"/>
                  </a:cubicBezTo>
                  <a:cubicBezTo>
                    <a:pt x="224" y="769"/>
                    <a:pt x="224" y="771"/>
                    <a:pt x="218" y="780"/>
                  </a:cubicBezTo>
                  <a:cubicBezTo>
                    <a:pt x="213" y="789"/>
                    <a:pt x="212" y="799"/>
                    <a:pt x="223" y="804"/>
                  </a:cubicBezTo>
                  <a:cubicBezTo>
                    <a:pt x="234" y="809"/>
                    <a:pt x="243" y="807"/>
                    <a:pt x="237" y="820"/>
                  </a:cubicBezTo>
                  <a:cubicBezTo>
                    <a:pt x="231" y="833"/>
                    <a:pt x="237" y="837"/>
                    <a:pt x="233" y="852"/>
                  </a:cubicBezTo>
                  <a:cubicBezTo>
                    <a:pt x="229" y="867"/>
                    <a:pt x="224" y="869"/>
                    <a:pt x="218" y="881"/>
                  </a:cubicBezTo>
                  <a:cubicBezTo>
                    <a:pt x="212" y="892"/>
                    <a:pt x="206" y="905"/>
                    <a:pt x="203" y="914"/>
                  </a:cubicBezTo>
                  <a:cubicBezTo>
                    <a:pt x="200" y="923"/>
                    <a:pt x="192" y="932"/>
                    <a:pt x="192" y="942"/>
                  </a:cubicBezTo>
                  <a:cubicBezTo>
                    <a:pt x="192" y="952"/>
                    <a:pt x="188" y="965"/>
                    <a:pt x="196" y="967"/>
                  </a:cubicBezTo>
                  <a:cubicBezTo>
                    <a:pt x="203" y="970"/>
                    <a:pt x="202" y="981"/>
                    <a:pt x="202" y="989"/>
                  </a:cubicBezTo>
                  <a:cubicBezTo>
                    <a:pt x="202" y="997"/>
                    <a:pt x="198" y="1007"/>
                    <a:pt x="190" y="1011"/>
                  </a:cubicBezTo>
                  <a:cubicBezTo>
                    <a:pt x="182" y="1016"/>
                    <a:pt x="180" y="1026"/>
                    <a:pt x="168" y="1030"/>
                  </a:cubicBezTo>
                  <a:cubicBezTo>
                    <a:pt x="156" y="1034"/>
                    <a:pt x="152" y="1047"/>
                    <a:pt x="152" y="1054"/>
                  </a:cubicBezTo>
                  <a:cubicBezTo>
                    <a:pt x="151" y="1061"/>
                    <a:pt x="148" y="1068"/>
                    <a:pt x="152" y="1075"/>
                  </a:cubicBezTo>
                  <a:cubicBezTo>
                    <a:pt x="155" y="1083"/>
                    <a:pt x="146" y="1124"/>
                    <a:pt x="154" y="1137"/>
                  </a:cubicBezTo>
                  <a:cubicBezTo>
                    <a:pt x="163" y="1149"/>
                    <a:pt x="162" y="1159"/>
                    <a:pt x="160" y="1163"/>
                  </a:cubicBezTo>
                  <a:cubicBezTo>
                    <a:pt x="159" y="1168"/>
                    <a:pt x="176" y="1181"/>
                    <a:pt x="168" y="1192"/>
                  </a:cubicBezTo>
                  <a:cubicBezTo>
                    <a:pt x="159" y="1203"/>
                    <a:pt x="154" y="1197"/>
                    <a:pt x="144" y="1204"/>
                  </a:cubicBezTo>
                  <a:cubicBezTo>
                    <a:pt x="134" y="1211"/>
                    <a:pt x="129" y="1227"/>
                    <a:pt x="133" y="1238"/>
                  </a:cubicBezTo>
                  <a:cubicBezTo>
                    <a:pt x="137" y="1249"/>
                    <a:pt x="134" y="1259"/>
                    <a:pt x="124" y="1263"/>
                  </a:cubicBezTo>
                  <a:cubicBezTo>
                    <a:pt x="115" y="1268"/>
                    <a:pt x="116" y="1276"/>
                    <a:pt x="116" y="1287"/>
                  </a:cubicBezTo>
                  <a:cubicBezTo>
                    <a:pt x="116" y="1299"/>
                    <a:pt x="117" y="1323"/>
                    <a:pt x="111" y="1332"/>
                  </a:cubicBezTo>
                  <a:cubicBezTo>
                    <a:pt x="105" y="1341"/>
                    <a:pt x="104" y="1354"/>
                    <a:pt x="104" y="1359"/>
                  </a:cubicBezTo>
                  <a:cubicBezTo>
                    <a:pt x="104" y="1363"/>
                    <a:pt x="106" y="1373"/>
                    <a:pt x="105" y="1387"/>
                  </a:cubicBezTo>
                  <a:cubicBezTo>
                    <a:pt x="104" y="1400"/>
                    <a:pt x="103" y="1425"/>
                    <a:pt x="107" y="1431"/>
                  </a:cubicBezTo>
                  <a:cubicBezTo>
                    <a:pt x="111" y="1437"/>
                    <a:pt x="113" y="1437"/>
                    <a:pt x="113" y="1445"/>
                  </a:cubicBezTo>
                  <a:cubicBezTo>
                    <a:pt x="113" y="1452"/>
                    <a:pt x="118" y="1455"/>
                    <a:pt x="110" y="1459"/>
                  </a:cubicBezTo>
                  <a:cubicBezTo>
                    <a:pt x="102" y="1463"/>
                    <a:pt x="92" y="1467"/>
                    <a:pt x="92" y="1473"/>
                  </a:cubicBezTo>
                  <a:cubicBezTo>
                    <a:pt x="92" y="1479"/>
                    <a:pt x="88" y="1525"/>
                    <a:pt x="97" y="1529"/>
                  </a:cubicBezTo>
                  <a:cubicBezTo>
                    <a:pt x="106" y="1534"/>
                    <a:pt x="108" y="1539"/>
                    <a:pt x="106" y="1550"/>
                  </a:cubicBezTo>
                  <a:cubicBezTo>
                    <a:pt x="103" y="1561"/>
                    <a:pt x="116" y="1566"/>
                    <a:pt x="113" y="1577"/>
                  </a:cubicBezTo>
                  <a:cubicBezTo>
                    <a:pt x="110" y="1589"/>
                    <a:pt x="122" y="1595"/>
                    <a:pt x="115" y="1607"/>
                  </a:cubicBezTo>
                  <a:cubicBezTo>
                    <a:pt x="108" y="1618"/>
                    <a:pt x="107" y="1632"/>
                    <a:pt x="120" y="1633"/>
                  </a:cubicBezTo>
                  <a:cubicBezTo>
                    <a:pt x="132" y="1635"/>
                    <a:pt x="153" y="1633"/>
                    <a:pt x="152" y="1644"/>
                  </a:cubicBezTo>
                  <a:cubicBezTo>
                    <a:pt x="152" y="1655"/>
                    <a:pt x="138" y="1663"/>
                    <a:pt x="127" y="1663"/>
                  </a:cubicBezTo>
                  <a:cubicBezTo>
                    <a:pt x="116" y="1663"/>
                    <a:pt x="96" y="1654"/>
                    <a:pt x="96" y="1660"/>
                  </a:cubicBezTo>
                  <a:cubicBezTo>
                    <a:pt x="96" y="1666"/>
                    <a:pt x="96" y="1672"/>
                    <a:pt x="105" y="1674"/>
                  </a:cubicBezTo>
                  <a:cubicBezTo>
                    <a:pt x="114" y="1676"/>
                    <a:pt x="124" y="1677"/>
                    <a:pt x="130" y="1687"/>
                  </a:cubicBezTo>
                  <a:cubicBezTo>
                    <a:pt x="135" y="1698"/>
                    <a:pt x="152" y="1702"/>
                    <a:pt x="138" y="1712"/>
                  </a:cubicBezTo>
                  <a:cubicBezTo>
                    <a:pt x="124" y="1722"/>
                    <a:pt x="114" y="1725"/>
                    <a:pt x="113" y="1734"/>
                  </a:cubicBezTo>
                  <a:cubicBezTo>
                    <a:pt x="112" y="1743"/>
                    <a:pt x="130" y="1753"/>
                    <a:pt x="119" y="1760"/>
                  </a:cubicBezTo>
                  <a:cubicBezTo>
                    <a:pt x="108" y="1767"/>
                    <a:pt x="97" y="1773"/>
                    <a:pt x="112" y="1783"/>
                  </a:cubicBezTo>
                  <a:cubicBezTo>
                    <a:pt x="128" y="1792"/>
                    <a:pt x="118" y="1797"/>
                    <a:pt x="118" y="1809"/>
                  </a:cubicBezTo>
                  <a:cubicBezTo>
                    <a:pt x="117" y="1821"/>
                    <a:pt x="102" y="1813"/>
                    <a:pt x="102" y="1829"/>
                  </a:cubicBezTo>
                  <a:cubicBezTo>
                    <a:pt x="102" y="1845"/>
                    <a:pt x="112" y="1859"/>
                    <a:pt x="98" y="1866"/>
                  </a:cubicBezTo>
                  <a:cubicBezTo>
                    <a:pt x="85" y="1873"/>
                    <a:pt x="80" y="1871"/>
                    <a:pt x="78" y="1881"/>
                  </a:cubicBezTo>
                  <a:cubicBezTo>
                    <a:pt x="77" y="1892"/>
                    <a:pt x="69" y="1895"/>
                    <a:pt x="68" y="1906"/>
                  </a:cubicBezTo>
                  <a:cubicBezTo>
                    <a:pt x="66" y="1917"/>
                    <a:pt x="72" y="1913"/>
                    <a:pt x="76" y="1923"/>
                  </a:cubicBezTo>
                  <a:cubicBezTo>
                    <a:pt x="80" y="1933"/>
                    <a:pt x="84" y="1939"/>
                    <a:pt x="80" y="1948"/>
                  </a:cubicBezTo>
                  <a:cubicBezTo>
                    <a:pt x="76" y="1957"/>
                    <a:pt x="60" y="1956"/>
                    <a:pt x="62" y="1967"/>
                  </a:cubicBezTo>
                  <a:cubicBezTo>
                    <a:pt x="63" y="1979"/>
                    <a:pt x="62" y="1989"/>
                    <a:pt x="51" y="1998"/>
                  </a:cubicBezTo>
                  <a:cubicBezTo>
                    <a:pt x="40" y="2007"/>
                    <a:pt x="36" y="2010"/>
                    <a:pt x="29" y="2018"/>
                  </a:cubicBezTo>
                  <a:cubicBezTo>
                    <a:pt x="22" y="2026"/>
                    <a:pt x="6" y="2021"/>
                    <a:pt x="4" y="2033"/>
                  </a:cubicBezTo>
                  <a:cubicBezTo>
                    <a:pt x="1" y="2044"/>
                    <a:pt x="0" y="2091"/>
                    <a:pt x="4" y="2098"/>
                  </a:cubicBezTo>
                  <a:cubicBezTo>
                    <a:pt x="9" y="2105"/>
                    <a:pt x="20" y="2105"/>
                    <a:pt x="18" y="2117"/>
                  </a:cubicBezTo>
                  <a:cubicBezTo>
                    <a:pt x="16" y="2129"/>
                    <a:pt x="20" y="2140"/>
                    <a:pt x="27" y="2143"/>
                  </a:cubicBezTo>
                  <a:cubicBezTo>
                    <a:pt x="34" y="2147"/>
                    <a:pt x="41" y="2149"/>
                    <a:pt x="45" y="2143"/>
                  </a:cubicBezTo>
                  <a:cubicBezTo>
                    <a:pt x="49" y="2138"/>
                    <a:pt x="51" y="2135"/>
                    <a:pt x="63" y="2137"/>
                  </a:cubicBezTo>
                  <a:cubicBezTo>
                    <a:pt x="75" y="2140"/>
                    <a:pt x="81" y="2143"/>
                    <a:pt x="81" y="2147"/>
                  </a:cubicBezTo>
                  <a:cubicBezTo>
                    <a:pt x="81" y="2151"/>
                    <a:pt x="94" y="2156"/>
                    <a:pt x="86" y="2164"/>
                  </a:cubicBezTo>
                  <a:cubicBezTo>
                    <a:pt x="79" y="2172"/>
                    <a:pt x="79" y="2175"/>
                    <a:pt x="79" y="2187"/>
                  </a:cubicBezTo>
                  <a:cubicBezTo>
                    <a:pt x="79" y="2198"/>
                    <a:pt x="70" y="2215"/>
                    <a:pt x="79" y="2223"/>
                  </a:cubicBezTo>
                  <a:cubicBezTo>
                    <a:pt x="88" y="2232"/>
                    <a:pt x="100" y="2233"/>
                    <a:pt x="104" y="2244"/>
                  </a:cubicBezTo>
                  <a:cubicBezTo>
                    <a:pt x="107" y="2255"/>
                    <a:pt x="122" y="2255"/>
                    <a:pt x="132" y="2255"/>
                  </a:cubicBezTo>
                  <a:cubicBezTo>
                    <a:pt x="142" y="2255"/>
                    <a:pt x="172" y="2255"/>
                    <a:pt x="196" y="2255"/>
                  </a:cubicBezTo>
                  <a:cubicBezTo>
                    <a:pt x="220" y="2255"/>
                    <a:pt x="246" y="2255"/>
                    <a:pt x="254" y="2260"/>
                  </a:cubicBezTo>
                  <a:cubicBezTo>
                    <a:pt x="262" y="2265"/>
                    <a:pt x="280" y="2259"/>
                    <a:pt x="290" y="2264"/>
                  </a:cubicBezTo>
                  <a:cubicBezTo>
                    <a:pt x="300" y="2269"/>
                    <a:pt x="309" y="2270"/>
                    <a:pt x="319" y="2277"/>
                  </a:cubicBezTo>
                  <a:cubicBezTo>
                    <a:pt x="325" y="2281"/>
                    <a:pt x="330" y="2285"/>
                    <a:pt x="332" y="2289"/>
                  </a:cubicBezTo>
                  <a:cubicBezTo>
                    <a:pt x="337" y="2284"/>
                    <a:pt x="337" y="2269"/>
                    <a:pt x="328" y="2260"/>
                  </a:cubicBezTo>
                  <a:cubicBezTo>
                    <a:pt x="317" y="2248"/>
                    <a:pt x="288" y="2194"/>
                    <a:pt x="287" y="2179"/>
                  </a:cubicBezTo>
                  <a:cubicBezTo>
                    <a:pt x="286" y="2164"/>
                    <a:pt x="284" y="2132"/>
                    <a:pt x="295" y="2122"/>
                  </a:cubicBezTo>
                  <a:cubicBezTo>
                    <a:pt x="307" y="2112"/>
                    <a:pt x="319" y="2106"/>
                    <a:pt x="327" y="2099"/>
                  </a:cubicBezTo>
                  <a:cubicBezTo>
                    <a:pt x="335" y="2091"/>
                    <a:pt x="373" y="2103"/>
                    <a:pt x="376" y="2071"/>
                  </a:cubicBezTo>
                  <a:cubicBezTo>
                    <a:pt x="378" y="2040"/>
                    <a:pt x="385" y="1996"/>
                    <a:pt x="404" y="1986"/>
                  </a:cubicBezTo>
                  <a:cubicBezTo>
                    <a:pt x="422" y="1976"/>
                    <a:pt x="441" y="1955"/>
                    <a:pt x="459" y="1944"/>
                  </a:cubicBezTo>
                  <a:cubicBezTo>
                    <a:pt x="478" y="1933"/>
                    <a:pt x="499" y="1922"/>
                    <a:pt x="498" y="1913"/>
                  </a:cubicBezTo>
                  <a:cubicBezTo>
                    <a:pt x="497" y="1904"/>
                    <a:pt x="488" y="1910"/>
                    <a:pt x="492" y="1897"/>
                  </a:cubicBezTo>
                  <a:cubicBezTo>
                    <a:pt x="497" y="1883"/>
                    <a:pt x="503" y="1881"/>
                    <a:pt x="500" y="1867"/>
                  </a:cubicBezTo>
                  <a:cubicBezTo>
                    <a:pt x="498" y="1853"/>
                    <a:pt x="505" y="1843"/>
                    <a:pt x="485" y="1841"/>
                  </a:cubicBezTo>
                  <a:cubicBezTo>
                    <a:pt x="465" y="1840"/>
                    <a:pt x="442" y="1843"/>
                    <a:pt x="431" y="1830"/>
                  </a:cubicBezTo>
                  <a:cubicBezTo>
                    <a:pt x="421" y="1816"/>
                    <a:pt x="420" y="1810"/>
                    <a:pt x="407" y="1803"/>
                  </a:cubicBezTo>
                  <a:cubicBezTo>
                    <a:pt x="394" y="1797"/>
                    <a:pt x="388" y="1796"/>
                    <a:pt x="386" y="1778"/>
                  </a:cubicBezTo>
                  <a:cubicBezTo>
                    <a:pt x="384" y="1760"/>
                    <a:pt x="387" y="1740"/>
                    <a:pt x="399" y="1732"/>
                  </a:cubicBezTo>
                  <a:cubicBezTo>
                    <a:pt x="410" y="1723"/>
                    <a:pt x="419" y="1697"/>
                    <a:pt x="438" y="1691"/>
                  </a:cubicBezTo>
                  <a:cubicBezTo>
                    <a:pt x="458" y="1685"/>
                    <a:pt x="466" y="1669"/>
                    <a:pt x="479" y="1671"/>
                  </a:cubicBezTo>
                  <a:cubicBezTo>
                    <a:pt x="493" y="1673"/>
                    <a:pt x="507" y="1680"/>
                    <a:pt x="508" y="1665"/>
                  </a:cubicBezTo>
                  <a:cubicBezTo>
                    <a:pt x="509" y="1650"/>
                    <a:pt x="509" y="1643"/>
                    <a:pt x="520" y="1636"/>
                  </a:cubicBezTo>
                  <a:cubicBezTo>
                    <a:pt x="530" y="1630"/>
                    <a:pt x="534" y="1619"/>
                    <a:pt x="534" y="1603"/>
                  </a:cubicBezTo>
                  <a:cubicBezTo>
                    <a:pt x="534" y="1588"/>
                    <a:pt x="517" y="1571"/>
                    <a:pt x="535" y="1561"/>
                  </a:cubicBezTo>
                  <a:cubicBezTo>
                    <a:pt x="552" y="1551"/>
                    <a:pt x="542" y="1535"/>
                    <a:pt x="556" y="1532"/>
                  </a:cubicBezTo>
                  <a:cubicBezTo>
                    <a:pt x="569" y="1529"/>
                    <a:pt x="584" y="1531"/>
                    <a:pt x="585" y="1523"/>
                  </a:cubicBezTo>
                  <a:cubicBezTo>
                    <a:pt x="586" y="1515"/>
                    <a:pt x="583" y="1515"/>
                    <a:pt x="573" y="1510"/>
                  </a:cubicBezTo>
                  <a:cubicBezTo>
                    <a:pt x="564" y="1505"/>
                    <a:pt x="553" y="1501"/>
                    <a:pt x="555" y="1495"/>
                  </a:cubicBezTo>
                  <a:cubicBezTo>
                    <a:pt x="557" y="1488"/>
                    <a:pt x="564" y="1492"/>
                    <a:pt x="567" y="1484"/>
                  </a:cubicBezTo>
                  <a:cubicBezTo>
                    <a:pt x="570" y="1476"/>
                    <a:pt x="586" y="1483"/>
                    <a:pt x="589" y="1489"/>
                  </a:cubicBezTo>
                  <a:cubicBezTo>
                    <a:pt x="593" y="1495"/>
                    <a:pt x="593" y="1508"/>
                    <a:pt x="612" y="1507"/>
                  </a:cubicBezTo>
                  <a:cubicBezTo>
                    <a:pt x="630" y="1505"/>
                    <a:pt x="636" y="1505"/>
                    <a:pt x="637" y="1493"/>
                  </a:cubicBezTo>
                  <a:cubicBezTo>
                    <a:pt x="637" y="1481"/>
                    <a:pt x="638" y="1472"/>
                    <a:pt x="635" y="1464"/>
                  </a:cubicBezTo>
                  <a:cubicBezTo>
                    <a:pt x="631" y="1457"/>
                    <a:pt x="632" y="1449"/>
                    <a:pt x="620" y="1448"/>
                  </a:cubicBezTo>
                  <a:cubicBezTo>
                    <a:pt x="607" y="1447"/>
                    <a:pt x="601" y="1453"/>
                    <a:pt x="601" y="1461"/>
                  </a:cubicBezTo>
                  <a:cubicBezTo>
                    <a:pt x="601" y="1468"/>
                    <a:pt x="597" y="1479"/>
                    <a:pt x="587" y="1469"/>
                  </a:cubicBezTo>
                  <a:cubicBezTo>
                    <a:pt x="578" y="1460"/>
                    <a:pt x="579" y="1454"/>
                    <a:pt x="571" y="1454"/>
                  </a:cubicBezTo>
                  <a:cubicBezTo>
                    <a:pt x="562" y="1454"/>
                    <a:pt x="545" y="1452"/>
                    <a:pt x="544" y="1438"/>
                  </a:cubicBezTo>
                  <a:cubicBezTo>
                    <a:pt x="543" y="1423"/>
                    <a:pt x="556" y="1409"/>
                    <a:pt x="550" y="1402"/>
                  </a:cubicBezTo>
                  <a:cubicBezTo>
                    <a:pt x="545" y="1395"/>
                    <a:pt x="539" y="1394"/>
                    <a:pt x="540" y="1378"/>
                  </a:cubicBezTo>
                  <a:cubicBezTo>
                    <a:pt x="541" y="1362"/>
                    <a:pt x="537" y="1354"/>
                    <a:pt x="548" y="1352"/>
                  </a:cubicBezTo>
                  <a:cubicBezTo>
                    <a:pt x="559" y="1350"/>
                    <a:pt x="575" y="1350"/>
                    <a:pt x="580" y="1357"/>
                  </a:cubicBezTo>
                  <a:cubicBezTo>
                    <a:pt x="586" y="1364"/>
                    <a:pt x="587" y="1363"/>
                    <a:pt x="595" y="1365"/>
                  </a:cubicBezTo>
                  <a:cubicBezTo>
                    <a:pt x="603" y="1366"/>
                    <a:pt x="610" y="1368"/>
                    <a:pt x="614" y="1373"/>
                  </a:cubicBezTo>
                  <a:cubicBezTo>
                    <a:pt x="617" y="1378"/>
                    <a:pt x="628" y="1378"/>
                    <a:pt x="642" y="1380"/>
                  </a:cubicBezTo>
                  <a:cubicBezTo>
                    <a:pt x="656" y="1381"/>
                    <a:pt x="662" y="1373"/>
                    <a:pt x="674" y="1373"/>
                  </a:cubicBezTo>
                  <a:cubicBezTo>
                    <a:pt x="687" y="1373"/>
                    <a:pt x="727" y="1356"/>
                    <a:pt x="724" y="1340"/>
                  </a:cubicBezTo>
                  <a:cubicBezTo>
                    <a:pt x="722" y="1325"/>
                    <a:pt x="709" y="1320"/>
                    <a:pt x="709" y="1310"/>
                  </a:cubicBezTo>
                  <a:cubicBezTo>
                    <a:pt x="709" y="1301"/>
                    <a:pt x="716" y="1293"/>
                    <a:pt x="723" y="1286"/>
                  </a:cubicBezTo>
                  <a:cubicBezTo>
                    <a:pt x="729" y="1278"/>
                    <a:pt x="732" y="1261"/>
                    <a:pt x="732" y="1254"/>
                  </a:cubicBezTo>
                  <a:cubicBezTo>
                    <a:pt x="733" y="1247"/>
                    <a:pt x="742" y="1245"/>
                    <a:pt x="729" y="1238"/>
                  </a:cubicBezTo>
                  <a:cubicBezTo>
                    <a:pt x="716" y="1231"/>
                    <a:pt x="714" y="1230"/>
                    <a:pt x="718" y="1219"/>
                  </a:cubicBezTo>
                  <a:cubicBezTo>
                    <a:pt x="722" y="1208"/>
                    <a:pt x="732" y="1198"/>
                    <a:pt x="734" y="1211"/>
                  </a:cubicBezTo>
                  <a:cubicBezTo>
                    <a:pt x="736" y="1225"/>
                    <a:pt x="745" y="1227"/>
                    <a:pt x="745" y="1219"/>
                  </a:cubicBezTo>
                  <a:cubicBezTo>
                    <a:pt x="746" y="1211"/>
                    <a:pt x="755" y="1210"/>
                    <a:pt x="760" y="1215"/>
                  </a:cubicBezTo>
                  <a:cubicBezTo>
                    <a:pt x="766" y="1221"/>
                    <a:pt x="782" y="1221"/>
                    <a:pt x="794" y="1218"/>
                  </a:cubicBezTo>
                  <a:cubicBezTo>
                    <a:pt x="806" y="1215"/>
                    <a:pt x="822" y="1204"/>
                    <a:pt x="855" y="1204"/>
                  </a:cubicBezTo>
                  <a:cubicBezTo>
                    <a:pt x="888" y="1204"/>
                    <a:pt x="904" y="1190"/>
                    <a:pt x="927" y="1187"/>
                  </a:cubicBezTo>
                  <a:cubicBezTo>
                    <a:pt x="950" y="1184"/>
                    <a:pt x="1017" y="1156"/>
                    <a:pt x="1025" y="1131"/>
                  </a:cubicBezTo>
                  <a:cubicBezTo>
                    <a:pt x="1032" y="1107"/>
                    <a:pt x="1053" y="1097"/>
                    <a:pt x="1065" y="1077"/>
                  </a:cubicBezTo>
                  <a:cubicBezTo>
                    <a:pt x="1076" y="1057"/>
                    <a:pt x="1083" y="1041"/>
                    <a:pt x="1078" y="1027"/>
                  </a:cubicBezTo>
                  <a:cubicBezTo>
                    <a:pt x="1072" y="1012"/>
                    <a:pt x="1045" y="1019"/>
                    <a:pt x="1039" y="997"/>
                  </a:cubicBezTo>
                  <a:cubicBezTo>
                    <a:pt x="1033" y="974"/>
                    <a:pt x="1029" y="982"/>
                    <a:pt x="1040" y="968"/>
                  </a:cubicBezTo>
                  <a:cubicBezTo>
                    <a:pt x="1052" y="954"/>
                    <a:pt x="1047" y="941"/>
                    <a:pt x="1035" y="931"/>
                  </a:cubicBezTo>
                  <a:cubicBezTo>
                    <a:pt x="1022" y="921"/>
                    <a:pt x="1007" y="903"/>
                    <a:pt x="992" y="902"/>
                  </a:cubicBezTo>
                  <a:cubicBezTo>
                    <a:pt x="976" y="900"/>
                    <a:pt x="960" y="906"/>
                    <a:pt x="963" y="892"/>
                  </a:cubicBezTo>
                  <a:cubicBezTo>
                    <a:pt x="966" y="878"/>
                    <a:pt x="976" y="876"/>
                    <a:pt x="993" y="882"/>
                  </a:cubicBezTo>
                  <a:cubicBezTo>
                    <a:pt x="996" y="883"/>
                    <a:pt x="998" y="883"/>
                    <a:pt x="1001" y="884"/>
                  </a:cubicBezTo>
                  <a:cubicBezTo>
                    <a:pt x="1000" y="865"/>
                    <a:pt x="986" y="848"/>
                    <a:pt x="979" y="84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2" name="Freeform 462">
              <a:extLst>
                <a:ext uri="{FF2B5EF4-FFF2-40B4-BE49-F238E27FC236}">
                  <a16:creationId xmlns:a16="http://schemas.microsoft.com/office/drawing/2014/main" id="{14D658EA-AAA6-CC4A-A5B5-F98F01F87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" y="3077"/>
              <a:ext cx="79" cy="88"/>
            </a:xfrm>
            <a:custGeom>
              <a:avLst/>
              <a:gdLst>
                <a:gd name="T0" fmla="*/ 297 w 312"/>
                <a:gd name="T1" fmla="*/ 203 h 347"/>
                <a:gd name="T2" fmla="*/ 290 w 312"/>
                <a:gd name="T3" fmla="*/ 149 h 347"/>
                <a:gd name="T4" fmla="*/ 260 w 312"/>
                <a:gd name="T5" fmla="*/ 131 h 347"/>
                <a:gd name="T6" fmla="*/ 239 w 312"/>
                <a:gd name="T7" fmla="*/ 108 h 347"/>
                <a:gd name="T8" fmla="*/ 209 w 312"/>
                <a:gd name="T9" fmla="*/ 91 h 347"/>
                <a:gd name="T10" fmla="*/ 176 w 312"/>
                <a:gd name="T11" fmla="*/ 67 h 347"/>
                <a:gd name="T12" fmla="*/ 158 w 312"/>
                <a:gd name="T13" fmla="*/ 71 h 347"/>
                <a:gd name="T14" fmla="*/ 138 w 312"/>
                <a:gd name="T15" fmla="*/ 46 h 347"/>
                <a:gd name="T16" fmla="*/ 117 w 312"/>
                <a:gd name="T17" fmla="*/ 24 h 347"/>
                <a:gd name="T18" fmla="*/ 92 w 312"/>
                <a:gd name="T19" fmla="*/ 6 h 347"/>
                <a:gd name="T20" fmla="*/ 65 w 312"/>
                <a:gd name="T21" fmla="*/ 15 h 347"/>
                <a:gd name="T22" fmla="*/ 39 w 312"/>
                <a:gd name="T23" fmla="*/ 14 h 347"/>
                <a:gd name="T24" fmla="*/ 24 w 312"/>
                <a:gd name="T25" fmla="*/ 42 h 347"/>
                <a:gd name="T26" fmla="*/ 25 w 312"/>
                <a:gd name="T27" fmla="*/ 76 h 347"/>
                <a:gd name="T28" fmla="*/ 14 w 312"/>
                <a:gd name="T29" fmla="*/ 124 h 347"/>
                <a:gd name="T30" fmla="*/ 4 w 312"/>
                <a:gd name="T31" fmla="*/ 159 h 347"/>
                <a:gd name="T32" fmla="*/ 9 w 312"/>
                <a:gd name="T33" fmla="*/ 202 h 347"/>
                <a:gd name="T34" fmla="*/ 3 w 312"/>
                <a:gd name="T35" fmla="*/ 235 h 347"/>
                <a:gd name="T36" fmla="*/ 9 w 312"/>
                <a:gd name="T37" fmla="*/ 268 h 347"/>
                <a:gd name="T38" fmla="*/ 31 w 312"/>
                <a:gd name="T39" fmla="*/ 312 h 347"/>
                <a:gd name="T40" fmla="*/ 65 w 312"/>
                <a:gd name="T41" fmla="*/ 316 h 347"/>
                <a:gd name="T42" fmla="*/ 96 w 312"/>
                <a:gd name="T43" fmla="*/ 324 h 347"/>
                <a:gd name="T44" fmla="*/ 142 w 312"/>
                <a:gd name="T45" fmla="*/ 337 h 347"/>
                <a:gd name="T46" fmla="*/ 186 w 312"/>
                <a:gd name="T47" fmla="*/ 337 h 347"/>
                <a:gd name="T48" fmla="*/ 238 w 312"/>
                <a:gd name="T49" fmla="*/ 334 h 347"/>
                <a:gd name="T50" fmla="*/ 310 w 312"/>
                <a:gd name="T51" fmla="*/ 273 h 347"/>
                <a:gd name="T52" fmla="*/ 312 w 312"/>
                <a:gd name="T53" fmla="*/ 270 h 347"/>
                <a:gd name="T54" fmla="*/ 301 w 312"/>
                <a:gd name="T55" fmla="*/ 240 h 347"/>
                <a:gd name="T56" fmla="*/ 297 w 312"/>
                <a:gd name="T57" fmla="*/ 203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2" h="347">
                  <a:moveTo>
                    <a:pt x="297" y="203"/>
                  </a:moveTo>
                  <a:cubicBezTo>
                    <a:pt x="295" y="188"/>
                    <a:pt x="295" y="164"/>
                    <a:pt x="290" y="149"/>
                  </a:cubicBezTo>
                  <a:cubicBezTo>
                    <a:pt x="285" y="134"/>
                    <a:pt x="272" y="136"/>
                    <a:pt x="260" y="131"/>
                  </a:cubicBezTo>
                  <a:cubicBezTo>
                    <a:pt x="248" y="126"/>
                    <a:pt x="245" y="122"/>
                    <a:pt x="239" y="108"/>
                  </a:cubicBezTo>
                  <a:cubicBezTo>
                    <a:pt x="233" y="94"/>
                    <a:pt x="228" y="92"/>
                    <a:pt x="209" y="91"/>
                  </a:cubicBezTo>
                  <a:cubicBezTo>
                    <a:pt x="190" y="90"/>
                    <a:pt x="185" y="82"/>
                    <a:pt x="176" y="67"/>
                  </a:cubicBezTo>
                  <a:cubicBezTo>
                    <a:pt x="167" y="52"/>
                    <a:pt x="168" y="60"/>
                    <a:pt x="158" y="71"/>
                  </a:cubicBezTo>
                  <a:cubicBezTo>
                    <a:pt x="148" y="82"/>
                    <a:pt x="141" y="63"/>
                    <a:pt x="138" y="46"/>
                  </a:cubicBezTo>
                  <a:cubicBezTo>
                    <a:pt x="135" y="29"/>
                    <a:pt x="120" y="36"/>
                    <a:pt x="117" y="24"/>
                  </a:cubicBezTo>
                  <a:cubicBezTo>
                    <a:pt x="114" y="12"/>
                    <a:pt x="109" y="12"/>
                    <a:pt x="92" y="6"/>
                  </a:cubicBezTo>
                  <a:cubicBezTo>
                    <a:pt x="75" y="0"/>
                    <a:pt x="86" y="6"/>
                    <a:pt x="65" y="15"/>
                  </a:cubicBezTo>
                  <a:cubicBezTo>
                    <a:pt x="54" y="19"/>
                    <a:pt x="45" y="17"/>
                    <a:pt x="39" y="14"/>
                  </a:cubicBezTo>
                  <a:cubicBezTo>
                    <a:pt x="29" y="22"/>
                    <a:pt x="22" y="32"/>
                    <a:pt x="24" y="42"/>
                  </a:cubicBezTo>
                  <a:cubicBezTo>
                    <a:pt x="26" y="55"/>
                    <a:pt x="34" y="62"/>
                    <a:pt x="25" y="76"/>
                  </a:cubicBezTo>
                  <a:cubicBezTo>
                    <a:pt x="16" y="90"/>
                    <a:pt x="23" y="114"/>
                    <a:pt x="14" y="124"/>
                  </a:cubicBezTo>
                  <a:cubicBezTo>
                    <a:pt x="5" y="134"/>
                    <a:pt x="0" y="141"/>
                    <a:pt x="4" y="159"/>
                  </a:cubicBezTo>
                  <a:cubicBezTo>
                    <a:pt x="8" y="177"/>
                    <a:pt x="17" y="190"/>
                    <a:pt x="9" y="202"/>
                  </a:cubicBezTo>
                  <a:cubicBezTo>
                    <a:pt x="1" y="214"/>
                    <a:pt x="2" y="223"/>
                    <a:pt x="3" y="235"/>
                  </a:cubicBezTo>
                  <a:cubicBezTo>
                    <a:pt x="4" y="247"/>
                    <a:pt x="1" y="259"/>
                    <a:pt x="9" y="268"/>
                  </a:cubicBezTo>
                  <a:cubicBezTo>
                    <a:pt x="16" y="276"/>
                    <a:pt x="30" y="293"/>
                    <a:pt x="31" y="312"/>
                  </a:cubicBezTo>
                  <a:cubicBezTo>
                    <a:pt x="43" y="316"/>
                    <a:pt x="53" y="316"/>
                    <a:pt x="65" y="316"/>
                  </a:cubicBezTo>
                  <a:cubicBezTo>
                    <a:pt x="79" y="316"/>
                    <a:pt x="83" y="317"/>
                    <a:pt x="96" y="324"/>
                  </a:cubicBezTo>
                  <a:cubicBezTo>
                    <a:pt x="109" y="331"/>
                    <a:pt x="119" y="336"/>
                    <a:pt x="142" y="337"/>
                  </a:cubicBezTo>
                  <a:cubicBezTo>
                    <a:pt x="165" y="339"/>
                    <a:pt x="168" y="334"/>
                    <a:pt x="186" y="337"/>
                  </a:cubicBezTo>
                  <a:cubicBezTo>
                    <a:pt x="205" y="340"/>
                    <a:pt x="212" y="347"/>
                    <a:pt x="238" y="334"/>
                  </a:cubicBezTo>
                  <a:cubicBezTo>
                    <a:pt x="264" y="321"/>
                    <a:pt x="288" y="294"/>
                    <a:pt x="310" y="273"/>
                  </a:cubicBezTo>
                  <a:cubicBezTo>
                    <a:pt x="310" y="272"/>
                    <a:pt x="311" y="271"/>
                    <a:pt x="312" y="270"/>
                  </a:cubicBezTo>
                  <a:cubicBezTo>
                    <a:pt x="308" y="261"/>
                    <a:pt x="305" y="251"/>
                    <a:pt x="301" y="240"/>
                  </a:cubicBezTo>
                  <a:cubicBezTo>
                    <a:pt x="296" y="226"/>
                    <a:pt x="299" y="218"/>
                    <a:pt x="297" y="20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3" name="Freeform 463">
              <a:extLst>
                <a:ext uri="{FF2B5EF4-FFF2-40B4-BE49-F238E27FC236}">
                  <a16:creationId xmlns:a16="http://schemas.microsoft.com/office/drawing/2014/main" id="{EC205003-1438-2F46-AA7F-0D6F992CF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6" y="2493"/>
              <a:ext cx="629" cy="653"/>
            </a:xfrm>
            <a:custGeom>
              <a:avLst/>
              <a:gdLst>
                <a:gd name="T0" fmla="*/ 2106 w 2486"/>
                <a:gd name="T1" fmla="*/ 507 h 2581"/>
                <a:gd name="T2" fmla="*/ 1898 w 2486"/>
                <a:gd name="T3" fmla="*/ 508 h 2581"/>
                <a:gd name="T4" fmla="*/ 1749 w 2486"/>
                <a:gd name="T5" fmla="*/ 386 h 2581"/>
                <a:gd name="T6" fmla="*/ 1631 w 2486"/>
                <a:gd name="T7" fmla="*/ 376 h 2581"/>
                <a:gd name="T8" fmla="*/ 1517 w 2486"/>
                <a:gd name="T9" fmla="*/ 317 h 2581"/>
                <a:gd name="T10" fmla="*/ 1518 w 2486"/>
                <a:gd name="T11" fmla="*/ 292 h 2581"/>
                <a:gd name="T12" fmla="*/ 1439 w 2486"/>
                <a:gd name="T13" fmla="*/ 49 h 2581"/>
                <a:gd name="T14" fmla="*/ 1228 w 2486"/>
                <a:gd name="T15" fmla="*/ 173 h 2581"/>
                <a:gd name="T16" fmla="*/ 1065 w 2486"/>
                <a:gd name="T17" fmla="*/ 216 h 2581"/>
                <a:gd name="T18" fmla="*/ 931 w 2486"/>
                <a:gd name="T19" fmla="*/ 228 h 2581"/>
                <a:gd name="T20" fmla="*/ 924 w 2486"/>
                <a:gd name="T21" fmla="*/ 91 h 2581"/>
                <a:gd name="T22" fmla="*/ 857 w 2486"/>
                <a:gd name="T23" fmla="*/ 21 h 2581"/>
                <a:gd name="T24" fmla="*/ 736 w 2486"/>
                <a:gd name="T25" fmla="*/ 76 h 2581"/>
                <a:gd name="T26" fmla="*/ 647 w 2486"/>
                <a:gd name="T27" fmla="*/ 77 h 2581"/>
                <a:gd name="T28" fmla="*/ 644 w 2486"/>
                <a:gd name="T29" fmla="*/ 169 h 2581"/>
                <a:gd name="T30" fmla="*/ 603 w 2486"/>
                <a:gd name="T31" fmla="*/ 250 h 2581"/>
                <a:gd name="T32" fmla="*/ 496 w 2486"/>
                <a:gd name="T33" fmla="*/ 287 h 2581"/>
                <a:gd name="T34" fmla="*/ 423 w 2486"/>
                <a:gd name="T35" fmla="*/ 204 h 2581"/>
                <a:gd name="T36" fmla="*/ 270 w 2486"/>
                <a:gd name="T37" fmla="*/ 234 h 2581"/>
                <a:gd name="T38" fmla="*/ 263 w 2486"/>
                <a:gd name="T39" fmla="*/ 351 h 2581"/>
                <a:gd name="T40" fmla="*/ 287 w 2486"/>
                <a:gd name="T41" fmla="*/ 492 h 2581"/>
                <a:gd name="T42" fmla="*/ 209 w 2486"/>
                <a:gd name="T43" fmla="*/ 606 h 2581"/>
                <a:gd name="T44" fmla="*/ 69 w 2486"/>
                <a:gd name="T45" fmla="*/ 708 h 2581"/>
                <a:gd name="T46" fmla="*/ 23 w 2486"/>
                <a:gd name="T47" fmla="*/ 806 h 2581"/>
                <a:gd name="T48" fmla="*/ 73 w 2486"/>
                <a:gd name="T49" fmla="*/ 917 h 2581"/>
                <a:gd name="T50" fmla="*/ 206 w 2486"/>
                <a:gd name="T51" fmla="*/ 958 h 2581"/>
                <a:gd name="T52" fmla="*/ 257 w 2486"/>
                <a:gd name="T53" fmla="*/ 1041 h 2581"/>
                <a:gd name="T54" fmla="*/ 370 w 2486"/>
                <a:gd name="T55" fmla="*/ 1041 h 2581"/>
                <a:gd name="T56" fmla="*/ 494 w 2486"/>
                <a:gd name="T57" fmla="*/ 967 h 2581"/>
                <a:gd name="T58" fmla="*/ 556 w 2486"/>
                <a:gd name="T59" fmla="*/ 1003 h 2581"/>
                <a:gd name="T60" fmla="*/ 596 w 2486"/>
                <a:gd name="T61" fmla="*/ 1110 h 2581"/>
                <a:gd name="T62" fmla="*/ 740 w 2486"/>
                <a:gd name="T63" fmla="*/ 1174 h 2581"/>
                <a:gd name="T64" fmla="*/ 877 w 2486"/>
                <a:gd name="T65" fmla="*/ 1261 h 2581"/>
                <a:gd name="T66" fmla="*/ 888 w 2486"/>
                <a:gd name="T67" fmla="*/ 1384 h 2581"/>
                <a:gd name="T68" fmla="*/ 1025 w 2486"/>
                <a:gd name="T69" fmla="*/ 1457 h 2581"/>
                <a:gd name="T70" fmla="*/ 1045 w 2486"/>
                <a:gd name="T71" fmla="*/ 1565 h 2581"/>
                <a:gd name="T72" fmla="*/ 1039 w 2486"/>
                <a:gd name="T73" fmla="*/ 1683 h 2581"/>
                <a:gd name="T74" fmla="*/ 1121 w 2486"/>
                <a:gd name="T75" fmla="*/ 1780 h 2581"/>
                <a:gd name="T76" fmla="*/ 1234 w 2486"/>
                <a:gd name="T77" fmla="*/ 1894 h 2581"/>
                <a:gd name="T78" fmla="*/ 1248 w 2486"/>
                <a:gd name="T79" fmla="*/ 2001 h 2581"/>
                <a:gd name="T80" fmla="*/ 1301 w 2486"/>
                <a:gd name="T81" fmla="*/ 2085 h 2581"/>
                <a:gd name="T82" fmla="*/ 1116 w 2486"/>
                <a:gd name="T83" fmla="*/ 2258 h 2581"/>
                <a:gd name="T84" fmla="*/ 1107 w 2486"/>
                <a:gd name="T85" fmla="*/ 2317 h 2581"/>
                <a:gd name="T86" fmla="*/ 1224 w 2486"/>
                <a:gd name="T87" fmla="*/ 2402 h 2581"/>
                <a:gd name="T88" fmla="*/ 1316 w 2486"/>
                <a:gd name="T89" fmla="*/ 2551 h 2581"/>
                <a:gd name="T90" fmla="*/ 1461 w 2486"/>
                <a:gd name="T91" fmla="*/ 2361 h 2581"/>
                <a:gd name="T92" fmla="*/ 1411 w 2486"/>
                <a:gd name="T93" fmla="*/ 2445 h 2581"/>
                <a:gd name="T94" fmla="*/ 1633 w 2486"/>
                <a:gd name="T95" fmla="*/ 2171 h 2581"/>
                <a:gd name="T96" fmla="*/ 1654 w 2486"/>
                <a:gd name="T97" fmla="*/ 1983 h 2581"/>
                <a:gd name="T98" fmla="*/ 1833 w 2486"/>
                <a:gd name="T99" fmla="*/ 1887 h 2581"/>
                <a:gd name="T100" fmla="*/ 2037 w 2486"/>
                <a:gd name="T101" fmla="*/ 1811 h 2581"/>
                <a:gd name="T102" fmla="*/ 2155 w 2486"/>
                <a:gd name="T103" fmla="*/ 1559 h 2581"/>
                <a:gd name="T104" fmla="*/ 2203 w 2486"/>
                <a:gd name="T105" fmla="*/ 1233 h 2581"/>
                <a:gd name="T106" fmla="*/ 2306 w 2486"/>
                <a:gd name="T107" fmla="*/ 1054 h 2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86" h="2581">
                  <a:moveTo>
                    <a:pt x="2466" y="778"/>
                  </a:moveTo>
                  <a:cubicBezTo>
                    <a:pt x="2446" y="740"/>
                    <a:pt x="2443" y="706"/>
                    <a:pt x="2438" y="690"/>
                  </a:cubicBezTo>
                  <a:cubicBezTo>
                    <a:pt x="2434" y="674"/>
                    <a:pt x="2415" y="650"/>
                    <a:pt x="2395" y="653"/>
                  </a:cubicBezTo>
                  <a:cubicBezTo>
                    <a:pt x="2375" y="656"/>
                    <a:pt x="2338" y="670"/>
                    <a:pt x="2284" y="620"/>
                  </a:cubicBezTo>
                  <a:cubicBezTo>
                    <a:pt x="2229" y="570"/>
                    <a:pt x="2139" y="508"/>
                    <a:pt x="2106" y="507"/>
                  </a:cubicBezTo>
                  <a:cubicBezTo>
                    <a:pt x="2073" y="505"/>
                    <a:pt x="2051" y="530"/>
                    <a:pt x="2040" y="517"/>
                  </a:cubicBezTo>
                  <a:cubicBezTo>
                    <a:pt x="2028" y="504"/>
                    <a:pt x="2026" y="508"/>
                    <a:pt x="2014" y="504"/>
                  </a:cubicBezTo>
                  <a:cubicBezTo>
                    <a:pt x="2003" y="500"/>
                    <a:pt x="1960" y="479"/>
                    <a:pt x="1948" y="482"/>
                  </a:cubicBezTo>
                  <a:cubicBezTo>
                    <a:pt x="1937" y="485"/>
                    <a:pt x="1914" y="488"/>
                    <a:pt x="1908" y="489"/>
                  </a:cubicBezTo>
                  <a:cubicBezTo>
                    <a:pt x="1902" y="491"/>
                    <a:pt x="1901" y="497"/>
                    <a:pt x="1898" y="508"/>
                  </a:cubicBezTo>
                  <a:cubicBezTo>
                    <a:pt x="1895" y="520"/>
                    <a:pt x="1876" y="518"/>
                    <a:pt x="1878" y="502"/>
                  </a:cubicBezTo>
                  <a:cubicBezTo>
                    <a:pt x="1879" y="487"/>
                    <a:pt x="1911" y="484"/>
                    <a:pt x="1892" y="462"/>
                  </a:cubicBezTo>
                  <a:cubicBezTo>
                    <a:pt x="1874" y="441"/>
                    <a:pt x="1876" y="425"/>
                    <a:pt x="1854" y="425"/>
                  </a:cubicBezTo>
                  <a:cubicBezTo>
                    <a:pt x="1831" y="425"/>
                    <a:pt x="1806" y="405"/>
                    <a:pt x="1788" y="405"/>
                  </a:cubicBezTo>
                  <a:cubicBezTo>
                    <a:pt x="1769" y="405"/>
                    <a:pt x="1768" y="385"/>
                    <a:pt x="1749" y="386"/>
                  </a:cubicBezTo>
                  <a:cubicBezTo>
                    <a:pt x="1730" y="388"/>
                    <a:pt x="1682" y="372"/>
                    <a:pt x="1672" y="373"/>
                  </a:cubicBezTo>
                  <a:cubicBezTo>
                    <a:pt x="1661" y="375"/>
                    <a:pt x="1647" y="392"/>
                    <a:pt x="1640" y="411"/>
                  </a:cubicBezTo>
                  <a:cubicBezTo>
                    <a:pt x="1633" y="429"/>
                    <a:pt x="1601" y="445"/>
                    <a:pt x="1591" y="457"/>
                  </a:cubicBezTo>
                  <a:cubicBezTo>
                    <a:pt x="1581" y="468"/>
                    <a:pt x="1571" y="435"/>
                    <a:pt x="1587" y="426"/>
                  </a:cubicBezTo>
                  <a:cubicBezTo>
                    <a:pt x="1603" y="418"/>
                    <a:pt x="1624" y="392"/>
                    <a:pt x="1631" y="376"/>
                  </a:cubicBezTo>
                  <a:cubicBezTo>
                    <a:pt x="1639" y="360"/>
                    <a:pt x="1637" y="343"/>
                    <a:pt x="1617" y="342"/>
                  </a:cubicBezTo>
                  <a:cubicBezTo>
                    <a:pt x="1597" y="340"/>
                    <a:pt x="1580" y="340"/>
                    <a:pt x="1577" y="349"/>
                  </a:cubicBezTo>
                  <a:cubicBezTo>
                    <a:pt x="1574" y="358"/>
                    <a:pt x="1560" y="338"/>
                    <a:pt x="1558" y="330"/>
                  </a:cubicBezTo>
                  <a:cubicBezTo>
                    <a:pt x="1557" y="323"/>
                    <a:pt x="1551" y="312"/>
                    <a:pt x="1540" y="307"/>
                  </a:cubicBezTo>
                  <a:cubicBezTo>
                    <a:pt x="1528" y="303"/>
                    <a:pt x="1520" y="300"/>
                    <a:pt x="1517" y="317"/>
                  </a:cubicBezTo>
                  <a:cubicBezTo>
                    <a:pt x="1514" y="335"/>
                    <a:pt x="1492" y="335"/>
                    <a:pt x="1492" y="352"/>
                  </a:cubicBezTo>
                  <a:cubicBezTo>
                    <a:pt x="1492" y="369"/>
                    <a:pt x="1494" y="393"/>
                    <a:pt x="1481" y="393"/>
                  </a:cubicBezTo>
                  <a:cubicBezTo>
                    <a:pt x="1468" y="393"/>
                    <a:pt x="1474" y="378"/>
                    <a:pt x="1462" y="373"/>
                  </a:cubicBezTo>
                  <a:cubicBezTo>
                    <a:pt x="1451" y="369"/>
                    <a:pt x="1442" y="343"/>
                    <a:pt x="1465" y="333"/>
                  </a:cubicBezTo>
                  <a:cubicBezTo>
                    <a:pt x="1488" y="323"/>
                    <a:pt x="1505" y="319"/>
                    <a:pt x="1518" y="292"/>
                  </a:cubicBezTo>
                  <a:cubicBezTo>
                    <a:pt x="1531" y="264"/>
                    <a:pt x="1535" y="256"/>
                    <a:pt x="1541" y="242"/>
                  </a:cubicBezTo>
                  <a:cubicBezTo>
                    <a:pt x="1547" y="227"/>
                    <a:pt x="1538" y="213"/>
                    <a:pt x="1524" y="209"/>
                  </a:cubicBezTo>
                  <a:cubicBezTo>
                    <a:pt x="1510" y="204"/>
                    <a:pt x="1489" y="210"/>
                    <a:pt x="1484" y="173"/>
                  </a:cubicBezTo>
                  <a:cubicBezTo>
                    <a:pt x="1478" y="135"/>
                    <a:pt x="1462" y="94"/>
                    <a:pt x="1459" y="80"/>
                  </a:cubicBezTo>
                  <a:cubicBezTo>
                    <a:pt x="1457" y="67"/>
                    <a:pt x="1461" y="57"/>
                    <a:pt x="1439" y="49"/>
                  </a:cubicBezTo>
                  <a:cubicBezTo>
                    <a:pt x="1428" y="61"/>
                    <a:pt x="1425" y="80"/>
                    <a:pt x="1415" y="92"/>
                  </a:cubicBezTo>
                  <a:cubicBezTo>
                    <a:pt x="1402" y="107"/>
                    <a:pt x="1392" y="114"/>
                    <a:pt x="1378" y="157"/>
                  </a:cubicBezTo>
                  <a:cubicBezTo>
                    <a:pt x="1364" y="200"/>
                    <a:pt x="1326" y="188"/>
                    <a:pt x="1311" y="187"/>
                  </a:cubicBezTo>
                  <a:cubicBezTo>
                    <a:pt x="1296" y="186"/>
                    <a:pt x="1290" y="196"/>
                    <a:pt x="1265" y="198"/>
                  </a:cubicBezTo>
                  <a:cubicBezTo>
                    <a:pt x="1240" y="200"/>
                    <a:pt x="1232" y="182"/>
                    <a:pt x="1228" y="173"/>
                  </a:cubicBezTo>
                  <a:cubicBezTo>
                    <a:pt x="1224" y="164"/>
                    <a:pt x="1202" y="169"/>
                    <a:pt x="1197" y="174"/>
                  </a:cubicBezTo>
                  <a:cubicBezTo>
                    <a:pt x="1192" y="179"/>
                    <a:pt x="1182" y="177"/>
                    <a:pt x="1167" y="177"/>
                  </a:cubicBezTo>
                  <a:cubicBezTo>
                    <a:pt x="1152" y="177"/>
                    <a:pt x="1152" y="195"/>
                    <a:pt x="1152" y="208"/>
                  </a:cubicBezTo>
                  <a:cubicBezTo>
                    <a:pt x="1152" y="221"/>
                    <a:pt x="1107" y="213"/>
                    <a:pt x="1096" y="213"/>
                  </a:cubicBezTo>
                  <a:cubicBezTo>
                    <a:pt x="1085" y="213"/>
                    <a:pt x="1079" y="214"/>
                    <a:pt x="1065" y="216"/>
                  </a:cubicBezTo>
                  <a:cubicBezTo>
                    <a:pt x="1051" y="218"/>
                    <a:pt x="1040" y="222"/>
                    <a:pt x="1033" y="231"/>
                  </a:cubicBezTo>
                  <a:cubicBezTo>
                    <a:pt x="1026" y="240"/>
                    <a:pt x="1016" y="241"/>
                    <a:pt x="1013" y="235"/>
                  </a:cubicBezTo>
                  <a:cubicBezTo>
                    <a:pt x="1010" y="229"/>
                    <a:pt x="998" y="239"/>
                    <a:pt x="990" y="253"/>
                  </a:cubicBezTo>
                  <a:cubicBezTo>
                    <a:pt x="982" y="267"/>
                    <a:pt x="965" y="259"/>
                    <a:pt x="961" y="256"/>
                  </a:cubicBezTo>
                  <a:cubicBezTo>
                    <a:pt x="957" y="253"/>
                    <a:pt x="942" y="239"/>
                    <a:pt x="931" y="228"/>
                  </a:cubicBezTo>
                  <a:cubicBezTo>
                    <a:pt x="920" y="217"/>
                    <a:pt x="912" y="210"/>
                    <a:pt x="911" y="199"/>
                  </a:cubicBezTo>
                  <a:cubicBezTo>
                    <a:pt x="910" y="188"/>
                    <a:pt x="905" y="186"/>
                    <a:pt x="903" y="177"/>
                  </a:cubicBezTo>
                  <a:cubicBezTo>
                    <a:pt x="901" y="168"/>
                    <a:pt x="900" y="149"/>
                    <a:pt x="904" y="142"/>
                  </a:cubicBezTo>
                  <a:cubicBezTo>
                    <a:pt x="908" y="135"/>
                    <a:pt x="914" y="125"/>
                    <a:pt x="910" y="114"/>
                  </a:cubicBezTo>
                  <a:cubicBezTo>
                    <a:pt x="906" y="103"/>
                    <a:pt x="911" y="99"/>
                    <a:pt x="924" y="91"/>
                  </a:cubicBezTo>
                  <a:cubicBezTo>
                    <a:pt x="937" y="83"/>
                    <a:pt x="916" y="72"/>
                    <a:pt x="915" y="65"/>
                  </a:cubicBezTo>
                  <a:cubicBezTo>
                    <a:pt x="914" y="58"/>
                    <a:pt x="914" y="53"/>
                    <a:pt x="898" y="49"/>
                  </a:cubicBezTo>
                  <a:cubicBezTo>
                    <a:pt x="882" y="45"/>
                    <a:pt x="897" y="39"/>
                    <a:pt x="899" y="25"/>
                  </a:cubicBezTo>
                  <a:cubicBezTo>
                    <a:pt x="901" y="11"/>
                    <a:pt x="898" y="2"/>
                    <a:pt x="875" y="1"/>
                  </a:cubicBezTo>
                  <a:cubicBezTo>
                    <a:pt x="852" y="0"/>
                    <a:pt x="859" y="9"/>
                    <a:pt x="857" y="21"/>
                  </a:cubicBezTo>
                  <a:cubicBezTo>
                    <a:pt x="855" y="33"/>
                    <a:pt x="843" y="30"/>
                    <a:pt x="839" y="40"/>
                  </a:cubicBezTo>
                  <a:cubicBezTo>
                    <a:pt x="835" y="50"/>
                    <a:pt x="832" y="45"/>
                    <a:pt x="819" y="51"/>
                  </a:cubicBezTo>
                  <a:cubicBezTo>
                    <a:pt x="806" y="57"/>
                    <a:pt x="806" y="60"/>
                    <a:pt x="790" y="60"/>
                  </a:cubicBezTo>
                  <a:cubicBezTo>
                    <a:pt x="774" y="60"/>
                    <a:pt x="773" y="71"/>
                    <a:pt x="757" y="70"/>
                  </a:cubicBezTo>
                  <a:cubicBezTo>
                    <a:pt x="741" y="69"/>
                    <a:pt x="745" y="76"/>
                    <a:pt x="736" y="76"/>
                  </a:cubicBezTo>
                  <a:cubicBezTo>
                    <a:pt x="727" y="76"/>
                    <a:pt x="724" y="85"/>
                    <a:pt x="725" y="98"/>
                  </a:cubicBezTo>
                  <a:cubicBezTo>
                    <a:pt x="726" y="111"/>
                    <a:pt x="715" y="105"/>
                    <a:pt x="708" y="104"/>
                  </a:cubicBezTo>
                  <a:cubicBezTo>
                    <a:pt x="701" y="103"/>
                    <a:pt x="702" y="98"/>
                    <a:pt x="696" y="89"/>
                  </a:cubicBezTo>
                  <a:cubicBezTo>
                    <a:pt x="690" y="80"/>
                    <a:pt x="680" y="90"/>
                    <a:pt x="668" y="85"/>
                  </a:cubicBezTo>
                  <a:cubicBezTo>
                    <a:pt x="656" y="80"/>
                    <a:pt x="650" y="87"/>
                    <a:pt x="647" y="77"/>
                  </a:cubicBezTo>
                  <a:cubicBezTo>
                    <a:pt x="644" y="67"/>
                    <a:pt x="630" y="70"/>
                    <a:pt x="616" y="68"/>
                  </a:cubicBezTo>
                  <a:cubicBezTo>
                    <a:pt x="602" y="66"/>
                    <a:pt x="602" y="68"/>
                    <a:pt x="602" y="77"/>
                  </a:cubicBezTo>
                  <a:cubicBezTo>
                    <a:pt x="602" y="86"/>
                    <a:pt x="613" y="92"/>
                    <a:pt x="625" y="105"/>
                  </a:cubicBezTo>
                  <a:cubicBezTo>
                    <a:pt x="637" y="118"/>
                    <a:pt x="625" y="144"/>
                    <a:pt x="631" y="147"/>
                  </a:cubicBezTo>
                  <a:cubicBezTo>
                    <a:pt x="637" y="150"/>
                    <a:pt x="644" y="157"/>
                    <a:pt x="644" y="169"/>
                  </a:cubicBezTo>
                  <a:cubicBezTo>
                    <a:pt x="644" y="181"/>
                    <a:pt x="650" y="178"/>
                    <a:pt x="668" y="180"/>
                  </a:cubicBezTo>
                  <a:cubicBezTo>
                    <a:pt x="686" y="182"/>
                    <a:pt x="680" y="188"/>
                    <a:pt x="678" y="197"/>
                  </a:cubicBezTo>
                  <a:cubicBezTo>
                    <a:pt x="676" y="206"/>
                    <a:pt x="665" y="205"/>
                    <a:pt x="650" y="210"/>
                  </a:cubicBezTo>
                  <a:cubicBezTo>
                    <a:pt x="635" y="215"/>
                    <a:pt x="635" y="222"/>
                    <a:pt x="633" y="237"/>
                  </a:cubicBezTo>
                  <a:cubicBezTo>
                    <a:pt x="631" y="252"/>
                    <a:pt x="619" y="250"/>
                    <a:pt x="603" y="250"/>
                  </a:cubicBezTo>
                  <a:cubicBezTo>
                    <a:pt x="587" y="250"/>
                    <a:pt x="592" y="263"/>
                    <a:pt x="578" y="264"/>
                  </a:cubicBezTo>
                  <a:cubicBezTo>
                    <a:pt x="564" y="265"/>
                    <a:pt x="570" y="277"/>
                    <a:pt x="559" y="282"/>
                  </a:cubicBezTo>
                  <a:cubicBezTo>
                    <a:pt x="548" y="287"/>
                    <a:pt x="548" y="279"/>
                    <a:pt x="539" y="273"/>
                  </a:cubicBezTo>
                  <a:cubicBezTo>
                    <a:pt x="530" y="267"/>
                    <a:pt x="527" y="274"/>
                    <a:pt x="524" y="283"/>
                  </a:cubicBezTo>
                  <a:cubicBezTo>
                    <a:pt x="521" y="292"/>
                    <a:pt x="510" y="289"/>
                    <a:pt x="496" y="287"/>
                  </a:cubicBezTo>
                  <a:cubicBezTo>
                    <a:pt x="482" y="285"/>
                    <a:pt x="485" y="283"/>
                    <a:pt x="478" y="274"/>
                  </a:cubicBezTo>
                  <a:cubicBezTo>
                    <a:pt x="471" y="265"/>
                    <a:pt x="465" y="263"/>
                    <a:pt x="453" y="261"/>
                  </a:cubicBezTo>
                  <a:cubicBezTo>
                    <a:pt x="441" y="259"/>
                    <a:pt x="449" y="226"/>
                    <a:pt x="447" y="216"/>
                  </a:cubicBezTo>
                  <a:cubicBezTo>
                    <a:pt x="446" y="211"/>
                    <a:pt x="439" y="205"/>
                    <a:pt x="432" y="201"/>
                  </a:cubicBezTo>
                  <a:cubicBezTo>
                    <a:pt x="430" y="203"/>
                    <a:pt x="427" y="204"/>
                    <a:pt x="423" y="204"/>
                  </a:cubicBezTo>
                  <a:cubicBezTo>
                    <a:pt x="406" y="208"/>
                    <a:pt x="404" y="210"/>
                    <a:pt x="402" y="216"/>
                  </a:cubicBezTo>
                  <a:cubicBezTo>
                    <a:pt x="400" y="223"/>
                    <a:pt x="387" y="224"/>
                    <a:pt x="382" y="217"/>
                  </a:cubicBezTo>
                  <a:cubicBezTo>
                    <a:pt x="377" y="210"/>
                    <a:pt x="366" y="207"/>
                    <a:pt x="366" y="216"/>
                  </a:cubicBezTo>
                  <a:cubicBezTo>
                    <a:pt x="366" y="224"/>
                    <a:pt x="363" y="225"/>
                    <a:pt x="339" y="224"/>
                  </a:cubicBezTo>
                  <a:cubicBezTo>
                    <a:pt x="315" y="224"/>
                    <a:pt x="267" y="213"/>
                    <a:pt x="270" y="234"/>
                  </a:cubicBezTo>
                  <a:cubicBezTo>
                    <a:pt x="273" y="254"/>
                    <a:pt x="267" y="266"/>
                    <a:pt x="279" y="268"/>
                  </a:cubicBezTo>
                  <a:cubicBezTo>
                    <a:pt x="292" y="270"/>
                    <a:pt x="315" y="268"/>
                    <a:pt x="314" y="278"/>
                  </a:cubicBezTo>
                  <a:cubicBezTo>
                    <a:pt x="313" y="289"/>
                    <a:pt x="323" y="294"/>
                    <a:pt x="309" y="295"/>
                  </a:cubicBezTo>
                  <a:cubicBezTo>
                    <a:pt x="295" y="296"/>
                    <a:pt x="263" y="290"/>
                    <a:pt x="261" y="304"/>
                  </a:cubicBezTo>
                  <a:cubicBezTo>
                    <a:pt x="259" y="318"/>
                    <a:pt x="255" y="344"/>
                    <a:pt x="263" y="351"/>
                  </a:cubicBezTo>
                  <a:cubicBezTo>
                    <a:pt x="271" y="358"/>
                    <a:pt x="290" y="373"/>
                    <a:pt x="294" y="384"/>
                  </a:cubicBezTo>
                  <a:cubicBezTo>
                    <a:pt x="298" y="394"/>
                    <a:pt x="299" y="396"/>
                    <a:pt x="300" y="408"/>
                  </a:cubicBezTo>
                  <a:cubicBezTo>
                    <a:pt x="301" y="419"/>
                    <a:pt x="301" y="423"/>
                    <a:pt x="296" y="432"/>
                  </a:cubicBezTo>
                  <a:cubicBezTo>
                    <a:pt x="291" y="442"/>
                    <a:pt x="289" y="452"/>
                    <a:pt x="289" y="462"/>
                  </a:cubicBezTo>
                  <a:cubicBezTo>
                    <a:pt x="289" y="472"/>
                    <a:pt x="287" y="484"/>
                    <a:pt x="287" y="492"/>
                  </a:cubicBezTo>
                  <a:cubicBezTo>
                    <a:pt x="287" y="499"/>
                    <a:pt x="278" y="528"/>
                    <a:pt x="278" y="544"/>
                  </a:cubicBezTo>
                  <a:cubicBezTo>
                    <a:pt x="278" y="559"/>
                    <a:pt x="271" y="572"/>
                    <a:pt x="271" y="584"/>
                  </a:cubicBezTo>
                  <a:cubicBezTo>
                    <a:pt x="271" y="596"/>
                    <a:pt x="272" y="610"/>
                    <a:pt x="261" y="611"/>
                  </a:cubicBezTo>
                  <a:cubicBezTo>
                    <a:pt x="251" y="612"/>
                    <a:pt x="239" y="607"/>
                    <a:pt x="231" y="604"/>
                  </a:cubicBezTo>
                  <a:cubicBezTo>
                    <a:pt x="223" y="600"/>
                    <a:pt x="218" y="598"/>
                    <a:pt x="209" y="606"/>
                  </a:cubicBezTo>
                  <a:cubicBezTo>
                    <a:pt x="201" y="613"/>
                    <a:pt x="192" y="620"/>
                    <a:pt x="175" y="620"/>
                  </a:cubicBezTo>
                  <a:cubicBezTo>
                    <a:pt x="159" y="621"/>
                    <a:pt x="144" y="616"/>
                    <a:pt x="131" y="630"/>
                  </a:cubicBezTo>
                  <a:cubicBezTo>
                    <a:pt x="117" y="644"/>
                    <a:pt x="99" y="655"/>
                    <a:pt x="91" y="659"/>
                  </a:cubicBezTo>
                  <a:cubicBezTo>
                    <a:pt x="82" y="663"/>
                    <a:pt x="73" y="668"/>
                    <a:pt x="76" y="676"/>
                  </a:cubicBezTo>
                  <a:cubicBezTo>
                    <a:pt x="79" y="683"/>
                    <a:pt x="75" y="700"/>
                    <a:pt x="69" y="708"/>
                  </a:cubicBezTo>
                  <a:cubicBezTo>
                    <a:pt x="62" y="716"/>
                    <a:pt x="53" y="722"/>
                    <a:pt x="59" y="731"/>
                  </a:cubicBezTo>
                  <a:cubicBezTo>
                    <a:pt x="65" y="740"/>
                    <a:pt x="69" y="748"/>
                    <a:pt x="61" y="752"/>
                  </a:cubicBezTo>
                  <a:cubicBezTo>
                    <a:pt x="52" y="756"/>
                    <a:pt x="45" y="755"/>
                    <a:pt x="38" y="763"/>
                  </a:cubicBezTo>
                  <a:cubicBezTo>
                    <a:pt x="31" y="771"/>
                    <a:pt x="19" y="779"/>
                    <a:pt x="22" y="787"/>
                  </a:cubicBezTo>
                  <a:cubicBezTo>
                    <a:pt x="25" y="795"/>
                    <a:pt x="33" y="801"/>
                    <a:pt x="23" y="806"/>
                  </a:cubicBezTo>
                  <a:cubicBezTo>
                    <a:pt x="14" y="810"/>
                    <a:pt x="0" y="817"/>
                    <a:pt x="11" y="826"/>
                  </a:cubicBezTo>
                  <a:cubicBezTo>
                    <a:pt x="23" y="836"/>
                    <a:pt x="20" y="836"/>
                    <a:pt x="27" y="845"/>
                  </a:cubicBezTo>
                  <a:cubicBezTo>
                    <a:pt x="33" y="854"/>
                    <a:pt x="39" y="870"/>
                    <a:pt x="48" y="880"/>
                  </a:cubicBezTo>
                  <a:cubicBezTo>
                    <a:pt x="57" y="889"/>
                    <a:pt x="57" y="897"/>
                    <a:pt x="63" y="902"/>
                  </a:cubicBezTo>
                  <a:cubicBezTo>
                    <a:pt x="70" y="906"/>
                    <a:pt x="75" y="908"/>
                    <a:pt x="73" y="917"/>
                  </a:cubicBezTo>
                  <a:cubicBezTo>
                    <a:pt x="71" y="926"/>
                    <a:pt x="73" y="934"/>
                    <a:pt x="85" y="936"/>
                  </a:cubicBezTo>
                  <a:cubicBezTo>
                    <a:pt x="97" y="937"/>
                    <a:pt x="118" y="939"/>
                    <a:pt x="121" y="950"/>
                  </a:cubicBezTo>
                  <a:cubicBezTo>
                    <a:pt x="123" y="962"/>
                    <a:pt x="120" y="978"/>
                    <a:pt x="133" y="978"/>
                  </a:cubicBezTo>
                  <a:cubicBezTo>
                    <a:pt x="147" y="978"/>
                    <a:pt x="159" y="982"/>
                    <a:pt x="176" y="974"/>
                  </a:cubicBezTo>
                  <a:cubicBezTo>
                    <a:pt x="193" y="966"/>
                    <a:pt x="200" y="966"/>
                    <a:pt x="206" y="958"/>
                  </a:cubicBezTo>
                  <a:cubicBezTo>
                    <a:pt x="212" y="949"/>
                    <a:pt x="234" y="930"/>
                    <a:pt x="235" y="940"/>
                  </a:cubicBezTo>
                  <a:cubicBezTo>
                    <a:pt x="235" y="950"/>
                    <a:pt x="226" y="957"/>
                    <a:pt x="227" y="966"/>
                  </a:cubicBezTo>
                  <a:cubicBezTo>
                    <a:pt x="227" y="976"/>
                    <a:pt x="222" y="997"/>
                    <a:pt x="222" y="1010"/>
                  </a:cubicBezTo>
                  <a:cubicBezTo>
                    <a:pt x="222" y="1022"/>
                    <a:pt x="225" y="1034"/>
                    <a:pt x="233" y="1038"/>
                  </a:cubicBezTo>
                  <a:cubicBezTo>
                    <a:pt x="241" y="1043"/>
                    <a:pt x="251" y="1050"/>
                    <a:pt x="257" y="1041"/>
                  </a:cubicBezTo>
                  <a:cubicBezTo>
                    <a:pt x="262" y="1032"/>
                    <a:pt x="274" y="1034"/>
                    <a:pt x="281" y="1035"/>
                  </a:cubicBezTo>
                  <a:cubicBezTo>
                    <a:pt x="286" y="1036"/>
                    <a:pt x="292" y="1034"/>
                    <a:pt x="297" y="1037"/>
                  </a:cubicBezTo>
                  <a:cubicBezTo>
                    <a:pt x="301" y="1037"/>
                    <a:pt x="308" y="1037"/>
                    <a:pt x="319" y="1039"/>
                  </a:cubicBezTo>
                  <a:cubicBezTo>
                    <a:pt x="347" y="1044"/>
                    <a:pt x="341" y="1037"/>
                    <a:pt x="345" y="1043"/>
                  </a:cubicBezTo>
                  <a:cubicBezTo>
                    <a:pt x="349" y="1050"/>
                    <a:pt x="367" y="1051"/>
                    <a:pt x="370" y="1041"/>
                  </a:cubicBezTo>
                  <a:cubicBezTo>
                    <a:pt x="373" y="1031"/>
                    <a:pt x="382" y="1023"/>
                    <a:pt x="392" y="1020"/>
                  </a:cubicBezTo>
                  <a:cubicBezTo>
                    <a:pt x="403" y="1017"/>
                    <a:pt x="415" y="1020"/>
                    <a:pt x="420" y="1011"/>
                  </a:cubicBezTo>
                  <a:cubicBezTo>
                    <a:pt x="426" y="1002"/>
                    <a:pt x="434" y="997"/>
                    <a:pt x="445" y="994"/>
                  </a:cubicBezTo>
                  <a:cubicBezTo>
                    <a:pt x="457" y="992"/>
                    <a:pt x="462" y="987"/>
                    <a:pt x="467" y="980"/>
                  </a:cubicBezTo>
                  <a:cubicBezTo>
                    <a:pt x="471" y="974"/>
                    <a:pt x="489" y="973"/>
                    <a:pt x="494" y="967"/>
                  </a:cubicBezTo>
                  <a:cubicBezTo>
                    <a:pt x="499" y="961"/>
                    <a:pt x="512" y="960"/>
                    <a:pt x="520" y="960"/>
                  </a:cubicBezTo>
                  <a:cubicBezTo>
                    <a:pt x="529" y="960"/>
                    <a:pt x="544" y="962"/>
                    <a:pt x="549" y="957"/>
                  </a:cubicBezTo>
                  <a:cubicBezTo>
                    <a:pt x="553" y="952"/>
                    <a:pt x="560" y="955"/>
                    <a:pt x="563" y="963"/>
                  </a:cubicBezTo>
                  <a:cubicBezTo>
                    <a:pt x="565" y="970"/>
                    <a:pt x="570" y="980"/>
                    <a:pt x="564" y="986"/>
                  </a:cubicBezTo>
                  <a:cubicBezTo>
                    <a:pt x="558" y="992"/>
                    <a:pt x="556" y="998"/>
                    <a:pt x="556" y="1003"/>
                  </a:cubicBezTo>
                  <a:cubicBezTo>
                    <a:pt x="557" y="1008"/>
                    <a:pt x="551" y="1008"/>
                    <a:pt x="555" y="1017"/>
                  </a:cubicBezTo>
                  <a:cubicBezTo>
                    <a:pt x="559" y="1026"/>
                    <a:pt x="560" y="1031"/>
                    <a:pt x="559" y="1040"/>
                  </a:cubicBezTo>
                  <a:cubicBezTo>
                    <a:pt x="558" y="1049"/>
                    <a:pt x="556" y="1057"/>
                    <a:pt x="562" y="1065"/>
                  </a:cubicBezTo>
                  <a:cubicBezTo>
                    <a:pt x="569" y="1072"/>
                    <a:pt x="574" y="1077"/>
                    <a:pt x="577" y="1086"/>
                  </a:cubicBezTo>
                  <a:cubicBezTo>
                    <a:pt x="581" y="1095"/>
                    <a:pt x="588" y="1105"/>
                    <a:pt x="596" y="1110"/>
                  </a:cubicBezTo>
                  <a:cubicBezTo>
                    <a:pt x="605" y="1114"/>
                    <a:pt x="613" y="1120"/>
                    <a:pt x="616" y="1128"/>
                  </a:cubicBezTo>
                  <a:cubicBezTo>
                    <a:pt x="619" y="1135"/>
                    <a:pt x="628" y="1137"/>
                    <a:pt x="641" y="1138"/>
                  </a:cubicBezTo>
                  <a:cubicBezTo>
                    <a:pt x="654" y="1139"/>
                    <a:pt x="675" y="1133"/>
                    <a:pt x="684" y="1142"/>
                  </a:cubicBezTo>
                  <a:cubicBezTo>
                    <a:pt x="692" y="1152"/>
                    <a:pt x="710" y="1147"/>
                    <a:pt x="716" y="1158"/>
                  </a:cubicBezTo>
                  <a:cubicBezTo>
                    <a:pt x="722" y="1170"/>
                    <a:pt x="728" y="1173"/>
                    <a:pt x="740" y="1174"/>
                  </a:cubicBezTo>
                  <a:cubicBezTo>
                    <a:pt x="752" y="1175"/>
                    <a:pt x="774" y="1183"/>
                    <a:pt x="779" y="1194"/>
                  </a:cubicBezTo>
                  <a:cubicBezTo>
                    <a:pt x="783" y="1204"/>
                    <a:pt x="804" y="1206"/>
                    <a:pt x="819" y="1206"/>
                  </a:cubicBezTo>
                  <a:cubicBezTo>
                    <a:pt x="835" y="1206"/>
                    <a:pt x="853" y="1203"/>
                    <a:pt x="861" y="1212"/>
                  </a:cubicBezTo>
                  <a:cubicBezTo>
                    <a:pt x="869" y="1220"/>
                    <a:pt x="877" y="1228"/>
                    <a:pt x="876" y="1238"/>
                  </a:cubicBezTo>
                  <a:cubicBezTo>
                    <a:pt x="875" y="1249"/>
                    <a:pt x="870" y="1253"/>
                    <a:pt x="877" y="1261"/>
                  </a:cubicBezTo>
                  <a:cubicBezTo>
                    <a:pt x="884" y="1268"/>
                    <a:pt x="877" y="1271"/>
                    <a:pt x="881" y="1278"/>
                  </a:cubicBezTo>
                  <a:cubicBezTo>
                    <a:pt x="885" y="1285"/>
                    <a:pt x="888" y="1294"/>
                    <a:pt x="880" y="1299"/>
                  </a:cubicBezTo>
                  <a:cubicBezTo>
                    <a:pt x="871" y="1304"/>
                    <a:pt x="868" y="1308"/>
                    <a:pt x="875" y="1316"/>
                  </a:cubicBezTo>
                  <a:cubicBezTo>
                    <a:pt x="882" y="1324"/>
                    <a:pt x="892" y="1321"/>
                    <a:pt x="888" y="1335"/>
                  </a:cubicBezTo>
                  <a:cubicBezTo>
                    <a:pt x="888" y="1350"/>
                    <a:pt x="888" y="1384"/>
                    <a:pt x="888" y="1384"/>
                  </a:cubicBezTo>
                  <a:cubicBezTo>
                    <a:pt x="1005" y="1384"/>
                    <a:pt x="1005" y="1384"/>
                    <a:pt x="1005" y="1384"/>
                  </a:cubicBezTo>
                  <a:cubicBezTo>
                    <a:pt x="1005" y="1384"/>
                    <a:pt x="1010" y="1401"/>
                    <a:pt x="1004" y="1407"/>
                  </a:cubicBezTo>
                  <a:cubicBezTo>
                    <a:pt x="998" y="1413"/>
                    <a:pt x="999" y="1419"/>
                    <a:pt x="999" y="1426"/>
                  </a:cubicBezTo>
                  <a:cubicBezTo>
                    <a:pt x="1000" y="1433"/>
                    <a:pt x="1005" y="1443"/>
                    <a:pt x="1007" y="1447"/>
                  </a:cubicBezTo>
                  <a:cubicBezTo>
                    <a:pt x="1008" y="1451"/>
                    <a:pt x="1016" y="1454"/>
                    <a:pt x="1025" y="1457"/>
                  </a:cubicBezTo>
                  <a:cubicBezTo>
                    <a:pt x="1034" y="1460"/>
                    <a:pt x="1047" y="1464"/>
                    <a:pt x="1047" y="1474"/>
                  </a:cubicBezTo>
                  <a:cubicBezTo>
                    <a:pt x="1047" y="1485"/>
                    <a:pt x="1045" y="1488"/>
                    <a:pt x="1051" y="1492"/>
                  </a:cubicBezTo>
                  <a:cubicBezTo>
                    <a:pt x="1056" y="1496"/>
                    <a:pt x="1062" y="1504"/>
                    <a:pt x="1061" y="1512"/>
                  </a:cubicBezTo>
                  <a:cubicBezTo>
                    <a:pt x="1059" y="1521"/>
                    <a:pt x="1049" y="1523"/>
                    <a:pt x="1049" y="1533"/>
                  </a:cubicBezTo>
                  <a:cubicBezTo>
                    <a:pt x="1049" y="1543"/>
                    <a:pt x="1045" y="1557"/>
                    <a:pt x="1045" y="1565"/>
                  </a:cubicBezTo>
                  <a:cubicBezTo>
                    <a:pt x="1046" y="1572"/>
                    <a:pt x="1044" y="1575"/>
                    <a:pt x="1037" y="1583"/>
                  </a:cubicBezTo>
                  <a:cubicBezTo>
                    <a:pt x="1030" y="1591"/>
                    <a:pt x="1027" y="1603"/>
                    <a:pt x="1029" y="1612"/>
                  </a:cubicBezTo>
                  <a:cubicBezTo>
                    <a:pt x="1032" y="1620"/>
                    <a:pt x="1039" y="1622"/>
                    <a:pt x="1032" y="1632"/>
                  </a:cubicBezTo>
                  <a:cubicBezTo>
                    <a:pt x="1024" y="1643"/>
                    <a:pt x="1015" y="1645"/>
                    <a:pt x="1025" y="1655"/>
                  </a:cubicBezTo>
                  <a:cubicBezTo>
                    <a:pt x="1036" y="1665"/>
                    <a:pt x="1041" y="1668"/>
                    <a:pt x="1039" y="1683"/>
                  </a:cubicBezTo>
                  <a:cubicBezTo>
                    <a:pt x="1037" y="1698"/>
                    <a:pt x="1040" y="1708"/>
                    <a:pt x="1036" y="1718"/>
                  </a:cubicBezTo>
                  <a:cubicBezTo>
                    <a:pt x="1032" y="1728"/>
                    <a:pt x="1032" y="1746"/>
                    <a:pt x="1035" y="1755"/>
                  </a:cubicBezTo>
                  <a:cubicBezTo>
                    <a:pt x="1038" y="1764"/>
                    <a:pt x="1031" y="1773"/>
                    <a:pt x="1050" y="1775"/>
                  </a:cubicBezTo>
                  <a:cubicBezTo>
                    <a:pt x="1069" y="1777"/>
                    <a:pt x="1075" y="1780"/>
                    <a:pt x="1086" y="1784"/>
                  </a:cubicBezTo>
                  <a:cubicBezTo>
                    <a:pt x="1097" y="1788"/>
                    <a:pt x="1118" y="1787"/>
                    <a:pt x="1121" y="1780"/>
                  </a:cubicBezTo>
                  <a:cubicBezTo>
                    <a:pt x="1124" y="1773"/>
                    <a:pt x="1130" y="1763"/>
                    <a:pt x="1142" y="1774"/>
                  </a:cubicBezTo>
                  <a:cubicBezTo>
                    <a:pt x="1154" y="1785"/>
                    <a:pt x="1165" y="1779"/>
                    <a:pt x="1166" y="1795"/>
                  </a:cubicBezTo>
                  <a:cubicBezTo>
                    <a:pt x="1167" y="1811"/>
                    <a:pt x="1177" y="1825"/>
                    <a:pt x="1181" y="1842"/>
                  </a:cubicBezTo>
                  <a:cubicBezTo>
                    <a:pt x="1185" y="1859"/>
                    <a:pt x="1184" y="1892"/>
                    <a:pt x="1199" y="1895"/>
                  </a:cubicBezTo>
                  <a:cubicBezTo>
                    <a:pt x="1214" y="1898"/>
                    <a:pt x="1228" y="1904"/>
                    <a:pt x="1234" y="1894"/>
                  </a:cubicBezTo>
                  <a:cubicBezTo>
                    <a:pt x="1240" y="1884"/>
                    <a:pt x="1245" y="1879"/>
                    <a:pt x="1255" y="1885"/>
                  </a:cubicBezTo>
                  <a:cubicBezTo>
                    <a:pt x="1265" y="1891"/>
                    <a:pt x="1273" y="1896"/>
                    <a:pt x="1273" y="1911"/>
                  </a:cubicBezTo>
                  <a:cubicBezTo>
                    <a:pt x="1273" y="1926"/>
                    <a:pt x="1275" y="1927"/>
                    <a:pt x="1265" y="1946"/>
                  </a:cubicBezTo>
                  <a:cubicBezTo>
                    <a:pt x="1255" y="1965"/>
                    <a:pt x="1250" y="1976"/>
                    <a:pt x="1249" y="1988"/>
                  </a:cubicBezTo>
                  <a:cubicBezTo>
                    <a:pt x="1248" y="1993"/>
                    <a:pt x="1248" y="1997"/>
                    <a:pt x="1248" y="2001"/>
                  </a:cubicBezTo>
                  <a:cubicBezTo>
                    <a:pt x="1254" y="2001"/>
                    <a:pt x="1263" y="2002"/>
                    <a:pt x="1272" y="2002"/>
                  </a:cubicBezTo>
                  <a:cubicBezTo>
                    <a:pt x="1288" y="2002"/>
                    <a:pt x="1299" y="2005"/>
                    <a:pt x="1299" y="2014"/>
                  </a:cubicBezTo>
                  <a:cubicBezTo>
                    <a:pt x="1299" y="2023"/>
                    <a:pt x="1303" y="2032"/>
                    <a:pt x="1307" y="2037"/>
                  </a:cubicBezTo>
                  <a:cubicBezTo>
                    <a:pt x="1311" y="2042"/>
                    <a:pt x="1316" y="2050"/>
                    <a:pt x="1309" y="2058"/>
                  </a:cubicBezTo>
                  <a:cubicBezTo>
                    <a:pt x="1302" y="2066"/>
                    <a:pt x="1300" y="2071"/>
                    <a:pt x="1301" y="2085"/>
                  </a:cubicBezTo>
                  <a:cubicBezTo>
                    <a:pt x="1302" y="2099"/>
                    <a:pt x="1317" y="2114"/>
                    <a:pt x="1280" y="2122"/>
                  </a:cubicBezTo>
                  <a:cubicBezTo>
                    <a:pt x="1243" y="2130"/>
                    <a:pt x="1231" y="2146"/>
                    <a:pt x="1217" y="2157"/>
                  </a:cubicBezTo>
                  <a:cubicBezTo>
                    <a:pt x="1203" y="2168"/>
                    <a:pt x="1191" y="2169"/>
                    <a:pt x="1178" y="2188"/>
                  </a:cubicBezTo>
                  <a:cubicBezTo>
                    <a:pt x="1165" y="2207"/>
                    <a:pt x="1159" y="2210"/>
                    <a:pt x="1149" y="2225"/>
                  </a:cubicBezTo>
                  <a:cubicBezTo>
                    <a:pt x="1139" y="2240"/>
                    <a:pt x="1127" y="2241"/>
                    <a:pt x="1116" y="2258"/>
                  </a:cubicBezTo>
                  <a:cubicBezTo>
                    <a:pt x="1105" y="2275"/>
                    <a:pt x="1106" y="2285"/>
                    <a:pt x="1090" y="2292"/>
                  </a:cubicBezTo>
                  <a:cubicBezTo>
                    <a:pt x="1074" y="2299"/>
                    <a:pt x="1078" y="2311"/>
                    <a:pt x="1064" y="2319"/>
                  </a:cubicBezTo>
                  <a:cubicBezTo>
                    <a:pt x="1060" y="2321"/>
                    <a:pt x="1057" y="2323"/>
                    <a:pt x="1054" y="2325"/>
                  </a:cubicBezTo>
                  <a:cubicBezTo>
                    <a:pt x="1060" y="2328"/>
                    <a:pt x="1069" y="2330"/>
                    <a:pt x="1080" y="2326"/>
                  </a:cubicBezTo>
                  <a:cubicBezTo>
                    <a:pt x="1101" y="2317"/>
                    <a:pt x="1090" y="2311"/>
                    <a:pt x="1107" y="2317"/>
                  </a:cubicBezTo>
                  <a:cubicBezTo>
                    <a:pt x="1124" y="2323"/>
                    <a:pt x="1129" y="2323"/>
                    <a:pt x="1132" y="2335"/>
                  </a:cubicBezTo>
                  <a:cubicBezTo>
                    <a:pt x="1135" y="2347"/>
                    <a:pt x="1150" y="2340"/>
                    <a:pt x="1153" y="2357"/>
                  </a:cubicBezTo>
                  <a:cubicBezTo>
                    <a:pt x="1156" y="2374"/>
                    <a:pt x="1163" y="2393"/>
                    <a:pt x="1173" y="2382"/>
                  </a:cubicBezTo>
                  <a:cubicBezTo>
                    <a:pt x="1183" y="2371"/>
                    <a:pt x="1182" y="2363"/>
                    <a:pt x="1191" y="2378"/>
                  </a:cubicBezTo>
                  <a:cubicBezTo>
                    <a:pt x="1200" y="2393"/>
                    <a:pt x="1205" y="2401"/>
                    <a:pt x="1224" y="2402"/>
                  </a:cubicBezTo>
                  <a:cubicBezTo>
                    <a:pt x="1243" y="2403"/>
                    <a:pt x="1248" y="2405"/>
                    <a:pt x="1254" y="2419"/>
                  </a:cubicBezTo>
                  <a:cubicBezTo>
                    <a:pt x="1260" y="2433"/>
                    <a:pt x="1263" y="2437"/>
                    <a:pt x="1275" y="2442"/>
                  </a:cubicBezTo>
                  <a:cubicBezTo>
                    <a:pt x="1287" y="2447"/>
                    <a:pt x="1300" y="2445"/>
                    <a:pt x="1305" y="2460"/>
                  </a:cubicBezTo>
                  <a:cubicBezTo>
                    <a:pt x="1310" y="2475"/>
                    <a:pt x="1310" y="2499"/>
                    <a:pt x="1312" y="2514"/>
                  </a:cubicBezTo>
                  <a:cubicBezTo>
                    <a:pt x="1314" y="2529"/>
                    <a:pt x="1311" y="2537"/>
                    <a:pt x="1316" y="2551"/>
                  </a:cubicBezTo>
                  <a:cubicBezTo>
                    <a:pt x="1320" y="2562"/>
                    <a:pt x="1323" y="2572"/>
                    <a:pt x="1327" y="2581"/>
                  </a:cubicBezTo>
                  <a:cubicBezTo>
                    <a:pt x="1349" y="2560"/>
                    <a:pt x="1382" y="2538"/>
                    <a:pt x="1383" y="2512"/>
                  </a:cubicBezTo>
                  <a:cubicBezTo>
                    <a:pt x="1385" y="2485"/>
                    <a:pt x="1401" y="2476"/>
                    <a:pt x="1399" y="2456"/>
                  </a:cubicBezTo>
                  <a:cubicBezTo>
                    <a:pt x="1398" y="2436"/>
                    <a:pt x="1399" y="2422"/>
                    <a:pt x="1411" y="2409"/>
                  </a:cubicBezTo>
                  <a:cubicBezTo>
                    <a:pt x="1422" y="2396"/>
                    <a:pt x="1455" y="2386"/>
                    <a:pt x="1461" y="2361"/>
                  </a:cubicBezTo>
                  <a:cubicBezTo>
                    <a:pt x="1467" y="2337"/>
                    <a:pt x="1464" y="2334"/>
                    <a:pt x="1479" y="2331"/>
                  </a:cubicBezTo>
                  <a:cubicBezTo>
                    <a:pt x="1495" y="2328"/>
                    <a:pt x="1504" y="2328"/>
                    <a:pt x="1502" y="2341"/>
                  </a:cubicBezTo>
                  <a:cubicBezTo>
                    <a:pt x="1501" y="2354"/>
                    <a:pt x="1485" y="2363"/>
                    <a:pt x="1475" y="2376"/>
                  </a:cubicBezTo>
                  <a:cubicBezTo>
                    <a:pt x="1465" y="2389"/>
                    <a:pt x="1467" y="2400"/>
                    <a:pt x="1448" y="2410"/>
                  </a:cubicBezTo>
                  <a:cubicBezTo>
                    <a:pt x="1429" y="2420"/>
                    <a:pt x="1411" y="2437"/>
                    <a:pt x="1411" y="2445"/>
                  </a:cubicBezTo>
                  <a:cubicBezTo>
                    <a:pt x="1411" y="2452"/>
                    <a:pt x="1422" y="2442"/>
                    <a:pt x="1434" y="2436"/>
                  </a:cubicBezTo>
                  <a:cubicBezTo>
                    <a:pt x="1445" y="2430"/>
                    <a:pt x="1502" y="2386"/>
                    <a:pt x="1508" y="2370"/>
                  </a:cubicBezTo>
                  <a:cubicBezTo>
                    <a:pt x="1514" y="2354"/>
                    <a:pt x="1532" y="2327"/>
                    <a:pt x="1538" y="2301"/>
                  </a:cubicBezTo>
                  <a:cubicBezTo>
                    <a:pt x="1544" y="2275"/>
                    <a:pt x="1574" y="2250"/>
                    <a:pt x="1583" y="2235"/>
                  </a:cubicBezTo>
                  <a:cubicBezTo>
                    <a:pt x="1591" y="2221"/>
                    <a:pt x="1633" y="2197"/>
                    <a:pt x="1633" y="2171"/>
                  </a:cubicBezTo>
                  <a:cubicBezTo>
                    <a:pt x="1633" y="2145"/>
                    <a:pt x="1650" y="2142"/>
                    <a:pt x="1640" y="2123"/>
                  </a:cubicBezTo>
                  <a:cubicBezTo>
                    <a:pt x="1630" y="2105"/>
                    <a:pt x="1621" y="2099"/>
                    <a:pt x="1626" y="2070"/>
                  </a:cubicBezTo>
                  <a:cubicBezTo>
                    <a:pt x="1630" y="2042"/>
                    <a:pt x="1620" y="2042"/>
                    <a:pt x="1633" y="2026"/>
                  </a:cubicBezTo>
                  <a:cubicBezTo>
                    <a:pt x="1646" y="2010"/>
                    <a:pt x="1646" y="2015"/>
                    <a:pt x="1641" y="1997"/>
                  </a:cubicBezTo>
                  <a:cubicBezTo>
                    <a:pt x="1637" y="1980"/>
                    <a:pt x="1639" y="1982"/>
                    <a:pt x="1654" y="1983"/>
                  </a:cubicBezTo>
                  <a:cubicBezTo>
                    <a:pt x="1670" y="1984"/>
                    <a:pt x="1672" y="1976"/>
                    <a:pt x="1682" y="1953"/>
                  </a:cubicBezTo>
                  <a:cubicBezTo>
                    <a:pt x="1692" y="1930"/>
                    <a:pt x="1723" y="1934"/>
                    <a:pt x="1732" y="1920"/>
                  </a:cubicBezTo>
                  <a:cubicBezTo>
                    <a:pt x="1740" y="1906"/>
                    <a:pt x="1735" y="1911"/>
                    <a:pt x="1759" y="1903"/>
                  </a:cubicBezTo>
                  <a:cubicBezTo>
                    <a:pt x="1783" y="1894"/>
                    <a:pt x="1793" y="1891"/>
                    <a:pt x="1799" y="1883"/>
                  </a:cubicBezTo>
                  <a:cubicBezTo>
                    <a:pt x="1805" y="1874"/>
                    <a:pt x="1821" y="1886"/>
                    <a:pt x="1833" y="1887"/>
                  </a:cubicBezTo>
                  <a:cubicBezTo>
                    <a:pt x="1846" y="1888"/>
                    <a:pt x="1828" y="1864"/>
                    <a:pt x="1846" y="1858"/>
                  </a:cubicBezTo>
                  <a:cubicBezTo>
                    <a:pt x="1865" y="1853"/>
                    <a:pt x="1878" y="1853"/>
                    <a:pt x="1887" y="1841"/>
                  </a:cubicBezTo>
                  <a:cubicBezTo>
                    <a:pt x="1895" y="1830"/>
                    <a:pt x="1919" y="1811"/>
                    <a:pt x="1918" y="1822"/>
                  </a:cubicBezTo>
                  <a:cubicBezTo>
                    <a:pt x="1917" y="1834"/>
                    <a:pt x="1924" y="1833"/>
                    <a:pt x="1941" y="1830"/>
                  </a:cubicBezTo>
                  <a:cubicBezTo>
                    <a:pt x="1958" y="1827"/>
                    <a:pt x="2034" y="1840"/>
                    <a:pt x="2037" y="1811"/>
                  </a:cubicBezTo>
                  <a:cubicBezTo>
                    <a:pt x="2040" y="1782"/>
                    <a:pt x="2047" y="1777"/>
                    <a:pt x="2063" y="1761"/>
                  </a:cubicBezTo>
                  <a:cubicBezTo>
                    <a:pt x="2079" y="1745"/>
                    <a:pt x="2056" y="1716"/>
                    <a:pt x="2080" y="1698"/>
                  </a:cubicBezTo>
                  <a:cubicBezTo>
                    <a:pt x="2104" y="1679"/>
                    <a:pt x="2114" y="1661"/>
                    <a:pt x="2122" y="1640"/>
                  </a:cubicBezTo>
                  <a:cubicBezTo>
                    <a:pt x="2129" y="1620"/>
                    <a:pt x="2133" y="1607"/>
                    <a:pt x="2143" y="1600"/>
                  </a:cubicBezTo>
                  <a:cubicBezTo>
                    <a:pt x="2153" y="1593"/>
                    <a:pt x="2155" y="1592"/>
                    <a:pt x="2155" y="1559"/>
                  </a:cubicBezTo>
                  <a:cubicBezTo>
                    <a:pt x="2155" y="1526"/>
                    <a:pt x="2157" y="1500"/>
                    <a:pt x="2177" y="1487"/>
                  </a:cubicBezTo>
                  <a:cubicBezTo>
                    <a:pt x="2198" y="1474"/>
                    <a:pt x="2186" y="1428"/>
                    <a:pt x="2189" y="1407"/>
                  </a:cubicBezTo>
                  <a:cubicBezTo>
                    <a:pt x="2192" y="1385"/>
                    <a:pt x="2215" y="1377"/>
                    <a:pt x="2206" y="1345"/>
                  </a:cubicBezTo>
                  <a:cubicBezTo>
                    <a:pt x="2198" y="1314"/>
                    <a:pt x="2193" y="1295"/>
                    <a:pt x="2196" y="1275"/>
                  </a:cubicBezTo>
                  <a:cubicBezTo>
                    <a:pt x="2199" y="1255"/>
                    <a:pt x="2208" y="1249"/>
                    <a:pt x="2203" y="1233"/>
                  </a:cubicBezTo>
                  <a:cubicBezTo>
                    <a:pt x="2199" y="1218"/>
                    <a:pt x="2190" y="1212"/>
                    <a:pt x="2199" y="1199"/>
                  </a:cubicBezTo>
                  <a:cubicBezTo>
                    <a:pt x="2208" y="1186"/>
                    <a:pt x="2212" y="1160"/>
                    <a:pt x="2218" y="1160"/>
                  </a:cubicBezTo>
                  <a:cubicBezTo>
                    <a:pt x="2223" y="1160"/>
                    <a:pt x="2206" y="1143"/>
                    <a:pt x="2222" y="1147"/>
                  </a:cubicBezTo>
                  <a:cubicBezTo>
                    <a:pt x="2238" y="1152"/>
                    <a:pt x="2259" y="1153"/>
                    <a:pt x="2269" y="1127"/>
                  </a:cubicBezTo>
                  <a:cubicBezTo>
                    <a:pt x="2279" y="1102"/>
                    <a:pt x="2294" y="1063"/>
                    <a:pt x="2306" y="1054"/>
                  </a:cubicBezTo>
                  <a:cubicBezTo>
                    <a:pt x="2319" y="1046"/>
                    <a:pt x="2314" y="1021"/>
                    <a:pt x="2339" y="1017"/>
                  </a:cubicBezTo>
                  <a:cubicBezTo>
                    <a:pt x="2365" y="1013"/>
                    <a:pt x="2374" y="983"/>
                    <a:pt x="2400" y="957"/>
                  </a:cubicBezTo>
                  <a:cubicBezTo>
                    <a:pt x="2425" y="931"/>
                    <a:pt x="2453" y="891"/>
                    <a:pt x="2456" y="859"/>
                  </a:cubicBezTo>
                  <a:cubicBezTo>
                    <a:pt x="2458" y="828"/>
                    <a:pt x="2486" y="815"/>
                    <a:pt x="2466" y="77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4" name="Freeform 464">
              <a:extLst>
                <a:ext uri="{FF2B5EF4-FFF2-40B4-BE49-F238E27FC236}">
                  <a16:creationId xmlns:a16="http://schemas.microsoft.com/office/drawing/2014/main" id="{E30B1113-DBE3-6240-BC54-FE4916FC5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" y="2574"/>
              <a:ext cx="14" cy="22"/>
            </a:xfrm>
            <a:custGeom>
              <a:avLst/>
              <a:gdLst>
                <a:gd name="T0" fmla="*/ 28 w 55"/>
                <a:gd name="T1" fmla="*/ 14 h 88"/>
                <a:gd name="T2" fmla="*/ 10 w 55"/>
                <a:gd name="T3" fmla="*/ 6 h 88"/>
                <a:gd name="T4" fmla="*/ 10 w 55"/>
                <a:gd name="T5" fmla="*/ 19 h 88"/>
                <a:gd name="T6" fmla="*/ 10 w 55"/>
                <a:gd name="T7" fmla="*/ 26 h 88"/>
                <a:gd name="T8" fmla="*/ 0 w 55"/>
                <a:gd name="T9" fmla="*/ 34 h 88"/>
                <a:gd name="T10" fmla="*/ 7 w 55"/>
                <a:gd name="T11" fmla="*/ 44 h 88"/>
                <a:gd name="T12" fmla="*/ 15 w 55"/>
                <a:gd name="T13" fmla="*/ 39 h 88"/>
                <a:gd name="T14" fmla="*/ 24 w 55"/>
                <a:gd name="T15" fmla="*/ 40 h 88"/>
                <a:gd name="T16" fmla="*/ 19 w 55"/>
                <a:gd name="T17" fmla="*/ 53 h 88"/>
                <a:gd name="T18" fmla="*/ 9 w 55"/>
                <a:gd name="T19" fmla="*/ 63 h 88"/>
                <a:gd name="T20" fmla="*/ 15 w 55"/>
                <a:gd name="T21" fmla="*/ 76 h 88"/>
                <a:gd name="T22" fmla="*/ 25 w 55"/>
                <a:gd name="T23" fmla="*/ 83 h 88"/>
                <a:gd name="T24" fmla="*/ 34 w 55"/>
                <a:gd name="T25" fmla="*/ 84 h 88"/>
                <a:gd name="T26" fmla="*/ 45 w 55"/>
                <a:gd name="T27" fmla="*/ 77 h 88"/>
                <a:gd name="T28" fmla="*/ 53 w 55"/>
                <a:gd name="T29" fmla="*/ 65 h 88"/>
                <a:gd name="T30" fmla="*/ 49 w 55"/>
                <a:gd name="T31" fmla="*/ 53 h 88"/>
                <a:gd name="T32" fmla="*/ 41 w 55"/>
                <a:gd name="T33" fmla="*/ 41 h 88"/>
                <a:gd name="T34" fmla="*/ 36 w 55"/>
                <a:gd name="T35" fmla="*/ 29 h 88"/>
                <a:gd name="T36" fmla="*/ 28 w 55"/>
                <a:gd name="T37" fmla="*/ 1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5" h="88">
                  <a:moveTo>
                    <a:pt x="28" y="14"/>
                  </a:moveTo>
                  <a:cubicBezTo>
                    <a:pt x="28" y="14"/>
                    <a:pt x="14" y="0"/>
                    <a:pt x="10" y="6"/>
                  </a:cubicBezTo>
                  <a:cubicBezTo>
                    <a:pt x="6" y="11"/>
                    <a:pt x="7" y="17"/>
                    <a:pt x="10" y="19"/>
                  </a:cubicBezTo>
                  <a:cubicBezTo>
                    <a:pt x="13" y="21"/>
                    <a:pt x="16" y="24"/>
                    <a:pt x="10" y="26"/>
                  </a:cubicBezTo>
                  <a:cubicBezTo>
                    <a:pt x="3" y="28"/>
                    <a:pt x="0" y="28"/>
                    <a:pt x="0" y="34"/>
                  </a:cubicBezTo>
                  <a:cubicBezTo>
                    <a:pt x="0" y="40"/>
                    <a:pt x="3" y="44"/>
                    <a:pt x="7" y="44"/>
                  </a:cubicBezTo>
                  <a:cubicBezTo>
                    <a:pt x="11" y="44"/>
                    <a:pt x="14" y="42"/>
                    <a:pt x="15" y="39"/>
                  </a:cubicBezTo>
                  <a:cubicBezTo>
                    <a:pt x="16" y="36"/>
                    <a:pt x="24" y="35"/>
                    <a:pt x="24" y="40"/>
                  </a:cubicBezTo>
                  <a:cubicBezTo>
                    <a:pt x="23" y="45"/>
                    <a:pt x="23" y="50"/>
                    <a:pt x="19" y="53"/>
                  </a:cubicBezTo>
                  <a:cubicBezTo>
                    <a:pt x="15" y="55"/>
                    <a:pt x="11" y="57"/>
                    <a:pt x="9" y="63"/>
                  </a:cubicBezTo>
                  <a:cubicBezTo>
                    <a:pt x="8" y="69"/>
                    <a:pt x="9" y="75"/>
                    <a:pt x="15" y="76"/>
                  </a:cubicBezTo>
                  <a:cubicBezTo>
                    <a:pt x="20" y="78"/>
                    <a:pt x="25" y="79"/>
                    <a:pt x="25" y="83"/>
                  </a:cubicBezTo>
                  <a:cubicBezTo>
                    <a:pt x="25" y="87"/>
                    <a:pt x="32" y="88"/>
                    <a:pt x="34" y="84"/>
                  </a:cubicBezTo>
                  <a:cubicBezTo>
                    <a:pt x="35" y="80"/>
                    <a:pt x="40" y="78"/>
                    <a:pt x="45" y="77"/>
                  </a:cubicBezTo>
                  <a:cubicBezTo>
                    <a:pt x="51" y="77"/>
                    <a:pt x="51" y="72"/>
                    <a:pt x="53" y="65"/>
                  </a:cubicBezTo>
                  <a:cubicBezTo>
                    <a:pt x="55" y="59"/>
                    <a:pt x="55" y="54"/>
                    <a:pt x="49" y="53"/>
                  </a:cubicBezTo>
                  <a:cubicBezTo>
                    <a:pt x="43" y="51"/>
                    <a:pt x="40" y="49"/>
                    <a:pt x="41" y="41"/>
                  </a:cubicBezTo>
                  <a:cubicBezTo>
                    <a:pt x="42" y="33"/>
                    <a:pt x="37" y="31"/>
                    <a:pt x="36" y="29"/>
                  </a:cubicBezTo>
                  <a:cubicBezTo>
                    <a:pt x="34" y="26"/>
                    <a:pt x="33" y="18"/>
                    <a:pt x="28" y="1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5" name="Freeform 465">
              <a:extLst>
                <a:ext uri="{FF2B5EF4-FFF2-40B4-BE49-F238E27FC236}">
                  <a16:creationId xmlns:a16="http://schemas.microsoft.com/office/drawing/2014/main" id="{F0D4BCA9-31B3-D243-9445-A33D5DFF8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1" y="2580"/>
              <a:ext cx="7" cy="11"/>
            </a:xfrm>
            <a:custGeom>
              <a:avLst/>
              <a:gdLst>
                <a:gd name="T0" fmla="*/ 15 w 27"/>
                <a:gd name="T1" fmla="*/ 17 h 45"/>
                <a:gd name="T2" fmla="*/ 8 w 27"/>
                <a:gd name="T3" fmla="*/ 28 h 45"/>
                <a:gd name="T4" fmla="*/ 4 w 27"/>
                <a:gd name="T5" fmla="*/ 36 h 45"/>
                <a:gd name="T6" fmla="*/ 17 w 27"/>
                <a:gd name="T7" fmla="*/ 45 h 45"/>
                <a:gd name="T8" fmla="*/ 26 w 27"/>
                <a:gd name="T9" fmla="*/ 37 h 45"/>
                <a:gd name="T10" fmla="*/ 15 w 27"/>
                <a:gd name="T11" fmla="*/ 1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45">
                  <a:moveTo>
                    <a:pt x="15" y="17"/>
                  </a:moveTo>
                  <a:cubicBezTo>
                    <a:pt x="15" y="17"/>
                    <a:pt x="13" y="25"/>
                    <a:pt x="8" y="28"/>
                  </a:cubicBezTo>
                  <a:cubicBezTo>
                    <a:pt x="4" y="30"/>
                    <a:pt x="0" y="32"/>
                    <a:pt x="4" y="36"/>
                  </a:cubicBezTo>
                  <a:cubicBezTo>
                    <a:pt x="8" y="39"/>
                    <a:pt x="11" y="45"/>
                    <a:pt x="17" y="45"/>
                  </a:cubicBezTo>
                  <a:cubicBezTo>
                    <a:pt x="23" y="44"/>
                    <a:pt x="26" y="42"/>
                    <a:pt x="26" y="37"/>
                  </a:cubicBezTo>
                  <a:cubicBezTo>
                    <a:pt x="27" y="31"/>
                    <a:pt x="18" y="0"/>
                    <a:pt x="15" y="1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6" name="Freeform 466">
              <a:extLst>
                <a:ext uri="{FF2B5EF4-FFF2-40B4-BE49-F238E27FC236}">
                  <a16:creationId xmlns:a16="http://schemas.microsoft.com/office/drawing/2014/main" id="{B0BFE4D9-8261-7346-83B6-4871C2106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" y="2588"/>
              <a:ext cx="5" cy="5"/>
            </a:xfrm>
            <a:custGeom>
              <a:avLst/>
              <a:gdLst>
                <a:gd name="T0" fmla="*/ 7 w 19"/>
                <a:gd name="T1" fmla="*/ 4 h 20"/>
                <a:gd name="T2" fmla="*/ 0 w 19"/>
                <a:gd name="T3" fmla="*/ 12 h 20"/>
                <a:gd name="T4" fmla="*/ 9 w 19"/>
                <a:gd name="T5" fmla="*/ 19 h 20"/>
                <a:gd name="T6" fmla="*/ 19 w 19"/>
                <a:gd name="T7" fmla="*/ 12 h 20"/>
                <a:gd name="T8" fmla="*/ 7 w 19"/>
                <a:gd name="T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7" y="4"/>
                  </a:moveTo>
                  <a:cubicBezTo>
                    <a:pt x="7" y="4"/>
                    <a:pt x="0" y="10"/>
                    <a:pt x="0" y="12"/>
                  </a:cubicBezTo>
                  <a:cubicBezTo>
                    <a:pt x="1" y="15"/>
                    <a:pt x="5" y="20"/>
                    <a:pt x="9" y="19"/>
                  </a:cubicBezTo>
                  <a:cubicBezTo>
                    <a:pt x="14" y="19"/>
                    <a:pt x="18" y="18"/>
                    <a:pt x="19" y="12"/>
                  </a:cubicBezTo>
                  <a:cubicBezTo>
                    <a:pt x="19" y="7"/>
                    <a:pt x="10" y="0"/>
                    <a:pt x="7" y="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7" name="Freeform 467">
              <a:extLst>
                <a:ext uri="{FF2B5EF4-FFF2-40B4-BE49-F238E27FC236}">
                  <a16:creationId xmlns:a16="http://schemas.microsoft.com/office/drawing/2014/main" id="{EBAD4E76-2FDA-8B4B-B92F-89F7A0490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2576"/>
              <a:ext cx="2" cy="7"/>
            </a:xfrm>
            <a:custGeom>
              <a:avLst/>
              <a:gdLst>
                <a:gd name="T0" fmla="*/ 3 w 10"/>
                <a:gd name="T1" fmla="*/ 7 h 26"/>
                <a:gd name="T2" fmla="*/ 5 w 10"/>
                <a:gd name="T3" fmla="*/ 25 h 26"/>
                <a:gd name="T4" fmla="*/ 10 w 10"/>
                <a:gd name="T5" fmla="*/ 18 h 26"/>
                <a:gd name="T6" fmla="*/ 3 w 10"/>
                <a:gd name="T7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6">
                  <a:moveTo>
                    <a:pt x="3" y="7"/>
                  </a:moveTo>
                  <a:cubicBezTo>
                    <a:pt x="3" y="7"/>
                    <a:pt x="0" y="25"/>
                    <a:pt x="5" y="25"/>
                  </a:cubicBezTo>
                  <a:cubicBezTo>
                    <a:pt x="10" y="25"/>
                    <a:pt x="10" y="26"/>
                    <a:pt x="10" y="18"/>
                  </a:cubicBezTo>
                  <a:cubicBezTo>
                    <a:pt x="10" y="11"/>
                    <a:pt x="6" y="0"/>
                    <a:pt x="3" y="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8" name="Freeform 468">
              <a:extLst>
                <a:ext uri="{FF2B5EF4-FFF2-40B4-BE49-F238E27FC236}">
                  <a16:creationId xmlns:a16="http://schemas.microsoft.com/office/drawing/2014/main" id="{0C1858CF-59FC-6545-8779-D4C40DF8D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" y="1067"/>
              <a:ext cx="173" cy="109"/>
            </a:xfrm>
            <a:custGeom>
              <a:avLst/>
              <a:gdLst>
                <a:gd name="T0" fmla="*/ 35 w 684"/>
                <a:gd name="T1" fmla="*/ 325 h 433"/>
                <a:gd name="T2" fmla="*/ 76 w 684"/>
                <a:gd name="T3" fmla="*/ 341 h 433"/>
                <a:gd name="T4" fmla="*/ 145 w 684"/>
                <a:gd name="T5" fmla="*/ 373 h 433"/>
                <a:gd name="T6" fmla="*/ 190 w 684"/>
                <a:gd name="T7" fmla="*/ 431 h 433"/>
                <a:gd name="T8" fmla="*/ 231 w 684"/>
                <a:gd name="T9" fmla="*/ 414 h 433"/>
                <a:gd name="T10" fmla="*/ 284 w 684"/>
                <a:gd name="T11" fmla="*/ 388 h 433"/>
                <a:gd name="T12" fmla="*/ 352 w 684"/>
                <a:gd name="T13" fmla="*/ 375 h 433"/>
                <a:gd name="T14" fmla="*/ 369 w 684"/>
                <a:gd name="T15" fmla="*/ 305 h 433"/>
                <a:gd name="T16" fmla="*/ 422 w 684"/>
                <a:gd name="T17" fmla="*/ 274 h 433"/>
                <a:gd name="T18" fmla="*/ 495 w 684"/>
                <a:gd name="T19" fmla="*/ 224 h 433"/>
                <a:gd name="T20" fmla="*/ 578 w 684"/>
                <a:gd name="T21" fmla="*/ 185 h 433"/>
                <a:gd name="T22" fmla="*/ 667 w 684"/>
                <a:gd name="T23" fmla="*/ 148 h 433"/>
                <a:gd name="T24" fmla="*/ 665 w 684"/>
                <a:gd name="T25" fmla="*/ 120 h 433"/>
                <a:gd name="T26" fmla="*/ 614 w 684"/>
                <a:gd name="T27" fmla="*/ 79 h 433"/>
                <a:gd name="T28" fmla="*/ 565 w 684"/>
                <a:gd name="T29" fmla="*/ 52 h 433"/>
                <a:gd name="T30" fmla="*/ 515 w 684"/>
                <a:gd name="T31" fmla="*/ 44 h 433"/>
                <a:gd name="T32" fmla="*/ 468 w 684"/>
                <a:gd name="T33" fmla="*/ 53 h 433"/>
                <a:gd name="T34" fmla="*/ 452 w 684"/>
                <a:gd name="T35" fmla="*/ 70 h 433"/>
                <a:gd name="T36" fmla="*/ 433 w 684"/>
                <a:gd name="T37" fmla="*/ 47 h 433"/>
                <a:gd name="T38" fmla="*/ 367 w 684"/>
                <a:gd name="T39" fmla="*/ 37 h 433"/>
                <a:gd name="T40" fmla="*/ 320 w 684"/>
                <a:gd name="T41" fmla="*/ 16 h 433"/>
                <a:gd name="T42" fmla="*/ 293 w 684"/>
                <a:gd name="T43" fmla="*/ 0 h 433"/>
                <a:gd name="T44" fmla="*/ 251 w 684"/>
                <a:gd name="T45" fmla="*/ 13 h 433"/>
                <a:gd name="T46" fmla="*/ 210 w 684"/>
                <a:gd name="T47" fmla="*/ 19 h 433"/>
                <a:gd name="T48" fmla="*/ 178 w 684"/>
                <a:gd name="T49" fmla="*/ 19 h 433"/>
                <a:gd name="T50" fmla="*/ 138 w 684"/>
                <a:gd name="T51" fmla="*/ 20 h 433"/>
                <a:gd name="T52" fmla="*/ 86 w 684"/>
                <a:gd name="T53" fmla="*/ 34 h 433"/>
                <a:gd name="T54" fmla="*/ 102 w 684"/>
                <a:gd name="T55" fmla="*/ 66 h 433"/>
                <a:gd name="T56" fmla="*/ 124 w 684"/>
                <a:gd name="T57" fmla="*/ 90 h 433"/>
                <a:gd name="T58" fmla="*/ 135 w 684"/>
                <a:gd name="T59" fmla="*/ 117 h 433"/>
                <a:gd name="T60" fmla="*/ 96 w 684"/>
                <a:gd name="T61" fmla="*/ 152 h 433"/>
                <a:gd name="T62" fmla="*/ 81 w 684"/>
                <a:gd name="T63" fmla="*/ 185 h 433"/>
                <a:gd name="T64" fmla="*/ 78 w 684"/>
                <a:gd name="T65" fmla="*/ 214 h 433"/>
                <a:gd name="T66" fmla="*/ 62 w 684"/>
                <a:gd name="T67" fmla="*/ 235 h 433"/>
                <a:gd name="T68" fmla="*/ 42 w 684"/>
                <a:gd name="T69" fmla="*/ 261 h 433"/>
                <a:gd name="T70" fmla="*/ 23 w 684"/>
                <a:gd name="T71" fmla="*/ 301 h 433"/>
                <a:gd name="T72" fmla="*/ 35 w 684"/>
                <a:gd name="T73" fmla="*/ 325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4" h="433">
                  <a:moveTo>
                    <a:pt x="35" y="325"/>
                  </a:moveTo>
                  <a:cubicBezTo>
                    <a:pt x="49" y="325"/>
                    <a:pt x="55" y="341"/>
                    <a:pt x="76" y="341"/>
                  </a:cubicBezTo>
                  <a:cubicBezTo>
                    <a:pt x="98" y="341"/>
                    <a:pt x="134" y="350"/>
                    <a:pt x="145" y="373"/>
                  </a:cubicBezTo>
                  <a:cubicBezTo>
                    <a:pt x="157" y="396"/>
                    <a:pt x="172" y="430"/>
                    <a:pt x="190" y="431"/>
                  </a:cubicBezTo>
                  <a:cubicBezTo>
                    <a:pt x="207" y="433"/>
                    <a:pt x="211" y="420"/>
                    <a:pt x="231" y="414"/>
                  </a:cubicBezTo>
                  <a:cubicBezTo>
                    <a:pt x="251" y="408"/>
                    <a:pt x="263" y="380"/>
                    <a:pt x="284" y="388"/>
                  </a:cubicBezTo>
                  <a:cubicBezTo>
                    <a:pt x="306" y="397"/>
                    <a:pt x="346" y="396"/>
                    <a:pt x="352" y="375"/>
                  </a:cubicBezTo>
                  <a:cubicBezTo>
                    <a:pt x="357" y="355"/>
                    <a:pt x="347" y="308"/>
                    <a:pt x="369" y="305"/>
                  </a:cubicBezTo>
                  <a:cubicBezTo>
                    <a:pt x="390" y="302"/>
                    <a:pt x="419" y="297"/>
                    <a:pt x="422" y="274"/>
                  </a:cubicBezTo>
                  <a:cubicBezTo>
                    <a:pt x="425" y="251"/>
                    <a:pt x="459" y="229"/>
                    <a:pt x="495" y="224"/>
                  </a:cubicBezTo>
                  <a:cubicBezTo>
                    <a:pt x="531" y="218"/>
                    <a:pt x="511" y="205"/>
                    <a:pt x="578" y="185"/>
                  </a:cubicBezTo>
                  <a:cubicBezTo>
                    <a:pt x="645" y="165"/>
                    <a:pt x="658" y="148"/>
                    <a:pt x="667" y="148"/>
                  </a:cubicBezTo>
                  <a:cubicBezTo>
                    <a:pt x="675" y="148"/>
                    <a:pt x="684" y="128"/>
                    <a:pt x="665" y="120"/>
                  </a:cubicBezTo>
                  <a:cubicBezTo>
                    <a:pt x="647" y="113"/>
                    <a:pt x="624" y="95"/>
                    <a:pt x="614" y="79"/>
                  </a:cubicBezTo>
                  <a:cubicBezTo>
                    <a:pt x="604" y="63"/>
                    <a:pt x="589" y="63"/>
                    <a:pt x="565" y="52"/>
                  </a:cubicBezTo>
                  <a:cubicBezTo>
                    <a:pt x="541" y="40"/>
                    <a:pt x="532" y="46"/>
                    <a:pt x="515" y="44"/>
                  </a:cubicBezTo>
                  <a:cubicBezTo>
                    <a:pt x="498" y="43"/>
                    <a:pt x="472" y="39"/>
                    <a:pt x="468" y="53"/>
                  </a:cubicBezTo>
                  <a:cubicBezTo>
                    <a:pt x="463" y="67"/>
                    <a:pt x="463" y="73"/>
                    <a:pt x="452" y="70"/>
                  </a:cubicBezTo>
                  <a:cubicBezTo>
                    <a:pt x="440" y="67"/>
                    <a:pt x="452" y="47"/>
                    <a:pt x="433" y="47"/>
                  </a:cubicBezTo>
                  <a:cubicBezTo>
                    <a:pt x="415" y="47"/>
                    <a:pt x="389" y="46"/>
                    <a:pt x="367" y="37"/>
                  </a:cubicBezTo>
                  <a:cubicBezTo>
                    <a:pt x="346" y="29"/>
                    <a:pt x="326" y="26"/>
                    <a:pt x="320" y="16"/>
                  </a:cubicBezTo>
                  <a:cubicBezTo>
                    <a:pt x="314" y="6"/>
                    <a:pt x="307" y="0"/>
                    <a:pt x="293" y="0"/>
                  </a:cubicBezTo>
                  <a:cubicBezTo>
                    <a:pt x="278" y="0"/>
                    <a:pt x="261" y="3"/>
                    <a:pt x="251" y="13"/>
                  </a:cubicBezTo>
                  <a:cubicBezTo>
                    <a:pt x="241" y="23"/>
                    <a:pt x="233" y="19"/>
                    <a:pt x="210" y="19"/>
                  </a:cubicBezTo>
                  <a:cubicBezTo>
                    <a:pt x="187" y="19"/>
                    <a:pt x="188" y="19"/>
                    <a:pt x="178" y="19"/>
                  </a:cubicBezTo>
                  <a:cubicBezTo>
                    <a:pt x="178" y="19"/>
                    <a:pt x="159" y="21"/>
                    <a:pt x="138" y="20"/>
                  </a:cubicBezTo>
                  <a:cubicBezTo>
                    <a:pt x="116" y="19"/>
                    <a:pt x="75" y="19"/>
                    <a:pt x="86" y="34"/>
                  </a:cubicBezTo>
                  <a:cubicBezTo>
                    <a:pt x="98" y="50"/>
                    <a:pt x="95" y="49"/>
                    <a:pt x="102" y="66"/>
                  </a:cubicBezTo>
                  <a:cubicBezTo>
                    <a:pt x="109" y="83"/>
                    <a:pt x="112" y="87"/>
                    <a:pt x="124" y="90"/>
                  </a:cubicBezTo>
                  <a:cubicBezTo>
                    <a:pt x="135" y="93"/>
                    <a:pt x="144" y="106"/>
                    <a:pt x="135" y="117"/>
                  </a:cubicBezTo>
                  <a:cubicBezTo>
                    <a:pt x="126" y="129"/>
                    <a:pt x="114" y="143"/>
                    <a:pt x="96" y="152"/>
                  </a:cubicBezTo>
                  <a:cubicBezTo>
                    <a:pt x="79" y="160"/>
                    <a:pt x="73" y="172"/>
                    <a:pt x="81" y="185"/>
                  </a:cubicBezTo>
                  <a:cubicBezTo>
                    <a:pt x="88" y="198"/>
                    <a:pt x="92" y="212"/>
                    <a:pt x="78" y="214"/>
                  </a:cubicBezTo>
                  <a:cubicBezTo>
                    <a:pt x="63" y="215"/>
                    <a:pt x="62" y="224"/>
                    <a:pt x="62" y="235"/>
                  </a:cubicBezTo>
                  <a:cubicBezTo>
                    <a:pt x="62" y="246"/>
                    <a:pt x="61" y="258"/>
                    <a:pt x="42" y="261"/>
                  </a:cubicBezTo>
                  <a:cubicBezTo>
                    <a:pt x="23" y="264"/>
                    <a:pt x="46" y="285"/>
                    <a:pt x="23" y="301"/>
                  </a:cubicBezTo>
                  <a:cubicBezTo>
                    <a:pt x="0" y="317"/>
                    <a:pt x="20" y="325"/>
                    <a:pt x="35" y="32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39" name="Freeform 469">
              <a:extLst>
                <a:ext uri="{FF2B5EF4-FFF2-40B4-BE49-F238E27FC236}">
                  <a16:creationId xmlns:a16="http://schemas.microsoft.com/office/drawing/2014/main" id="{4962CECD-41E1-3645-B343-AE480293C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" y="1091"/>
              <a:ext cx="297" cy="162"/>
            </a:xfrm>
            <a:custGeom>
              <a:avLst/>
              <a:gdLst>
                <a:gd name="T0" fmla="*/ 1155 w 1173"/>
                <a:gd name="T1" fmla="*/ 434 h 641"/>
                <a:gd name="T2" fmla="*/ 1080 w 1173"/>
                <a:gd name="T3" fmla="*/ 406 h 641"/>
                <a:gd name="T4" fmla="*/ 1027 w 1173"/>
                <a:gd name="T5" fmla="*/ 378 h 641"/>
                <a:gd name="T6" fmla="*/ 935 w 1173"/>
                <a:gd name="T7" fmla="*/ 334 h 641"/>
                <a:gd name="T8" fmla="*/ 927 w 1173"/>
                <a:gd name="T9" fmla="*/ 244 h 641"/>
                <a:gd name="T10" fmla="*/ 888 w 1173"/>
                <a:gd name="T11" fmla="*/ 146 h 641"/>
                <a:gd name="T12" fmla="*/ 931 w 1173"/>
                <a:gd name="T13" fmla="*/ 64 h 641"/>
                <a:gd name="T14" fmla="*/ 878 w 1173"/>
                <a:gd name="T15" fmla="*/ 4 h 641"/>
                <a:gd name="T16" fmla="*/ 783 w 1173"/>
                <a:gd name="T17" fmla="*/ 43 h 641"/>
                <a:gd name="T18" fmla="*/ 830 w 1173"/>
                <a:gd name="T19" fmla="*/ 89 h 641"/>
                <a:gd name="T20" fmla="*/ 769 w 1173"/>
                <a:gd name="T21" fmla="*/ 72 h 641"/>
                <a:gd name="T22" fmla="*/ 705 w 1173"/>
                <a:gd name="T23" fmla="*/ 74 h 641"/>
                <a:gd name="T24" fmla="*/ 716 w 1173"/>
                <a:gd name="T25" fmla="*/ 160 h 641"/>
                <a:gd name="T26" fmla="*/ 759 w 1173"/>
                <a:gd name="T27" fmla="*/ 237 h 641"/>
                <a:gd name="T28" fmla="*/ 698 w 1173"/>
                <a:gd name="T29" fmla="*/ 244 h 641"/>
                <a:gd name="T30" fmla="*/ 682 w 1173"/>
                <a:gd name="T31" fmla="*/ 192 h 641"/>
                <a:gd name="T32" fmla="*/ 648 w 1173"/>
                <a:gd name="T33" fmla="*/ 134 h 641"/>
                <a:gd name="T34" fmla="*/ 599 w 1173"/>
                <a:gd name="T35" fmla="*/ 105 h 641"/>
                <a:gd name="T36" fmla="*/ 547 w 1173"/>
                <a:gd name="T37" fmla="*/ 119 h 641"/>
                <a:gd name="T38" fmla="*/ 565 w 1173"/>
                <a:gd name="T39" fmla="*/ 162 h 641"/>
                <a:gd name="T40" fmla="*/ 528 w 1173"/>
                <a:gd name="T41" fmla="*/ 161 h 641"/>
                <a:gd name="T42" fmla="*/ 503 w 1173"/>
                <a:gd name="T43" fmla="*/ 158 h 641"/>
                <a:gd name="T44" fmla="*/ 437 w 1173"/>
                <a:gd name="T45" fmla="*/ 113 h 641"/>
                <a:gd name="T46" fmla="*/ 357 w 1173"/>
                <a:gd name="T47" fmla="*/ 128 h 641"/>
                <a:gd name="T48" fmla="*/ 321 w 1173"/>
                <a:gd name="T49" fmla="*/ 127 h 641"/>
                <a:gd name="T50" fmla="*/ 334 w 1173"/>
                <a:gd name="T51" fmla="*/ 77 h 641"/>
                <a:gd name="T52" fmla="*/ 228 w 1173"/>
                <a:gd name="T53" fmla="*/ 70 h 641"/>
                <a:gd name="T54" fmla="*/ 104 w 1173"/>
                <a:gd name="T55" fmla="*/ 119 h 641"/>
                <a:gd name="T56" fmla="*/ 35 w 1173"/>
                <a:gd name="T57" fmla="*/ 168 h 641"/>
                <a:gd name="T58" fmla="*/ 52 w 1173"/>
                <a:gd name="T59" fmla="*/ 199 h 641"/>
                <a:gd name="T60" fmla="*/ 0 w 1173"/>
                <a:gd name="T61" fmla="*/ 249 h 641"/>
                <a:gd name="T62" fmla="*/ 48 w 1173"/>
                <a:gd name="T63" fmla="*/ 267 h 641"/>
                <a:gd name="T64" fmla="*/ 114 w 1173"/>
                <a:gd name="T65" fmla="*/ 296 h 641"/>
                <a:gd name="T66" fmla="*/ 183 w 1173"/>
                <a:gd name="T67" fmla="*/ 280 h 641"/>
                <a:gd name="T68" fmla="*/ 144 w 1173"/>
                <a:gd name="T69" fmla="*/ 310 h 641"/>
                <a:gd name="T70" fmla="*/ 81 w 1173"/>
                <a:gd name="T71" fmla="*/ 323 h 641"/>
                <a:gd name="T72" fmla="*/ 85 w 1173"/>
                <a:gd name="T73" fmla="*/ 370 h 641"/>
                <a:gd name="T74" fmla="*/ 156 w 1173"/>
                <a:gd name="T75" fmla="*/ 393 h 641"/>
                <a:gd name="T76" fmla="*/ 300 w 1173"/>
                <a:gd name="T77" fmla="*/ 391 h 641"/>
                <a:gd name="T78" fmla="*/ 374 w 1173"/>
                <a:gd name="T79" fmla="*/ 386 h 641"/>
                <a:gd name="T80" fmla="*/ 449 w 1173"/>
                <a:gd name="T81" fmla="*/ 406 h 641"/>
                <a:gd name="T82" fmla="*/ 372 w 1173"/>
                <a:gd name="T83" fmla="*/ 416 h 641"/>
                <a:gd name="T84" fmla="*/ 218 w 1173"/>
                <a:gd name="T85" fmla="*/ 427 h 641"/>
                <a:gd name="T86" fmla="*/ 114 w 1173"/>
                <a:gd name="T87" fmla="*/ 451 h 641"/>
                <a:gd name="T88" fmla="*/ 182 w 1173"/>
                <a:gd name="T89" fmla="*/ 527 h 641"/>
                <a:gd name="T90" fmla="*/ 359 w 1173"/>
                <a:gd name="T91" fmla="*/ 550 h 641"/>
                <a:gd name="T92" fmla="*/ 450 w 1173"/>
                <a:gd name="T93" fmla="*/ 618 h 641"/>
                <a:gd name="T94" fmla="*/ 570 w 1173"/>
                <a:gd name="T95" fmla="*/ 613 h 641"/>
                <a:gd name="T96" fmla="*/ 711 w 1173"/>
                <a:gd name="T97" fmla="*/ 575 h 641"/>
                <a:gd name="T98" fmla="*/ 822 w 1173"/>
                <a:gd name="T99" fmla="*/ 545 h 641"/>
                <a:gd name="T100" fmla="*/ 900 w 1173"/>
                <a:gd name="T101" fmla="*/ 586 h 641"/>
                <a:gd name="T102" fmla="*/ 943 w 1173"/>
                <a:gd name="T103" fmla="*/ 631 h 641"/>
                <a:gd name="T104" fmla="*/ 926 w 1173"/>
                <a:gd name="T105" fmla="*/ 588 h 641"/>
                <a:gd name="T106" fmla="*/ 993 w 1173"/>
                <a:gd name="T107" fmla="*/ 589 h 641"/>
                <a:gd name="T108" fmla="*/ 1115 w 1173"/>
                <a:gd name="T109" fmla="*/ 563 h 641"/>
                <a:gd name="T110" fmla="*/ 1101 w 1173"/>
                <a:gd name="T111" fmla="*/ 523 h 641"/>
                <a:gd name="T112" fmla="*/ 1032 w 1173"/>
                <a:gd name="T113" fmla="*/ 527 h 641"/>
                <a:gd name="T114" fmla="*/ 1074 w 1173"/>
                <a:gd name="T115" fmla="*/ 478 h 641"/>
                <a:gd name="T116" fmla="*/ 1135 w 1173"/>
                <a:gd name="T117" fmla="*/ 487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73" h="641">
                  <a:moveTo>
                    <a:pt x="1172" y="476"/>
                  </a:moveTo>
                  <a:cubicBezTo>
                    <a:pt x="1171" y="463"/>
                    <a:pt x="1172" y="463"/>
                    <a:pt x="1166" y="455"/>
                  </a:cubicBezTo>
                  <a:cubicBezTo>
                    <a:pt x="1161" y="447"/>
                    <a:pt x="1169" y="436"/>
                    <a:pt x="1155" y="434"/>
                  </a:cubicBezTo>
                  <a:cubicBezTo>
                    <a:pt x="1141" y="432"/>
                    <a:pt x="1128" y="432"/>
                    <a:pt x="1121" y="424"/>
                  </a:cubicBezTo>
                  <a:cubicBezTo>
                    <a:pt x="1114" y="415"/>
                    <a:pt x="1108" y="416"/>
                    <a:pt x="1101" y="416"/>
                  </a:cubicBezTo>
                  <a:cubicBezTo>
                    <a:pt x="1094" y="415"/>
                    <a:pt x="1084" y="411"/>
                    <a:pt x="1080" y="406"/>
                  </a:cubicBezTo>
                  <a:cubicBezTo>
                    <a:pt x="1075" y="401"/>
                    <a:pt x="1067" y="399"/>
                    <a:pt x="1062" y="398"/>
                  </a:cubicBezTo>
                  <a:cubicBezTo>
                    <a:pt x="1056" y="398"/>
                    <a:pt x="1052" y="392"/>
                    <a:pt x="1048" y="385"/>
                  </a:cubicBezTo>
                  <a:cubicBezTo>
                    <a:pt x="1045" y="378"/>
                    <a:pt x="1030" y="371"/>
                    <a:pt x="1027" y="378"/>
                  </a:cubicBezTo>
                  <a:cubicBezTo>
                    <a:pt x="1023" y="385"/>
                    <a:pt x="1027" y="391"/>
                    <a:pt x="1009" y="385"/>
                  </a:cubicBezTo>
                  <a:cubicBezTo>
                    <a:pt x="992" y="378"/>
                    <a:pt x="984" y="378"/>
                    <a:pt x="972" y="363"/>
                  </a:cubicBezTo>
                  <a:cubicBezTo>
                    <a:pt x="960" y="347"/>
                    <a:pt x="933" y="350"/>
                    <a:pt x="935" y="334"/>
                  </a:cubicBezTo>
                  <a:cubicBezTo>
                    <a:pt x="937" y="318"/>
                    <a:pt x="942" y="322"/>
                    <a:pt x="942" y="309"/>
                  </a:cubicBezTo>
                  <a:cubicBezTo>
                    <a:pt x="942" y="296"/>
                    <a:pt x="969" y="306"/>
                    <a:pt x="956" y="287"/>
                  </a:cubicBezTo>
                  <a:cubicBezTo>
                    <a:pt x="943" y="269"/>
                    <a:pt x="937" y="263"/>
                    <a:pt x="927" y="244"/>
                  </a:cubicBezTo>
                  <a:cubicBezTo>
                    <a:pt x="917" y="224"/>
                    <a:pt x="908" y="187"/>
                    <a:pt x="900" y="183"/>
                  </a:cubicBezTo>
                  <a:cubicBezTo>
                    <a:pt x="892" y="180"/>
                    <a:pt x="890" y="182"/>
                    <a:pt x="890" y="167"/>
                  </a:cubicBezTo>
                  <a:cubicBezTo>
                    <a:pt x="889" y="152"/>
                    <a:pt x="895" y="156"/>
                    <a:pt x="888" y="146"/>
                  </a:cubicBezTo>
                  <a:cubicBezTo>
                    <a:pt x="880" y="136"/>
                    <a:pt x="877" y="135"/>
                    <a:pt x="885" y="123"/>
                  </a:cubicBezTo>
                  <a:cubicBezTo>
                    <a:pt x="893" y="112"/>
                    <a:pt x="908" y="103"/>
                    <a:pt x="912" y="92"/>
                  </a:cubicBezTo>
                  <a:cubicBezTo>
                    <a:pt x="916" y="80"/>
                    <a:pt x="927" y="72"/>
                    <a:pt x="931" y="64"/>
                  </a:cubicBezTo>
                  <a:cubicBezTo>
                    <a:pt x="936" y="57"/>
                    <a:pt x="946" y="52"/>
                    <a:pt x="941" y="40"/>
                  </a:cubicBezTo>
                  <a:cubicBezTo>
                    <a:pt x="935" y="29"/>
                    <a:pt x="935" y="28"/>
                    <a:pt x="913" y="19"/>
                  </a:cubicBezTo>
                  <a:cubicBezTo>
                    <a:pt x="892" y="11"/>
                    <a:pt x="892" y="0"/>
                    <a:pt x="878" y="4"/>
                  </a:cubicBezTo>
                  <a:cubicBezTo>
                    <a:pt x="863" y="9"/>
                    <a:pt x="868" y="11"/>
                    <a:pt x="842" y="11"/>
                  </a:cubicBezTo>
                  <a:cubicBezTo>
                    <a:pt x="816" y="11"/>
                    <a:pt x="805" y="12"/>
                    <a:pt x="795" y="19"/>
                  </a:cubicBezTo>
                  <a:cubicBezTo>
                    <a:pt x="785" y="25"/>
                    <a:pt x="769" y="43"/>
                    <a:pt x="783" y="43"/>
                  </a:cubicBezTo>
                  <a:cubicBezTo>
                    <a:pt x="797" y="43"/>
                    <a:pt x="830" y="55"/>
                    <a:pt x="837" y="67"/>
                  </a:cubicBezTo>
                  <a:cubicBezTo>
                    <a:pt x="845" y="80"/>
                    <a:pt x="850" y="88"/>
                    <a:pt x="847" y="93"/>
                  </a:cubicBezTo>
                  <a:cubicBezTo>
                    <a:pt x="843" y="98"/>
                    <a:pt x="840" y="100"/>
                    <a:pt x="830" y="89"/>
                  </a:cubicBezTo>
                  <a:cubicBezTo>
                    <a:pt x="820" y="77"/>
                    <a:pt x="810" y="75"/>
                    <a:pt x="802" y="70"/>
                  </a:cubicBezTo>
                  <a:cubicBezTo>
                    <a:pt x="794" y="64"/>
                    <a:pt x="781" y="56"/>
                    <a:pt x="779" y="63"/>
                  </a:cubicBezTo>
                  <a:cubicBezTo>
                    <a:pt x="778" y="70"/>
                    <a:pt x="777" y="75"/>
                    <a:pt x="769" y="72"/>
                  </a:cubicBezTo>
                  <a:cubicBezTo>
                    <a:pt x="761" y="70"/>
                    <a:pt x="761" y="72"/>
                    <a:pt x="754" y="65"/>
                  </a:cubicBezTo>
                  <a:cubicBezTo>
                    <a:pt x="747" y="58"/>
                    <a:pt x="739" y="53"/>
                    <a:pt x="728" y="54"/>
                  </a:cubicBezTo>
                  <a:cubicBezTo>
                    <a:pt x="716" y="54"/>
                    <a:pt x="716" y="67"/>
                    <a:pt x="705" y="74"/>
                  </a:cubicBezTo>
                  <a:cubicBezTo>
                    <a:pt x="693" y="81"/>
                    <a:pt x="693" y="88"/>
                    <a:pt x="696" y="96"/>
                  </a:cubicBezTo>
                  <a:cubicBezTo>
                    <a:pt x="700" y="104"/>
                    <a:pt x="703" y="111"/>
                    <a:pt x="706" y="126"/>
                  </a:cubicBezTo>
                  <a:cubicBezTo>
                    <a:pt x="708" y="141"/>
                    <a:pt x="712" y="145"/>
                    <a:pt x="716" y="160"/>
                  </a:cubicBezTo>
                  <a:cubicBezTo>
                    <a:pt x="721" y="175"/>
                    <a:pt x="731" y="174"/>
                    <a:pt x="727" y="186"/>
                  </a:cubicBezTo>
                  <a:cubicBezTo>
                    <a:pt x="723" y="197"/>
                    <a:pt x="729" y="205"/>
                    <a:pt x="738" y="214"/>
                  </a:cubicBezTo>
                  <a:cubicBezTo>
                    <a:pt x="746" y="222"/>
                    <a:pt x="761" y="231"/>
                    <a:pt x="759" y="237"/>
                  </a:cubicBezTo>
                  <a:cubicBezTo>
                    <a:pt x="757" y="244"/>
                    <a:pt x="748" y="246"/>
                    <a:pt x="743" y="251"/>
                  </a:cubicBezTo>
                  <a:cubicBezTo>
                    <a:pt x="738" y="256"/>
                    <a:pt x="734" y="262"/>
                    <a:pt x="718" y="259"/>
                  </a:cubicBezTo>
                  <a:cubicBezTo>
                    <a:pt x="703" y="256"/>
                    <a:pt x="696" y="254"/>
                    <a:pt x="698" y="244"/>
                  </a:cubicBezTo>
                  <a:cubicBezTo>
                    <a:pt x="699" y="234"/>
                    <a:pt x="704" y="231"/>
                    <a:pt x="699" y="225"/>
                  </a:cubicBezTo>
                  <a:cubicBezTo>
                    <a:pt x="694" y="219"/>
                    <a:pt x="700" y="211"/>
                    <a:pt x="691" y="205"/>
                  </a:cubicBezTo>
                  <a:cubicBezTo>
                    <a:pt x="683" y="199"/>
                    <a:pt x="688" y="197"/>
                    <a:pt x="682" y="192"/>
                  </a:cubicBezTo>
                  <a:cubicBezTo>
                    <a:pt x="675" y="187"/>
                    <a:pt x="675" y="177"/>
                    <a:pt x="677" y="166"/>
                  </a:cubicBezTo>
                  <a:cubicBezTo>
                    <a:pt x="679" y="154"/>
                    <a:pt x="674" y="150"/>
                    <a:pt x="666" y="151"/>
                  </a:cubicBezTo>
                  <a:cubicBezTo>
                    <a:pt x="658" y="152"/>
                    <a:pt x="663" y="139"/>
                    <a:pt x="648" y="134"/>
                  </a:cubicBezTo>
                  <a:cubicBezTo>
                    <a:pt x="632" y="129"/>
                    <a:pt x="640" y="127"/>
                    <a:pt x="629" y="127"/>
                  </a:cubicBezTo>
                  <a:cubicBezTo>
                    <a:pt x="618" y="127"/>
                    <a:pt x="619" y="125"/>
                    <a:pt x="618" y="118"/>
                  </a:cubicBezTo>
                  <a:cubicBezTo>
                    <a:pt x="617" y="112"/>
                    <a:pt x="610" y="107"/>
                    <a:pt x="599" y="105"/>
                  </a:cubicBezTo>
                  <a:cubicBezTo>
                    <a:pt x="589" y="102"/>
                    <a:pt x="587" y="105"/>
                    <a:pt x="574" y="99"/>
                  </a:cubicBezTo>
                  <a:cubicBezTo>
                    <a:pt x="562" y="92"/>
                    <a:pt x="556" y="95"/>
                    <a:pt x="548" y="99"/>
                  </a:cubicBezTo>
                  <a:cubicBezTo>
                    <a:pt x="540" y="102"/>
                    <a:pt x="536" y="113"/>
                    <a:pt x="547" y="119"/>
                  </a:cubicBezTo>
                  <a:cubicBezTo>
                    <a:pt x="559" y="125"/>
                    <a:pt x="571" y="128"/>
                    <a:pt x="576" y="134"/>
                  </a:cubicBezTo>
                  <a:cubicBezTo>
                    <a:pt x="581" y="140"/>
                    <a:pt x="589" y="152"/>
                    <a:pt x="579" y="153"/>
                  </a:cubicBezTo>
                  <a:cubicBezTo>
                    <a:pt x="568" y="153"/>
                    <a:pt x="565" y="158"/>
                    <a:pt x="565" y="162"/>
                  </a:cubicBezTo>
                  <a:cubicBezTo>
                    <a:pt x="565" y="166"/>
                    <a:pt x="556" y="166"/>
                    <a:pt x="549" y="161"/>
                  </a:cubicBezTo>
                  <a:cubicBezTo>
                    <a:pt x="541" y="155"/>
                    <a:pt x="546" y="150"/>
                    <a:pt x="537" y="152"/>
                  </a:cubicBezTo>
                  <a:cubicBezTo>
                    <a:pt x="529" y="153"/>
                    <a:pt x="534" y="153"/>
                    <a:pt x="528" y="161"/>
                  </a:cubicBezTo>
                  <a:cubicBezTo>
                    <a:pt x="522" y="170"/>
                    <a:pt x="523" y="170"/>
                    <a:pt x="515" y="175"/>
                  </a:cubicBezTo>
                  <a:cubicBezTo>
                    <a:pt x="507" y="180"/>
                    <a:pt x="493" y="182"/>
                    <a:pt x="495" y="172"/>
                  </a:cubicBezTo>
                  <a:cubicBezTo>
                    <a:pt x="496" y="162"/>
                    <a:pt x="493" y="165"/>
                    <a:pt x="503" y="158"/>
                  </a:cubicBezTo>
                  <a:cubicBezTo>
                    <a:pt x="512" y="150"/>
                    <a:pt x="519" y="146"/>
                    <a:pt x="513" y="139"/>
                  </a:cubicBezTo>
                  <a:cubicBezTo>
                    <a:pt x="507" y="132"/>
                    <a:pt x="510" y="133"/>
                    <a:pt x="489" y="128"/>
                  </a:cubicBezTo>
                  <a:cubicBezTo>
                    <a:pt x="468" y="123"/>
                    <a:pt x="455" y="123"/>
                    <a:pt x="437" y="113"/>
                  </a:cubicBezTo>
                  <a:cubicBezTo>
                    <a:pt x="419" y="103"/>
                    <a:pt x="403" y="99"/>
                    <a:pt x="396" y="97"/>
                  </a:cubicBezTo>
                  <a:cubicBezTo>
                    <a:pt x="389" y="96"/>
                    <a:pt x="384" y="102"/>
                    <a:pt x="374" y="110"/>
                  </a:cubicBezTo>
                  <a:cubicBezTo>
                    <a:pt x="363" y="118"/>
                    <a:pt x="356" y="123"/>
                    <a:pt x="357" y="128"/>
                  </a:cubicBezTo>
                  <a:cubicBezTo>
                    <a:pt x="359" y="134"/>
                    <a:pt x="362" y="140"/>
                    <a:pt x="350" y="142"/>
                  </a:cubicBezTo>
                  <a:cubicBezTo>
                    <a:pt x="338" y="144"/>
                    <a:pt x="302" y="154"/>
                    <a:pt x="305" y="142"/>
                  </a:cubicBezTo>
                  <a:cubicBezTo>
                    <a:pt x="308" y="130"/>
                    <a:pt x="309" y="127"/>
                    <a:pt x="321" y="127"/>
                  </a:cubicBezTo>
                  <a:cubicBezTo>
                    <a:pt x="334" y="127"/>
                    <a:pt x="342" y="127"/>
                    <a:pt x="336" y="118"/>
                  </a:cubicBezTo>
                  <a:cubicBezTo>
                    <a:pt x="331" y="110"/>
                    <a:pt x="326" y="110"/>
                    <a:pt x="331" y="101"/>
                  </a:cubicBezTo>
                  <a:cubicBezTo>
                    <a:pt x="337" y="92"/>
                    <a:pt x="345" y="87"/>
                    <a:pt x="334" y="77"/>
                  </a:cubicBezTo>
                  <a:cubicBezTo>
                    <a:pt x="324" y="68"/>
                    <a:pt x="324" y="64"/>
                    <a:pt x="311" y="59"/>
                  </a:cubicBezTo>
                  <a:cubicBezTo>
                    <a:pt x="298" y="54"/>
                    <a:pt x="293" y="49"/>
                    <a:pt x="281" y="56"/>
                  </a:cubicBezTo>
                  <a:cubicBezTo>
                    <a:pt x="268" y="63"/>
                    <a:pt x="243" y="66"/>
                    <a:pt x="228" y="70"/>
                  </a:cubicBezTo>
                  <a:cubicBezTo>
                    <a:pt x="213" y="75"/>
                    <a:pt x="215" y="87"/>
                    <a:pt x="194" y="90"/>
                  </a:cubicBezTo>
                  <a:cubicBezTo>
                    <a:pt x="173" y="94"/>
                    <a:pt x="150" y="100"/>
                    <a:pt x="127" y="110"/>
                  </a:cubicBezTo>
                  <a:cubicBezTo>
                    <a:pt x="127" y="110"/>
                    <a:pt x="114" y="110"/>
                    <a:pt x="104" y="119"/>
                  </a:cubicBezTo>
                  <a:cubicBezTo>
                    <a:pt x="94" y="128"/>
                    <a:pt x="89" y="135"/>
                    <a:pt x="79" y="140"/>
                  </a:cubicBezTo>
                  <a:cubicBezTo>
                    <a:pt x="69" y="144"/>
                    <a:pt x="66" y="148"/>
                    <a:pt x="57" y="151"/>
                  </a:cubicBezTo>
                  <a:cubicBezTo>
                    <a:pt x="48" y="155"/>
                    <a:pt x="34" y="158"/>
                    <a:pt x="35" y="168"/>
                  </a:cubicBezTo>
                  <a:cubicBezTo>
                    <a:pt x="37" y="177"/>
                    <a:pt x="43" y="180"/>
                    <a:pt x="48" y="180"/>
                  </a:cubicBezTo>
                  <a:cubicBezTo>
                    <a:pt x="54" y="180"/>
                    <a:pt x="64" y="181"/>
                    <a:pt x="65" y="190"/>
                  </a:cubicBezTo>
                  <a:cubicBezTo>
                    <a:pt x="66" y="199"/>
                    <a:pt x="63" y="199"/>
                    <a:pt x="52" y="199"/>
                  </a:cubicBezTo>
                  <a:cubicBezTo>
                    <a:pt x="40" y="199"/>
                    <a:pt x="30" y="204"/>
                    <a:pt x="27" y="211"/>
                  </a:cubicBezTo>
                  <a:cubicBezTo>
                    <a:pt x="24" y="219"/>
                    <a:pt x="21" y="227"/>
                    <a:pt x="12" y="232"/>
                  </a:cubicBezTo>
                  <a:cubicBezTo>
                    <a:pt x="3" y="237"/>
                    <a:pt x="0" y="242"/>
                    <a:pt x="0" y="249"/>
                  </a:cubicBezTo>
                  <a:cubicBezTo>
                    <a:pt x="1" y="257"/>
                    <a:pt x="8" y="254"/>
                    <a:pt x="9" y="263"/>
                  </a:cubicBezTo>
                  <a:cubicBezTo>
                    <a:pt x="10" y="272"/>
                    <a:pt x="23" y="277"/>
                    <a:pt x="28" y="273"/>
                  </a:cubicBezTo>
                  <a:cubicBezTo>
                    <a:pt x="33" y="269"/>
                    <a:pt x="41" y="264"/>
                    <a:pt x="48" y="267"/>
                  </a:cubicBezTo>
                  <a:cubicBezTo>
                    <a:pt x="54" y="269"/>
                    <a:pt x="65" y="278"/>
                    <a:pt x="64" y="285"/>
                  </a:cubicBezTo>
                  <a:cubicBezTo>
                    <a:pt x="63" y="292"/>
                    <a:pt x="66" y="295"/>
                    <a:pt x="79" y="297"/>
                  </a:cubicBezTo>
                  <a:cubicBezTo>
                    <a:pt x="93" y="300"/>
                    <a:pt x="107" y="303"/>
                    <a:pt x="114" y="296"/>
                  </a:cubicBezTo>
                  <a:cubicBezTo>
                    <a:pt x="121" y="289"/>
                    <a:pt x="131" y="291"/>
                    <a:pt x="137" y="292"/>
                  </a:cubicBezTo>
                  <a:cubicBezTo>
                    <a:pt x="144" y="292"/>
                    <a:pt x="163" y="294"/>
                    <a:pt x="164" y="289"/>
                  </a:cubicBezTo>
                  <a:cubicBezTo>
                    <a:pt x="166" y="284"/>
                    <a:pt x="170" y="280"/>
                    <a:pt x="183" y="280"/>
                  </a:cubicBezTo>
                  <a:cubicBezTo>
                    <a:pt x="196" y="280"/>
                    <a:pt x="202" y="290"/>
                    <a:pt x="196" y="297"/>
                  </a:cubicBezTo>
                  <a:cubicBezTo>
                    <a:pt x="190" y="305"/>
                    <a:pt x="176" y="297"/>
                    <a:pt x="166" y="302"/>
                  </a:cubicBezTo>
                  <a:cubicBezTo>
                    <a:pt x="156" y="306"/>
                    <a:pt x="160" y="310"/>
                    <a:pt x="144" y="310"/>
                  </a:cubicBezTo>
                  <a:cubicBezTo>
                    <a:pt x="129" y="310"/>
                    <a:pt x="129" y="305"/>
                    <a:pt x="124" y="313"/>
                  </a:cubicBezTo>
                  <a:cubicBezTo>
                    <a:pt x="119" y="321"/>
                    <a:pt x="114" y="320"/>
                    <a:pt x="101" y="320"/>
                  </a:cubicBezTo>
                  <a:cubicBezTo>
                    <a:pt x="88" y="320"/>
                    <a:pt x="89" y="317"/>
                    <a:pt x="81" y="323"/>
                  </a:cubicBezTo>
                  <a:cubicBezTo>
                    <a:pt x="73" y="329"/>
                    <a:pt x="68" y="327"/>
                    <a:pt x="61" y="334"/>
                  </a:cubicBezTo>
                  <a:cubicBezTo>
                    <a:pt x="55" y="341"/>
                    <a:pt x="45" y="344"/>
                    <a:pt x="56" y="353"/>
                  </a:cubicBezTo>
                  <a:cubicBezTo>
                    <a:pt x="68" y="361"/>
                    <a:pt x="79" y="363"/>
                    <a:pt x="85" y="370"/>
                  </a:cubicBezTo>
                  <a:cubicBezTo>
                    <a:pt x="91" y="376"/>
                    <a:pt x="96" y="390"/>
                    <a:pt x="110" y="390"/>
                  </a:cubicBezTo>
                  <a:cubicBezTo>
                    <a:pt x="124" y="390"/>
                    <a:pt x="135" y="398"/>
                    <a:pt x="139" y="395"/>
                  </a:cubicBezTo>
                  <a:cubicBezTo>
                    <a:pt x="144" y="391"/>
                    <a:pt x="151" y="391"/>
                    <a:pt x="156" y="393"/>
                  </a:cubicBezTo>
                  <a:cubicBezTo>
                    <a:pt x="161" y="395"/>
                    <a:pt x="178" y="398"/>
                    <a:pt x="187" y="395"/>
                  </a:cubicBezTo>
                  <a:cubicBezTo>
                    <a:pt x="197" y="391"/>
                    <a:pt x="205" y="391"/>
                    <a:pt x="219" y="391"/>
                  </a:cubicBezTo>
                  <a:cubicBezTo>
                    <a:pt x="233" y="391"/>
                    <a:pt x="292" y="401"/>
                    <a:pt x="300" y="391"/>
                  </a:cubicBezTo>
                  <a:cubicBezTo>
                    <a:pt x="308" y="381"/>
                    <a:pt x="316" y="389"/>
                    <a:pt x="324" y="383"/>
                  </a:cubicBezTo>
                  <a:cubicBezTo>
                    <a:pt x="332" y="376"/>
                    <a:pt x="344" y="371"/>
                    <a:pt x="348" y="378"/>
                  </a:cubicBezTo>
                  <a:cubicBezTo>
                    <a:pt x="352" y="384"/>
                    <a:pt x="365" y="386"/>
                    <a:pt x="374" y="386"/>
                  </a:cubicBezTo>
                  <a:cubicBezTo>
                    <a:pt x="384" y="385"/>
                    <a:pt x="390" y="394"/>
                    <a:pt x="402" y="394"/>
                  </a:cubicBezTo>
                  <a:cubicBezTo>
                    <a:pt x="415" y="394"/>
                    <a:pt x="425" y="398"/>
                    <a:pt x="436" y="398"/>
                  </a:cubicBezTo>
                  <a:cubicBezTo>
                    <a:pt x="448" y="398"/>
                    <a:pt x="449" y="396"/>
                    <a:pt x="449" y="406"/>
                  </a:cubicBezTo>
                  <a:cubicBezTo>
                    <a:pt x="449" y="416"/>
                    <a:pt x="445" y="419"/>
                    <a:pt x="435" y="419"/>
                  </a:cubicBezTo>
                  <a:cubicBezTo>
                    <a:pt x="425" y="419"/>
                    <a:pt x="422" y="429"/>
                    <a:pt x="410" y="424"/>
                  </a:cubicBezTo>
                  <a:cubicBezTo>
                    <a:pt x="399" y="419"/>
                    <a:pt x="384" y="414"/>
                    <a:pt x="372" y="416"/>
                  </a:cubicBezTo>
                  <a:cubicBezTo>
                    <a:pt x="359" y="419"/>
                    <a:pt x="345" y="428"/>
                    <a:pt x="326" y="422"/>
                  </a:cubicBezTo>
                  <a:cubicBezTo>
                    <a:pt x="306" y="416"/>
                    <a:pt x="287" y="419"/>
                    <a:pt x="265" y="420"/>
                  </a:cubicBezTo>
                  <a:cubicBezTo>
                    <a:pt x="243" y="421"/>
                    <a:pt x="230" y="426"/>
                    <a:pt x="218" y="427"/>
                  </a:cubicBezTo>
                  <a:cubicBezTo>
                    <a:pt x="205" y="428"/>
                    <a:pt x="201" y="432"/>
                    <a:pt x="185" y="432"/>
                  </a:cubicBezTo>
                  <a:cubicBezTo>
                    <a:pt x="168" y="432"/>
                    <a:pt x="158" y="441"/>
                    <a:pt x="142" y="439"/>
                  </a:cubicBezTo>
                  <a:cubicBezTo>
                    <a:pt x="125" y="438"/>
                    <a:pt x="114" y="441"/>
                    <a:pt x="114" y="451"/>
                  </a:cubicBezTo>
                  <a:cubicBezTo>
                    <a:pt x="114" y="462"/>
                    <a:pt x="114" y="471"/>
                    <a:pt x="127" y="479"/>
                  </a:cubicBezTo>
                  <a:cubicBezTo>
                    <a:pt x="141" y="488"/>
                    <a:pt x="160" y="503"/>
                    <a:pt x="163" y="511"/>
                  </a:cubicBezTo>
                  <a:cubicBezTo>
                    <a:pt x="166" y="519"/>
                    <a:pt x="167" y="524"/>
                    <a:pt x="182" y="527"/>
                  </a:cubicBezTo>
                  <a:cubicBezTo>
                    <a:pt x="197" y="530"/>
                    <a:pt x="209" y="531"/>
                    <a:pt x="215" y="537"/>
                  </a:cubicBezTo>
                  <a:cubicBezTo>
                    <a:pt x="220" y="543"/>
                    <a:pt x="261" y="540"/>
                    <a:pt x="273" y="540"/>
                  </a:cubicBezTo>
                  <a:cubicBezTo>
                    <a:pt x="286" y="540"/>
                    <a:pt x="360" y="535"/>
                    <a:pt x="359" y="550"/>
                  </a:cubicBezTo>
                  <a:cubicBezTo>
                    <a:pt x="357" y="565"/>
                    <a:pt x="359" y="593"/>
                    <a:pt x="369" y="604"/>
                  </a:cubicBezTo>
                  <a:cubicBezTo>
                    <a:pt x="379" y="616"/>
                    <a:pt x="402" y="634"/>
                    <a:pt x="415" y="626"/>
                  </a:cubicBezTo>
                  <a:cubicBezTo>
                    <a:pt x="428" y="619"/>
                    <a:pt x="435" y="617"/>
                    <a:pt x="450" y="618"/>
                  </a:cubicBezTo>
                  <a:cubicBezTo>
                    <a:pt x="464" y="620"/>
                    <a:pt x="490" y="615"/>
                    <a:pt x="503" y="620"/>
                  </a:cubicBezTo>
                  <a:cubicBezTo>
                    <a:pt x="517" y="625"/>
                    <a:pt x="535" y="631"/>
                    <a:pt x="539" y="624"/>
                  </a:cubicBezTo>
                  <a:cubicBezTo>
                    <a:pt x="544" y="618"/>
                    <a:pt x="553" y="613"/>
                    <a:pt x="570" y="613"/>
                  </a:cubicBezTo>
                  <a:cubicBezTo>
                    <a:pt x="587" y="613"/>
                    <a:pt x="610" y="615"/>
                    <a:pt x="622" y="609"/>
                  </a:cubicBezTo>
                  <a:cubicBezTo>
                    <a:pt x="634" y="603"/>
                    <a:pt x="653" y="601"/>
                    <a:pt x="665" y="593"/>
                  </a:cubicBezTo>
                  <a:cubicBezTo>
                    <a:pt x="678" y="586"/>
                    <a:pt x="684" y="575"/>
                    <a:pt x="711" y="575"/>
                  </a:cubicBezTo>
                  <a:cubicBezTo>
                    <a:pt x="737" y="575"/>
                    <a:pt x="763" y="567"/>
                    <a:pt x="772" y="553"/>
                  </a:cubicBezTo>
                  <a:cubicBezTo>
                    <a:pt x="782" y="540"/>
                    <a:pt x="794" y="524"/>
                    <a:pt x="807" y="524"/>
                  </a:cubicBezTo>
                  <a:cubicBezTo>
                    <a:pt x="821" y="524"/>
                    <a:pt x="821" y="535"/>
                    <a:pt x="822" y="545"/>
                  </a:cubicBezTo>
                  <a:cubicBezTo>
                    <a:pt x="822" y="555"/>
                    <a:pt x="839" y="558"/>
                    <a:pt x="847" y="555"/>
                  </a:cubicBezTo>
                  <a:cubicBezTo>
                    <a:pt x="855" y="553"/>
                    <a:pt x="883" y="550"/>
                    <a:pt x="891" y="563"/>
                  </a:cubicBezTo>
                  <a:cubicBezTo>
                    <a:pt x="900" y="576"/>
                    <a:pt x="898" y="576"/>
                    <a:pt x="900" y="586"/>
                  </a:cubicBezTo>
                  <a:cubicBezTo>
                    <a:pt x="902" y="596"/>
                    <a:pt x="903" y="611"/>
                    <a:pt x="908" y="621"/>
                  </a:cubicBezTo>
                  <a:cubicBezTo>
                    <a:pt x="913" y="630"/>
                    <a:pt x="916" y="634"/>
                    <a:pt x="927" y="637"/>
                  </a:cubicBezTo>
                  <a:cubicBezTo>
                    <a:pt x="938" y="640"/>
                    <a:pt x="943" y="641"/>
                    <a:pt x="943" y="631"/>
                  </a:cubicBezTo>
                  <a:cubicBezTo>
                    <a:pt x="943" y="620"/>
                    <a:pt x="930" y="616"/>
                    <a:pt x="925" y="613"/>
                  </a:cubicBezTo>
                  <a:cubicBezTo>
                    <a:pt x="920" y="611"/>
                    <a:pt x="912" y="605"/>
                    <a:pt x="911" y="597"/>
                  </a:cubicBezTo>
                  <a:cubicBezTo>
                    <a:pt x="911" y="589"/>
                    <a:pt x="914" y="587"/>
                    <a:pt x="926" y="588"/>
                  </a:cubicBezTo>
                  <a:cubicBezTo>
                    <a:pt x="937" y="588"/>
                    <a:pt x="932" y="580"/>
                    <a:pt x="943" y="580"/>
                  </a:cubicBezTo>
                  <a:cubicBezTo>
                    <a:pt x="955" y="581"/>
                    <a:pt x="949" y="588"/>
                    <a:pt x="963" y="588"/>
                  </a:cubicBezTo>
                  <a:cubicBezTo>
                    <a:pt x="976" y="588"/>
                    <a:pt x="969" y="586"/>
                    <a:pt x="993" y="589"/>
                  </a:cubicBezTo>
                  <a:cubicBezTo>
                    <a:pt x="1017" y="593"/>
                    <a:pt x="1039" y="596"/>
                    <a:pt x="1050" y="589"/>
                  </a:cubicBezTo>
                  <a:cubicBezTo>
                    <a:pt x="1062" y="582"/>
                    <a:pt x="1066" y="574"/>
                    <a:pt x="1082" y="573"/>
                  </a:cubicBezTo>
                  <a:cubicBezTo>
                    <a:pt x="1098" y="571"/>
                    <a:pt x="1106" y="564"/>
                    <a:pt x="1115" y="563"/>
                  </a:cubicBezTo>
                  <a:cubicBezTo>
                    <a:pt x="1125" y="561"/>
                    <a:pt x="1129" y="557"/>
                    <a:pt x="1129" y="549"/>
                  </a:cubicBezTo>
                  <a:cubicBezTo>
                    <a:pt x="1129" y="541"/>
                    <a:pt x="1119" y="541"/>
                    <a:pt x="1111" y="541"/>
                  </a:cubicBezTo>
                  <a:cubicBezTo>
                    <a:pt x="1103" y="541"/>
                    <a:pt x="1103" y="532"/>
                    <a:pt x="1101" y="523"/>
                  </a:cubicBezTo>
                  <a:cubicBezTo>
                    <a:pt x="1099" y="514"/>
                    <a:pt x="1090" y="510"/>
                    <a:pt x="1081" y="513"/>
                  </a:cubicBezTo>
                  <a:cubicBezTo>
                    <a:pt x="1072" y="517"/>
                    <a:pt x="1056" y="513"/>
                    <a:pt x="1052" y="522"/>
                  </a:cubicBezTo>
                  <a:cubicBezTo>
                    <a:pt x="1047" y="532"/>
                    <a:pt x="1036" y="538"/>
                    <a:pt x="1032" y="527"/>
                  </a:cubicBezTo>
                  <a:cubicBezTo>
                    <a:pt x="1029" y="515"/>
                    <a:pt x="1030" y="507"/>
                    <a:pt x="1042" y="507"/>
                  </a:cubicBezTo>
                  <a:cubicBezTo>
                    <a:pt x="1055" y="507"/>
                    <a:pt x="1065" y="505"/>
                    <a:pt x="1066" y="497"/>
                  </a:cubicBezTo>
                  <a:cubicBezTo>
                    <a:pt x="1067" y="489"/>
                    <a:pt x="1065" y="480"/>
                    <a:pt x="1074" y="478"/>
                  </a:cubicBezTo>
                  <a:cubicBezTo>
                    <a:pt x="1083" y="476"/>
                    <a:pt x="1088" y="463"/>
                    <a:pt x="1095" y="474"/>
                  </a:cubicBezTo>
                  <a:cubicBezTo>
                    <a:pt x="1101" y="484"/>
                    <a:pt x="1106" y="489"/>
                    <a:pt x="1113" y="487"/>
                  </a:cubicBezTo>
                  <a:cubicBezTo>
                    <a:pt x="1121" y="485"/>
                    <a:pt x="1128" y="479"/>
                    <a:pt x="1135" y="487"/>
                  </a:cubicBezTo>
                  <a:cubicBezTo>
                    <a:pt x="1142" y="495"/>
                    <a:pt x="1149" y="494"/>
                    <a:pt x="1158" y="492"/>
                  </a:cubicBezTo>
                  <a:cubicBezTo>
                    <a:pt x="1168" y="491"/>
                    <a:pt x="1173" y="489"/>
                    <a:pt x="1172" y="47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0" name="Freeform 470">
              <a:extLst>
                <a:ext uri="{FF2B5EF4-FFF2-40B4-BE49-F238E27FC236}">
                  <a16:creationId xmlns:a16="http://schemas.microsoft.com/office/drawing/2014/main" id="{21D67D24-E64A-0943-97DC-EEC0E6792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" y="991"/>
              <a:ext cx="198" cy="83"/>
            </a:xfrm>
            <a:custGeom>
              <a:avLst/>
              <a:gdLst>
                <a:gd name="T0" fmla="*/ 103 w 780"/>
                <a:gd name="T1" fmla="*/ 93 h 327"/>
                <a:gd name="T2" fmla="*/ 75 w 780"/>
                <a:gd name="T3" fmla="*/ 136 h 327"/>
                <a:gd name="T4" fmla="*/ 30 w 780"/>
                <a:gd name="T5" fmla="*/ 161 h 327"/>
                <a:gd name="T6" fmla="*/ 95 w 780"/>
                <a:gd name="T7" fmla="*/ 174 h 327"/>
                <a:gd name="T8" fmla="*/ 58 w 780"/>
                <a:gd name="T9" fmla="*/ 184 h 327"/>
                <a:gd name="T10" fmla="*/ 7 w 780"/>
                <a:gd name="T11" fmla="*/ 201 h 327"/>
                <a:gd name="T12" fmla="*/ 42 w 780"/>
                <a:gd name="T13" fmla="*/ 232 h 327"/>
                <a:gd name="T14" fmla="*/ 93 w 780"/>
                <a:gd name="T15" fmla="*/ 233 h 327"/>
                <a:gd name="T16" fmla="*/ 141 w 780"/>
                <a:gd name="T17" fmla="*/ 237 h 327"/>
                <a:gd name="T18" fmla="*/ 202 w 780"/>
                <a:gd name="T19" fmla="*/ 242 h 327"/>
                <a:gd name="T20" fmla="*/ 237 w 780"/>
                <a:gd name="T21" fmla="*/ 199 h 327"/>
                <a:gd name="T22" fmla="*/ 237 w 780"/>
                <a:gd name="T23" fmla="*/ 224 h 327"/>
                <a:gd name="T24" fmla="*/ 282 w 780"/>
                <a:gd name="T25" fmla="*/ 239 h 327"/>
                <a:gd name="T26" fmla="*/ 332 w 780"/>
                <a:gd name="T27" fmla="*/ 222 h 327"/>
                <a:gd name="T28" fmla="*/ 384 w 780"/>
                <a:gd name="T29" fmla="*/ 222 h 327"/>
                <a:gd name="T30" fmla="*/ 400 w 780"/>
                <a:gd name="T31" fmla="*/ 232 h 327"/>
                <a:gd name="T32" fmla="*/ 278 w 780"/>
                <a:gd name="T33" fmla="*/ 256 h 327"/>
                <a:gd name="T34" fmla="*/ 212 w 780"/>
                <a:gd name="T35" fmla="*/ 288 h 327"/>
                <a:gd name="T36" fmla="*/ 270 w 780"/>
                <a:gd name="T37" fmla="*/ 322 h 327"/>
                <a:gd name="T38" fmla="*/ 397 w 780"/>
                <a:gd name="T39" fmla="*/ 306 h 327"/>
                <a:gd name="T40" fmla="*/ 468 w 780"/>
                <a:gd name="T41" fmla="*/ 270 h 327"/>
                <a:gd name="T42" fmla="*/ 551 w 780"/>
                <a:gd name="T43" fmla="*/ 247 h 327"/>
                <a:gd name="T44" fmla="*/ 615 w 780"/>
                <a:gd name="T45" fmla="*/ 247 h 327"/>
                <a:gd name="T46" fmla="*/ 684 w 780"/>
                <a:gd name="T47" fmla="*/ 255 h 327"/>
                <a:gd name="T48" fmla="*/ 751 w 780"/>
                <a:gd name="T49" fmla="*/ 228 h 327"/>
                <a:gd name="T50" fmla="*/ 774 w 780"/>
                <a:gd name="T51" fmla="*/ 173 h 327"/>
                <a:gd name="T52" fmla="*/ 753 w 780"/>
                <a:gd name="T53" fmla="*/ 118 h 327"/>
                <a:gd name="T54" fmla="*/ 698 w 780"/>
                <a:gd name="T55" fmla="*/ 121 h 327"/>
                <a:gd name="T56" fmla="*/ 675 w 780"/>
                <a:gd name="T57" fmla="*/ 145 h 327"/>
                <a:gd name="T58" fmla="*/ 622 w 780"/>
                <a:gd name="T59" fmla="*/ 108 h 327"/>
                <a:gd name="T60" fmla="*/ 606 w 780"/>
                <a:gd name="T61" fmla="*/ 84 h 327"/>
                <a:gd name="T62" fmla="*/ 581 w 780"/>
                <a:gd name="T63" fmla="*/ 40 h 327"/>
                <a:gd name="T64" fmla="*/ 556 w 780"/>
                <a:gd name="T65" fmla="*/ 4 h 327"/>
                <a:gd name="T66" fmla="*/ 506 w 780"/>
                <a:gd name="T67" fmla="*/ 37 h 327"/>
                <a:gd name="T68" fmla="*/ 472 w 780"/>
                <a:gd name="T69" fmla="*/ 80 h 327"/>
                <a:gd name="T70" fmla="*/ 523 w 780"/>
                <a:gd name="T71" fmla="*/ 100 h 327"/>
                <a:gd name="T72" fmla="*/ 494 w 780"/>
                <a:gd name="T73" fmla="*/ 126 h 327"/>
                <a:gd name="T74" fmla="*/ 554 w 780"/>
                <a:gd name="T75" fmla="*/ 156 h 327"/>
                <a:gd name="T76" fmla="*/ 461 w 780"/>
                <a:gd name="T77" fmla="*/ 176 h 327"/>
                <a:gd name="T78" fmla="*/ 390 w 780"/>
                <a:gd name="T79" fmla="*/ 147 h 327"/>
                <a:gd name="T80" fmla="*/ 328 w 780"/>
                <a:gd name="T81" fmla="*/ 99 h 327"/>
                <a:gd name="T82" fmla="*/ 233 w 780"/>
                <a:gd name="T83" fmla="*/ 91 h 327"/>
                <a:gd name="T84" fmla="*/ 177 w 780"/>
                <a:gd name="T85" fmla="*/ 5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80" h="327">
                  <a:moveTo>
                    <a:pt x="131" y="60"/>
                  </a:moveTo>
                  <a:cubicBezTo>
                    <a:pt x="124" y="60"/>
                    <a:pt x="118" y="65"/>
                    <a:pt x="115" y="73"/>
                  </a:cubicBezTo>
                  <a:cubicBezTo>
                    <a:pt x="112" y="81"/>
                    <a:pt x="117" y="94"/>
                    <a:pt x="103" y="93"/>
                  </a:cubicBezTo>
                  <a:cubicBezTo>
                    <a:pt x="90" y="91"/>
                    <a:pt x="68" y="93"/>
                    <a:pt x="65" y="101"/>
                  </a:cubicBezTo>
                  <a:cubicBezTo>
                    <a:pt x="62" y="109"/>
                    <a:pt x="62" y="125"/>
                    <a:pt x="67" y="127"/>
                  </a:cubicBezTo>
                  <a:cubicBezTo>
                    <a:pt x="72" y="129"/>
                    <a:pt x="77" y="131"/>
                    <a:pt x="75" y="136"/>
                  </a:cubicBezTo>
                  <a:cubicBezTo>
                    <a:pt x="73" y="140"/>
                    <a:pt x="68" y="144"/>
                    <a:pt x="58" y="143"/>
                  </a:cubicBezTo>
                  <a:cubicBezTo>
                    <a:pt x="49" y="143"/>
                    <a:pt x="42" y="145"/>
                    <a:pt x="41" y="150"/>
                  </a:cubicBezTo>
                  <a:cubicBezTo>
                    <a:pt x="40" y="155"/>
                    <a:pt x="36" y="158"/>
                    <a:pt x="30" y="161"/>
                  </a:cubicBezTo>
                  <a:cubicBezTo>
                    <a:pt x="23" y="163"/>
                    <a:pt x="21" y="174"/>
                    <a:pt x="30" y="174"/>
                  </a:cubicBezTo>
                  <a:cubicBezTo>
                    <a:pt x="38" y="174"/>
                    <a:pt x="46" y="172"/>
                    <a:pt x="59" y="173"/>
                  </a:cubicBezTo>
                  <a:cubicBezTo>
                    <a:pt x="72" y="174"/>
                    <a:pt x="83" y="174"/>
                    <a:pt x="95" y="174"/>
                  </a:cubicBezTo>
                  <a:cubicBezTo>
                    <a:pt x="107" y="174"/>
                    <a:pt x="116" y="171"/>
                    <a:pt x="115" y="179"/>
                  </a:cubicBezTo>
                  <a:cubicBezTo>
                    <a:pt x="114" y="186"/>
                    <a:pt x="116" y="189"/>
                    <a:pt x="101" y="187"/>
                  </a:cubicBezTo>
                  <a:cubicBezTo>
                    <a:pt x="86" y="185"/>
                    <a:pt x="68" y="185"/>
                    <a:pt x="58" y="184"/>
                  </a:cubicBezTo>
                  <a:cubicBezTo>
                    <a:pt x="49" y="184"/>
                    <a:pt x="30" y="184"/>
                    <a:pt x="26" y="184"/>
                  </a:cubicBezTo>
                  <a:cubicBezTo>
                    <a:pt x="22" y="184"/>
                    <a:pt x="21" y="189"/>
                    <a:pt x="16" y="191"/>
                  </a:cubicBezTo>
                  <a:cubicBezTo>
                    <a:pt x="11" y="194"/>
                    <a:pt x="12" y="199"/>
                    <a:pt x="7" y="201"/>
                  </a:cubicBezTo>
                  <a:cubicBezTo>
                    <a:pt x="1" y="203"/>
                    <a:pt x="0" y="217"/>
                    <a:pt x="4" y="218"/>
                  </a:cubicBezTo>
                  <a:cubicBezTo>
                    <a:pt x="8" y="219"/>
                    <a:pt x="17" y="218"/>
                    <a:pt x="21" y="222"/>
                  </a:cubicBezTo>
                  <a:cubicBezTo>
                    <a:pt x="25" y="227"/>
                    <a:pt x="30" y="232"/>
                    <a:pt x="42" y="232"/>
                  </a:cubicBezTo>
                  <a:cubicBezTo>
                    <a:pt x="53" y="232"/>
                    <a:pt x="50" y="234"/>
                    <a:pt x="62" y="229"/>
                  </a:cubicBezTo>
                  <a:cubicBezTo>
                    <a:pt x="74" y="223"/>
                    <a:pt x="75" y="224"/>
                    <a:pt x="82" y="224"/>
                  </a:cubicBezTo>
                  <a:cubicBezTo>
                    <a:pt x="89" y="224"/>
                    <a:pt x="93" y="227"/>
                    <a:pt x="93" y="233"/>
                  </a:cubicBezTo>
                  <a:cubicBezTo>
                    <a:pt x="93" y="239"/>
                    <a:pt x="99" y="248"/>
                    <a:pt x="109" y="248"/>
                  </a:cubicBezTo>
                  <a:cubicBezTo>
                    <a:pt x="119" y="248"/>
                    <a:pt x="126" y="249"/>
                    <a:pt x="128" y="244"/>
                  </a:cubicBezTo>
                  <a:cubicBezTo>
                    <a:pt x="129" y="239"/>
                    <a:pt x="134" y="237"/>
                    <a:pt x="141" y="237"/>
                  </a:cubicBezTo>
                  <a:cubicBezTo>
                    <a:pt x="149" y="237"/>
                    <a:pt x="156" y="236"/>
                    <a:pt x="157" y="242"/>
                  </a:cubicBezTo>
                  <a:cubicBezTo>
                    <a:pt x="158" y="249"/>
                    <a:pt x="162" y="248"/>
                    <a:pt x="173" y="250"/>
                  </a:cubicBezTo>
                  <a:cubicBezTo>
                    <a:pt x="184" y="252"/>
                    <a:pt x="196" y="252"/>
                    <a:pt x="202" y="242"/>
                  </a:cubicBezTo>
                  <a:cubicBezTo>
                    <a:pt x="207" y="233"/>
                    <a:pt x="216" y="235"/>
                    <a:pt x="215" y="226"/>
                  </a:cubicBezTo>
                  <a:cubicBezTo>
                    <a:pt x="213" y="217"/>
                    <a:pt x="215" y="217"/>
                    <a:pt x="222" y="213"/>
                  </a:cubicBezTo>
                  <a:cubicBezTo>
                    <a:pt x="230" y="209"/>
                    <a:pt x="230" y="199"/>
                    <a:pt x="237" y="199"/>
                  </a:cubicBezTo>
                  <a:cubicBezTo>
                    <a:pt x="245" y="199"/>
                    <a:pt x="250" y="196"/>
                    <a:pt x="250" y="202"/>
                  </a:cubicBezTo>
                  <a:cubicBezTo>
                    <a:pt x="250" y="208"/>
                    <a:pt x="248" y="211"/>
                    <a:pt x="242" y="214"/>
                  </a:cubicBezTo>
                  <a:cubicBezTo>
                    <a:pt x="237" y="218"/>
                    <a:pt x="235" y="219"/>
                    <a:pt x="237" y="224"/>
                  </a:cubicBezTo>
                  <a:cubicBezTo>
                    <a:pt x="239" y="230"/>
                    <a:pt x="237" y="233"/>
                    <a:pt x="242" y="236"/>
                  </a:cubicBezTo>
                  <a:cubicBezTo>
                    <a:pt x="246" y="239"/>
                    <a:pt x="251" y="242"/>
                    <a:pt x="256" y="242"/>
                  </a:cubicBezTo>
                  <a:cubicBezTo>
                    <a:pt x="261" y="242"/>
                    <a:pt x="282" y="244"/>
                    <a:pt x="282" y="239"/>
                  </a:cubicBezTo>
                  <a:cubicBezTo>
                    <a:pt x="282" y="234"/>
                    <a:pt x="291" y="229"/>
                    <a:pt x="298" y="230"/>
                  </a:cubicBezTo>
                  <a:cubicBezTo>
                    <a:pt x="305" y="232"/>
                    <a:pt x="316" y="233"/>
                    <a:pt x="318" y="229"/>
                  </a:cubicBezTo>
                  <a:cubicBezTo>
                    <a:pt x="319" y="224"/>
                    <a:pt x="326" y="222"/>
                    <a:pt x="332" y="222"/>
                  </a:cubicBezTo>
                  <a:cubicBezTo>
                    <a:pt x="339" y="222"/>
                    <a:pt x="351" y="221"/>
                    <a:pt x="352" y="226"/>
                  </a:cubicBezTo>
                  <a:cubicBezTo>
                    <a:pt x="353" y="231"/>
                    <a:pt x="364" y="232"/>
                    <a:pt x="368" y="232"/>
                  </a:cubicBezTo>
                  <a:cubicBezTo>
                    <a:pt x="372" y="231"/>
                    <a:pt x="374" y="222"/>
                    <a:pt x="384" y="222"/>
                  </a:cubicBezTo>
                  <a:cubicBezTo>
                    <a:pt x="395" y="222"/>
                    <a:pt x="404" y="219"/>
                    <a:pt x="404" y="219"/>
                  </a:cubicBezTo>
                  <a:cubicBezTo>
                    <a:pt x="404" y="219"/>
                    <a:pt x="415" y="218"/>
                    <a:pt x="415" y="222"/>
                  </a:cubicBezTo>
                  <a:cubicBezTo>
                    <a:pt x="415" y="225"/>
                    <a:pt x="407" y="229"/>
                    <a:pt x="400" y="232"/>
                  </a:cubicBezTo>
                  <a:cubicBezTo>
                    <a:pt x="393" y="235"/>
                    <a:pt x="394" y="244"/>
                    <a:pt x="382" y="244"/>
                  </a:cubicBezTo>
                  <a:cubicBezTo>
                    <a:pt x="369" y="244"/>
                    <a:pt x="316" y="247"/>
                    <a:pt x="306" y="248"/>
                  </a:cubicBezTo>
                  <a:cubicBezTo>
                    <a:pt x="295" y="249"/>
                    <a:pt x="287" y="252"/>
                    <a:pt x="278" y="256"/>
                  </a:cubicBezTo>
                  <a:cubicBezTo>
                    <a:pt x="270" y="260"/>
                    <a:pt x="260" y="267"/>
                    <a:pt x="250" y="267"/>
                  </a:cubicBezTo>
                  <a:cubicBezTo>
                    <a:pt x="239" y="267"/>
                    <a:pt x="237" y="275"/>
                    <a:pt x="225" y="275"/>
                  </a:cubicBezTo>
                  <a:cubicBezTo>
                    <a:pt x="214" y="276"/>
                    <a:pt x="212" y="282"/>
                    <a:pt x="212" y="288"/>
                  </a:cubicBezTo>
                  <a:cubicBezTo>
                    <a:pt x="212" y="294"/>
                    <a:pt x="216" y="303"/>
                    <a:pt x="222" y="303"/>
                  </a:cubicBezTo>
                  <a:cubicBezTo>
                    <a:pt x="227" y="303"/>
                    <a:pt x="240" y="308"/>
                    <a:pt x="242" y="311"/>
                  </a:cubicBezTo>
                  <a:cubicBezTo>
                    <a:pt x="245" y="315"/>
                    <a:pt x="260" y="322"/>
                    <a:pt x="270" y="322"/>
                  </a:cubicBezTo>
                  <a:cubicBezTo>
                    <a:pt x="281" y="322"/>
                    <a:pt x="343" y="327"/>
                    <a:pt x="346" y="323"/>
                  </a:cubicBezTo>
                  <a:cubicBezTo>
                    <a:pt x="350" y="318"/>
                    <a:pt x="348" y="314"/>
                    <a:pt x="362" y="314"/>
                  </a:cubicBezTo>
                  <a:cubicBezTo>
                    <a:pt x="377" y="314"/>
                    <a:pt x="387" y="305"/>
                    <a:pt x="397" y="306"/>
                  </a:cubicBezTo>
                  <a:cubicBezTo>
                    <a:pt x="408" y="307"/>
                    <a:pt x="409" y="298"/>
                    <a:pt x="419" y="297"/>
                  </a:cubicBezTo>
                  <a:cubicBezTo>
                    <a:pt x="428" y="296"/>
                    <a:pt x="440" y="290"/>
                    <a:pt x="442" y="285"/>
                  </a:cubicBezTo>
                  <a:cubicBezTo>
                    <a:pt x="444" y="279"/>
                    <a:pt x="453" y="270"/>
                    <a:pt x="468" y="270"/>
                  </a:cubicBezTo>
                  <a:cubicBezTo>
                    <a:pt x="482" y="270"/>
                    <a:pt x="483" y="262"/>
                    <a:pt x="499" y="262"/>
                  </a:cubicBezTo>
                  <a:cubicBezTo>
                    <a:pt x="515" y="262"/>
                    <a:pt x="531" y="265"/>
                    <a:pt x="535" y="257"/>
                  </a:cubicBezTo>
                  <a:cubicBezTo>
                    <a:pt x="538" y="248"/>
                    <a:pt x="542" y="248"/>
                    <a:pt x="551" y="247"/>
                  </a:cubicBezTo>
                  <a:cubicBezTo>
                    <a:pt x="561" y="245"/>
                    <a:pt x="579" y="243"/>
                    <a:pt x="579" y="249"/>
                  </a:cubicBezTo>
                  <a:cubicBezTo>
                    <a:pt x="579" y="255"/>
                    <a:pt x="587" y="257"/>
                    <a:pt x="593" y="257"/>
                  </a:cubicBezTo>
                  <a:cubicBezTo>
                    <a:pt x="599" y="257"/>
                    <a:pt x="614" y="250"/>
                    <a:pt x="615" y="247"/>
                  </a:cubicBezTo>
                  <a:cubicBezTo>
                    <a:pt x="617" y="243"/>
                    <a:pt x="629" y="246"/>
                    <a:pt x="634" y="246"/>
                  </a:cubicBezTo>
                  <a:cubicBezTo>
                    <a:pt x="638" y="246"/>
                    <a:pt x="644" y="257"/>
                    <a:pt x="652" y="257"/>
                  </a:cubicBezTo>
                  <a:cubicBezTo>
                    <a:pt x="661" y="257"/>
                    <a:pt x="683" y="262"/>
                    <a:pt x="684" y="255"/>
                  </a:cubicBezTo>
                  <a:cubicBezTo>
                    <a:pt x="685" y="248"/>
                    <a:pt x="690" y="247"/>
                    <a:pt x="702" y="245"/>
                  </a:cubicBezTo>
                  <a:cubicBezTo>
                    <a:pt x="713" y="244"/>
                    <a:pt x="741" y="250"/>
                    <a:pt x="741" y="242"/>
                  </a:cubicBezTo>
                  <a:cubicBezTo>
                    <a:pt x="742" y="235"/>
                    <a:pt x="750" y="239"/>
                    <a:pt x="751" y="228"/>
                  </a:cubicBezTo>
                  <a:cubicBezTo>
                    <a:pt x="751" y="217"/>
                    <a:pt x="751" y="214"/>
                    <a:pt x="757" y="211"/>
                  </a:cubicBezTo>
                  <a:cubicBezTo>
                    <a:pt x="763" y="208"/>
                    <a:pt x="768" y="203"/>
                    <a:pt x="768" y="194"/>
                  </a:cubicBezTo>
                  <a:cubicBezTo>
                    <a:pt x="768" y="184"/>
                    <a:pt x="767" y="176"/>
                    <a:pt x="774" y="173"/>
                  </a:cubicBezTo>
                  <a:cubicBezTo>
                    <a:pt x="780" y="170"/>
                    <a:pt x="779" y="159"/>
                    <a:pt x="779" y="151"/>
                  </a:cubicBezTo>
                  <a:cubicBezTo>
                    <a:pt x="779" y="143"/>
                    <a:pt x="779" y="127"/>
                    <a:pt x="771" y="124"/>
                  </a:cubicBezTo>
                  <a:cubicBezTo>
                    <a:pt x="764" y="121"/>
                    <a:pt x="760" y="115"/>
                    <a:pt x="753" y="118"/>
                  </a:cubicBezTo>
                  <a:cubicBezTo>
                    <a:pt x="747" y="120"/>
                    <a:pt x="740" y="118"/>
                    <a:pt x="736" y="113"/>
                  </a:cubicBezTo>
                  <a:cubicBezTo>
                    <a:pt x="731" y="108"/>
                    <a:pt x="721" y="110"/>
                    <a:pt x="714" y="110"/>
                  </a:cubicBezTo>
                  <a:cubicBezTo>
                    <a:pt x="707" y="110"/>
                    <a:pt x="705" y="118"/>
                    <a:pt x="698" y="121"/>
                  </a:cubicBezTo>
                  <a:cubicBezTo>
                    <a:pt x="691" y="123"/>
                    <a:pt x="685" y="134"/>
                    <a:pt x="692" y="138"/>
                  </a:cubicBezTo>
                  <a:cubicBezTo>
                    <a:pt x="698" y="141"/>
                    <a:pt x="698" y="146"/>
                    <a:pt x="693" y="150"/>
                  </a:cubicBezTo>
                  <a:cubicBezTo>
                    <a:pt x="688" y="154"/>
                    <a:pt x="678" y="156"/>
                    <a:pt x="675" y="145"/>
                  </a:cubicBezTo>
                  <a:cubicBezTo>
                    <a:pt x="672" y="134"/>
                    <a:pt x="668" y="130"/>
                    <a:pt x="662" y="128"/>
                  </a:cubicBezTo>
                  <a:cubicBezTo>
                    <a:pt x="657" y="126"/>
                    <a:pt x="636" y="127"/>
                    <a:pt x="635" y="120"/>
                  </a:cubicBezTo>
                  <a:cubicBezTo>
                    <a:pt x="633" y="113"/>
                    <a:pt x="628" y="107"/>
                    <a:pt x="622" y="108"/>
                  </a:cubicBezTo>
                  <a:cubicBezTo>
                    <a:pt x="615" y="108"/>
                    <a:pt x="594" y="113"/>
                    <a:pt x="593" y="106"/>
                  </a:cubicBezTo>
                  <a:cubicBezTo>
                    <a:pt x="592" y="99"/>
                    <a:pt x="589" y="92"/>
                    <a:pt x="597" y="92"/>
                  </a:cubicBezTo>
                  <a:cubicBezTo>
                    <a:pt x="605" y="92"/>
                    <a:pt x="607" y="88"/>
                    <a:pt x="606" y="84"/>
                  </a:cubicBezTo>
                  <a:cubicBezTo>
                    <a:pt x="604" y="80"/>
                    <a:pt x="609" y="67"/>
                    <a:pt x="601" y="67"/>
                  </a:cubicBezTo>
                  <a:cubicBezTo>
                    <a:pt x="592" y="67"/>
                    <a:pt x="598" y="57"/>
                    <a:pt x="587" y="57"/>
                  </a:cubicBezTo>
                  <a:cubicBezTo>
                    <a:pt x="576" y="56"/>
                    <a:pt x="580" y="47"/>
                    <a:pt x="581" y="40"/>
                  </a:cubicBezTo>
                  <a:cubicBezTo>
                    <a:pt x="581" y="33"/>
                    <a:pt x="585" y="22"/>
                    <a:pt x="581" y="17"/>
                  </a:cubicBezTo>
                  <a:cubicBezTo>
                    <a:pt x="578" y="12"/>
                    <a:pt x="574" y="14"/>
                    <a:pt x="571" y="7"/>
                  </a:cubicBezTo>
                  <a:cubicBezTo>
                    <a:pt x="568" y="1"/>
                    <a:pt x="559" y="0"/>
                    <a:pt x="556" y="4"/>
                  </a:cubicBezTo>
                  <a:cubicBezTo>
                    <a:pt x="554" y="7"/>
                    <a:pt x="554" y="8"/>
                    <a:pt x="544" y="8"/>
                  </a:cubicBezTo>
                  <a:cubicBezTo>
                    <a:pt x="534" y="8"/>
                    <a:pt x="531" y="14"/>
                    <a:pt x="524" y="19"/>
                  </a:cubicBezTo>
                  <a:cubicBezTo>
                    <a:pt x="517" y="23"/>
                    <a:pt x="511" y="33"/>
                    <a:pt x="506" y="37"/>
                  </a:cubicBezTo>
                  <a:cubicBezTo>
                    <a:pt x="502" y="42"/>
                    <a:pt x="503" y="49"/>
                    <a:pt x="491" y="50"/>
                  </a:cubicBezTo>
                  <a:cubicBezTo>
                    <a:pt x="480" y="50"/>
                    <a:pt x="476" y="58"/>
                    <a:pt x="471" y="61"/>
                  </a:cubicBezTo>
                  <a:cubicBezTo>
                    <a:pt x="466" y="64"/>
                    <a:pt x="465" y="74"/>
                    <a:pt x="472" y="80"/>
                  </a:cubicBezTo>
                  <a:cubicBezTo>
                    <a:pt x="479" y="85"/>
                    <a:pt x="484" y="90"/>
                    <a:pt x="492" y="89"/>
                  </a:cubicBezTo>
                  <a:cubicBezTo>
                    <a:pt x="500" y="88"/>
                    <a:pt x="511" y="87"/>
                    <a:pt x="514" y="93"/>
                  </a:cubicBezTo>
                  <a:cubicBezTo>
                    <a:pt x="518" y="98"/>
                    <a:pt x="518" y="100"/>
                    <a:pt x="523" y="100"/>
                  </a:cubicBezTo>
                  <a:cubicBezTo>
                    <a:pt x="528" y="100"/>
                    <a:pt x="533" y="107"/>
                    <a:pt x="533" y="111"/>
                  </a:cubicBezTo>
                  <a:cubicBezTo>
                    <a:pt x="533" y="115"/>
                    <a:pt x="529" y="118"/>
                    <a:pt x="515" y="118"/>
                  </a:cubicBezTo>
                  <a:cubicBezTo>
                    <a:pt x="500" y="118"/>
                    <a:pt x="502" y="126"/>
                    <a:pt x="494" y="126"/>
                  </a:cubicBezTo>
                  <a:cubicBezTo>
                    <a:pt x="486" y="126"/>
                    <a:pt x="483" y="133"/>
                    <a:pt x="500" y="137"/>
                  </a:cubicBezTo>
                  <a:cubicBezTo>
                    <a:pt x="518" y="141"/>
                    <a:pt x="519" y="149"/>
                    <a:pt x="528" y="149"/>
                  </a:cubicBezTo>
                  <a:cubicBezTo>
                    <a:pt x="538" y="149"/>
                    <a:pt x="550" y="153"/>
                    <a:pt x="554" y="156"/>
                  </a:cubicBezTo>
                  <a:cubicBezTo>
                    <a:pt x="559" y="158"/>
                    <a:pt x="561" y="167"/>
                    <a:pt x="554" y="169"/>
                  </a:cubicBezTo>
                  <a:cubicBezTo>
                    <a:pt x="547" y="170"/>
                    <a:pt x="552" y="177"/>
                    <a:pt x="539" y="176"/>
                  </a:cubicBezTo>
                  <a:cubicBezTo>
                    <a:pt x="526" y="176"/>
                    <a:pt x="468" y="175"/>
                    <a:pt x="461" y="176"/>
                  </a:cubicBezTo>
                  <a:cubicBezTo>
                    <a:pt x="455" y="176"/>
                    <a:pt x="452" y="169"/>
                    <a:pt x="443" y="170"/>
                  </a:cubicBezTo>
                  <a:cubicBezTo>
                    <a:pt x="435" y="171"/>
                    <a:pt x="425" y="177"/>
                    <a:pt x="413" y="176"/>
                  </a:cubicBezTo>
                  <a:cubicBezTo>
                    <a:pt x="401" y="176"/>
                    <a:pt x="397" y="153"/>
                    <a:pt x="390" y="147"/>
                  </a:cubicBezTo>
                  <a:cubicBezTo>
                    <a:pt x="384" y="141"/>
                    <a:pt x="389" y="128"/>
                    <a:pt x="379" y="127"/>
                  </a:cubicBezTo>
                  <a:cubicBezTo>
                    <a:pt x="368" y="126"/>
                    <a:pt x="365" y="117"/>
                    <a:pt x="356" y="117"/>
                  </a:cubicBezTo>
                  <a:cubicBezTo>
                    <a:pt x="348" y="117"/>
                    <a:pt x="332" y="108"/>
                    <a:pt x="328" y="99"/>
                  </a:cubicBezTo>
                  <a:cubicBezTo>
                    <a:pt x="323" y="90"/>
                    <a:pt x="313" y="83"/>
                    <a:pt x="302" y="81"/>
                  </a:cubicBezTo>
                  <a:cubicBezTo>
                    <a:pt x="291" y="80"/>
                    <a:pt x="272" y="82"/>
                    <a:pt x="268" y="86"/>
                  </a:cubicBezTo>
                  <a:cubicBezTo>
                    <a:pt x="263" y="90"/>
                    <a:pt x="239" y="97"/>
                    <a:pt x="233" y="91"/>
                  </a:cubicBezTo>
                  <a:cubicBezTo>
                    <a:pt x="227" y="85"/>
                    <a:pt x="229" y="70"/>
                    <a:pt x="222" y="65"/>
                  </a:cubicBezTo>
                  <a:cubicBezTo>
                    <a:pt x="215" y="59"/>
                    <a:pt x="207" y="50"/>
                    <a:pt x="198" y="52"/>
                  </a:cubicBezTo>
                  <a:cubicBezTo>
                    <a:pt x="189" y="53"/>
                    <a:pt x="188" y="55"/>
                    <a:pt x="177" y="54"/>
                  </a:cubicBezTo>
                  <a:cubicBezTo>
                    <a:pt x="177" y="54"/>
                    <a:pt x="160" y="49"/>
                    <a:pt x="152" y="55"/>
                  </a:cubicBezTo>
                  <a:cubicBezTo>
                    <a:pt x="144" y="62"/>
                    <a:pt x="137" y="60"/>
                    <a:pt x="131" y="6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1" name="Freeform 471">
              <a:extLst>
                <a:ext uri="{FF2B5EF4-FFF2-40B4-BE49-F238E27FC236}">
                  <a16:creationId xmlns:a16="http://schemas.microsoft.com/office/drawing/2014/main" id="{B9F41C6E-2A70-524B-BECB-02733BE26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" y="966"/>
              <a:ext cx="122" cy="61"/>
            </a:xfrm>
            <a:custGeom>
              <a:avLst/>
              <a:gdLst>
                <a:gd name="T0" fmla="*/ 14 w 482"/>
                <a:gd name="T1" fmla="*/ 200 h 239"/>
                <a:gd name="T2" fmla="*/ 21 w 482"/>
                <a:gd name="T3" fmla="*/ 210 h 239"/>
                <a:gd name="T4" fmla="*/ 26 w 482"/>
                <a:gd name="T5" fmla="*/ 229 h 239"/>
                <a:gd name="T6" fmla="*/ 44 w 482"/>
                <a:gd name="T7" fmla="*/ 223 h 239"/>
                <a:gd name="T8" fmla="*/ 57 w 482"/>
                <a:gd name="T9" fmla="*/ 212 h 239"/>
                <a:gd name="T10" fmla="*/ 84 w 482"/>
                <a:gd name="T11" fmla="*/ 219 h 239"/>
                <a:gd name="T12" fmla="*/ 99 w 482"/>
                <a:gd name="T13" fmla="*/ 224 h 239"/>
                <a:gd name="T14" fmla="*/ 121 w 482"/>
                <a:gd name="T15" fmla="*/ 211 h 239"/>
                <a:gd name="T16" fmla="*/ 128 w 482"/>
                <a:gd name="T17" fmla="*/ 196 h 239"/>
                <a:gd name="T18" fmla="*/ 142 w 482"/>
                <a:gd name="T19" fmla="*/ 203 h 239"/>
                <a:gd name="T20" fmla="*/ 149 w 482"/>
                <a:gd name="T21" fmla="*/ 218 h 239"/>
                <a:gd name="T22" fmla="*/ 159 w 482"/>
                <a:gd name="T23" fmla="*/ 230 h 239"/>
                <a:gd name="T24" fmla="*/ 173 w 482"/>
                <a:gd name="T25" fmla="*/ 239 h 239"/>
                <a:gd name="T26" fmla="*/ 203 w 482"/>
                <a:gd name="T27" fmla="*/ 233 h 239"/>
                <a:gd name="T28" fmla="*/ 213 w 482"/>
                <a:gd name="T29" fmla="*/ 210 h 239"/>
                <a:gd name="T30" fmla="*/ 215 w 482"/>
                <a:gd name="T31" fmla="*/ 188 h 239"/>
                <a:gd name="T32" fmla="*/ 227 w 482"/>
                <a:gd name="T33" fmla="*/ 198 h 239"/>
                <a:gd name="T34" fmla="*/ 251 w 482"/>
                <a:gd name="T35" fmla="*/ 203 h 239"/>
                <a:gd name="T36" fmla="*/ 266 w 482"/>
                <a:gd name="T37" fmla="*/ 181 h 239"/>
                <a:gd name="T38" fmla="*/ 278 w 482"/>
                <a:gd name="T39" fmla="*/ 168 h 239"/>
                <a:gd name="T40" fmla="*/ 273 w 482"/>
                <a:gd name="T41" fmla="*/ 150 h 239"/>
                <a:gd name="T42" fmla="*/ 289 w 482"/>
                <a:gd name="T43" fmla="*/ 140 h 239"/>
                <a:gd name="T44" fmla="*/ 296 w 482"/>
                <a:gd name="T45" fmla="*/ 125 h 239"/>
                <a:gd name="T46" fmla="*/ 307 w 482"/>
                <a:gd name="T47" fmla="*/ 113 h 239"/>
                <a:gd name="T48" fmla="*/ 321 w 482"/>
                <a:gd name="T49" fmla="*/ 125 h 239"/>
                <a:gd name="T50" fmla="*/ 316 w 482"/>
                <a:gd name="T51" fmla="*/ 142 h 239"/>
                <a:gd name="T52" fmla="*/ 311 w 482"/>
                <a:gd name="T53" fmla="*/ 157 h 239"/>
                <a:gd name="T54" fmla="*/ 324 w 482"/>
                <a:gd name="T55" fmla="*/ 173 h 239"/>
                <a:gd name="T56" fmla="*/ 354 w 482"/>
                <a:gd name="T57" fmla="*/ 181 h 239"/>
                <a:gd name="T58" fmla="*/ 377 w 482"/>
                <a:gd name="T59" fmla="*/ 168 h 239"/>
                <a:gd name="T60" fmla="*/ 394 w 482"/>
                <a:gd name="T61" fmla="*/ 145 h 239"/>
                <a:gd name="T62" fmla="*/ 425 w 482"/>
                <a:gd name="T63" fmla="*/ 140 h 239"/>
                <a:gd name="T64" fmla="*/ 440 w 482"/>
                <a:gd name="T65" fmla="*/ 129 h 239"/>
                <a:gd name="T66" fmla="*/ 444 w 482"/>
                <a:gd name="T67" fmla="*/ 119 h 239"/>
                <a:gd name="T68" fmla="*/ 434 w 482"/>
                <a:gd name="T69" fmla="*/ 102 h 239"/>
                <a:gd name="T70" fmla="*/ 453 w 482"/>
                <a:gd name="T71" fmla="*/ 94 h 239"/>
                <a:gd name="T72" fmla="*/ 442 w 482"/>
                <a:gd name="T73" fmla="*/ 82 h 239"/>
                <a:gd name="T74" fmla="*/ 430 w 482"/>
                <a:gd name="T75" fmla="*/ 69 h 239"/>
                <a:gd name="T76" fmla="*/ 445 w 482"/>
                <a:gd name="T77" fmla="*/ 54 h 239"/>
                <a:gd name="T78" fmla="*/ 464 w 482"/>
                <a:gd name="T79" fmla="*/ 44 h 239"/>
                <a:gd name="T80" fmla="*/ 468 w 482"/>
                <a:gd name="T81" fmla="*/ 34 h 239"/>
                <a:gd name="T82" fmla="*/ 444 w 482"/>
                <a:gd name="T83" fmla="*/ 21 h 239"/>
                <a:gd name="T84" fmla="*/ 418 w 482"/>
                <a:gd name="T85" fmla="*/ 8 h 239"/>
                <a:gd name="T86" fmla="*/ 399 w 482"/>
                <a:gd name="T87" fmla="*/ 9 h 239"/>
                <a:gd name="T88" fmla="*/ 371 w 482"/>
                <a:gd name="T89" fmla="*/ 16 h 239"/>
                <a:gd name="T90" fmla="*/ 375 w 482"/>
                <a:gd name="T91" fmla="*/ 28 h 239"/>
                <a:gd name="T92" fmla="*/ 357 w 482"/>
                <a:gd name="T93" fmla="*/ 33 h 239"/>
                <a:gd name="T94" fmla="*/ 304 w 482"/>
                <a:gd name="T95" fmla="*/ 33 h 239"/>
                <a:gd name="T96" fmla="*/ 252 w 482"/>
                <a:gd name="T97" fmla="*/ 36 h 239"/>
                <a:gd name="T98" fmla="*/ 228 w 482"/>
                <a:gd name="T99" fmla="*/ 49 h 239"/>
                <a:gd name="T100" fmla="*/ 201 w 482"/>
                <a:gd name="T101" fmla="*/ 72 h 239"/>
                <a:gd name="T102" fmla="*/ 174 w 482"/>
                <a:gd name="T103" fmla="*/ 90 h 239"/>
                <a:gd name="T104" fmla="*/ 157 w 482"/>
                <a:gd name="T105" fmla="*/ 108 h 239"/>
                <a:gd name="T106" fmla="*/ 134 w 482"/>
                <a:gd name="T107" fmla="*/ 117 h 239"/>
                <a:gd name="T108" fmla="*/ 109 w 482"/>
                <a:gd name="T109" fmla="*/ 131 h 239"/>
                <a:gd name="T110" fmla="*/ 74 w 482"/>
                <a:gd name="T111" fmla="*/ 157 h 239"/>
                <a:gd name="T112" fmla="*/ 29 w 482"/>
                <a:gd name="T113" fmla="*/ 170 h 239"/>
                <a:gd name="T114" fmla="*/ 7 w 482"/>
                <a:gd name="T115" fmla="*/ 185 h 239"/>
                <a:gd name="T116" fmla="*/ 14 w 482"/>
                <a:gd name="T117" fmla="*/ 20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82" h="239">
                  <a:moveTo>
                    <a:pt x="14" y="200"/>
                  </a:moveTo>
                  <a:cubicBezTo>
                    <a:pt x="22" y="198"/>
                    <a:pt x="25" y="202"/>
                    <a:pt x="21" y="210"/>
                  </a:cubicBezTo>
                  <a:cubicBezTo>
                    <a:pt x="18" y="218"/>
                    <a:pt x="18" y="225"/>
                    <a:pt x="26" y="229"/>
                  </a:cubicBezTo>
                  <a:cubicBezTo>
                    <a:pt x="35" y="232"/>
                    <a:pt x="42" y="230"/>
                    <a:pt x="44" y="223"/>
                  </a:cubicBezTo>
                  <a:cubicBezTo>
                    <a:pt x="46" y="216"/>
                    <a:pt x="46" y="212"/>
                    <a:pt x="57" y="212"/>
                  </a:cubicBezTo>
                  <a:cubicBezTo>
                    <a:pt x="68" y="212"/>
                    <a:pt x="79" y="212"/>
                    <a:pt x="84" y="219"/>
                  </a:cubicBezTo>
                  <a:cubicBezTo>
                    <a:pt x="88" y="225"/>
                    <a:pt x="91" y="224"/>
                    <a:pt x="99" y="224"/>
                  </a:cubicBezTo>
                  <a:cubicBezTo>
                    <a:pt x="106" y="224"/>
                    <a:pt x="122" y="224"/>
                    <a:pt x="121" y="211"/>
                  </a:cubicBezTo>
                  <a:cubicBezTo>
                    <a:pt x="120" y="199"/>
                    <a:pt x="119" y="196"/>
                    <a:pt x="128" y="196"/>
                  </a:cubicBezTo>
                  <a:cubicBezTo>
                    <a:pt x="137" y="196"/>
                    <a:pt x="142" y="196"/>
                    <a:pt x="142" y="203"/>
                  </a:cubicBezTo>
                  <a:cubicBezTo>
                    <a:pt x="142" y="211"/>
                    <a:pt x="144" y="216"/>
                    <a:pt x="149" y="218"/>
                  </a:cubicBezTo>
                  <a:cubicBezTo>
                    <a:pt x="155" y="220"/>
                    <a:pt x="158" y="224"/>
                    <a:pt x="159" y="230"/>
                  </a:cubicBezTo>
                  <a:cubicBezTo>
                    <a:pt x="160" y="236"/>
                    <a:pt x="162" y="239"/>
                    <a:pt x="173" y="239"/>
                  </a:cubicBezTo>
                  <a:cubicBezTo>
                    <a:pt x="185" y="239"/>
                    <a:pt x="202" y="238"/>
                    <a:pt x="203" y="233"/>
                  </a:cubicBezTo>
                  <a:cubicBezTo>
                    <a:pt x="205" y="228"/>
                    <a:pt x="213" y="222"/>
                    <a:pt x="213" y="210"/>
                  </a:cubicBezTo>
                  <a:cubicBezTo>
                    <a:pt x="213" y="198"/>
                    <a:pt x="210" y="188"/>
                    <a:pt x="215" y="188"/>
                  </a:cubicBezTo>
                  <a:cubicBezTo>
                    <a:pt x="221" y="188"/>
                    <a:pt x="221" y="193"/>
                    <a:pt x="227" y="198"/>
                  </a:cubicBezTo>
                  <a:cubicBezTo>
                    <a:pt x="233" y="202"/>
                    <a:pt x="243" y="214"/>
                    <a:pt x="251" y="203"/>
                  </a:cubicBezTo>
                  <a:cubicBezTo>
                    <a:pt x="259" y="191"/>
                    <a:pt x="258" y="184"/>
                    <a:pt x="266" y="181"/>
                  </a:cubicBezTo>
                  <a:cubicBezTo>
                    <a:pt x="273" y="178"/>
                    <a:pt x="282" y="173"/>
                    <a:pt x="278" y="168"/>
                  </a:cubicBezTo>
                  <a:cubicBezTo>
                    <a:pt x="273" y="163"/>
                    <a:pt x="270" y="155"/>
                    <a:pt x="273" y="150"/>
                  </a:cubicBezTo>
                  <a:cubicBezTo>
                    <a:pt x="276" y="144"/>
                    <a:pt x="289" y="150"/>
                    <a:pt x="289" y="140"/>
                  </a:cubicBezTo>
                  <a:cubicBezTo>
                    <a:pt x="289" y="130"/>
                    <a:pt x="296" y="131"/>
                    <a:pt x="296" y="125"/>
                  </a:cubicBezTo>
                  <a:cubicBezTo>
                    <a:pt x="297" y="118"/>
                    <a:pt x="299" y="112"/>
                    <a:pt x="307" y="113"/>
                  </a:cubicBezTo>
                  <a:cubicBezTo>
                    <a:pt x="316" y="114"/>
                    <a:pt x="321" y="117"/>
                    <a:pt x="321" y="125"/>
                  </a:cubicBezTo>
                  <a:cubicBezTo>
                    <a:pt x="322" y="133"/>
                    <a:pt x="314" y="136"/>
                    <a:pt x="316" y="142"/>
                  </a:cubicBezTo>
                  <a:cubicBezTo>
                    <a:pt x="319" y="148"/>
                    <a:pt x="316" y="152"/>
                    <a:pt x="311" y="157"/>
                  </a:cubicBezTo>
                  <a:cubicBezTo>
                    <a:pt x="307" y="162"/>
                    <a:pt x="314" y="163"/>
                    <a:pt x="324" y="173"/>
                  </a:cubicBezTo>
                  <a:cubicBezTo>
                    <a:pt x="335" y="183"/>
                    <a:pt x="344" y="182"/>
                    <a:pt x="354" y="181"/>
                  </a:cubicBezTo>
                  <a:cubicBezTo>
                    <a:pt x="364" y="181"/>
                    <a:pt x="377" y="178"/>
                    <a:pt x="377" y="168"/>
                  </a:cubicBezTo>
                  <a:cubicBezTo>
                    <a:pt x="377" y="159"/>
                    <a:pt x="385" y="147"/>
                    <a:pt x="394" y="145"/>
                  </a:cubicBezTo>
                  <a:cubicBezTo>
                    <a:pt x="402" y="144"/>
                    <a:pt x="414" y="142"/>
                    <a:pt x="425" y="140"/>
                  </a:cubicBezTo>
                  <a:cubicBezTo>
                    <a:pt x="435" y="139"/>
                    <a:pt x="437" y="127"/>
                    <a:pt x="440" y="129"/>
                  </a:cubicBezTo>
                  <a:cubicBezTo>
                    <a:pt x="444" y="130"/>
                    <a:pt x="450" y="126"/>
                    <a:pt x="444" y="119"/>
                  </a:cubicBezTo>
                  <a:cubicBezTo>
                    <a:pt x="438" y="112"/>
                    <a:pt x="431" y="107"/>
                    <a:pt x="434" y="102"/>
                  </a:cubicBezTo>
                  <a:cubicBezTo>
                    <a:pt x="437" y="96"/>
                    <a:pt x="453" y="103"/>
                    <a:pt x="453" y="94"/>
                  </a:cubicBezTo>
                  <a:cubicBezTo>
                    <a:pt x="453" y="84"/>
                    <a:pt x="451" y="84"/>
                    <a:pt x="442" y="82"/>
                  </a:cubicBezTo>
                  <a:cubicBezTo>
                    <a:pt x="433" y="79"/>
                    <a:pt x="430" y="74"/>
                    <a:pt x="430" y="69"/>
                  </a:cubicBezTo>
                  <a:cubicBezTo>
                    <a:pt x="430" y="63"/>
                    <a:pt x="431" y="53"/>
                    <a:pt x="445" y="54"/>
                  </a:cubicBezTo>
                  <a:cubicBezTo>
                    <a:pt x="460" y="56"/>
                    <a:pt x="452" y="41"/>
                    <a:pt x="464" y="44"/>
                  </a:cubicBezTo>
                  <a:cubicBezTo>
                    <a:pt x="476" y="48"/>
                    <a:pt x="482" y="39"/>
                    <a:pt x="468" y="34"/>
                  </a:cubicBezTo>
                  <a:cubicBezTo>
                    <a:pt x="455" y="29"/>
                    <a:pt x="449" y="27"/>
                    <a:pt x="444" y="21"/>
                  </a:cubicBezTo>
                  <a:cubicBezTo>
                    <a:pt x="439" y="16"/>
                    <a:pt x="424" y="16"/>
                    <a:pt x="418" y="8"/>
                  </a:cubicBezTo>
                  <a:cubicBezTo>
                    <a:pt x="413" y="0"/>
                    <a:pt x="410" y="6"/>
                    <a:pt x="399" y="9"/>
                  </a:cubicBezTo>
                  <a:cubicBezTo>
                    <a:pt x="388" y="11"/>
                    <a:pt x="373" y="11"/>
                    <a:pt x="371" y="16"/>
                  </a:cubicBezTo>
                  <a:cubicBezTo>
                    <a:pt x="369" y="21"/>
                    <a:pt x="367" y="25"/>
                    <a:pt x="375" y="28"/>
                  </a:cubicBezTo>
                  <a:cubicBezTo>
                    <a:pt x="382" y="31"/>
                    <a:pt x="385" y="40"/>
                    <a:pt x="357" y="33"/>
                  </a:cubicBezTo>
                  <a:cubicBezTo>
                    <a:pt x="330" y="26"/>
                    <a:pt x="315" y="34"/>
                    <a:pt x="304" y="33"/>
                  </a:cubicBezTo>
                  <a:cubicBezTo>
                    <a:pt x="292" y="31"/>
                    <a:pt x="264" y="36"/>
                    <a:pt x="252" y="36"/>
                  </a:cubicBezTo>
                  <a:cubicBezTo>
                    <a:pt x="240" y="36"/>
                    <a:pt x="237" y="39"/>
                    <a:pt x="228" y="49"/>
                  </a:cubicBezTo>
                  <a:cubicBezTo>
                    <a:pt x="220" y="59"/>
                    <a:pt x="209" y="67"/>
                    <a:pt x="201" y="72"/>
                  </a:cubicBezTo>
                  <a:cubicBezTo>
                    <a:pt x="193" y="77"/>
                    <a:pt x="180" y="82"/>
                    <a:pt x="174" y="90"/>
                  </a:cubicBezTo>
                  <a:cubicBezTo>
                    <a:pt x="167" y="99"/>
                    <a:pt x="161" y="100"/>
                    <a:pt x="157" y="108"/>
                  </a:cubicBezTo>
                  <a:cubicBezTo>
                    <a:pt x="154" y="116"/>
                    <a:pt x="144" y="115"/>
                    <a:pt x="134" y="117"/>
                  </a:cubicBezTo>
                  <a:cubicBezTo>
                    <a:pt x="134" y="117"/>
                    <a:pt x="117" y="121"/>
                    <a:pt x="109" y="131"/>
                  </a:cubicBezTo>
                  <a:cubicBezTo>
                    <a:pt x="102" y="141"/>
                    <a:pt x="89" y="157"/>
                    <a:pt x="74" y="157"/>
                  </a:cubicBezTo>
                  <a:cubicBezTo>
                    <a:pt x="58" y="157"/>
                    <a:pt x="36" y="163"/>
                    <a:pt x="29" y="170"/>
                  </a:cubicBezTo>
                  <a:cubicBezTo>
                    <a:pt x="22" y="176"/>
                    <a:pt x="14" y="180"/>
                    <a:pt x="7" y="185"/>
                  </a:cubicBezTo>
                  <a:cubicBezTo>
                    <a:pt x="0" y="190"/>
                    <a:pt x="6" y="201"/>
                    <a:pt x="14" y="20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2" name="Freeform 472">
              <a:extLst>
                <a:ext uri="{FF2B5EF4-FFF2-40B4-BE49-F238E27FC236}">
                  <a16:creationId xmlns:a16="http://schemas.microsoft.com/office/drawing/2014/main" id="{37D1FB7C-0B48-B040-9075-429252106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" y="1016"/>
              <a:ext cx="30" cy="22"/>
            </a:xfrm>
            <a:custGeom>
              <a:avLst/>
              <a:gdLst>
                <a:gd name="T0" fmla="*/ 107 w 117"/>
                <a:gd name="T1" fmla="*/ 6 h 85"/>
                <a:gd name="T2" fmla="*/ 93 w 117"/>
                <a:gd name="T3" fmla="*/ 4 h 85"/>
                <a:gd name="T4" fmla="*/ 76 w 117"/>
                <a:gd name="T5" fmla="*/ 19 h 85"/>
                <a:gd name="T6" fmla="*/ 51 w 117"/>
                <a:gd name="T7" fmla="*/ 24 h 85"/>
                <a:gd name="T8" fmla="*/ 33 w 117"/>
                <a:gd name="T9" fmla="*/ 39 h 85"/>
                <a:gd name="T10" fmla="*/ 1 w 117"/>
                <a:gd name="T11" fmla="*/ 67 h 85"/>
                <a:gd name="T12" fmla="*/ 22 w 117"/>
                <a:gd name="T13" fmla="*/ 81 h 85"/>
                <a:gd name="T14" fmla="*/ 57 w 117"/>
                <a:gd name="T15" fmla="*/ 78 h 85"/>
                <a:gd name="T16" fmla="*/ 83 w 117"/>
                <a:gd name="T17" fmla="*/ 60 h 85"/>
                <a:gd name="T18" fmla="*/ 100 w 117"/>
                <a:gd name="T19" fmla="*/ 35 h 85"/>
                <a:gd name="T20" fmla="*/ 117 w 117"/>
                <a:gd name="T21" fmla="*/ 18 h 85"/>
                <a:gd name="T22" fmla="*/ 107 w 117"/>
                <a:gd name="T23" fmla="*/ 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7" h="85">
                  <a:moveTo>
                    <a:pt x="107" y="6"/>
                  </a:moveTo>
                  <a:cubicBezTo>
                    <a:pt x="104" y="2"/>
                    <a:pt x="95" y="0"/>
                    <a:pt x="93" y="4"/>
                  </a:cubicBezTo>
                  <a:cubicBezTo>
                    <a:pt x="93" y="4"/>
                    <a:pt x="86" y="19"/>
                    <a:pt x="76" y="19"/>
                  </a:cubicBezTo>
                  <a:cubicBezTo>
                    <a:pt x="65" y="20"/>
                    <a:pt x="58" y="20"/>
                    <a:pt x="51" y="24"/>
                  </a:cubicBezTo>
                  <a:cubicBezTo>
                    <a:pt x="45" y="28"/>
                    <a:pt x="39" y="33"/>
                    <a:pt x="33" y="39"/>
                  </a:cubicBezTo>
                  <a:cubicBezTo>
                    <a:pt x="27" y="44"/>
                    <a:pt x="1" y="61"/>
                    <a:pt x="1" y="67"/>
                  </a:cubicBezTo>
                  <a:cubicBezTo>
                    <a:pt x="0" y="73"/>
                    <a:pt x="11" y="78"/>
                    <a:pt x="22" y="81"/>
                  </a:cubicBezTo>
                  <a:cubicBezTo>
                    <a:pt x="33" y="83"/>
                    <a:pt x="51" y="85"/>
                    <a:pt x="57" y="78"/>
                  </a:cubicBezTo>
                  <a:cubicBezTo>
                    <a:pt x="64" y="72"/>
                    <a:pt x="78" y="67"/>
                    <a:pt x="83" y="60"/>
                  </a:cubicBezTo>
                  <a:cubicBezTo>
                    <a:pt x="89" y="52"/>
                    <a:pt x="93" y="39"/>
                    <a:pt x="100" y="35"/>
                  </a:cubicBezTo>
                  <a:cubicBezTo>
                    <a:pt x="108" y="30"/>
                    <a:pt x="116" y="24"/>
                    <a:pt x="117" y="18"/>
                  </a:cubicBezTo>
                  <a:cubicBezTo>
                    <a:pt x="117" y="13"/>
                    <a:pt x="110" y="11"/>
                    <a:pt x="107" y="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3" name="Freeform 473">
              <a:extLst>
                <a:ext uri="{FF2B5EF4-FFF2-40B4-BE49-F238E27FC236}">
                  <a16:creationId xmlns:a16="http://schemas.microsoft.com/office/drawing/2014/main" id="{781F6353-4288-E946-B198-4E58CB1B2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" y="1020"/>
              <a:ext cx="4" cy="12"/>
            </a:xfrm>
            <a:custGeom>
              <a:avLst/>
              <a:gdLst>
                <a:gd name="T0" fmla="*/ 0 w 17"/>
                <a:gd name="T1" fmla="*/ 38 h 47"/>
                <a:gd name="T2" fmla="*/ 8 w 17"/>
                <a:gd name="T3" fmla="*/ 42 h 47"/>
                <a:gd name="T4" fmla="*/ 16 w 17"/>
                <a:gd name="T5" fmla="*/ 28 h 47"/>
                <a:gd name="T6" fmla="*/ 9 w 17"/>
                <a:gd name="T7" fmla="*/ 13 h 47"/>
                <a:gd name="T8" fmla="*/ 8 w 17"/>
                <a:gd name="T9" fmla="*/ 26 h 47"/>
                <a:gd name="T10" fmla="*/ 0 w 17"/>
                <a:gd name="T11" fmla="*/ 3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47">
                  <a:moveTo>
                    <a:pt x="0" y="38"/>
                  </a:moveTo>
                  <a:cubicBezTo>
                    <a:pt x="0" y="43"/>
                    <a:pt x="4" y="47"/>
                    <a:pt x="8" y="42"/>
                  </a:cubicBezTo>
                  <a:cubicBezTo>
                    <a:pt x="12" y="38"/>
                    <a:pt x="15" y="35"/>
                    <a:pt x="16" y="28"/>
                  </a:cubicBezTo>
                  <a:cubicBezTo>
                    <a:pt x="17" y="21"/>
                    <a:pt x="14" y="0"/>
                    <a:pt x="9" y="13"/>
                  </a:cubicBezTo>
                  <a:cubicBezTo>
                    <a:pt x="9" y="13"/>
                    <a:pt x="13" y="23"/>
                    <a:pt x="8" y="26"/>
                  </a:cubicBezTo>
                  <a:cubicBezTo>
                    <a:pt x="4" y="30"/>
                    <a:pt x="0" y="33"/>
                    <a:pt x="0" y="3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4" name="Freeform 474">
              <a:extLst>
                <a:ext uri="{FF2B5EF4-FFF2-40B4-BE49-F238E27FC236}">
                  <a16:creationId xmlns:a16="http://schemas.microsoft.com/office/drawing/2014/main" id="{D4E9E76B-2E68-264A-93D8-D32355356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" y="991"/>
              <a:ext cx="21" cy="7"/>
            </a:xfrm>
            <a:custGeom>
              <a:avLst/>
              <a:gdLst>
                <a:gd name="T0" fmla="*/ 36 w 80"/>
                <a:gd name="T1" fmla="*/ 0 h 30"/>
                <a:gd name="T2" fmla="*/ 14 w 80"/>
                <a:gd name="T3" fmla="*/ 5 h 30"/>
                <a:gd name="T4" fmla="*/ 0 w 80"/>
                <a:gd name="T5" fmla="*/ 17 h 30"/>
                <a:gd name="T6" fmla="*/ 11 w 80"/>
                <a:gd name="T7" fmla="*/ 25 h 30"/>
                <a:gd name="T8" fmla="*/ 39 w 80"/>
                <a:gd name="T9" fmla="*/ 30 h 30"/>
                <a:gd name="T10" fmla="*/ 67 w 80"/>
                <a:gd name="T11" fmla="*/ 26 h 30"/>
                <a:gd name="T12" fmla="*/ 80 w 80"/>
                <a:gd name="T13" fmla="*/ 14 h 30"/>
                <a:gd name="T14" fmla="*/ 70 w 80"/>
                <a:gd name="T15" fmla="*/ 5 h 30"/>
                <a:gd name="T16" fmla="*/ 36 w 8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30">
                  <a:moveTo>
                    <a:pt x="36" y="0"/>
                  </a:moveTo>
                  <a:cubicBezTo>
                    <a:pt x="36" y="0"/>
                    <a:pt x="21" y="1"/>
                    <a:pt x="14" y="5"/>
                  </a:cubicBezTo>
                  <a:cubicBezTo>
                    <a:pt x="7" y="9"/>
                    <a:pt x="0" y="12"/>
                    <a:pt x="0" y="17"/>
                  </a:cubicBezTo>
                  <a:cubicBezTo>
                    <a:pt x="1" y="22"/>
                    <a:pt x="8" y="22"/>
                    <a:pt x="11" y="25"/>
                  </a:cubicBezTo>
                  <a:cubicBezTo>
                    <a:pt x="15" y="27"/>
                    <a:pt x="29" y="30"/>
                    <a:pt x="39" y="30"/>
                  </a:cubicBezTo>
                  <a:cubicBezTo>
                    <a:pt x="50" y="30"/>
                    <a:pt x="63" y="30"/>
                    <a:pt x="67" y="26"/>
                  </a:cubicBezTo>
                  <a:cubicBezTo>
                    <a:pt x="70" y="21"/>
                    <a:pt x="80" y="20"/>
                    <a:pt x="80" y="14"/>
                  </a:cubicBezTo>
                  <a:cubicBezTo>
                    <a:pt x="79" y="7"/>
                    <a:pt x="76" y="4"/>
                    <a:pt x="70" y="5"/>
                  </a:cubicBezTo>
                  <a:cubicBezTo>
                    <a:pt x="64" y="5"/>
                    <a:pt x="48" y="0"/>
                    <a:pt x="36" y="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5" name="Freeform 475">
              <a:extLst>
                <a:ext uri="{FF2B5EF4-FFF2-40B4-BE49-F238E27FC236}">
                  <a16:creationId xmlns:a16="http://schemas.microsoft.com/office/drawing/2014/main" id="{CF08CBBD-6BD9-AF48-9275-B3BCB807D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" y="948"/>
              <a:ext cx="27" cy="17"/>
            </a:xfrm>
            <a:custGeom>
              <a:avLst/>
              <a:gdLst>
                <a:gd name="T0" fmla="*/ 14 w 105"/>
                <a:gd name="T1" fmla="*/ 32 h 70"/>
                <a:gd name="T2" fmla="*/ 49 w 105"/>
                <a:gd name="T3" fmla="*/ 57 h 70"/>
                <a:gd name="T4" fmla="*/ 75 w 105"/>
                <a:gd name="T5" fmla="*/ 63 h 70"/>
                <a:gd name="T6" fmla="*/ 93 w 105"/>
                <a:gd name="T7" fmla="*/ 54 h 70"/>
                <a:gd name="T8" fmla="*/ 102 w 105"/>
                <a:gd name="T9" fmla="*/ 38 h 70"/>
                <a:gd name="T10" fmla="*/ 82 w 105"/>
                <a:gd name="T11" fmla="*/ 26 h 70"/>
                <a:gd name="T12" fmla="*/ 40 w 105"/>
                <a:gd name="T13" fmla="*/ 12 h 70"/>
                <a:gd name="T14" fmla="*/ 26 w 105"/>
                <a:gd name="T15" fmla="*/ 17 h 70"/>
                <a:gd name="T16" fmla="*/ 14 w 105"/>
                <a:gd name="T17" fmla="*/ 3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70">
                  <a:moveTo>
                    <a:pt x="14" y="32"/>
                  </a:moveTo>
                  <a:cubicBezTo>
                    <a:pt x="27" y="42"/>
                    <a:pt x="42" y="53"/>
                    <a:pt x="49" y="57"/>
                  </a:cubicBezTo>
                  <a:cubicBezTo>
                    <a:pt x="56" y="61"/>
                    <a:pt x="72" y="70"/>
                    <a:pt x="75" y="63"/>
                  </a:cubicBezTo>
                  <a:cubicBezTo>
                    <a:pt x="77" y="56"/>
                    <a:pt x="92" y="60"/>
                    <a:pt x="93" y="54"/>
                  </a:cubicBezTo>
                  <a:cubicBezTo>
                    <a:pt x="94" y="48"/>
                    <a:pt x="105" y="44"/>
                    <a:pt x="102" y="38"/>
                  </a:cubicBezTo>
                  <a:cubicBezTo>
                    <a:pt x="99" y="32"/>
                    <a:pt x="91" y="32"/>
                    <a:pt x="82" y="26"/>
                  </a:cubicBezTo>
                  <a:cubicBezTo>
                    <a:pt x="72" y="19"/>
                    <a:pt x="49" y="0"/>
                    <a:pt x="40" y="12"/>
                  </a:cubicBezTo>
                  <a:cubicBezTo>
                    <a:pt x="40" y="12"/>
                    <a:pt x="33" y="17"/>
                    <a:pt x="26" y="17"/>
                  </a:cubicBezTo>
                  <a:cubicBezTo>
                    <a:pt x="19" y="18"/>
                    <a:pt x="0" y="21"/>
                    <a:pt x="14" y="3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6" name="Freeform 476">
              <a:extLst>
                <a:ext uri="{FF2B5EF4-FFF2-40B4-BE49-F238E27FC236}">
                  <a16:creationId xmlns:a16="http://schemas.microsoft.com/office/drawing/2014/main" id="{F2FB39F2-D6A6-BC40-8D53-DE2BEE425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" y="947"/>
              <a:ext cx="60" cy="30"/>
            </a:xfrm>
            <a:custGeom>
              <a:avLst/>
              <a:gdLst>
                <a:gd name="T0" fmla="*/ 174 w 240"/>
                <a:gd name="T1" fmla="*/ 40 h 115"/>
                <a:gd name="T2" fmla="*/ 206 w 240"/>
                <a:gd name="T3" fmla="*/ 36 h 115"/>
                <a:gd name="T4" fmla="*/ 230 w 240"/>
                <a:gd name="T5" fmla="*/ 30 h 115"/>
                <a:gd name="T6" fmla="*/ 240 w 240"/>
                <a:gd name="T7" fmla="*/ 21 h 115"/>
                <a:gd name="T8" fmla="*/ 230 w 240"/>
                <a:gd name="T9" fmla="*/ 7 h 115"/>
                <a:gd name="T10" fmla="*/ 197 w 240"/>
                <a:gd name="T11" fmla="*/ 0 h 115"/>
                <a:gd name="T12" fmla="*/ 174 w 240"/>
                <a:gd name="T13" fmla="*/ 5 h 115"/>
                <a:gd name="T14" fmla="*/ 150 w 240"/>
                <a:gd name="T15" fmla="*/ 10 h 115"/>
                <a:gd name="T16" fmla="*/ 72 w 240"/>
                <a:gd name="T17" fmla="*/ 18 h 115"/>
                <a:gd name="T18" fmla="*/ 52 w 240"/>
                <a:gd name="T19" fmla="*/ 21 h 115"/>
                <a:gd name="T20" fmla="*/ 25 w 240"/>
                <a:gd name="T21" fmla="*/ 28 h 115"/>
                <a:gd name="T22" fmla="*/ 11 w 240"/>
                <a:gd name="T23" fmla="*/ 34 h 115"/>
                <a:gd name="T24" fmla="*/ 1 w 240"/>
                <a:gd name="T25" fmla="*/ 50 h 115"/>
                <a:gd name="T26" fmla="*/ 14 w 240"/>
                <a:gd name="T27" fmla="*/ 82 h 115"/>
                <a:gd name="T28" fmla="*/ 40 w 240"/>
                <a:gd name="T29" fmla="*/ 101 h 115"/>
                <a:gd name="T30" fmla="*/ 54 w 240"/>
                <a:gd name="T31" fmla="*/ 109 h 115"/>
                <a:gd name="T32" fmla="*/ 74 w 240"/>
                <a:gd name="T33" fmla="*/ 115 h 115"/>
                <a:gd name="T34" fmla="*/ 102 w 240"/>
                <a:gd name="T35" fmla="*/ 111 h 115"/>
                <a:gd name="T36" fmla="*/ 126 w 240"/>
                <a:gd name="T37" fmla="*/ 106 h 115"/>
                <a:gd name="T38" fmla="*/ 163 w 240"/>
                <a:gd name="T39" fmla="*/ 99 h 115"/>
                <a:gd name="T40" fmla="*/ 188 w 240"/>
                <a:gd name="T41" fmla="*/ 95 h 115"/>
                <a:gd name="T42" fmla="*/ 204 w 240"/>
                <a:gd name="T43" fmla="*/ 84 h 115"/>
                <a:gd name="T44" fmla="*/ 199 w 240"/>
                <a:gd name="T45" fmla="*/ 52 h 115"/>
                <a:gd name="T46" fmla="*/ 161 w 240"/>
                <a:gd name="T47" fmla="*/ 47 h 115"/>
                <a:gd name="T48" fmla="*/ 174 w 240"/>
                <a:gd name="T49" fmla="*/ 4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0" h="115">
                  <a:moveTo>
                    <a:pt x="174" y="40"/>
                  </a:moveTo>
                  <a:cubicBezTo>
                    <a:pt x="186" y="40"/>
                    <a:pt x="206" y="41"/>
                    <a:pt x="206" y="36"/>
                  </a:cubicBezTo>
                  <a:cubicBezTo>
                    <a:pt x="206" y="32"/>
                    <a:pt x="230" y="36"/>
                    <a:pt x="230" y="30"/>
                  </a:cubicBezTo>
                  <a:cubicBezTo>
                    <a:pt x="230" y="25"/>
                    <a:pt x="240" y="29"/>
                    <a:pt x="240" y="21"/>
                  </a:cubicBezTo>
                  <a:cubicBezTo>
                    <a:pt x="240" y="12"/>
                    <a:pt x="237" y="13"/>
                    <a:pt x="230" y="7"/>
                  </a:cubicBezTo>
                  <a:cubicBezTo>
                    <a:pt x="224" y="1"/>
                    <a:pt x="208" y="1"/>
                    <a:pt x="197" y="0"/>
                  </a:cubicBezTo>
                  <a:cubicBezTo>
                    <a:pt x="187" y="0"/>
                    <a:pt x="179" y="1"/>
                    <a:pt x="174" y="5"/>
                  </a:cubicBezTo>
                  <a:cubicBezTo>
                    <a:pt x="169" y="9"/>
                    <a:pt x="169" y="11"/>
                    <a:pt x="150" y="10"/>
                  </a:cubicBezTo>
                  <a:cubicBezTo>
                    <a:pt x="131" y="10"/>
                    <a:pt x="90" y="17"/>
                    <a:pt x="72" y="18"/>
                  </a:cubicBezTo>
                  <a:cubicBezTo>
                    <a:pt x="72" y="18"/>
                    <a:pt x="60" y="16"/>
                    <a:pt x="52" y="21"/>
                  </a:cubicBezTo>
                  <a:cubicBezTo>
                    <a:pt x="43" y="27"/>
                    <a:pt x="34" y="28"/>
                    <a:pt x="25" y="28"/>
                  </a:cubicBezTo>
                  <a:cubicBezTo>
                    <a:pt x="16" y="28"/>
                    <a:pt x="20" y="33"/>
                    <a:pt x="11" y="34"/>
                  </a:cubicBezTo>
                  <a:cubicBezTo>
                    <a:pt x="3" y="36"/>
                    <a:pt x="1" y="40"/>
                    <a:pt x="1" y="50"/>
                  </a:cubicBezTo>
                  <a:cubicBezTo>
                    <a:pt x="0" y="61"/>
                    <a:pt x="2" y="76"/>
                    <a:pt x="14" y="82"/>
                  </a:cubicBezTo>
                  <a:cubicBezTo>
                    <a:pt x="27" y="88"/>
                    <a:pt x="33" y="101"/>
                    <a:pt x="40" y="101"/>
                  </a:cubicBezTo>
                  <a:cubicBezTo>
                    <a:pt x="47" y="101"/>
                    <a:pt x="51" y="104"/>
                    <a:pt x="54" y="109"/>
                  </a:cubicBezTo>
                  <a:cubicBezTo>
                    <a:pt x="57" y="114"/>
                    <a:pt x="62" y="115"/>
                    <a:pt x="74" y="115"/>
                  </a:cubicBezTo>
                  <a:cubicBezTo>
                    <a:pt x="86" y="115"/>
                    <a:pt x="100" y="115"/>
                    <a:pt x="102" y="111"/>
                  </a:cubicBezTo>
                  <a:cubicBezTo>
                    <a:pt x="104" y="107"/>
                    <a:pt x="114" y="106"/>
                    <a:pt x="126" y="106"/>
                  </a:cubicBezTo>
                  <a:cubicBezTo>
                    <a:pt x="138" y="106"/>
                    <a:pt x="152" y="99"/>
                    <a:pt x="163" y="99"/>
                  </a:cubicBezTo>
                  <a:cubicBezTo>
                    <a:pt x="174" y="99"/>
                    <a:pt x="186" y="102"/>
                    <a:pt x="188" y="95"/>
                  </a:cubicBezTo>
                  <a:cubicBezTo>
                    <a:pt x="189" y="88"/>
                    <a:pt x="204" y="96"/>
                    <a:pt x="204" y="84"/>
                  </a:cubicBezTo>
                  <a:cubicBezTo>
                    <a:pt x="203" y="72"/>
                    <a:pt x="210" y="53"/>
                    <a:pt x="199" y="52"/>
                  </a:cubicBezTo>
                  <a:cubicBezTo>
                    <a:pt x="187" y="51"/>
                    <a:pt x="163" y="56"/>
                    <a:pt x="161" y="47"/>
                  </a:cubicBezTo>
                  <a:cubicBezTo>
                    <a:pt x="160" y="39"/>
                    <a:pt x="163" y="39"/>
                    <a:pt x="174" y="4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7" name="Freeform 477">
              <a:extLst>
                <a:ext uri="{FF2B5EF4-FFF2-40B4-BE49-F238E27FC236}">
                  <a16:creationId xmlns:a16="http://schemas.microsoft.com/office/drawing/2014/main" id="{5DE0278E-8DEC-D341-9C48-B806B4AD1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" y="924"/>
              <a:ext cx="69" cy="21"/>
            </a:xfrm>
            <a:custGeom>
              <a:avLst/>
              <a:gdLst>
                <a:gd name="T0" fmla="*/ 10 w 270"/>
                <a:gd name="T1" fmla="*/ 68 h 80"/>
                <a:gd name="T2" fmla="*/ 30 w 270"/>
                <a:gd name="T3" fmla="*/ 75 h 80"/>
                <a:gd name="T4" fmla="*/ 59 w 270"/>
                <a:gd name="T5" fmla="*/ 67 h 80"/>
                <a:gd name="T6" fmla="*/ 92 w 270"/>
                <a:gd name="T7" fmla="*/ 70 h 80"/>
                <a:gd name="T8" fmla="*/ 119 w 270"/>
                <a:gd name="T9" fmla="*/ 76 h 80"/>
                <a:gd name="T10" fmla="*/ 137 w 270"/>
                <a:gd name="T11" fmla="*/ 71 h 80"/>
                <a:gd name="T12" fmla="*/ 150 w 270"/>
                <a:gd name="T13" fmla="*/ 67 h 80"/>
                <a:gd name="T14" fmla="*/ 167 w 270"/>
                <a:gd name="T15" fmla="*/ 70 h 80"/>
                <a:gd name="T16" fmla="*/ 184 w 270"/>
                <a:gd name="T17" fmla="*/ 76 h 80"/>
                <a:gd name="T18" fmla="*/ 203 w 270"/>
                <a:gd name="T19" fmla="*/ 74 h 80"/>
                <a:gd name="T20" fmla="*/ 220 w 270"/>
                <a:gd name="T21" fmla="*/ 71 h 80"/>
                <a:gd name="T22" fmla="*/ 235 w 270"/>
                <a:gd name="T23" fmla="*/ 75 h 80"/>
                <a:gd name="T24" fmla="*/ 259 w 270"/>
                <a:gd name="T25" fmla="*/ 73 h 80"/>
                <a:gd name="T26" fmla="*/ 264 w 270"/>
                <a:gd name="T27" fmla="*/ 60 h 80"/>
                <a:gd name="T28" fmla="*/ 265 w 270"/>
                <a:gd name="T29" fmla="*/ 48 h 80"/>
                <a:gd name="T30" fmla="*/ 255 w 270"/>
                <a:gd name="T31" fmla="*/ 35 h 80"/>
                <a:gd name="T32" fmla="*/ 237 w 270"/>
                <a:gd name="T33" fmla="*/ 25 h 80"/>
                <a:gd name="T34" fmla="*/ 210 w 270"/>
                <a:gd name="T35" fmla="*/ 10 h 80"/>
                <a:gd name="T36" fmla="*/ 184 w 270"/>
                <a:gd name="T37" fmla="*/ 4 h 80"/>
                <a:gd name="T38" fmla="*/ 158 w 270"/>
                <a:gd name="T39" fmla="*/ 10 h 80"/>
                <a:gd name="T40" fmla="*/ 138 w 270"/>
                <a:gd name="T41" fmla="*/ 18 h 80"/>
                <a:gd name="T42" fmla="*/ 118 w 270"/>
                <a:gd name="T43" fmla="*/ 24 h 80"/>
                <a:gd name="T44" fmla="*/ 82 w 270"/>
                <a:gd name="T45" fmla="*/ 34 h 80"/>
                <a:gd name="T46" fmla="*/ 57 w 270"/>
                <a:gd name="T47" fmla="*/ 40 h 80"/>
                <a:gd name="T48" fmla="*/ 33 w 270"/>
                <a:gd name="T49" fmla="*/ 48 h 80"/>
                <a:gd name="T50" fmla="*/ 19 w 270"/>
                <a:gd name="T51" fmla="*/ 53 h 80"/>
                <a:gd name="T52" fmla="*/ 7 w 270"/>
                <a:gd name="T53" fmla="*/ 60 h 80"/>
                <a:gd name="T54" fmla="*/ 10 w 270"/>
                <a:gd name="T55" fmla="*/ 6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0" h="80">
                  <a:moveTo>
                    <a:pt x="10" y="68"/>
                  </a:moveTo>
                  <a:cubicBezTo>
                    <a:pt x="16" y="70"/>
                    <a:pt x="18" y="77"/>
                    <a:pt x="30" y="75"/>
                  </a:cubicBezTo>
                  <a:cubicBezTo>
                    <a:pt x="42" y="73"/>
                    <a:pt x="42" y="68"/>
                    <a:pt x="59" y="67"/>
                  </a:cubicBezTo>
                  <a:cubicBezTo>
                    <a:pt x="76" y="65"/>
                    <a:pt x="85" y="62"/>
                    <a:pt x="92" y="70"/>
                  </a:cubicBezTo>
                  <a:cubicBezTo>
                    <a:pt x="99" y="79"/>
                    <a:pt x="110" y="76"/>
                    <a:pt x="119" y="76"/>
                  </a:cubicBezTo>
                  <a:cubicBezTo>
                    <a:pt x="128" y="75"/>
                    <a:pt x="136" y="74"/>
                    <a:pt x="137" y="71"/>
                  </a:cubicBezTo>
                  <a:cubicBezTo>
                    <a:pt x="138" y="68"/>
                    <a:pt x="142" y="67"/>
                    <a:pt x="150" y="67"/>
                  </a:cubicBezTo>
                  <a:cubicBezTo>
                    <a:pt x="157" y="67"/>
                    <a:pt x="166" y="66"/>
                    <a:pt x="167" y="70"/>
                  </a:cubicBezTo>
                  <a:cubicBezTo>
                    <a:pt x="168" y="74"/>
                    <a:pt x="177" y="77"/>
                    <a:pt x="184" y="76"/>
                  </a:cubicBezTo>
                  <a:cubicBezTo>
                    <a:pt x="191" y="75"/>
                    <a:pt x="199" y="78"/>
                    <a:pt x="203" y="74"/>
                  </a:cubicBezTo>
                  <a:cubicBezTo>
                    <a:pt x="207" y="69"/>
                    <a:pt x="211" y="67"/>
                    <a:pt x="220" y="71"/>
                  </a:cubicBezTo>
                  <a:cubicBezTo>
                    <a:pt x="229" y="75"/>
                    <a:pt x="229" y="75"/>
                    <a:pt x="235" y="75"/>
                  </a:cubicBezTo>
                  <a:cubicBezTo>
                    <a:pt x="242" y="74"/>
                    <a:pt x="258" y="80"/>
                    <a:pt x="259" y="73"/>
                  </a:cubicBezTo>
                  <a:cubicBezTo>
                    <a:pt x="261" y="65"/>
                    <a:pt x="261" y="62"/>
                    <a:pt x="264" y="60"/>
                  </a:cubicBezTo>
                  <a:cubicBezTo>
                    <a:pt x="268" y="57"/>
                    <a:pt x="270" y="54"/>
                    <a:pt x="265" y="48"/>
                  </a:cubicBezTo>
                  <a:cubicBezTo>
                    <a:pt x="261" y="42"/>
                    <a:pt x="262" y="37"/>
                    <a:pt x="255" y="35"/>
                  </a:cubicBezTo>
                  <a:cubicBezTo>
                    <a:pt x="248" y="34"/>
                    <a:pt x="247" y="31"/>
                    <a:pt x="237" y="25"/>
                  </a:cubicBezTo>
                  <a:cubicBezTo>
                    <a:pt x="227" y="18"/>
                    <a:pt x="215" y="13"/>
                    <a:pt x="210" y="10"/>
                  </a:cubicBezTo>
                  <a:cubicBezTo>
                    <a:pt x="205" y="7"/>
                    <a:pt x="192" y="0"/>
                    <a:pt x="184" y="4"/>
                  </a:cubicBezTo>
                  <a:cubicBezTo>
                    <a:pt x="176" y="8"/>
                    <a:pt x="170" y="8"/>
                    <a:pt x="158" y="10"/>
                  </a:cubicBezTo>
                  <a:cubicBezTo>
                    <a:pt x="147" y="12"/>
                    <a:pt x="151" y="17"/>
                    <a:pt x="138" y="18"/>
                  </a:cubicBezTo>
                  <a:cubicBezTo>
                    <a:pt x="125" y="18"/>
                    <a:pt x="120" y="19"/>
                    <a:pt x="118" y="24"/>
                  </a:cubicBezTo>
                  <a:cubicBezTo>
                    <a:pt x="116" y="29"/>
                    <a:pt x="118" y="38"/>
                    <a:pt x="82" y="34"/>
                  </a:cubicBezTo>
                  <a:cubicBezTo>
                    <a:pt x="82" y="34"/>
                    <a:pt x="66" y="35"/>
                    <a:pt x="57" y="40"/>
                  </a:cubicBezTo>
                  <a:cubicBezTo>
                    <a:pt x="48" y="45"/>
                    <a:pt x="36" y="43"/>
                    <a:pt x="33" y="48"/>
                  </a:cubicBezTo>
                  <a:cubicBezTo>
                    <a:pt x="30" y="53"/>
                    <a:pt x="24" y="53"/>
                    <a:pt x="19" y="53"/>
                  </a:cubicBezTo>
                  <a:cubicBezTo>
                    <a:pt x="13" y="53"/>
                    <a:pt x="14" y="57"/>
                    <a:pt x="7" y="60"/>
                  </a:cubicBezTo>
                  <a:cubicBezTo>
                    <a:pt x="0" y="62"/>
                    <a:pt x="4" y="66"/>
                    <a:pt x="10" y="6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8" name="Freeform 478">
              <a:extLst>
                <a:ext uri="{FF2B5EF4-FFF2-40B4-BE49-F238E27FC236}">
                  <a16:creationId xmlns:a16="http://schemas.microsoft.com/office/drawing/2014/main" id="{D021C450-7AF8-5248-B123-303659394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" y="1095"/>
              <a:ext cx="10" cy="5"/>
            </a:xfrm>
            <a:custGeom>
              <a:avLst/>
              <a:gdLst>
                <a:gd name="T0" fmla="*/ 36 w 40"/>
                <a:gd name="T1" fmla="*/ 16 h 20"/>
                <a:gd name="T2" fmla="*/ 29 w 40"/>
                <a:gd name="T3" fmla="*/ 2 h 20"/>
                <a:gd name="T4" fmla="*/ 25 w 40"/>
                <a:gd name="T5" fmla="*/ 4 h 20"/>
                <a:gd name="T6" fmla="*/ 18 w 40"/>
                <a:gd name="T7" fmla="*/ 10 h 20"/>
                <a:gd name="T8" fmla="*/ 0 w 40"/>
                <a:gd name="T9" fmla="*/ 13 h 20"/>
                <a:gd name="T10" fmla="*/ 8 w 40"/>
                <a:gd name="T11" fmla="*/ 19 h 20"/>
                <a:gd name="T12" fmla="*/ 36 w 40"/>
                <a:gd name="T13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20">
                  <a:moveTo>
                    <a:pt x="36" y="16"/>
                  </a:moveTo>
                  <a:cubicBezTo>
                    <a:pt x="37" y="13"/>
                    <a:pt x="40" y="2"/>
                    <a:pt x="29" y="2"/>
                  </a:cubicBezTo>
                  <a:cubicBezTo>
                    <a:pt x="29" y="2"/>
                    <a:pt x="25" y="0"/>
                    <a:pt x="25" y="4"/>
                  </a:cubicBezTo>
                  <a:cubicBezTo>
                    <a:pt x="25" y="8"/>
                    <a:pt x="23" y="9"/>
                    <a:pt x="18" y="10"/>
                  </a:cubicBezTo>
                  <a:cubicBezTo>
                    <a:pt x="14" y="10"/>
                    <a:pt x="1" y="9"/>
                    <a:pt x="0" y="13"/>
                  </a:cubicBezTo>
                  <a:cubicBezTo>
                    <a:pt x="0" y="17"/>
                    <a:pt x="1" y="19"/>
                    <a:pt x="8" y="19"/>
                  </a:cubicBezTo>
                  <a:cubicBezTo>
                    <a:pt x="16" y="19"/>
                    <a:pt x="36" y="20"/>
                    <a:pt x="36" y="1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49" name="Freeform 479">
              <a:extLst>
                <a:ext uri="{FF2B5EF4-FFF2-40B4-BE49-F238E27FC236}">
                  <a16:creationId xmlns:a16="http://schemas.microsoft.com/office/drawing/2014/main" id="{0199A0EB-5FC4-E34B-AD31-4F1825B32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2" y="1315"/>
              <a:ext cx="111" cy="78"/>
            </a:xfrm>
            <a:custGeom>
              <a:avLst/>
              <a:gdLst>
                <a:gd name="T0" fmla="*/ 439 w 439"/>
                <a:gd name="T1" fmla="*/ 241 h 308"/>
                <a:gd name="T2" fmla="*/ 433 w 439"/>
                <a:gd name="T3" fmla="*/ 225 h 308"/>
                <a:gd name="T4" fmla="*/ 425 w 439"/>
                <a:gd name="T5" fmla="*/ 209 h 308"/>
                <a:gd name="T6" fmla="*/ 407 w 439"/>
                <a:gd name="T7" fmla="*/ 200 h 308"/>
                <a:gd name="T8" fmla="*/ 390 w 439"/>
                <a:gd name="T9" fmla="*/ 208 h 308"/>
                <a:gd name="T10" fmla="*/ 368 w 439"/>
                <a:gd name="T11" fmla="*/ 202 h 308"/>
                <a:gd name="T12" fmla="*/ 354 w 439"/>
                <a:gd name="T13" fmla="*/ 201 h 308"/>
                <a:gd name="T14" fmla="*/ 349 w 439"/>
                <a:gd name="T15" fmla="*/ 160 h 308"/>
                <a:gd name="T16" fmla="*/ 327 w 439"/>
                <a:gd name="T17" fmla="*/ 136 h 308"/>
                <a:gd name="T18" fmla="*/ 304 w 439"/>
                <a:gd name="T19" fmla="*/ 134 h 308"/>
                <a:gd name="T20" fmla="*/ 281 w 439"/>
                <a:gd name="T21" fmla="*/ 122 h 308"/>
                <a:gd name="T22" fmla="*/ 248 w 439"/>
                <a:gd name="T23" fmla="*/ 104 h 308"/>
                <a:gd name="T24" fmla="*/ 228 w 439"/>
                <a:gd name="T25" fmla="*/ 92 h 308"/>
                <a:gd name="T26" fmla="*/ 204 w 439"/>
                <a:gd name="T27" fmla="*/ 84 h 308"/>
                <a:gd name="T28" fmla="*/ 189 w 439"/>
                <a:gd name="T29" fmla="*/ 68 h 308"/>
                <a:gd name="T30" fmla="*/ 162 w 439"/>
                <a:gd name="T31" fmla="*/ 65 h 308"/>
                <a:gd name="T32" fmla="*/ 148 w 439"/>
                <a:gd name="T33" fmla="*/ 75 h 308"/>
                <a:gd name="T34" fmla="*/ 138 w 439"/>
                <a:gd name="T35" fmla="*/ 62 h 308"/>
                <a:gd name="T36" fmla="*/ 141 w 439"/>
                <a:gd name="T37" fmla="*/ 39 h 308"/>
                <a:gd name="T38" fmla="*/ 160 w 439"/>
                <a:gd name="T39" fmla="*/ 49 h 308"/>
                <a:gd name="T40" fmla="*/ 170 w 439"/>
                <a:gd name="T41" fmla="*/ 35 h 308"/>
                <a:gd name="T42" fmla="*/ 152 w 439"/>
                <a:gd name="T43" fmla="*/ 11 h 308"/>
                <a:gd name="T44" fmla="*/ 131 w 439"/>
                <a:gd name="T45" fmla="*/ 9 h 308"/>
                <a:gd name="T46" fmla="*/ 127 w 439"/>
                <a:gd name="T47" fmla="*/ 24 h 308"/>
                <a:gd name="T48" fmla="*/ 90 w 439"/>
                <a:gd name="T49" fmla="*/ 8 h 308"/>
                <a:gd name="T50" fmla="*/ 76 w 439"/>
                <a:gd name="T51" fmla="*/ 32 h 308"/>
                <a:gd name="T52" fmla="*/ 66 w 439"/>
                <a:gd name="T53" fmla="*/ 72 h 308"/>
                <a:gd name="T54" fmla="*/ 64 w 439"/>
                <a:gd name="T55" fmla="*/ 98 h 308"/>
                <a:gd name="T56" fmla="*/ 65 w 439"/>
                <a:gd name="T57" fmla="*/ 112 h 308"/>
                <a:gd name="T58" fmla="*/ 65 w 439"/>
                <a:gd name="T59" fmla="*/ 123 h 308"/>
                <a:gd name="T60" fmla="*/ 54 w 439"/>
                <a:gd name="T61" fmla="*/ 142 h 308"/>
                <a:gd name="T62" fmla="*/ 52 w 439"/>
                <a:gd name="T63" fmla="*/ 163 h 308"/>
                <a:gd name="T64" fmla="*/ 58 w 439"/>
                <a:gd name="T65" fmla="*/ 178 h 308"/>
                <a:gd name="T66" fmla="*/ 51 w 439"/>
                <a:gd name="T67" fmla="*/ 204 h 308"/>
                <a:gd name="T68" fmla="*/ 18 w 439"/>
                <a:gd name="T69" fmla="*/ 222 h 308"/>
                <a:gd name="T70" fmla="*/ 5 w 439"/>
                <a:gd name="T71" fmla="*/ 239 h 308"/>
                <a:gd name="T72" fmla="*/ 9 w 439"/>
                <a:gd name="T73" fmla="*/ 255 h 308"/>
                <a:gd name="T74" fmla="*/ 28 w 439"/>
                <a:gd name="T75" fmla="*/ 260 h 308"/>
                <a:gd name="T76" fmla="*/ 49 w 439"/>
                <a:gd name="T77" fmla="*/ 251 h 308"/>
                <a:gd name="T78" fmla="*/ 76 w 439"/>
                <a:gd name="T79" fmla="*/ 243 h 308"/>
                <a:gd name="T80" fmla="*/ 98 w 439"/>
                <a:gd name="T81" fmla="*/ 243 h 308"/>
                <a:gd name="T82" fmla="*/ 105 w 439"/>
                <a:gd name="T83" fmla="*/ 254 h 308"/>
                <a:gd name="T84" fmla="*/ 100 w 439"/>
                <a:gd name="T85" fmla="*/ 265 h 308"/>
                <a:gd name="T86" fmla="*/ 103 w 439"/>
                <a:gd name="T87" fmla="*/ 291 h 308"/>
                <a:gd name="T88" fmla="*/ 118 w 439"/>
                <a:gd name="T89" fmla="*/ 302 h 308"/>
                <a:gd name="T90" fmla="*/ 136 w 439"/>
                <a:gd name="T91" fmla="*/ 302 h 308"/>
                <a:gd name="T92" fmla="*/ 153 w 439"/>
                <a:gd name="T93" fmla="*/ 292 h 308"/>
                <a:gd name="T94" fmla="*/ 179 w 439"/>
                <a:gd name="T95" fmla="*/ 273 h 308"/>
                <a:gd name="T96" fmla="*/ 195 w 439"/>
                <a:gd name="T97" fmla="*/ 253 h 308"/>
                <a:gd name="T98" fmla="*/ 230 w 439"/>
                <a:gd name="T99" fmla="*/ 225 h 308"/>
                <a:gd name="T100" fmla="*/ 248 w 439"/>
                <a:gd name="T101" fmla="*/ 201 h 308"/>
                <a:gd name="T102" fmla="*/ 269 w 439"/>
                <a:gd name="T103" fmla="*/ 215 h 308"/>
                <a:gd name="T104" fmla="*/ 303 w 439"/>
                <a:gd name="T105" fmla="*/ 226 h 308"/>
                <a:gd name="T106" fmla="*/ 315 w 439"/>
                <a:gd name="T107" fmla="*/ 246 h 308"/>
                <a:gd name="T108" fmla="*/ 341 w 439"/>
                <a:gd name="T109" fmla="*/ 251 h 308"/>
                <a:gd name="T110" fmla="*/ 367 w 439"/>
                <a:gd name="T111" fmla="*/ 257 h 308"/>
                <a:gd name="T112" fmla="*/ 382 w 439"/>
                <a:gd name="T113" fmla="*/ 265 h 308"/>
                <a:gd name="T114" fmla="*/ 395 w 439"/>
                <a:gd name="T115" fmla="*/ 269 h 308"/>
                <a:gd name="T116" fmla="*/ 406 w 439"/>
                <a:gd name="T117" fmla="*/ 262 h 308"/>
                <a:gd name="T118" fmla="*/ 420 w 439"/>
                <a:gd name="T119" fmla="*/ 250 h 308"/>
                <a:gd name="T120" fmla="*/ 439 w 439"/>
                <a:gd name="T121" fmla="*/ 241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9" h="308">
                  <a:moveTo>
                    <a:pt x="439" y="241"/>
                  </a:moveTo>
                  <a:cubicBezTo>
                    <a:pt x="439" y="230"/>
                    <a:pt x="439" y="228"/>
                    <a:pt x="433" y="225"/>
                  </a:cubicBezTo>
                  <a:cubicBezTo>
                    <a:pt x="427" y="222"/>
                    <a:pt x="428" y="216"/>
                    <a:pt x="425" y="209"/>
                  </a:cubicBezTo>
                  <a:cubicBezTo>
                    <a:pt x="421" y="203"/>
                    <a:pt x="412" y="199"/>
                    <a:pt x="407" y="200"/>
                  </a:cubicBezTo>
                  <a:cubicBezTo>
                    <a:pt x="402" y="202"/>
                    <a:pt x="400" y="210"/>
                    <a:pt x="390" y="208"/>
                  </a:cubicBezTo>
                  <a:cubicBezTo>
                    <a:pt x="380" y="207"/>
                    <a:pt x="377" y="197"/>
                    <a:pt x="368" y="202"/>
                  </a:cubicBezTo>
                  <a:cubicBezTo>
                    <a:pt x="359" y="207"/>
                    <a:pt x="356" y="213"/>
                    <a:pt x="354" y="201"/>
                  </a:cubicBezTo>
                  <a:cubicBezTo>
                    <a:pt x="352" y="190"/>
                    <a:pt x="358" y="169"/>
                    <a:pt x="349" y="160"/>
                  </a:cubicBezTo>
                  <a:cubicBezTo>
                    <a:pt x="341" y="150"/>
                    <a:pt x="338" y="140"/>
                    <a:pt x="327" y="136"/>
                  </a:cubicBezTo>
                  <a:cubicBezTo>
                    <a:pt x="317" y="132"/>
                    <a:pt x="311" y="133"/>
                    <a:pt x="304" y="134"/>
                  </a:cubicBezTo>
                  <a:cubicBezTo>
                    <a:pt x="297" y="134"/>
                    <a:pt x="287" y="128"/>
                    <a:pt x="281" y="122"/>
                  </a:cubicBezTo>
                  <a:cubicBezTo>
                    <a:pt x="275" y="117"/>
                    <a:pt x="254" y="112"/>
                    <a:pt x="248" y="104"/>
                  </a:cubicBezTo>
                  <a:cubicBezTo>
                    <a:pt x="241" y="97"/>
                    <a:pt x="235" y="92"/>
                    <a:pt x="228" y="92"/>
                  </a:cubicBezTo>
                  <a:cubicBezTo>
                    <a:pt x="220" y="91"/>
                    <a:pt x="210" y="91"/>
                    <a:pt x="204" y="84"/>
                  </a:cubicBezTo>
                  <a:cubicBezTo>
                    <a:pt x="199" y="77"/>
                    <a:pt x="196" y="74"/>
                    <a:pt x="189" y="68"/>
                  </a:cubicBezTo>
                  <a:cubicBezTo>
                    <a:pt x="182" y="63"/>
                    <a:pt x="169" y="57"/>
                    <a:pt x="162" y="65"/>
                  </a:cubicBezTo>
                  <a:cubicBezTo>
                    <a:pt x="156" y="74"/>
                    <a:pt x="158" y="78"/>
                    <a:pt x="148" y="75"/>
                  </a:cubicBezTo>
                  <a:cubicBezTo>
                    <a:pt x="139" y="72"/>
                    <a:pt x="140" y="71"/>
                    <a:pt x="138" y="62"/>
                  </a:cubicBezTo>
                  <a:cubicBezTo>
                    <a:pt x="136" y="54"/>
                    <a:pt x="136" y="37"/>
                    <a:pt x="141" y="39"/>
                  </a:cubicBezTo>
                  <a:cubicBezTo>
                    <a:pt x="147" y="40"/>
                    <a:pt x="153" y="49"/>
                    <a:pt x="160" y="49"/>
                  </a:cubicBezTo>
                  <a:cubicBezTo>
                    <a:pt x="167" y="49"/>
                    <a:pt x="176" y="46"/>
                    <a:pt x="170" y="35"/>
                  </a:cubicBezTo>
                  <a:cubicBezTo>
                    <a:pt x="164" y="24"/>
                    <a:pt x="157" y="16"/>
                    <a:pt x="152" y="11"/>
                  </a:cubicBezTo>
                  <a:cubicBezTo>
                    <a:pt x="147" y="5"/>
                    <a:pt x="131" y="0"/>
                    <a:pt x="131" y="9"/>
                  </a:cubicBezTo>
                  <a:cubicBezTo>
                    <a:pt x="131" y="18"/>
                    <a:pt x="143" y="33"/>
                    <a:pt x="127" y="24"/>
                  </a:cubicBezTo>
                  <a:cubicBezTo>
                    <a:pt x="112" y="15"/>
                    <a:pt x="96" y="5"/>
                    <a:pt x="90" y="8"/>
                  </a:cubicBezTo>
                  <a:cubicBezTo>
                    <a:pt x="85" y="12"/>
                    <a:pt x="79" y="21"/>
                    <a:pt x="76" y="32"/>
                  </a:cubicBezTo>
                  <a:cubicBezTo>
                    <a:pt x="74" y="43"/>
                    <a:pt x="63" y="43"/>
                    <a:pt x="66" y="72"/>
                  </a:cubicBezTo>
                  <a:cubicBezTo>
                    <a:pt x="66" y="72"/>
                    <a:pt x="68" y="93"/>
                    <a:pt x="64" y="98"/>
                  </a:cubicBezTo>
                  <a:cubicBezTo>
                    <a:pt x="60" y="102"/>
                    <a:pt x="62" y="106"/>
                    <a:pt x="65" y="112"/>
                  </a:cubicBezTo>
                  <a:cubicBezTo>
                    <a:pt x="67" y="117"/>
                    <a:pt x="70" y="119"/>
                    <a:pt x="65" y="123"/>
                  </a:cubicBezTo>
                  <a:cubicBezTo>
                    <a:pt x="59" y="127"/>
                    <a:pt x="59" y="137"/>
                    <a:pt x="54" y="142"/>
                  </a:cubicBezTo>
                  <a:cubicBezTo>
                    <a:pt x="50" y="148"/>
                    <a:pt x="51" y="156"/>
                    <a:pt x="52" y="163"/>
                  </a:cubicBezTo>
                  <a:cubicBezTo>
                    <a:pt x="52" y="169"/>
                    <a:pt x="54" y="171"/>
                    <a:pt x="58" y="178"/>
                  </a:cubicBezTo>
                  <a:cubicBezTo>
                    <a:pt x="62" y="184"/>
                    <a:pt x="59" y="197"/>
                    <a:pt x="51" y="204"/>
                  </a:cubicBezTo>
                  <a:cubicBezTo>
                    <a:pt x="42" y="210"/>
                    <a:pt x="25" y="212"/>
                    <a:pt x="18" y="222"/>
                  </a:cubicBezTo>
                  <a:cubicBezTo>
                    <a:pt x="12" y="233"/>
                    <a:pt x="10" y="235"/>
                    <a:pt x="5" y="239"/>
                  </a:cubicBezTo>
                  <a:cubicBezTo>
                    <a:pt x="0" y="243"/>
                    <a:pt x="3" y="250"/>
                    <a:pt x="9" y="255"/>
                  </a:cubicBezTo>
                  <a:cubicBezTo>
                    <a:pt x="14" y="259"/>
                    <a:pt x="25" y="266"/>
                    <a:pt x="28" y="260"/>
                  </a:cubicBezTo>
                  <a:cubicBezTo>
                    <a:pt x="31" y="254"/>
                    <a:pt x="39" y="246"/>
                    <a:pt x="49" y="251"/>
                  </a:cubicBezTo>
                  <a:cubicBezTo>
                    <a:pt x="59" y="256"/>
                    <a:pt x="74" y="248"/>
                    <a:pt x="76" y="243"/>
                  </a:cubicBezTo>
                  <a:cubicBezTo>
                    <a:pt x="78" y="237"/>
                    <a:pt x="94" y="241"/>
                    <a:pt x="98" y="243"/>
                  </a:cubicBezTo>
                  <a:cubicBezTo>
                    <a:pt x="103" y="246"/>
                    <a:pt x="107" y="250"/>
                    <a:pt x="105" y="254"/>
                  </a:cubicBezTo>
                  <a:cubicBezTo>
                    <a:pt x="104" y="258"/>
                    <a:pt x="100" y="260"/>
                    <a:pt x="100" y="265"/>
                  </a:cubicBezTo>
                  <a:cubicBezTo>
                    <a:pt x="100" y="271"/>
                    <a:pt x="96" y="285"/>
                    <a:pt x="103" y="291"/>
                  </a:cubicBezTo>
                  <a:cubicBezTo>
                    <a:pt x="110" y="297"/>
                    <a:pt x="112" y="302"/>
                    <a:pt x="118" y="302"/>
                  </a:cubicBezTo>
                  <a:cubicBezTo>
                    <a:pt x="123" y="303"/>
                    <a:pt x="135" y="308"/>
                    <a:pt x="136" y="302"/>
                  </a:cubicBezTo>
                  <a:cubicBezTo>
                    <a:pt x="137" y="297"/>
                    <a:pt x="147" y="292"/>
                    <a:pt x="153" y="292"/>
                  </a:cubicBezTo>
                  <a:cubicBezTo>
                    <a:pt x="159" y="291"/>
                    <a:pt x="177" y="282"/>
                    <a:pt x="179" y="273"/>
                  </a:cubicBezTo>
                  <a:cubicBezTo>
                    <a:pt x="180" y="265"/>
                    <a:pt x="186" y="254"/>
                    <a:pt x="195" y="253"/>
                  </a:cubicBezTo>
                  <a:cubicBezTo>
                    <a:pt x="203" y="252"/>
                    <a:pt x="229" y="237"/>
                    <a:pt x="230" y="225"/>
                  </a:cubicBezTo>
                  <a:cubicBezTo>
                    <a:pt x="232" y="213"/>
                    <a:pt x="241" y="200"/>
                    <a:pt x="248" y="201"/>
                  </a:cubicBezTo>
                  <a:cubicBezTo>
                    <a:pt x="256" y="203"/>
                    <a:pt x="257" y="215"/>
                    <a:pt x="269" y="215"/>
                  </a:cubicBezTo>
                  <a:cubicBezTo>
                    <a:pt x="281" y="215"/>
                    <a:pt x="304" y="216"/>
                    <a:pt x="303" y="226"/>
                  </a:cubicBezTo>
                  <a:cubicBezTo>
                    <a:pt x="302" y="236"/>
                    <a:pt x="303" y="246"/>
                    <a:pt x="315" y="246"/>
                  </a:cubicBezTo>
                  <a:cubicBezTo>
                    <a:pt x="326" y="245"/>
                    <a:pt x="338" y="245"/>
                    <a:pt x="341" y="251"/>
                  </a:cubicBezTo>
                  <a:cubicBezTo>
                    <a:pt x="344" y="257"/>
                    <a:pt x="366" y="254"/>
                    <a:pt x="367" y="257"/>
                  </a:cubicBezTo>
                  <a:cubicBezTo>
                    <a:pt x="369" y="261"/>
                    <a:pt x="380" y="259"/>
                    <a:pt x="382" y="265"/>
                  </a:cubicBezTo>
                  <a:cubicBezTo>
                    <a:pt x="384" y="272"/>
                    <a:pt x="394" y="272"/>
                    <a:pt x="395" y="269"/>
                  </a:cubicBezTo>
                  <a:cubicBezTo>
                    <a:pt x="396" y="266"/>
                    <a:pt x="401" y="264"/>
                    <a:pt x="406" y="262"/>
                  </a:cubicBezTo>
                  <a:cubicBezTo>
                    <a:pt x="412" y="261"/>
                    <a:pt x="405" y="252"/>
                    <a:pt x="420" y="250"/>
                  </a:cubicBezTo>
                  <a:cubicBezTo>
                    <a:pt x="435" y="248"/>
                    <a:pt x="439" y="252"/>
                    <a:pt x="439" y="24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0" name="Freeform 480">
              <a:extLst>
                <a:ext uri="{FF2B5EF4-FFF2-40B4-BE49-F238E27FC236}">
                  <a16:creationId xmlns:a16="http://schemas.microsoft.com/office/drawing/2014/main" id="{8BC50571-6816-EF41-AFE0-3A5D8A3C8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3" y="1090"/>
              <a:ext cx="470" cy="335"/>
            </a:xfrm>
            <a:custGeom>
              <a:avLst/>
              <a:gdLst>
                <a:gd name="T0" fmla="*/ 1732 w 1860"/>
                <a:gd name="T1" fmla="*/ 797 h 1325"/>
                <a:gd name="T2" fmla="*/ 1562 w 1860"/>
                <a:gd name="T3" fmla="*/ 684 h 1325"/>
                <a:gd name="T4" fmla="*/ 1409 w 1860"/>
                <a:gd name="T5" fmla="*/ 619 h 1325"/>
                <a:gd name="T6" fmla="*/ 1397 w 1860"/>
                <a:gd name="T7" fmla="*/ 551 h 1325"/>
                <a:gd name="T8" fmla="*/ 1439 w 1860"/>
                <a:gd name="T9" fmla="*/ 513 h 1325"/>
                <a:gd name="T10" fmla="*/ 1400 w 1860"/>
                <a:gd name="T11" fmla="*/ 433 h 1325"/>
                <a:gd name="T12" fmla="*/ 1365 w 1860"/>
                <a:gd name="T13" fmla="*/ 435 h 1325"/>
                <a:gd name="T14" fmla="*/ 1366 w 1860"/>
                <a:gd name="T15" fmla="*/ 381 h 1325"/>
                <a:gd name="T16" fmla="*/ 1230 w 1860"/>
                <a:gd name="T17" fmla="*/ 394 h 1325"/>
                <a:gd name="T18" fmla="*/ 1244 w 1860"/>
                <a:gd name="T19" fmla="*/ 365 h 1325"/>
                <a:gd name="T20" fmla="*/ 1187 w 1860"/>
                <a:gd name="T21" fmla="*/ 338 h 1325"/>
                <a:gd name="T22" fmla="*/ 1066 w 1860"/>
                <a:gd name="T23" fmla="*/ 348 h 1325"/>
                <a:gd name="T24" fmla="*/ 1022 w 1860"/>
                <a:gd name="T25" fmla="*/ 307 h 1325"/>
                <a:gd name="T26" fmla="*/ 992 w 1860"/>
                <a:gd name="T27" fmla="*/ 252 h 1325"/>
                <a:gd name="T28" fmla="*/ 919 w 1860"/>
                <a:gd name="T29" fmla="*/ 239 h 1325"/>
                <a:gd name="T30" fmla="*/ 926 w 1860"/>
                <a:gd name="T31" fmla="*/ 153 h 1325"/>
                <a:gd name="T32" fmla="*/ 803 w 1860"/>
                <a:gd name="T33" fmla="*/ 34 h 1325"/>
                <a:gd name="T34" fmla="*/ 599 w 1860"/>
                <a:gd name="T35" fmla="*/ 72 h 1325"/>
                <a:gd name="T36" fmla="*/ 778 w 1860"/>
                <a:gd name="T37" fmla="*/ 145 h 1325"/>
                <a:gd name="T38" fmla="*/ 756 w 1860"/>
                <a:gd name="T39" fmla="*/ 215 h 1325"/>
                <a:gd name="T40" fmla="*/ 677 w 1860"/>
                <a:gd name="T41" fmla="*/ 183 h 1325"/>
                <a:gd name="T42" fmla="*/ 603 w 1860"/>
                <a:gd name="T43" fmla="*/ 197 h 1325"/>
                <a:gd name="T44" fmla="*/ 593 w 1860"/>
                <a:gd name="T45" fmla="*/ 79 h 1325"/>
                <a:gd name="T46" fmla="*/ 395 w 1860"/>
                <a:gd name="T47" fmla="*/ 43 h 1325"/>
                <a:gd name="T48" fmla="*/ 417 w 1860"/>
                <a:gd name="T49" fmla="*/ 105 h 1325"/>
                <a:gd name="T50" fmla="*/ 303 w 1860"/>
                <a:gd name="T51" fmla="*/ 165 h 1325"/>
                <a:gd name="T52" fmla="*/ 331 w 1860"/>
                <a:gd name="T53" fmla="*/ 199 h 1325"/>
                <a:gd name="T54" fmla="*/ 345 w 1860"/>
                <a:gd name="T55" fmla="*/ 341 h 1325"/>
                <a:gd name="T56" fmla="*/ 246 w 1860"/>
                <a:gd name="T57" fmla="*/ 192 h 1325"/>
                <a:gd name="T58" fmla="*/ 196 w 1860"/>
                <a:gd name="T59" fmla="*/ 6 h 1325"/>
                <a:gd name="T60" fmla="*/ 21 w 1860"/>
                <a:gd name="T61" fmla="*/ 304 h 1325"/>
                <a:gd name="T62" fmla="*/ 94 w 1860"/>
                <a:gd name="T63" fmla="*/ 403 h 1325"/>
                <a:gd name="T64" fmla="*/ 340 w 1860"/>
                <a:gd name="T65" fmla="*/ 454 h 1325"/>
                <a:gd name="T66" fmla="*/ 626 w 1860"/>
                <a:gd name="T67" fmla="*/ 507 h 1325"/>
                <a:gd name="T68" fmla="*/ 601 w 1860"/>
                <a:gd name="T69" fmla="*/ 453 h 1325"/>
                <a:gd name="T70" fmla="*/ 742 w 1860"/>
                <a:gd name="T71" fmla="*/ 413 h 1325"/>
                <a:gd name="T72" fmla="*/ 879 w 1860"/>
                <a:gd name="T73" fmla="*/ 519 h 1325"/>
                <a:gd name="T74" fmla="*/ 895 w 1860"/>
                <a:gd name="T75" fmla="*/ 603 h 1325"/>
                <a:gd name="T76" fmla="*/ 946 w 1860"/>
                <a:gd name="T77" fmla="*/ 621 h 1325"/>
                <a:gd name="T78" fmla="*/ 1025 w 1860"/>
                <a:gd name="T79" fmla="*/ 629 h 1325"/>
                <a:gd name="T80" fmla="*/ 1130 w 1860"/>
                <a:gd name="T81" fmla="*/ 778 h 1325"/>
                <a:gd name="T82" fmla="*/ 1048 w 1860"/>
                <a:gd name="T83" fmla="*/ 951 h 1325"/>
                <a:gd name="T84" fmla="*/ 815 w 1860"/>
                <a:gd name="T85" fmla="*/ 971 h 1325"/>
                <a:gd name="T86" fmla="*/ 903 w 1860"/>
                <a:gd name="T87" fmla="*/ 1073 h 1325"/>
                <a:gd name="T88" fmla="*/ 1198 w 1860"/>
                <a:gd name="T89" fmla="*/ 1138 h 1325"/>
                <a:gd name="T90" fmla="*/ 1273 w 1860"/>
                <a:gd name="T91" fmla="*/ 1245 h 1325"/>
                <a:gd name="T92" fmla="*/ 1538 w 1860"/>
                <a:gd name="T93" fmla="*/ 1308 h 1325"/>
                <a:gd name="T94" fmla="*/ 1408 w 1860"/>
                <a:gd name="T95" fmla="*/ 1143 h 1325"/>
                <a:gd name="T96" fmla="*/ 1648 w 1860"/>
                <a:gd name="T97" fmla="*/ 1253 h 1325"/>
                <a:gd name="T98" fmla="*/ 1658 w 1860"/>
                <a:gd name="T99" fmla="*/ 1149 h 1325"/>
                <a:gd name="T100" fmla="*/ 1535 w 1860"/>
                <a:gd name="T101" fmla="*/ 1026 h 1325"/>
                <a:gd name="T102" fmla="*/ 1466 w 1860"/>
                <a:gd name="T103" fmla="*/ 886 h 1325"/>
                <a:gd name="T104" fmla="*/ 1579 w 1860"/>
                <a:gd name="T105" fmla="*/ 908 h 1325"/>
                <a:gd name="T106" fmla="*/ 1706 w 1860"/>
                <a:gd name="T107" fmla="*/ 932 h 1325"/>
                <a:gd name="T108" fmla="*/ 1777 w 1860"/>
                <a:gd name="T109" fmla="*/ 865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60" h="1325">
                  <a:moveTo>
                    <a:pt x="1834" y="794"/>
                  </a:moveTo>
                  <a:cubicBezTo>
                    <a:pt x="1823" y="793"/>
                    <a:pt x="1809" y="794"/>
                    <a:pt x="1801" y="785"/>
                  </a:cubicBezTo>
                  <a:cubicBezTo>
                    <a:pt x="1794" y="777"/>
                    <a:pt x="1788" y="782"/>
                    <a:pt x="1783" y="786"/>
                  </a:cubicBezTo>
                  <a:cubicBezTo>
                    <a:pt x="1778" y="791"/>
                    <a:pt x="1751" y="803"/>
                    <a:pt x="1756" y="789"/>
                  </a:cubicBezTo>
                  <a:cubicBezTo>
                    <a:pt x="1761" y="775"/>
                    <a:pt x="1782" y="763"/>
                    <a:pt x="1770" y="762"/>
                  </a:cubicBezTo>
                  <a:cubicBezTo>
                    <a:pt x="1758" y="761"/>
                    <a:pt x="1760" y="764"/>
                    <a:pt x="1752" y="772"/>
                  </a:cubicBezTo>
                  <a:cubicBezTo>
                    <a:pt x="1743" y="781"/>
                    <a:pt x="1743" y="799"/>
                    <a:pt x="1732" y="797"/>
                  </a:cubicBezTo>
                  <a:cubicBezTo>
                    <a:pt x="1722" y="795"/>
                    <a:pt x="1741" y="775"/>
                    <a:pt x="1738" y="764"/>
                  </a:cubicBezTo>
                  <a:cubicBezTo>
                    <a:pt x="1735" y="753"/>
                    <a:pt x="1734" y="745"/>
                    <a:pt x="1718" y="741"/>
                  </a:cubicBezTo>
                  <a:cubicBezTo>
                    <a:pt x="1703" y="738"/>
                    <a:pt x="1694" y="741"/>
                    <a:pt x="1680" y="728"/>
                  </a:cubicBezTo>
                  <a:cubicBezTo>
                    <a:pt x="1666" y="715"/>
                    <a:pt x="1657" y="719"/>
                    <a:pt x="1646" y="707"/>
                  </a:cubicBezTo>
                  <a:cubicBezTo>
                    <a:pt x="1636" y="695"/>
                    <a:pt x="1617" y="664"/>
                    <a:pt x="1607" y="674"/>
                  </a:cubicBezTo>
                  <a:cubicBezTo>
                    <a:pt x="1596" y="683"/>
                    <a:pt x="1593" y="695"/>
                    <a:pt x="1582" y="686"/>
                  </a:cubicBezTo>
                  <a:cubicBezTo>
                    <a:pt x="1571" y="678"/>
                    <a:pt x="1565" y="675"/>
                    <a:pt x="1562" y="684"/>
                  </a:cubicBezTo>
                  <a:cubicBezTo>
                    <a:pt x="1558" y="694"/>
                    <a:pt x="1540" y="705"/>
                    <a:pt x="1542" y="689"/>
                  </a:cubicBezTo>
                  <a:cubicBezTo>
                    <a:pt x="1544" y="672"/>
                    <a:pt x="1540" y="675"/>
                    <a:pt x="1535" y="676"/>
                  </a:cubicBezTo>
                  <a:cubicBezTo>
                    <a:pt x="1529" y="677"/>
                    <a:pt x="1524" y="670"/>
                    <a:pt x="1524" y="657"/>
                  </a:cubicBezTo>
                  <a:cubicBezTo>
                    <a:pt x="1524" y="645"/>
                    <a:pt x="1516" y="628"/>
                    <a:pt x="1500" y="628"/>
                  </a:cubicBezTo>
                  <a:cubicBezTo>
                    <a:pt x="1484" y="628"/>
                    <a:pt x="1480" y="647"/>
                    <a:pt x="1472" y="641"/>
                  </a:cubicBezTo>
                  <a:cubicBezTo>
                    <a:pt x="1465" y="636"/>
                    <a:pt x="1460" y="627"/>
                    <a:pt x="1444" y="626"/>
                  </a:cubicBezTo>
                  <a:cubicBezTo>
                    <a:pt x="1428" y="625"/>
                    <a:pt x="1420" y="621"/>
                    <a:pt x="1409" y="619"/>
                  </a:cubicBezTo>
                  <a:cubicBezTo>
                    <a:pt x="1398" y="617"/>
                    <a:pt x="1382" y="602"/>
                    <a:pt x="1415" y="602"/>
                  </a:cubicBezTo>
                  <a:cubicBezTo>
                    <a:pt x="1449" y="602"/>
                    <a:pt x="1440" y="597"/>
                    <a:pt x="1428" y="593"/>
                  </a:cubicBezTo>
                  <a:cubicBezTo>
                    <a:pt x="1416" y="589"/>
                    <a:pt x="1414" y="576"/>
                    <a:pt x="1404" y="579"/>
                  </a:cubicBezTo>
                  <a:cubicBezTo>
                    <a:pt x="1393" y="582"/>
                    <a:pt x="1372" y="594"/>
                    <a:pt x="1368" y="588"/>
                  </a:cubicBezTo>
                  <a:cubicBezTo>
                    <a:pt x="1364" y="581"/>
                    <a:pt x="1368" y="575"/>
                    <a:pt x="1382" y="571"/>
                  </a:cubicBezTo>
                  <a:cubicBezTo>
                    <a:pt x="1396" y="568"/>
                    <a:pt x="1424" y="579"/>
                    <a:pt x="1423" y="568"/>
                  </a:cubicBezTo>
                  <a:cubicBezTo>
                    <a:pt x="1422" y="557"/>
                    <a:pt x="1406" y="550"/>
                    <a:pt x="1397" y="551"/>
                  </a:cubicBezTo>
                  <a:cubicBezTo>
                    <a:pt x="1388" y="552"/>
                    <a:pt x="1366" y="561"/>
                    <a:pt x="1365" y="554"/>
                  </a:cubicBezTo>
                  <a:cubicBezTo>
                    <a:pt x="1364" y="548"/>
                    <a:pt x="1372" y="538"/>
                    <a:pt x="1392" y="539"/>
                  </a:cubicBezTo>
                  <a:cubicBezTo>
                    <a:pt x="1411" y="540"/>
                    <a:pt x="1412" y="540"/>
                    <a:pt x="1428" y="548"/>
                  </a:cubicBezTo>
                  <a:cubicBezTo>
                    <a:pt x="1444" y="555"/>
                    <a:pt x="1458" y="554"/>
                    <a:pt x="1482" y="552"/>
                  </a:cubicBezTo>
                  <a:cubicBezTo>
                    <a:pt x="1506" y="550"/>
                    <a:pt x="1505" y="540"/>
                    <a:pt x="1491" y="533"/>
                  </a:cubicBezTo>
                  <a:cubicBezTo>
                    <a:pt x="1477" y="525"/>
                    <a:pt x="1471" y="530"/>
                    <a:pt x="1464" y="520"/>
                  </a:cubicBezTo>
                  <a:cubicBezTo>
                    <a:pt x="1456" y="510"/>
                    <a:pt x="1443" y="508"/>
                    <a:pt x="1439" y="513"/>
                  </a:cubicBezTo>
                  <a:cubicBezTo>
                    <a:pt x="1435" y="519"/>
                    <a:pt x="1426" y="518"/>
                    <a:pt x="1413" y="513"/>
                  </a:cubicBezTo>
                  <a:cubicBezTo>
                    <a:pt x="1400" y="509"/>
                    <a:pt x="1380" y="495"/>
                    <a:pt x="1401" y="493"/>
                  </a:cubicBezTo>
                  <a:cubicBezTo>
                    <a:pt x="1423" y="491"/>
                    <a:pt x="1426" y="478"/>
                    <a:pt x="1439" y="485"/>
                  </a:cubicBezTo>
                  <a:cubicBezTo>
                    <a:pt x="1452" y="493"/>
                    <a:pt x="1472" y="493"/>
                    <a:pt x="1473" y="480"/>
                  </a:cubicBezTo>
                  <a:cubicBezTo>
                    <a:pt x="1474" y="467"/>
                    <a:pt x="1452" y="457"/>
                    <a:pt x="1444" y="442"/>
                  </a:cubicBezTo>
                  <a:cubicBezTo>
                    <a:pt x="1437" y="427"/>
                    <a:pt x="1420" y="417"/>
                    <a:pt x="1413" y="420"/>
                  </a:cubicBezTo>
                  <a:cubicBezTo>
                    <a:pt x="1407" y="423"/>
                    <a:pt x="1400" y="422"/>
                    <a:pt x="1400" y="433"/>
                  </a:cubicBezTo>
                  <a:cubicBezTo>
                    <a:pt x="1400" y="444"/>
                    <a:pt x="1393" y="451"/>
                    <a:pt x="1386" y="450"/>
                  </a:cubicBezTo>
                  <a:cubicBezTo>
                    <a:pt x="1380" y="449"/>
                    <a:pt x="1378" y="456"/>
                    <a:pt x="1370" y="455"/>
                  </a:cubicBezTo>
                  <a:cubicBezTo>
                    <a:pt x="1363" y="454"/>
                    <a:pt x="1344" y="466"/>
                    <a:pt x="1341" y="470"/>
                  </a:cubicBezTo>
                  <a:cubicBezTo>
                    <a:pt x="1338" y="475"/>
                    <a:pt x="1315" y="482"/>
                    <a:pt x="1309" y="482"/>
                  </a:cubicBezTo>
                  <a:cubicBezTo>
                    <a:pt x="1302" y="482"/>
                    <a:pt x="1296" y="473"/>
                    <a:pt x="1313" y="469"/>
                  </a:cubicBezTo>
                  <a:cubicBezTo>
                    <a:pt x="1330" y="466"/>
                    <a:pt x="1345" y="457"/>
                    <a:pt x="1354" y="450"/>
                  </a:cubicBezTo>
                  <a:cubicBezTo>
                    <a:pt x="1363" y="442"/>
                    <a:pt x="1372" y="435"/>
                    <a:pt x="1365" y="435"/>
                  </a:cubicBezTo>
                  <a:cubicBezTo>
                    <a:pt x="1357" y="435"/>
                    <a:pt x="1342" y="430"/>
                    <a:pt x="1330" y="439"/>
                  </a:cubicBezTo>
                  <a:cubicBezTo>
                    <a:pt x="1319" y="449"/>
                    <a:pt x="1287" y="474"/>
                    <a:pt x="1286" y="461"/>
                  </a:cubicBezTo>
                  <a:cubicBezTo>
                    <a:pt x="1285" y="448"/>
                    <a:pt x="1284" y="445"/>
                    <a:pt x="1307" y="436"/>
                  </a:cubicBezTo>
                  <a:cubicBezTo>
                    <a:pt x="1329" y="427"/>
                    <a:pt x="1335" y="421"/>
                    <a:pt x="1353" y="421"/>
                  </a:cubicBezTo>
                  <a:cubicBezTo>
                    <a:pt x="1371" y="421"/>
                    <a:pt x="1358" y="406"/>
                    <a:pt x="1381" y="409"/>
                  </a:cubicBezTo>
                  <a:cubicBezTo>
                    <a:pt x="1404" y="412"/>
                    <a:pt x="1404" y="408"/>
                    <a:pt x="1393" y="401"/>
                  </a:cubicBezTo>
                  <a:cubicBezTo>
                    <a:pt x="1382" y="393"/>
                    <a:pt x="1376" y="381"/>
                    <a:pt x="1366" y="381"/>
                  </a:cubicBezTo>
                  <a:cubicBezTo>
                    <a:pt x="1356" y="381"/>
                    <a:pt x="1343" y="366"/>
                    <a:pt x="1328" y="367"/>
                  </a:cubicBezTo>
                  <a:cubicBezTo>
                    <a:pt x="1313" y="368"/>
                    <a:pt x="1294" y="379"/>
                    <a:pt x="1294" y="370"/>
                  </a:cubicBezTo>
                  <a:cubicBezTo>
                    <a:pt x="1294" y="362"/>
                    <a:pt x="1283" y="365"/>
                    <a:pt x="1273" y="366"/>
                  </a:cubicBezTo>
                  <a:cubicBezTo>
                    <a:pt x="1264" y="367"/>
                    <a:pt x="1244" y="375"/>
                    <a:pt x="1261" y="380"/>
                  </a:cubicBezTo>
                  <a:cubicBezTo>
                    <a:pt x="1277" y="385"/>
                    <a:pt x="1278" y="402"/>
                    <a:pt x="1268" y="401"/>
                  </a:cubicBezTo>
                  <a:cubicBezTo>
                    <a:pt x="1258" y="399"/>
                    <a:pt x="1264" y="392"/>
                    <a:pt x="1252" y="388"/>
                  </a:cubicBezTo>
                  <a:cubicBezTo>
                    <a:pt x="1240" y="383"/>
                    <a:pt x="1238" y="380"/>
                    <a:pt x="1230" y="394"/>
                  </a:cubicBezTo>
                  <a:cubicBezTo>
                    <a:pt x="1223" y="408"/>
                    <a:pt x="1212" y="422"/>
                    <a:pt x="1209" y="437"/>
                  </a:cubicBezTo>
                  <a:cubicBezTo>
                    <a:pt x="1206" y="452"/>
                    <a:pt x="1192" y="461"/>
                    <a:pt x="1194" y="445"/>
                  </a:cubicBezTo>
                  <a:cubicBezTo>
                    <a:pt x="1196" y="428"/>
                    <a:pt x="1209" y="414"/>
                    <a:pt x="1210" y="406"/>
                  </a:cubicBezTo>
                  <a:cubicBezTo>
                    <a:pt x="1211" y="397"/>
                    <a:pt x="1192" y="396"/>
                    <a:pt x="1189" y="408"/>
                  </a:cubicBezTo>
                  <a:cubicBezTo>
                    <a:pt x="1185" y="420"/>
                    <a:pt x="1167" y="433"/>
                    <a:pt x="1167" y="419"/>
                  </a:cubicBezTo>
                  <a:cubicBezTo>
                    <a:pt x="1167" y="405"/>
                    <a:pt x="1176" y="388"/>
                    <a:pt x="1192" y="387"/>
                  </a:cubicBezTo>
                  <a:cubicBezTo>
                    <a:pt x="1208" y="385"/>
                    <a:pt x="1243" y="382"/>
                    <a:pt x="1244" y="365"/>
                  </a:cubicBezTo>
                  <a:cubicBezTo>
                    <a:pt x="1245" y="348"/>
                    <a:pt x="1268" y="338"/>
                    <a:pt x="1248" y="336"/>
                  </a:cubicBezTo>
                  <a:cubicBezTo>
                    <a:pt x="1227" y="334"/>
                    <a:pt x="1214" y="334"/>
                    <a:pt x="1210" y="340"/>
                  </a:cubicBezTo>
                  <a:cubicBezTo>
                    <a:pt x="1206" y="347"/>
                    <a:pt x="1195" y="358"/>
                    <a:pt x="1183" y="358"/>
                  </a:cubicBezTo>
                  <a:cubicBezTo>
                    <a:pt x="1171" y="358"/>
                    <a:pt x="1159" y="365"/>
                    <a:pt x="1152" y="370"/>
                  </a:cubicBezTo>
                  <a:cubicBezTo>
                    <a:pt x="1144" y="376"/>
                    <a:pt x="1125" y="394"/>
                    <a:pt x="1123" y="381"/>
                  </a:cubicBezTo>
                  <a:cubicBezTo>
                    <a:pt x="1121" y="368"/>
                    <a:pt x="1135" y="360"/>
                    <a:pt x="1148" y="351"/>
                  </a:cubicBezTo>
                  <a:cubicBezTo>
                    <a:pt x="1161" y="342"/>
                    <a:pt x="1178" y="336"/>
                    <a:pt x="1187" y="338"/>
                  </a:cubicBezTo>
                  <a:cubicBezTo>
                    <a:pt x="1197" y="340"/>
                    <a:pt x="1194" y="330"/>
                    <a:pt x="1206" y="324"/>
                  </a:cubicBezTo>
                  <a:cubicBezTo>
                    <a:pt x="1218" y="319"/>
                    <a:pt x="1214" y="309"/>
                    <a:pt x="1207" y="301"/>
                  </a:cubicBezTo>
                  <a:cubicBezTo>
                    <a:pt x="1199" y="292"/>
                    <a:pt x="1184" y="284"/>
                    <a:pt x="1169" y="279"/>
                  </a:cubicBezTo>
                  <a:cubicBezTo>
                    <a:pt x="1154" y="274"/>
                    <a:pt x="1137" y="267"/>
                    <a:pt x="1124" y="269"/>
                  </a:cubicBezTo>
                  <a:cubicBezTo>
                    <a:pt x="1111" y="272"/>
                    <a:pt x="1111" y="274"/>
                    <a:pt x="1104" y="290"/>
                  </a:cubicBezTo>
                  <a:cubicBezTo>
                    <a:pt x="1096" y="306"/>
                    <a:pt x="1091" y="313"/>
                    <a:pt x="1086" y="328"/>
                  </a:cubicBezTo>
                  <a:cubicBezTo>
                    <a:pt x="1082" y="344"/>
                    <a:pt x="1061" y="371"/>
                    <a:pt x="1066" y="348"/>
                  </a:cubicBezTo>
                  <a:cubicBezTo>
                    <a:pt x="1071" y="324"/>
                    <a:pt x="1084" y="321"/>
                    <a:pt x="1084" y="303"/>
                  </a:cubicBezTo>
                  <a:cubicBezTo>
                    <a:pt x="1084" y="284"/>
                    <a:pt x="1068" y="297"/>
                    <a:pt x="1064" y="309"/>
                  </a:cubicBezTo>
                  <a:cubicBezTo>
                    <a:pt x="1060" y="321"/>
                    <a:pt x="1044" y="347"/>
                    <a:pt x="1042" y="338"/>
                  </a:cubicBezTo>
                  <a:cubicBezTo>
                    <a:pt x="1040" y="330"/>
                    <a:pt x="1054" y="312"/>
                    <a:pt x="1056" y="301"/>
                  </a:cubicBezTo>
                  <a:cubicBezTo>
                    <a:pt x="1058" y="289"/>
                    <a:pt x="1058" y="282"/>
                    <a:pt x="1052" y="277"/>
                  </a:cubicBezTo>
                  <a:cubicBezTo>
                    <a:pt x="1046" y="272"/>
                    <a:pt x="1037" y="278"/>
                    <a:pt x="1036" y="291"/>
                  </a:cubicBezTo>
                  <a:cubicBezTo>
                    <a:pt x="1035" y="304"/>
                    <a:pt x="1022" y="319"/>
                    <a:pt x="1022" y="307"/>
                  </a:cubicBezTo>
                  <a:cubicBezTo>
                    <a:pt x="1022" y="295"/>
                    <a:pt x="1032" y="276"/>
                    <a:pt x="1023" y="268"/>
                  </a:cubicBezTo>
                  <a:cubicBezTo>
                    <a:pt x="1014" y="261"/>
                    <a:pt x="1005" y="273"/>
                    <a:pt x="997" y="273"/>
                  </a:cubicBezTo>
                  <a:cubicBezTo>
                    <a:pt x="990" y="273"/>
                    <a:pt x="989" y="278"/>
                    <a:pt x="990" y="288"/>
                  </a:cubicBezTo>
                  <a:cubicBezTo>
                    <a:pt x="991" y="297"/>
                    <a:pt x="989" y="305"/>
                    <a:pt x="981" y="301"/>
                  </a:cubicBezTo>
                  <a:cubicBezTo>
                    <a:pt x="974" y="296"/>
                    <a:pt x="981" y="285"/>
                    <a:pt x="969" y="284"/>
                  </a:cubicBezTo>
                  <a:cubicBezTo>
                    <a:pt x="957" y="283"/>
                    <a:pt x="952" y="268"/>
                    <a:pt x="963" y="262"/>
                  </a:cubicBezTo>
                  <a:cubicBezTo>
                    <a:pt x="974" y="255"/>
                    <a:pt x="987" y="264"/>
                    <a:pt x="992" y="252"/>
                  </a:cubicBezTo>
                  <a:cubicBezTo>
                    <a:pt x="996" y="240"/>
                    <a:pt x="1020" y="253"/>
                    <a:pt x="1022" y="240"/>
                  </a:cubicBezTo>
                  <a:cubicBezTo>
                    <a:pt x="1024" y="227"/>
                    <a:pt x="1018" y="217"/>
                    <a:pt x="1008" y="217"/>
                  </a:cubicBezTo>
                  <a:cubicBezTo>
                    <a:pt x="998" y="217"/>
                    <a:pt x="978" y="210"/>
                    <a:pt x="972" y="212"/>
                  </a:cubicBezTo>
                  <a:cubicBezTo>
                    <a:pt x="967" y="215"/>
                    <a:pt x="964" y="230"/>
                    <a:pt x="952" y="231"/>
                  </a:cubicBezTo>
                  <a:cubicBezTo>
                    <a:pt x="940" y="232"/>
                    <a:pt x="934" y="234"/>
                    <a:pt x="932" y="245"/>
                  </a:cubicBezTo>
                  <a:cubicBezTo>
                    <a:pt x="929" y="255"/>
                    <a:pt x="906" y="274"/>
                    <a:pt x="904" y="263"/>
                  </a:cubicBezTo>
                  <a:cubicBezTo>
                    <a:pt x="901" y="252"/>
                    <a:pt x="915" y="250"/>
                    <a:pt x="919" y="239"/>
                  </a:cubicBezTo>
                  <a:cubicBezTo>
                    <a:pt x="922" y="229"/>
                    <a:pt x="936" y="220"/>
                    <a:pt x="928" y="218"/>
                  </a:cubicBezTo>
                  <a:cubicBezTo>
                    <a:pt x="921" y="216"/>
                    <a:pt x="911" y="221"/>
                    <a:pt x="908" y="229"/>
                  </a:cubicBezTo>
                  <a:cubicBezTo>
                    <a:pt x="905" y="236"/>
                    <a:pt x="882" y="244"/>
                    <a:pt x="882" y="236"/>
                  </a:cubicBezTo>
                  <a:cubicBezTo>
                    <a:pt x="882" y="229"/>
                    <a:pt x="891" y="211"/>
                    <a:pt x="908" y="209"/>
                  </a:cubicBezTo>
                  <a:cubicBezTo>
                    <a:pt x="925" y="207"/>
                    <a:pt x="965" y="212"/>
                    <a:pt x="966" y="193"/>
                  </a:cubicBezTo>
                  <a:cubicBezTo>
                    <a:pt x="967" y="174"/>
                    <a:pt x="972" y="179"/>
                    <a:pt x="954" y="168"/>
                  </a:cubicBezTo>
                  <a:cubicBezTo>
                    <a:pt x="936" y="158"/>
                    <a:pt x="929" y="160"/>
                    <a:pt x="926" y="153"/>
                  </a:cubicBezTo>
                  <a:cubicBezTo>
                    <a:pt x="923" y="147"/>
                    <a:pt x="910" y="145"/>
                    <a:pt x="904" y="151"/>
                  </a:cubicBezTo>
                  <a:cubicBezTo>
                    <a:pt x="897" y="158"/>
                    <a:pt x="886" y="158"/>
                    <a:pt x="876" y="151"/>
                  </a:cubicBezTo>
                  <a:cubicBezTo>
                    <a:pt x="865" y="145"/>
                    <a:pt x="850" y="132"/>
                    <a:pt x="861" y="130"/>
                  </a:cubicBezTo>
                  <a:cubicBezTo>
                    <a:pt x="871" y="127"/>
                    <a:pt x="899" y="131"/>
                    <a:pt x="896" y="116"/>
                  </a:cubicBezTo>
                  <a:cubicBezTo>
                    <a:pt x="893" y="101"/>
                    <a:pt x="899" y="106"/>
                    <a:pt x="874" y="87"/>
                  </a:cubicBezTo>
                  <a:cubicBezTo>
                    <a:pt x="848" y="67"/>
                    <a:pt x="860" y="60"/>
                    <a:pt x="840" y="52"/>
                  </a:cubicBezTo>
                  <a:cubicBezTo>
                    <a:pt x="821" y="45"/>
                    <a:pt x="821" y="44"/>
                    <a:pt x="803" y="34"/>
                  </a:cubicBezTo>
                  <a:cubicBezTo>
                    <a:pt x="784" y="24"/>
                    <a:pt x="778" y="16"/>
                    <a:pt x="761" y="20"/>
                  </a:cubicBezTo>
                  <a:cubicBezTo>
                    <a:pt x="743" y="24"/>
                    <a:pt x="733" y="25"/>
                    <a:pt x="706" y="25"/>
                  </a:cubicBezTo>
                  <a:cubicBezTo>
                    <a:pt x="679" y="25"/>
                    <a:pt x="671" y="20"/>
                    <a:pt x="659" y="20"/>
                  </a:cubicBezTo>
                  <a:cubicBezTo>
                    <a:pt x="646" y="20"/>
                    <a:pt x="640" y="6"/>
                    <a:pt x="624" y="7"/>
                  </a:cubicBezTo>
                  <a:cubicBezTo>
                    <a:pt x="608" y="8"/>
                    <a:pt x="597" y="4"/>
                    <a:pt x="597" y="14"/>
                  </a:cubicBezTo>
                  <a:cubicBezTo>
                    <a:pt x="597" y="23"/>
                    <a:pt x="603" y="31"/>
                    <a:pt x="595" y="35"/>
                  </a:cubicBezTo>
                  <a:cubicBezTo>
                    <a:pt x="588" y="39"/>
                    <a:pt x="587" y="70"/>
                    <a:pt x="599" y="72"/>
                  </a:cubicBezTo>
                  <a:cubicBezTo>
                    <a:pt x="612" y="73"/>
                    <a:pt x="634" y="69"/>
                    <a:pt x="642" y="102"/>
                  </a:cubicBezTo>
                  <a:cubicBezTo>
                    <a:pt x="651" y="134"/>
                    <a:pt x="665" y="139"/>
                    <a:pt x="679" y="139"/>
                  </a:cubicBezTo>
                  <a:cubicBezTo>
                    <a:pt x="693" y="139"/>
                    <a:pt x="714" y="134"/>
                    <a:pt x="731" y="131"/>
                  </a:cubicBezTo>
                  <a:cubicBezTo>
                    <a:pt x="747" y="127"/>
                    <a:pt x="750" y="121"/>
                    <a:pt x="767" y="121"/>
                  </a:cubicBezTo>
                  <a:cubicBezTo>
                    <a:pt x="784" y="121"/>
                    <a:pt x="832" y="112"/>
                    <a:pt x="832" y="125"/>
                  </a:cubicBezTo>
                  <a:cubicBezTo>
                    <a:pt x="832" y="138"/>
                    <a:pt x="825" y="138"/>
                    <a:pt x="809" y="138"/>
                  </a:cubicBezTo>
                  <a:cubicBezTo>
                    <a:pt x="793" y="138"/>
                    <a:pt x="795" y="145"/>
                    <a:pt x="778" y="145"/>
                  </a:cubicBezTo>
                  <a:cubicBezTo>
                    <a:pt x="761" y="145"/>
                    <a:pt x="749" y="151"/>
                    <a:pt x="748" y="161"/>
                  </a:cubicBezTo>
                  <a:cubicBezTo>
                    <a:pt x="747" y="170"/>
                    <a:pt x="747" y="175"/>
                    <a:pt x="765" y="180"/>
                  </a:cubicBezTo>
                  <a:cubicBezTo>
                    <a:pt x="783" y="186"/>
                    <a:pt x="803" y="192"/>
                    <a:pt x="819" y="196"/>
                  </a:cubicBezTo>
                  <a:cubicBezTo>
                    <a:pt x="835" y="201"/>
                    <a:pt x="843" y="210"/>
                    <a:pt x="826" y="210"/>
                  </a:cubicBezTo>
                  <a:cubicBezTo>
                    <a:pt x="809" y="210"/>
                    <a:pt x="794" y="196"/>
                    <a:pt x="782" y="193"/>
                  </a:cubicBezTo>
                  <a:cubicBezTo>
                    <a:pt x="770" y="190"/>
                    <a:pt x="751" y="191"/>
                    <a:pt x="747" y="193"/>
                  </a:cubicBezTo>
                  <a:cubicBezTo>
                    <a:pt x="742" y="195"/>
                    <a:pt x="746" y="208"/>
                    <a:pt x="756" y="215"/>
                  </a:cubicBezTo>
                  <a:cubicBezTo>
                    <a:pt x="767" y="221"/>
                    <a:pt x="772" y="234"/>
                    <a:pt x="779" y="237"/>
                  </a:cubicBezTo>
                  <a:cubicBezTo>
                    <a:pt x="785" y="240"/>
                    <a:pt x="781" y="250"/>
                    <a:pt x="764" y="250"/>
                  </a:cubicBezTo>
                  <a:cubicBezTo>
                    <a:pt x="747" y="250"/>
                    <a:pt x="753" y="233"/>
                    <a:pt x="735" y="232"/>
                  </a:cubicBezTo>
                  <a:cubicBezTo>
                    <a:pt x="717" y="231"/>
                    <a:pt x="698" y="231"/>
                    <a:pt x="711" y="220"/>
                  </a:cubicBezTo>
                  <a:cubicBezTo>
                    <a:pt x="724" y="209"/>
                    <a:pt x="727" y="206"/>
                    <a:pt x="725" y="195"/>
                  </a:cubicBezTo>
                  <a:cubicBezTo>
                    <a:pt x="723" y="184"/>
                    <a:pt x="706" y="183"/>
                    <a:pt x="698" y="181"/>
                  </a:cubicBezTo>
                  <a:cubicBezTo>
                    <a:pt x="691" y="179"/>
                    <a:pt x="679" y="174"/>
                    <a:pt x="677" y="183"/>
                  </a:cubicBezTo>
                  <a:cubicBezTo>
                    <a:pt x="675" y="193"/>
                    <a:pt x="662" y="207"/>
                    <a:pt x="659" y="198"/>
                  </a:cubicBezTo>
                  <a:cubicBezTo>
                    <a:pt x="655" y="190"/>
                    <a:pt x="659" y="175"/>
                    <a:pt x="651" y="176"/>
                  </a:cubicBezTo>
                  <a:cubicBezTo>
                    <a:pt x="643" y="177"/>
                    <a:pt x="639" y="182"/>
                    <a:pt x="638" y="192"/>
                  </a:cubicBezTo>
                  <a:cubicBezTo>
                    <a:pt x="637" y="202"/>
                    <a:pt x="633" y="218"/>
                    <a:pt x="614" y="224"/>
                  </a:cubicBezTo>
                  <a:cubicBezTo>
                    <a:pt x="596" y="231"/>
                    <a:pt x="597" y="247"/>
                    <a:pt x="592" y="240"/>
                  </a:cubicBezTo>
                  <a:cubicBezTo>
                    <a:pt x="587" y="234"/>
                    <a:pt x="582" y="219"/>
                    <a:pt x="594" y="216"/>
                  </a:cubicBezTo>
                  <a:cubicBezTo>
                    <a:pt x="606" y="212"/>
                    <a:pt x="603" y="204"/>
                    <a:pt x="603" y="197"/>
                  </a:cubicBezTo>
                  <a:cubicBezTo>
                    <a:pt x="603" y="191"/>
                    <a:pt x="619" y="187"/>
                    <a:pt x="619" y="176"/>
                  </a:cubicBezTo>
                  <a:cubicBezTo>
                    <a:pt x="619" y="165"/>
                    <a:pt x="606" y="163"/>
                    <a:pt x="597" y="179"/>
                  </a:cubicBezTo>
                  <a:cubicBezTo>
                    <a:pt x="589" y="195"/>
                    <a:pt x="565" y="210"/>
                    <a:pt x="569" y="196"/>
                  </a:cubicBezTo>
                  <a:cubicBezTo>
                    <a:pt x="574" y="182"/>
                    <a:pt x="587" y="176"/>
                    <a:pt x="594" y="164"/>
                  </a:cubicBezTo>
                  <a:cubicBezTo>
                    <a:pt x="602" y="152"/>
                    <a:pt x="627" y="154"/>
                    <a:pt x="628" y="138"/>
                  </a:cubicBezTo>
                  <a:cubicBezTo>
                    <a:pt x="630" y="122"/>
                    <a:pt x="610" y="123"/>
                    <a:pt x="610" y="110"/>
                  </a:cubicBezTo>
                  <a:cubicBezTo>
                    <a:pt x="610" y="97"/>
                    <a:pt x="608" y="79"/>
                    <a:pt x="593" y="79"/>
                  </a:cubicBezTo>
                  <a:cubicBezTo>
                    <a:pt x="578" y="79"/>
                    <a:pt x="574" y="75"/>
                    <a:pt x="574" y="61"/>
                  </a:cubicBezTo>
                  <a:cubicBezTo>
                    <a:pt x="574" y="47"/>
                    <a:pt x="578" y="47"/>
                    <a:pt x="569" y="39"/>
                  </a:cubicBezTo>
                  <a:cubicBezTo>
                    <a:pt x="561" y="32"/>
                    <a:pt x="567" y="18"/>
                    <a:pt x="547" y="16"/>
                  </a:cubicBezTo>
                  <a:cubicBezTo>
                    <a:pt x="526" y="14"/>
                    <a:pt x="483" y="6"/>
                    <a:pt x="464" y="15"/>
                  </a:cubicBezTo>
                  <a:cubicBezTo>
                    <a:pt x="445" y="23"/>
                    <a:pt x="423" y="21"/>
                    <a:pt x="418" y="34"/>
                  </a:cubicBezTo>
                  <a:cubicBezTo>
                    <a:pt x="412" y="47"/>
                    <a:pt x="434" y="66"/>
                    <a:pt x="419" y="62"/>
                  </a:cubicBezTo>
                  <a:cubicBezTo>
                    <a:pt x="404" y="58"/>
                    <a:pt x="413" y="38"/>
                    <a:pt x="395" y="43"/>
                  </a:cubicBezTo>
                  <a:cubicBezTo>
                    <a:pt x="377" y="47"/>
                    <a:pt x="377" y="46"/>
                    <a:pt x="368" y="55"/>
                  </a:cubicBezTo>
                  <a:cubicBezTo>
                    <a:pt x="360" y="65"/>
                    <a:pt x="372" y="62"/>
                    <a:pt x="380" y="69"/>
                  </a:cubicBezTo>
                  <a:cubicBezTo>
                    <a:pt x="389" y="77"/>
                    <a:pt x="394" y="90"/>
                    <a:pt x="368" y="79"/>
                  </a:cubicBezTo>
                  <a:cubicBezTo>
                    <a:pt x="342" y="68"/>
                    <a:pt x="337" y="55"/>
                    <a:pt x="332" y="65"/>
                  </a:cubicBezTo>
                  <a:cubicBezTo>
                    <a:pt x="326" y="75"/>
                    <a:pt x="329" y="78"/>
                    <a:pt x="348" y="86"/>
                  </a:cubicBezTo>
                  <a:cubicBezTo>
                    <a:pt x="367" y="93"/>
                    <a:pt x="383" y="93"/>
                    <a:pt x="398" y="94"/>
                  </a:cubicBezTo>
                  <a:cubicBezTo>
                    <a:pt x="413" y="95"/>
                    <a:pt x="436" y="104"/>
                    <a:pt x="417" y="105"/>
                  </a:cubicBezTo>
                  <a:cubicBezTo>
                    <a:pt x="397" y="106"/>
                    <a:pt x="374" y="111"/>
                    <a:pt x="352" y="104"/>
                  </a:cubicBezTo>
                  <a:cubicBezTo>
                    <a:pt x="331" y="96"/>
                    <a:pt x="312" y="91"/>
                    <a:pt x="309" y="95"/>
                  </a:cubicBezTo>
                  <a:cubicBezTo>
                    <a:pt x="306" y="100"/>
                    <a:pt x="312" y="104"/>
                    <a:pt x="334" y="111"/>
                  </a:cubicBezTo>
                  <a:cubicBezTo>
                    <a:pt x="355" y="119"/>
                    <a:pt x="383" y="119"/>
                    <a:pt x="379" y="127"/>
                  </a:cubicBezTo>
                  <a:cubicBezTo>
                    <a:pt x="375" y="136"/>
                    <a:pt x="336" y="122"/>
                    <a:pt x="326" y="120"/>
                  </a:cubicBezTo>
                  <a:cubicBezTo>
                    <a:pt x="317" y="118"/>
                    <a:pt x="295" y="109"/>
                    <a:pt x="291" y="119"/>
                  </a:cubicBezTo>
                  <a:cubicBezTo>
                    <a:pt x="287" y="129"/>
                    <a:pt x="291" y="158"/>
                    <a:pt x="303" y="165"/>
                  </a:cubicBezTo>
                  <a:cubicBezTo>
                    <a:pt x="315" y="173"/>
                    <a:pt x="326" y="179"/>
                    <a:pt x="330" y="169"/>
                  </a:cubicBezTo>
                  <a:cubicBezTo>
                    <a:pt x="333" y="160"/>
                    <a:pt x="336" y="174"/>
                    <a:pt x="347" y="174"/>
                  </a:cubicBezTo>
                  <a:cubicBezTo>
                    <a:pt x="358" y="174"/>
                    <a:pt x="369" y="179"/>
                    <a:pt x="359" y="183"/>
                  </a:cubicBezTo>
                  <a:cubicBezTo>
                    <a:pt x="348" y="188"/>
                    <a:pt x="341" y="191"/>
                    <a:pt x="358" y="199"/>
                  </a:cubicBezTo>
                  <a:cubicBezTo>
                    <a:pt x="374" y="208"/>
                    <a:pt x="385" y="215"/>
                    <a:pt x="387" y="225"/>
                  </a:cubicBezTo>
                  <a:cubicBezTo>
                    <a:pt x="388" y="236"/>
                    <a:pt x="376" y="235"/>
                    <a:pt x="365" y="223"/>
                  </a:cubicBezTo>
                  <a:cubicBezTo>
                    <a:pt x="354" y="211"/>
                    <a:pt x="346" y="201"/>
                    <a:pt x="331" y="199"/>
                  </a:cubicBezTo>
                  <a:cubicBezTo>
                    <a:pt x="316" y="198"/>
                    <a:pt x="307" y="192"/>
                    <a:pt x="306" y="204"/>
                  </a:cubicBezTo>
                  <a:cubicBezTo>
                    <a:pt x="305" y="216"/>
                    <a:pt x="281" y="216"/>
                    <a:pt x="289" y="229"/>
                  </a:cubicBezTo>
                  <a:cubicBezTo>
                    <a:pt x="296" y="241"/>
                    <a:pt x="301" y="238"/>
                    <a:pt x="304" y="252"/>
                  </a:cubicBezTo>
                  <a:cubicBezTo>
                    <a:pt x="307" y="266"/>
                    <a:pt x="318" y="266"/>
                    <a:pt x="329" y="266"/>
                  </a:cubicBezTo>
                  <a:cubicBezTo>
                    <a:pt x="339" y="266"/>
                    <a:pt x="363" y="261"/>
                    <a:pt x="362" y="277"/>
                  </a:cubicBezTo>
                  <a:cubicBezTo>
                    <a:pt x="361" y="293"/>
                    <a:pt x="347" y="280"/>
                    <a:pt x="354" y="298"/>
                  </a:cubicBezTo>
                  <a:cubicBezTo>
                    <a:pt x="362" y="317"/>
                    <a:pt x="360" y="341"/>
                    <a:pt x="345" y="341"/>
                  </a:cubicBezTo>
                  <a:cubicBezTo>
                    <a:pt x="330" y="341"/>
                    <a:pt x="308" y="313"/>
                    <a:pt x="293" y="321"/>
                  </a:cubicBezTo>
                  <a:cubicBezTo>
                    <a:pt x="278" y="328"/>
                    <a:pt x="237" y="370"/>
                    <a:pt x="235" y="347"/>
                  </a:cubicBezTo>
                  <a:cubicBezTo>
                    <a:pt x="233" y="323"/>
                    <a:pt x="249" y="342"/>
                    <a:pt x="256" y="327"/>
                  </a:cubicBezTo>
                  <a:cubicBezTo>
                    <a:pt x="264" y="312"/>
                    <a:pt x="288" y="307"/>
                    <a:pt x="303" y="308"/>
                  </a:cubicBezTo>
                  <a:cubicBezTo>
                    <a:pt x="318" y="309"/>
                    <a:pt x="332" y="299"/>
                    <a:pt x="312" y="288"/>
                  </a:cubicBezTo>
                  <a:cubicBezTo>
                    <a:pt x="293" y="276"/>
                    <a:pt x="251" y="250"/>
                    <a:pt x="245" y="235"/>
                  </a:cubicBezTo>
                  <a:cubicBezTo>
                    <a:pt x="238" y="220"/>
                    <a:pt x="236" y="202"/>
                    <a:pt x="246" y="192"/>
                  </a:cubicBezTo>
                  <a:cubicBezTo>
                    <a:pt x="255" y="182"/>
                    <a:pt x="256" y="165"/>
                    <a:pt x="243" y="161"/>
                  </a:cubicBezTo>
                  <a:cubicBezTo>
                    <a:pt x="229" y="156"/>
                    <a:pt x="218" y="137"/>
                    <a:pt x="238" y="119"/>
                  </a:cubicBezTo>
                  <a:cubicBezTo>
                    <a:pt x="259" y="101"/>
                    <a:pt x="253" y="70"/>
                    <a:pt x="277" y="60"/>
                  </a:cubicBezTo>
                  <a:cubicBezTo>
                    <a:pt x="301" y="49"/>
                    <a:pt x="310" y="34"/>
                    <a:pt x="325" y="29"/>
                  </a:cubicBezTo>
                  <a:cubicBezTo>
                    <a:pt x="340" y="23"/>
                    <a:pt x="348" y="2"/>
                    <a:pt x="322" y="2"/>
                  </a:cubicBezTo>
                  <a:cubicBezTo>
                    <a:pt x="296" y="2"/>
                    <a:pt x="263" y="1"/>
                    <a:pt x="235" y="2"/>
                  </a:cubicBezTo>
                  <a:cubicBezTo>
                    <a:pt x="235" y="2"/>
                    <a:pt x="219" y="0"/>
                    <a:pt x="196" y="6"/>
                  </a:cubicBezTo>
                  <a:cubicBezTo>
                    <a:pt x="183" y="9"/>
                    <a:pt x="157" y="17"/>
                    <a:pt x="146" y="25"/>
                  </a:cubicBezTo>
                  <a:cubicBezTo>
                    <a:pt x="135" y="34"/>
                    <a:pt x="98" y="62"/>
                    <a:pt x="90" y="72"/>
                  </a:cubicBezTo>
                  <a:cubicBezTo>
                    <a:pt x="81" y="81"/>
                    <a:pt x="67" y="77"/>
                    <a:pt x="62" y="92"/>
                  </a:cubicBezTo>
                  <a:cubicBezTo>
                    <a:pt x="57" y="107"/>
                    <a:pt x="52" y="143"/>
                    <a:pt x="40" y="147"/>
                  </a:cubicBezTo>
                  <a:cubicBezTo>
                    <a:pt x="29" y="151"/>
                    <a:pt x="32" y="168"/>
                    <a:pt x="26" y="177"/>
                  </a:cubicBezTo>
                  <a:cubicBezTo>
                    <a:pt x="21" y="186"/>
                    <a:pt x="15" y="191"/>
                    <a:pt x="12" y="203"/>
                  </a:cubicBezTo>
                  <a:cubicBezTo>
                    <a:pt x="10" y="215"/>
                    <a:pt x="0" y="297"/>
                    <a:pt x="21" y="304"/>
                  </a:cubicBezTo>
                  <a:cubicBezTo>
                    <a:pt x="43" y="310"/>
                    <a:pt x="62" y="313"/>
                    <a:pt x="87" y="315"/>
                  </a:cubicBezTo>
                  <a:cubicBezTo>
                    <a:pt x="111" y="316"/>
                    <a:pt x="157" y="317"/>
                    <a:pt x="168" y="325"/>
                  </a:cubicBezTo>
                  <a:cubicBezTo>
                    <a:pt x="180" y="334"/>
                    <a:pt x="197" y="345"/>
                    <a:pt x="176" y="345"/>
                  </a:cubicBezTo>
                  <a:cubicBezTo>
                    <a:pt x="154" y="345"/>
                    <a:pt x="136" y="354"/>
                    <a:pt x="124" y="348"/>
                  </a:cubicBezTo>
                  <a:cubicBezTo>
                    <a:pt x="112" y="341"/>
                    <a:pt x="97" y="340"/>
                    <a:pt x="82" y="338"/>
                  </a:cubicBezTo>
                  <a:cubicBezTo>
                    <a:pt x="67" y="336"/>
                    <a:pt x="45" y="335"/>
                    <a:pt x="52" y="363"/>
                  </a:cubicBezTo>
                  <a:cubicBezTo>
                    <a:pt x="60" y="391"/>
                    <a:pt x="74" y="387"/>
                    <a:pt x="94" y="403"/>
                  </a:cubicBezTo>
                  <a:cubicBezTo>
                    <a:pt x="115" y="419"/>
                    <a:pt x="154" y="438"/>
                    <a:pt x="167" y="431"/>
                  </a:cubicBezTo>
                  <a:cubicBezTo>
                    <a:pt x="180" y="423"/>
                    <a:pt x="189" y="418"/>
                    <a:pt x="195" y="420"/>
                  </a:cubicBezTo>
                  <a:cubicBezTo>
                    <a:pt x="202" y="422"/>
                    <a:pt x="206" y="407"/>
                    <a:pt x="222" y="410"/>
                  </a:cubicBezTo>
                  <a:cubicBezTo>
                    <a:pt x="238" y="413"/>
                    <a:pt x="232" y="417"/>
                    <a:pt x="236" y="427"/>
                  </a:cubicBezTo>
                  <a:cubicBezTo>
                    <a:pt x="240" y="438"/>
                    <a:pt x="260" y="451"/>
                    <a:pt x="269" y="456"/>
                  </a:cubicBezTo>
                  <a:cubicBezTo>
                    <a:pt x="279" y="462"/>
                    <a:pt x="289" y="463"/>
                    <a:pt x="299" y="457"/>
                  </a:cubicBezTo>
                  <a:cubicBezTo>
                    <a:pt x="310" y="452"/>
                    <a:pt x="318" y="441"/>
                    <a:pt x="340" y="454"/>
                  </a:cubicBezTo>
                  <a:cubicBezTo>
                    <a:pt x="363" y="467"/>
                    <a:pt x="380" y="463"/>
                    <a:pt x="405" y="465"/>
                  </a:cubicBezTo>
                  <a:cubicBezTo>
                    <a:pt x="430" y="467"/>
                    <a:pt x="441" y="451"/>
                    <a:pt x="475" y="468"/>
                  </a:cubicBezTo>
                  <a:cubicBezTo>
                    <a:pt x="508" y="485"/>
                    <a:pt x="526" y="482"/>
                    <a:pt x="531" y="477"/>
                  </a:cubicBezTo>
                  <a:cubicBezTo>
                    <a:pt x="535" y="471"/>
                    <a:pt x="530" y="453"/>
                    <a:pt x="548" y="459"/>
                  </a:cubicBezTo>
                  <a:cubicBezTo>
                    <a:pt x="566" y="464"/>
                    <a:pt x="562" y="468"/>
                    <a:pt x="575" y="482"/>
                  </a:cubicBezTo>
                  <a:cubicBezTo>
                    <a:pt x="587" y="496"/>
                    <a:pt x="591" y="496"/>
                    <a:pt x="600" y="498"/>
                  </a:cubicBezTo>
                  <a:cubicBezTo>
                    <a:pt x="610" y="500"/>
                    <a:pt x="617" y="499"/>
                    <a:pt x="626" y="507"/>
                  </a:cubicBezTo>
                  <a:cubicBezTo>
                    <a:pt x="635" y="514"/>
                    <a:pt x="650" y="526"/>
                    <a:pt x="651" y="520"/>
                  </a:cubicBezTo>
                  <a:cubicBezTo>
                    <a:pt x="652" y="513"/>
                    <a:pt x="656" y="503"/>
                    <a:pt x="668" y="502"/>
                  </a:cubicBezTo>
                  <a:cubicBezTo>
                    <a:pt x="679" y="502"/>
                    <a:pt x="688" y="500"/>
                    <a:pt x="683" y="494"/>
                  </a:cubicBezTo>
                  <a:cubicBezTo>
                    <a:pt x="678" y="487"/>
                    <a:pt x="667" y="479"/>
                    <a:pt x="656" y="482"/>
                  </a:cubicBezTo>
                  <a:cubicBezTo>
                    <a:pt x="645" y="485"/>
                    <a:pt x="629" y="497"/>
                    <a:pt x="609" y="487"/>
                  </a:cubicBezTo>
                  <a:cubicBezTo>
                    <a:pt x="590" y="477"/>
                    <a:pt x="582" y="471"/>
                    <a:pt x="580" y="463"/>
                  </a:cubicBezTo>
                  <a:cubicBezTo>
                    <a:pt x="578" y="455"/>
                    <a:pt x="583" y="449"/>
                    <a:pt x="601" y="453"/>
                  </a:cubicBezTo>
                  <a:cubicBezTo>
                    <a:pt x="618" y="457"/>
                    <a:pt x="643" y="467"/>
                    <a:pt x="655" y="468"/>
                  </a:cubicBezTo>
                  <a:cubicBezTo>
                    <a:pt x="668" y="468"/>
                    <a:pt x="687" y="478"/>
                    <a:pt x="690" y="480"/>
                  </a:cubicBezTo>
                  <a:cubicBezTo>
                    <a:pt x="694" y="482"/>
                    <a:pt x="723" y="475"/>
                    <a:pt x="732" y="468"/>
                  </a:cubicBezTo>
                  <a:cubicBezTo>
                    <a:pt x="740" y="461"/>
                    <a:pt x="741" y="449"/>
                    <a:pt x="731" y="439"/>
                  </a:cubicBezTo>
                  <a:cubicBezTo>
                    <a:pt x="720" y="429"/>
                    <a:pt x="691" y="427"/>
                    <a:pt x="695" y="416"/>
                  </a:cubicBezTo>
                  <a:cubicBezTo>
                    <a:pt x="698" y="405"/>
                    <a:pt x="711" y="408"/>
                    <a:pt x="713" y="398"/>
                  </a:cubicBezTo>
                  <a:cubicBezTo>
                    <a:pt x="715" y="388"/>
                    <a:pt x="734" y="393"/>
                    <a:pt x="742" y="413"/>
                  </a:cubicBezTo>
                  <a:cubicBezTo>
                    <a:pt x="751" y="433"/>
                    <a:pt x="753" y="438"/>
                    <a:pt x="775" y="437"/>
                  </a:cubicBezTo>
                  <a:cubicBezTo>
                    <a:pt x="796" y="435"/>
                    <a:pt x="800" y="433"/>
                    <a:pt x="797" y="456"/>
                  </a:cubicBezTo>
                  <a:cubicBezTo>
                    <a:pt x="795" y="479"/>
                    <a:pt x="803" y="493"/>
                    <a:pt x="815" y="484"/>
                  </a:cubicBezTo>
                  <a:cubicBezTo>
                    <a:pt x="826" y="475"/>
                    <a:pt x="822" y="467"/>
                    <a:pt x="833" y="470"/>
                  </a:cubicBezTo>
                  <a:cubicBezTo>
                    <a:pt x="844" y="474"/>
                    <a:pt x="857" y="476"/>
                    <a:pt x="851" y="487"/>
                  </a:cubicBezTo>
                  <a:cubicBezTo>
                    <a:pt x="846" y="498"/>
                    <a:pt x="837" y="502"/>
                    <a:pt x="850" y="508"/>
                  </a:cubicBezTo>
                  <a:cubicBezTo>
                    <a:pt x="864" y="513"/>
                    <a:pt x="873" y="510"/>
                    <a:pt x="879" y="519"/>
                  </a:cubicBezTo>
                  <a:cubicBezTo>
                    <a:pt x="885" y="528"/>
                    <a:pt x="888" y="528"/>
                    <a:pt x="898" y="530"/>
                  </a:cubicBezTo>
                  <a:cubicBezTo>
                    <a:pt x="908" y="531"/>
                    <a:pt x="926" y="536"/>
                    <a:pt x="929" y="545"/>
                  </a:cubicBezTo>
                  <a:cubicBezTo>
                    <a:pt x="932" y="554"/>
                    <a:pt x="929" y="566"/>
                    <a:pt x="907" y="565"/>
                  </a:cubicBezTo>
                  <a:cubicBezTo>
                    <a:pt x="885" y="563"/>
                    <a:pt x="870" y="565"/>
                    <a:pt x="867" y="570"/>
                  </a:cubicBezTo>
                  <a:cubicBezTo>
                    <a:pt x="864" y="575"/>
                    <a:pt x="866" y="580"/>
                    <a:pt x="866" y="592"/>
                  </a:cubicBezTo>
                  <a:cubicBezTo>
                    <a:pt x="866" y="604"/>
                    <a:pt x="869" y="612"/>
                    <a:pt x="877" y="611"/>
                  </a:cubicBezTo>
                  <a:cubicBezTo>
                    <a:pt x="884" y="610"/>
                    <a:pt x="889" y="612"/>
                    <a:pt x="895" y="603"/>
                  </a:cubicBezTo>
                  <a:cubicBezTo>
                    <a:pt x="902" y="594"/>
                    <a:pt x="922" y="598"/>
                    <a:pt x="926" y="588"/>
                  </a:cubicBezTo>
                  <a:cubicBezTo>
                    <a:pt x="930" y="577"/>
                    <a:pt x="940" y="574"/>
                    <a:pt x="949" y="576"/>
                  </a:cubicBezTo>
                  <a:cubicBezTo>
                    <a:pt x="958" y="578"/>
                    <a:pt x="961" y="589"/>
                    <a:pt x="969" y="585"/>
                  </a:cubicBezTo>
                  <a:cubicBezTo>
                    <a:pt x="977" y="580"/>
                    <a:pt x="989" y="575"/>
                    <a:pt x="989" y="581"/>
                  </a:cubicBezTo>
                  <a:cubicBezTo>
                    <a:pt x="989" y="587"/>
                    <a:pt x="985" y="591"/>
                    <a:pt x="975" y="596"/>
                  </a:cubicBezTo>
                  <a:cubicBezTo>
                    <a:pt x="965" y="600"/>
                    <a:pt x="971" y="611"/>
                    <a:pt x="954" y="608"/>
                  </a:cubicBezTo>
                  <a:cubicBezTo>
                    <a:pt x="938" y="605"/>
                    <a:pt x="944" y="609"/>
                    <a:pt x="946" y="621"/>
                  </a:cubicBezTo>
                  <a:cubicBezTo>
                    <a:pt x="947" y="632"/>
                    <a:pt x="958" y="637"/>
                    <a:pt x="963" y="640"/>
                  </a:cubicBezTo>
                  <a:cubicBezTo>
                    <a:pt x="969" y="644"/>
                    <a:pt x="983" y="640"/>
                    <a:pt x="983" y="629"/>
                  </a:cubicBezTo>
                  <a:cubicBezTo>
                    <a:pt x="982" y="618"/>
                    <a:pt x="989" y="619"/>
                    <a:pt x="993" y="619"/>
                  </a:cubicBezTo>
                  <a:cubicBezTo>
                    <a:pt x="998" y="618"/>
                    <a:pt x="1009" y="613"/>
                    <a:pt x="1009" y="626"/>
                  </a:cubicBezTo>
                  <a:cubicBezTo>
                    <a:pt x="1010" y="638"/>
                    <a:pt x="1008" y="637"/>
                    <a:pt x="1014" y="643"/>
                  </a:cubicBezTo>
                  <a:cubicBezTo>
                    <a:pt x="1020" y="650"/>
                    <a:pt x="1030" y="652"/>
                    <a:pt x="1028" y="645"/>
                  </a:cubicBezTo>
                  <a:cubicBezTo>
                    <a:pt x="1026" y="637"/>
                    <a:pt x="1018" y="633"/>
                    <a:pt x="1025" y="629"/>
                  </a:cubicBezTo>
                  <a:cubicBezTo>
                    <a:pt x="1032" y="625"/>
                    <a:pt x="1038" y="621"/>
                    <a:pt x="1041" y="633"/>
                  </a:cubicBezTo>
                  <a:cubicBezTo>
                    <a:pt x="1045" y="645"/>
                    <a:pt x="1051" y="649"/>
                    <a:pt x="1062" y="649"/>
                  </a:cubicBezTo>
                  <a:cubicBezTo>
                    <a:pt x="1073" y="649"/>
                    <a:pt x="1073" y="642"/>
                    <a:pt x="1086" y="657"/>
                  </a:cubicBezTo>
                  <a:cubicBezTo>
                    <a:pt x="1099" y="671"/>
                    <a:pt x="1104" y="672"/>
                    <a:pt x="1104" y="684"/>
                  </a:cubicBezTo>
                  <a:cubicBezTo>
                    <a:pt x="1105" y="695"/>
                    <a:pt x="1118" y="686"/>
                    <a:pt x="1120" y="705"/>
                  </a:cubicBezTo>
                  <a:cubicBezTo>
                    <a:pt x="1122" y="723"/>
                    <a:pt x="1134" y="717"/>
                    <a:pt x="1137" y="739"/>
                  </a:cubicBezTo>
                  <a:cubicBezTo>
                    <a:pt x="1140" y="762"/>
                    <a:pt x="1153" y="774"/>
                    <a:pt x="1130" y="778"/>
                  </a:cubicBezTo>
                  <a:cubicBezTo>
                    <a:pt x="1108" y="782"/>
                    <a:pt x="1100" y="790"/>
                    <a:pt x="1103" y="805"/>
                  </a:cubicBezTo>
                  <a:cubicBezTo>
                    <a:pt x="1105" y="820"/>
                    <a:pt x="1097" y="818"/>
                    <a:pt x="1084" y="821"/>
                  </a:cubicBezTo>
                  <a:cubicBezTo>
                    <a:pt x="1071" y="824"/>
                    <a:pt x="1078" y="842"/>
                    <a:pt x="1055" y="847"/>
                  </a:cubicBezTo>
                  <a:cubicBezTo>
                    <a:pt x="1033" y="851"/>
                    <a:pt x="1033" y="867"/>
                    <a:pt x="1021" y="869"/>
                  </a:cubicBezTo>
                  <a:cubicBezTo>
                    <a:pt x="1009" y="871"/>
                    <a:pt x="997" y="881"/>
                    <a:pt x="1020" y="896"/>
                  </a:cubicBezTo>
                  <a:cubicBezTo>
                    <a:pt x="1042" y="911"/>
                    <a:pt x="1048" y="924"/>
                    <a:pt x="1055" y="933"/>
                  </a:cubicBezTo>
                  <a:cubicBezTo>
                    <a:pt x="1063" y="941"/>
                    <a:pt x="1065" y="952"/>
                    <a:pt x="1048" y="951"/>
                  </a:cubicBezTo>
                  <a:cubicBezTo>
                    <a:pt x="1030" y="950"/>
                    <a:pt x="1021" y="951"/>
                    <a:pt x="1013" y="956"/>
                  </a:cubicBezTo>
                  <a:cubicBezTo>
                    <a:pt x="1006" y="962"/>
                    <a:pt x="1000" y="962"/>
                    <a:pt x="983" y="962"/>
                  </a:cubicBezTo>
                  <a:cubicBezTo>
                    <a:pt x="966" y="962"/>
                    <a:pt x="958" y="972"/>
                    <a:pt x="948" y="972"/>
                  </a:cubicBezTo>
                  <a:cubicBezTo>
                    <a:pt x="937" y="972"/>
                    <a:pt x="921" y="985"/>
                    <a:pt x="904" y="975"/>
                  </a:cubicBezTo>
                  <a:cubicBezTo>
                    <a:pt x="886" y="964"/>
                    <a:pt x="869" y="963"/>
                    <a:pt x="862" y="961"/>
                  </a:cubicBezTo>
                  <a:cubicBezTo>
                    <a:pt x="854" y="958"/>
                    <a:pt x="841" y="952"/>
                    <a:pt x="832" y="953"/>
                  </a:cubicBezTo>
                  <a:cubicBezTo>
                    <a:pt x="822" y="954"/>
                    <a:pt x="815" y="961"/>
                    <a:pt x="815" y="971"/>
                  </a:cubicBezTo>
                  <a:cubicBezTo>
                    <a:pt x="815" y="982"/>
                    <a:pt x="813" y="986"/>
                    <a:pt x="804" y="986"/>
                  </a:cubicBezTo>
                  <a:cubicBezTo>
                    <a:pt x="794" y="986"/>
                    <a:pt x="791" y="996"/>
                    <a:pt x="782" y="996"/>
                  </a:cubicBezTo>
                  <a:cubicBezTo>
                    <a:pt x="774" y="996"/>
                    <a:pt x="777" y="1007"/>
                    <a:pt x="775" y="1020"/>
                  </a:cubicBezTo>
                  <a:cubicBezTo>
                    <a:pt x="772" y="1033"/>
                    <a:pt x="767" y="1044"/>
                    <a:pt x="779" y="1054"/>
                  </a:cubicBezTo>
                  <a:cubicBezTo>
                    <a:pt x="791" y="1064"/>
                    <a:pt x="800" y="1062"/>
                    <a:pt x="811" y="1070"/>
                  </a:cubicBezTo>
                  <a:cubicBezTo>
                    <a:pt x="822" y="1079"/>
                    <a:pt x="835" y="1081"/>
                    <a:pt x="850" y="1081"/>
                  </a:cubicBezTo>
                  <a:cubicBezTo>
                    <a:pt x="865" y="1081"/>
                    <a:pt x="890" y="1080"/>
                    <a:pt x="903" y="1073"/>
                  </a:cubicBezTo>
                  <a:cubicBezTo>
                    <a:pt x="915" y="1067"/>
                    <a:pt x="922" y="1043"/>
                    <a:pt x="951" y="1052"/>
                  </a:cubicBezTo>
                  <a:cubicBezTo>
                    <a:pt x="980" y="1061"/>
                    <a:pt x="991" y="1070"/>
                    <a:pt x="1003" y="1057"/>
                  </a:cubicBezTo>
                  <a:cubicBezTo>
                    <a:pt x="1014" y="1044"/>
                    <a:pt x="1022" y="1038"/>
                    <a:pt x="1040" y="1049"/>
                  </a:cubicBezTo>
                  <a:cubicBezTo>
                    <a:pt x="1058" y="1059"/>
                    <a:pt x="1071" y="1043"/>
                    <a:pt x="1083" y="1068"/>
                  </a:cubicBezTo>
                  <a:cubicBezTo>
                    <a:pt x="1095" y="1093"/>
                    <a:pt x="1123" y="1116"/>
                    <a:pt x="1137" y="1121"/>
                  </a:cubicBezTo>
                  <a:cubicBezTo>
                    <a:pt x="1151" y="1125"/>
                    <a:pt x="1155" y="1132"/>
                    <a:pt x="1169" y="1132"/>
                  </a:cubicBezTo>
                  <a:cubicBezTo>
                    <a:pt x="1183" y="1132"/>
                    <a:pt x="1192" y="1132"/>
                    <a:pt x="1198" y="1138"/>
                  </a:cubicBezTo>
                  <a:cubicBezTo>
                    <a:pt x="1205" y="1144"/>
                    <a:pt x="1210" y="1152"/>
                    <a:pt x="1196" y="1155"/>
                  </a:cubicBezTo>
                  <a:cubicBezTo>
                    <a:pt x="1182" y="1158"/>
                    <a:pt x="1162" y="1157"/>
                    <a:pt x="1170" y="1166"/>
                  </a:cubicBezTo>
                  <a:cubicBezTo>
                    <a:pt x="1179" y="1175"/>
                    <a:pt x="1181" y="1184"/>
                    <a:pt x="1191" y="1187"/>
                  </a:cubicBezTo>
                  <a:cubicBezTo>
                    <a:pt x="1200" y="1191"/>
                    <a:pt x="1228" y="1197"/>
                    <a:pt x="1228" y="1201"/>
                  </a:cubicBezTo>
                  <a:cubicBezTo>
                    <a:pt x="1228" y="1206"/>
                    <a:pt x="1233" y="1213"/>
                    <a:pt x="1233" y="1223"/>
                  </a:cubicBezTo>
                  <a:cubicBezTo>
                    <a:pt x="1233" y="1233"/>
                    <a:pt x="1239" y="1248"/>
                    <a:pt x="1250" y="1253"/>
                  </a:cubicBezTo>
                  <a:cubicBezTo>
                    <a:pt x="1261" y="1258"/>
                    <a:pt x="1277" y="1256"/>
                    <a:pt x="1273" y="1245"/>
                  </a:cubicBezTo>
                  <a:cubicBezTo>
                    <a:pt x="1270" y="1235"/>
                    <a:pt x="1265" y="1226"/>
                    <a:pt x="1283" y="1226"/>
                  </a:cubicBezTo>
                  <a:cubicBezTo>
                    <a:pt x="1301" y="1226"/>
                    <a:pt x="1323" y="1225"/>
                    <a:pt x="1323" y="1238"/>
                  </a:cubicBezTo>
                  <a:cubicBezTo>
                    <a:pt x="1323" y="1251"/>
                    <a:pt x="1323" y="1253"/>
                    <a:pt x="1349" y="1263"/>
                  </a:cubicBezTo>
                  <a:cubicBezTo>
                    <a:pt x="1374" y="1272"/>
                    <a:pt x="1386" y="1286"/>
                    <a:pt x="1405" y="1286"/>
                  </a:cubicBezTo>
                  <a:cubicBezTo>
                    <a:pt x="1423" y="1286"/>
                    <a:pt x="1434" y="1282"/>
                    <a:pt x="1452" y="1292"/>
                  </a:cubicBezTo>
                  <a:cubicBezTo>
                    <a:pt x="1470" y="1301"/>
                    <a:pt x="1487" y="1292"/>
                    <a:pt x="1498" y="1307"/>
                  </a:cubicBezTo>
                  <a:cubicBezTo>
                    <a:pt x="1509" y="1322"/>
                    <a:pt x="1535" y="1325"/>
                    <a:pt x="1538" y="1308"/>
                  </a:cubicBezTo>
                  <a:cubicBezTo>
                    <a:pt x="1541" y="1291"/>
                    <a:pt x="1546" y="1286"/>
                    <a:pt x="1530" y="1278"/>
                  </a:cubicBezTo>
                  <a:cubicBezTo>
                    <a:pt x="1514" y="1269"/>
                    <a:pt x="1527" y="1251"/>
                    <a:pt x="1502" y="1244"/>
                  </a:cubicBezTo>
                  <a:cubicBezTo>
                    <a:pt x="1478" y="1238"/>
                    <a:pt x="1460" y="1225"/>
                    <a:pt x="1452" y="1210"/>
                  </a:cubicBezTo>
                  <a:cubicBezTo>
                    <a:pt x="1443" y="1195"/>
                    <a:pt x="1436" y="1196"/>
                    <a:pt x="1420" y="1186"/>
                  </a:cubicBezTo>
                  <a:cubicBezTo>
                    <a:pt x="1404" y="1177"/>
                    <a:pt x="1387" y="1165"/>
                    <a:pt x="1378" y="1155"/>
                  </a:cubicBezTo>
                  <a:cubicBezTo>
                    <a:pt x="1368" y="1145"/>
                    <a:pt x="1364" y="1133"/>
                    <a:pt x="1373" y="1133"/>
                  </a:cubicBezTo>
                  <a:cubicBezTo>
                    <a:pt x="1383" y="1133"/>
                    <a:pt x="1404" y="1148"/>
                    <a:pt x="1408" y="1143"/>
                  </a:cubicBezTo>
                  <a:cubicBezTo>
                    <a:pt x="1412" y="1139"/>
                    <a:pt x="1426" y="1142"/>
                    <a:pt x="1449" y="1159"/>
                  </a:cubicBezTo>
                  <a:cubicBezTo>
                    <a:pt x="1471" y="1177"/>
                    <a:pt x="1494" y="1197"/>
                    <a:pt x="1502" y="1195"/>
                  </a:cubicBezTo>
                  <a:cubicBezTo>
                    <a:pt x="1511" y="1193"/>
                    <a:pt x="1516" y="1202"/>
                    <a:pt x="1538" y="1210"/>
                  </a:cubicBezTo>
                  <a:cubicBezTo>
                    <a:pt x="1559" y="1218"/>
                    <a:pt x="1582" y="1210"/>
                    <a:pt x="1587" y="1226"/>
                  </a:cubicBezTo>
                  <a:cubicBezTo>
                    <a:pt x="1593" y="1242"/>
                    <a:pt x="1593" y="1245"/>
                    <a:pt x="1601" y="1247"/>
                  </a:cubicBezTo>
                  <a:cubicBezTo>
                    <a:pt x="1610" y="1248"/>
                    <a:pt x="1607" y="1267"/>
                    <a:pt x="1621" y="1266"/>
                  </a:cubicBezTo>
                  <a:cubicBezTo>
                    <a:pt x="1635" y="1265"/>
                    <a:pt x="1655" y="1261"/>
                    <a:pt x="1648" y="1253"/>
                  </a:cubicBezTo>
                  <a:cubicBezTo>
                    <a:pt x="1640" y="1245"/>
                    <a:pt x="1628" y="1256"/>
                    <a:pt x="1615" y="1239"/>
                  </a:cubicBezTo>
                  <a:cubicBezTo>
                    <a:pt x="1602" y="1222"/>
                    <a:pt x="1601" y="1222"/>
                    <a:pt x="1611" y="1222"/>
                  </a:cubicBezTo>
                  <a:cubicBezTo>
                    <a:pt x="1621" y="1222"/>
                    <a:pt x="1629" y="1219"/>
                    <a:pt x="1621" y="1204"/>
                  </a:cubicBezTo>
                  <a:cubicBezTo>
                    <a:pt x="1612" y="1188"/>
                    <a:pt x="1602" y="1178"/>
                    <a:pt x="1619" y="1178"/>
                  </a:cubicBezTo>
                  <a:cubicBezTo>
                    <a:pt x="1635" y="1178"/>
                    <a:pt x="1640" y="1178"/>
                    <a:pt x="1640" y="1170"/>
                  </a:cubicBezTo>
                  <a:cubicBezTo>
                    <a:pt x="1640" y="1163"/>
                    <a:pt x="1637" y="1156"/>
                    <a:pt x="1649" y="1164"/>
                  </a:cubicBezTo>
                  <a:cubicBezTo>
                    <a:pt x="1660" y="1171"/>
                    <a:pt x="1666" y="1161"/>
                    <a:pt x="1658" y="1149"/>
                  </a:cubicBezTo>
                  <a:cubicBezTo>
                    <a:pt x="1651" y="1137"/>
                    <a:pt x="1641" y="1134"/>
                    <a:pt x="1640" y="1121"/>
                  </a:cubicBezTo>
                  <a:cubicBezTo>
                    <a:pt x="1639" y="1108"/>
                    <a:pt x="1630" y="1109"/>
                    <a:pt x="1617" y="1106"/>
                  </a:cubicBezTo>
                  <a:cubicBezTo>
                    <a:pt x="1605" y="1102"/>
                    <a:pt x="1586" y="1094"/>
                    <a:pt x="1589" y="1078"/>
                  </a:cubicBezTo>
                  <a:cubicBezTo>
                    <a:pt x="1593" y="1062"/>
                    <a:pt x="1596" y="1057"/>
                    <a:pt x="1589" y="1047"/>
                  </a:cubicBezTo>
                  <a:cubicBezTo>
                    <a:pt x="1583" y="1036"/>
                    <a:pt x="1598" y="1026"/>
                    <a:pt x="1571" y="1023"/>
                  </a:cubicBezTo>
                  <a:cubicBezTo>
                    <a:pt x="1544" y="1020"/>
                    <a:pt x="1548" y="1004"/>
                    <a:pt x="1546" y="1016"/>
                  </a:cubicBezTo>
                  <a:cubicBezTo>
                    <a:pt x="1545" y="1029"/>
                    <a:pt x="1545" y="1035"/>
                    <a:pt x="1535" y="1026"/>
                  </a:cubicBezTo>
                  <a:cubicBezTo>
                    <a:pt x="1524" y="1018"/>
                    <a:pt x="1531" y="1006"/>
                    <a:pt x="1514" y="1005"/>
                  </a:cubicBezTo>
                  <a:cubicBezTo>
                    <a:pt x="1497" y="1004"/>
                    <a:pt x="1491" y="1005"/>
                    <a:pt x="1491" y="993"/>
                  </a:cubicBezTo>
                  <a:cubicBezTo>
                    <a:pt x="1491" y="981"/>
                    <a:pt x="1466" y="982"/>
                    <a:pt x="1469" y="965"/>
                  </a:cubicBezTo>
                  <a:cubicBezTo>
                    <a:pt x="1472" y="948"/>
                    <a:pt x="1467" y="934"/>
                    <a:pt x="1453" y="934"/>
                  </a:cubicBezTo>
                  <a:cubicBezTo>
                    <a:pt x="1439" y="934"/>
                    <a:pt x="1422" y="932"/>
                    <a:pt x="1422" y="920"/>
                  </a:cubicBezTo>
                  <a:cubicBezTo>
                    <a:pt x="1422" y="908"/>
                    <a:pt x="1428" y="901"/>
                    <a:pt x="1444" y="905"/>
                  </a:cubicBezTo>
                  <a:cubicBezTo>
                    <a:pt x="1460" y="908"/>
                    <a:pt x="1478" y="899"/>
                    <a:pt x="1466" y="886"/>
                  </a:cubicBezTo>
                  <a:cubicBezTo>
                    <a:pt x="1454" y="874"/>
                    <a:pt x="1444" y="881"/>
                    <a:pt x="1438" y="866"/>
                  </a:cubicBezTo>
                  <a:cubicBezTo>
                    <a:pt x="1431" y="851"/>
                    <a:pt x="1444" y="844"/>
                    <a:pt x="1455" y="857"/>
                  </a:cubicBezTo>
                  <a:cubicBezTo>
                    <a:pt x="1466" y="870"/>
                    <a:pt x="1470" y="877"/>
                    <a:pt x="1471" y="858"/>
                  </a:cubicBezTo>
                  <a:cubicBezTo>
                    <a:pt x="1472" y="840"/>
                    <a:pt x="1486" y="832"/>
                    <a:pt x="1496" y="849"/>
                  </a:cubicBezTo>
                  <a:cubicBezTo>
                    <a:pt x="1506" y="866"/>
                    <a:pt x="1505" y="868"/>
                    <a:pt x="1521" y="872"/>
                  </a:cubicBezTo>
                  <a:cubicBezTo>
                    <a:pt x="1537" y="877"/>
                    <a:pt x="1546" y="886"/>
                    <a:pt x="1553" y="897"/>
                  </a:cubicBezTo>
                  <a:cubicBezTo>
                    <a:pt x="1559" y="908"/>
                    <a:pt x="1577" y="890"/>
                    <a:pt x="1579" y="908"/>
                  </a:cubicBezTo>
                  <a:cubicBezTo>
                    <a:pt x="1581" y="926"/>
                    <a:pt x="1582" y="935"/>
                    <a:pt x="1594" y="934"/>
                  </a:cubicBezTo>
                  <a:cubicBezTo>
                    <a:pt x="1606" y="933"/>
                    <a:pt x="1597" y="957"/>
                    <a:pt x="1610" y="964"/>
                  </a:cubicBezTo>
                  <a:cubicBezTo>
                    <a:pt x="1623" y="970"/>
                    <a:pt x="1636" y="998"/>
                    <a:pt x="1636" y="985"/>
                  </a:cubicBezTo>
                  <a:cubicBezTo>
                    <a:pt x="1636" y="972"/>
                    <a:pt x="1644" y="971"/>
                    <a:pt x="1656" y="984"/>
                  </a:cubicBezTo>
                  <a:cubicBezTo>
                    <a:pt x="1668" y="997"/>
                    <a:pt x="1687" y="1016"/>
                    <a:pt x="1700" y="1008"/>
                  </a:cubicBezTo>
                  <a:cubicBezTo>
                    <a:pt x="1713" y="999"/>
                    <a:pt x="1718" y="981"/>
                    <a:pt x="1712" y="969"/>
                  </a:cubicBezTo>
                  <a:cubicBezTo>
                    <a:pt x="1706" y="957"/>
                    <a:pt x="1709" y="947"/>
                    <a:pt x="1706" y="932"/>
                  </a:cubicBezTo>
                  <a:cubicBezTo>
                    <a:pt x="1702" y="917"/>
                    <a:pt x="1716" y="921"/>
                    <a:pt x="1723" y="930"/>
                  </a:cubicBezTo>
                  <a:cubicBezTo>
                    <a:pt x="1729" y="940"/>
                    <a:pt x="1736" y="941"/>
                    <a:pt x="1740" y="933"/>
                  </a:cubicBezTo>
                  <a:cubicBezTo>
                    <a:pt x="1744" y="924"/>
                    <a:pt x="1766" y="921"/>
                    <a:pt x="1772" y="930"/>
                  </a:cubicBezTo>
                  <a:cubicBezTo>
                    <a:pt x="1779" y="940"/>
                    <a:pt x="1791" y="942"/>
                    <a:pt x="1784" y="929"/>
                  </a:cubicBezTo>
                  <a:cubicBezTo>
                    <a:pt x="1778" y="917"/>
                    <a:pt x="1769" y="911"/>
                    <a:pt x="1778" y="906"/>
                  </a:cubicBezTo>
                  <a:cubicBezTo>
                    <a:pt x="1786" y="900"/>
                    <a:pt x="1796" y="897"/>
                    <a:pt x="1794" y="887"/>
                  </a:cubicBezTo>
                  <a:cubicBezTo>
                    <a:pt x="1792" y="878"/>
                    <a:pt x="1775" y="874"/>
                    <a:pt x="1777" y="865"/>
                  </a:cubicBezTo>
                  <a:cubicBezTo>
                    <a:pt x="1778" y="856"/>
                    <a:pt x="1788" y="862"/>
                    <a:pt x="1795" y="867"/>
                  </a:cubicBezTo>
                  <a:cubicBezTo>
                    <a:pt x="1801" y="872"/>
                    <a:pt x="1816" y="872"/>
                    <a:pt x="1826" y="862"/>
                  </a:cubicBezTo>
                  <a:cubicBezTo>
                    <a:pt x="1836" y="851"/>
                    <a:pt x="1853" y="860"/>
                    <a:pt x="1855" y="844"/>
                  </a:cubicBezTo>
                  <a:cubicBezTo>
                    <a:pt x="1857" y="829"/>
                    <a:pt x="1860" y="825"/>
                    <a:pt x="1855" y="814"/>
                  </a:cubicBezTo>
                  <a:cubicBezTo>
                    <a:pt x="1850" y="804"/>
                    <a:pt x="1844" y="795"/>
                    <a:pt x="1834" y="79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1" name="Freeform 481">
              <a:extLst>
                <a:ext uri="{FF2B5EF4-FFF2-40B4-BE49-F238E27FC236}">
                  <a16:creationId xmlns:a16="http://schemas.microsoft.com/office/drawing/2014/main" id="{1491AE62-7F3F-684D-935E-BE036FE1D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3" y="1185"/>
              <a:ext cx="9" cy="8"/>
            </a:xfrm>
            <a:custGeom>
              <a:avLst/>
              <a:gdLst>
                <a:gd name="T0" fmla="*/ 15 w 37"/>
                <a:gd name="T1" fmla="*/ 22 h 29"/>
                <a:gd name="T2" fmla="*/ 31 w 37"/>
                <a:gd name="T3" fmla="*/ 28 h 29"/>
                <a:gd name="T4" fmla="*/ 37 w 37"/>
                <a:gd name="T5" fmla="*/ 18 h 29"/>
                <a:gd name="T6" fmla="*/ 21 w 37"/>
                <a:gd name="T7" fmla="*/ 8 h 29"/>
                <a:gd name="T8" fmla="*/ 10 w 37"/>
                <a:gd name="T9" fmla="*/ 2 h 29"/>
                <a:gd name="T10" fmla="*/ 4 w 37"/>
                <a:gd name="T11" fmla="*/ 15 h 29"/>
                <a:gd name="T12" fmla="*/ 15 w 37"/>
                <a:gd name="T13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9">
                  <a:moveTo>
                    <a:pt x="15" y="22"/>
                  </a:moveTo>
                  <a:cubicBezTo>
                    <a:pt x="18" y="29"/>
                    <a:pt x="27" y="29"/>
                    <a:pt x="31" y="28"/>
                  </a:cubicBezTo>
                  <a:cubicBezTo>
                    <a:pt x="35" y="28"/>
                    <a:pt x="37" y="23"/>
                    <a:pt x="37" y="18"/>
                  </a:cubicBezTo>
                  <a:cubicBezTo>
                    <a:pt x="37" y="13"/>
                    <a:pt x="21" y="25"/>
                    <a:pt x="21" y="8"/>
                  </a:cubicBezTo>
                  <a:cubicBezTo>
                    <a:pt x="21" y="8"/>
                    <a:pt x="20" y="0"/>
                    <a:pt x="10" y="2"/>
                  </a:cubicBezTo>
                  <a:cubicBezTo>
                    <a:pt x="0" y="4"/>
                    <a:pt x="0" y="8"/>
                    <a:pt x="4" y="15"/>
                  </a:cubicBezTo>
                  <a:cubicBezTo>
                    <a:pt x="9" y="21"/>
                    <a:pt x="12" y="15"/>
                    <a:pt x="15" y="2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2" name="Freeform 482">
              <a:extLst>
                <a:ext uri="{FF2B5EF4-FFF2-40B4-BE49-F238E27FC236}">
                  <a16:creationId xmlns:a16="http://schemas.microsoft.com/office/drawing/2014/main" id="{68667689-0C26-C140-A376-407458EF6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" y="1081"/>
              <a:ext cx="106" cy="89"/>
            </a:xfrm>
            <a:custGeom>
              <a:avLst/>
              <a:gdLst>
                <a:gd name="T0" fmla="*/ 411 w 420"/>
                <a:gd name="T1" fmla="*/ 191 h 353"/>
                <a:gd name="T2" fmla="*/ 395 w 420"/>
                <a:gd name="T3" fmla="*/ 154 h 353"/>
                <a:gd name="T4" fmla="*/ 395 w 420"/>
                <a:gd name="T5" fmla="*/ 121 h 353"/>
                <a:gd name="T6" fmla="*/ 360 w 420"/>
                <a:gd name="T7" fmla="*/ 131 h 353"/>
                <a:gd name="T8" fmla="*/ 378 w 420"/>
                <a:gd name="T9" fmla="*/ 161 h 353"/>
                <a:gd name="T10" fmla="*/ 353 w 420"/>
                <a:gd name="T11" fmla="*/ 161 h 353"/>
                <a:gd name="T12" fmla="*/ 307 w 420"/>
                <a:gd name="T13" fmla="*/ 137 h 353"/>
                <a:gd name="T14" fmla="*/ 311 w 420"/>
                <a:gd name="T15" fmla="*/ 122 h 353"/>
                <a:gd name="T16" fmla="*/ 362 w 420"/>
                <a:gd name="T17" fmla="*/ 92 h 353"/>
                <a:gd name="T18" fmla="*/ 379 w 420"/>
                <a:gd name="T19" fmla="*/ 57 h 353"/>
                <a:gd name="T20" fmla="*/ 339 w 420"/>
                <a:gd name="T21" fmla="*/ 30 h 353"/>
                <a:gd name="T22" fmla="*/ 330 w 420"/>
                <a:gd name="T23" fmla="*/ 17 h 353"/>
                <a:gd name="T24" fmla="*/ 294 w 420"/>
                <a:gd name="T25" fmla="*/ 6 h 353"/>
                <a:gd name="T26" fmla="*/ 238 w 420"/>
                <a:gd name="T27" fmla="*/ 22 h 353"/>
                <a:gd name="T28" fmla="*/ 252 w 420"/>
                <a:gd name="T29" fmla="*/ 50 h 353"/>
                <a:gd name="T30" fmla="*/ 202 w 420"/>
                <a:gd name="T31" fmla="*/ 35 h 353"/>
                <a:gd name="T32" fmla="*/ 182 w 420"/>
                <a:gd name="T33" fmla="*/ 38 h 353"/>
                <a:gd name="T34" fmla="*/ 152 w 420"/>
                <a:gd name="T35" fmla="*/ 34 h 353"/>
                <a:gd name="T36" fmla="*/ 129 w 420"/>
                <a:gd name="T37" fmla="*/ 55 h 353"/>
                <a:gd name="T38" fmla="*/ 89 w 420"/>
                <a:gd name="T39" fmla="*/ 73 h 353"/>
                <a:gd name="T40" fmla="*/ 129 w 420"/>
                <a:gd name="T41" fmla="*/ 111 h 353"/>
                <a:gd name="T42" fmla="*/ 170 w 420"/>
                <a:gd name="T43" fmla="*/ 131 h 353"/>
                <a:gd name="T44" fmla="*/ 157 w 420"/>
                <a:gd name="T45" fmla="*/ 147 h 353"/>
                <a:gd name="T46" fmla="*/ 124 w 420"/>
                <a:gd name="T47" fmla="*/ 171 h 353"/>
                <a:gd name="T48" fmla="*/ 73 w 420"/>
                <a:gd name="T49" fmla="*/ 151 h 353"/>
                <a:gd name="T50" fmla="*/ 20 w 420"/>
                <a:gd name="T51" fmla="*/ 145 h 353"/>
                <a:gd name="T52" fmla="*/ 63 w 420"/>
                <a:gd name="T53" fmla="*/ 219 h 353"/>
                <a:gd name="T54" fmla="*/ 119 w 420"/>
                <a:gd name="T55" fmla="*/ 231 h 353"/>
                <a:gd name="T56" fmla="*/ 200 w 420"/>
                <a:gd name="T57" fmla="*/ 295 h 353"/>
                <a:gd name="T58" fmla="*/ 246 w 420"/>
                <a:gd name="T59" fmla="*/ 343 h 353"/>
                <a:gd name="T60" fmla="*/ 289 w 420"/>
                <a:gd name="T61" fmla="*/ 341 h 353"/>
                <a:gd name="T62" fmla="*/ 308 w 420"/>
                <a:gd name="T63" fmla="*/ 305 h 353"/>
                <a:gd name="T64" fmla="*/ 391 w 420"/>
                <a:gd name="T65" fmla="*/ 290 h 353"/>
                <a:gd name="T66" fmla="*/ 400 w 420"/>
                <a:gd name="T67" fmla="*/ 23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0" h="353">
                  <a:moveTo>
                    <a:pt x="420" y="210"/>
                  </a:moveTo>
                  <a:cubicBezTo>
                    <a:pt x="419" y="198"/>
                    <a:pt x="413" y="202"/>
                    <a:pt x="411" y="191"/>
                  </a:cubicBezTo>
                  <a:cubicBezTo>
                    <a:pt x="409" y="180"/>
                    <a:pt x="415" y="180"/>
                    <a:pt x="406" y="174"/>
                  </a:cubicBezTo>
                  <a:cubicBezTo>
                    <a:pt x="397" y="167"/>
                    <a:pt x="395" y="161"/>
                    <a:pt x="395" y="154"/>
                  </a:cubicBezTo>
                  <a:cubicBezTo>
                    <a:pt x="396" y="147"/>
                    <a:pt x="402" y="148"/>
                    <a:pt x="402" y="138"/>
                  </a:cubicBezTo>
                  <a:cubicBezTo>
                    <a:pt x="402" y="128"/>
                    <a:pt x="402" y="125"/>
                    <a:pt x="395" y="121"/>
                  </a:cubicBezTo>
                  <a:cubicBezTo>
                    <a:pt x="389" y="118"/>
                    <a:pt x="385" y="115"/>
                    <a:pt x="379" y="119"/>
                  </a:cubicBezTo>
                  <a:cubicBezTo>
                    <a:pt x="373" y="123"/>
                    <a:pt x="360" y="123"/>
                    <a:pt x="360" y="131"/>
                  </a:cubicBezTo>
                  <a:cubicBezTo>
                    <a:pt x="360" y="138"/>
                    <a:pt x="360" y="141"/>
                    <a:pt x="369" y="146"/>
                  </a:cubicBezTo>
                  <a:cubicBezTo>
                    <a:pt x="377" y="152"/>
                    <a:pt x="378" y="154"/>
                    <a:pt x="378" y="161"/>
                  </a:cubicBezTo>
                  <a:cubicBezTo>
                    <a:pt x="378" y="167"/>
                    <a:pt x="374" y="187"/>
                    <a:pt x="369" y="177"/>
                  </a:cubicBezTo>
                  <a:cubicBezTo>
                    <a:pt x="363" y="167"/>
                    <a:pt x="357" y="164"/>
                    <a:pt x="353" y="161"/>
                  </a:cubicBezTo>
                  <a:cubicBezTo>
                    <a:pt x="349" y="158"/>
                    <a:pt x="354" y="139"/>
                    <a:pt x="343" y="138"/>
                  </a:cubicBezTo>
                  <a:cubicBezTo>
                    <a:pt x="332" y="138"/>
                    <a:pt x="313" y="133"/>
                    <a:pt x="307" y="137"/>
                  </a:cubicBezTo>
                  <a:cubicBezTo>
                    <a:pt x="301" y="141"/>
                    <a:pt x="282" y="174"/>
                    <a:pt x="283" y="153"/>
                  </a:cubicBezTo>
                  <a:cubicBezTo>
                    <a:pt x="285" y="131"/>
                    <a:pt x="309" y="133"/>
                    <a:pt x="311" y="122"/>
                  </a:cubicBezTo>
                  <a:cubicBezTo>
                    <a:pt x="312" y="111"/>
                    <a:pt x="335" y="103"/>
                    <a:pt x="346" y="103"/>
                  </a:cubicBezTo>
                  <a:cubicBezTo>
                    <a:pt x="357" y="102"/>
                    <a:pt x="362" y="105"/>
                    <a:pt x="362" y="92"/>
                  </a:cubicBezTo>
                  <a:cubicBezTo>
                    <a:pt x="362" y="78"/>
                    <a:pt x="362" y="70"/>
                    <a:pt x="369" y="70"/>
                  </a:cubicBezTo>
                  <a:cubicBezTo>
                    <a:pt x="377" y="69"/>
                    <a:pt x="378" y="66"/>
                    <a:pt x="379" y="57"/>
                  </a:cubicBezTo>
                  <a:cubicBezTo>
                    <a:pt x="380" y="49"/>
                    <a:pt x="374" y="50"/>
                    <a:pt x="367" y="42"/>
                  </a:cubicBezTo>
                  <a:cubicBezTo>
                    <a:pt x="359" y="34"/>
                    <a:pt x="347" y="27"/>
                    <a:pt x="339" y="30"/>
                  </a:cubicBezTo>
                  <a:cubicBezTo>
                    <a:pt x="331" y="32"/>
                    <a:pt x="316" y="42"/>
                    <a:pt x="314" y="32"/>
                  </a:cubicBezTo>
                  <a:cubicBezTo>
                    <a:pt x="313" y="22"/>
                    <a:pt x="323" y="19"/>
                    <a:pt x="330" y="17"/>
                  </a:cubicBezTo>
                  <a:cubicBezTo>
                    <a:pt x="337" y="15"/>
                    <a:pt x="336" y="6"/>
                    <a:pt x="326" y="4"/>
                  </a:cubicBezTo>
                  <a:cubicBezTo>
                    <a:pt x="316" y="2"/>
                    <a:pt x="299" y="0"/>
                    <a:pt x="294" y="6"/>
                  </a:cubicBezTo>
                  <a:cubicBezTo>
                    <a:pt x="288" y="12"/>
                    <a:pt x="280" y="8"/>
                    <a:pt x="265" y="9"/>
                  </a:cubicBezTo>
                  <a:cubicBezTo>
                    <a:pt x="250" y="9"/>
                    <a:pt x="251" y="23"/>
                    <a:pt x="238" y="22"/>
                  </a:cubicBezTo>
                  <a:cubicBezTo>
                    <a:pt x="225" y="22"/>
                    <a:pt x="217" y="27"/>
                    <a:pt x="230" y="32"/>
                  </a:cubicBezTo>
                  <a:cubicBezTo>
                    <a:pt x="243" y="37"/>
                    <a:pt x="259" y="41"/>
                    <a:pt x="252" y="50"/>
                  </a:cubicBezTo>
                  <a:cubicBezTo>
                    <a:pt x="245" y="58"/>
                    <a:pt x="242" y="57"/>
                    <a:pt x="230" y="48"/>
                  </a:cubicBezTo>
                  <a:cubicBezTo>
                    <a:pt x="219" y="40"/>
                    <a:pt x="212" y="39"/>
                    <a:pt x="202" y="35"/>
                  </a:cubicBezTo>
                  <a:cubicBezTo>
                    <a:pt x="193" y="30"/>
                    <a:pt x="190" y="16"/>
                    <a:pt x="180" y="22"/>
                  </a:cubicBezTo>
                  <a:cubicBezTo>
                    <a:pt x="171" y="27"/>
                    <a:pt x="175" y="34"/>
                    <a:pt x="182" y="38"/>
                  </a:cubicBezTo>
                  <a:cubicBezTo>
                    <a:pt x="190" y="42"/>
                    <a:pt x="190" y="49"/>
                    <a:pt x="177" y="46"/>
                  </a:cubicBezTo>
                  <a:cubicBezTo>
                    <a:pt x="164" y="43"/>
                    <a:pt x="165" y="33"/>
                    <a:pt x="152" y="34"/>
                  </a:cubicBezTo>
                  <a:cubicBezTo>
                    <a:pt x="139" y="35"/>
                    <a:pt x="127" y="36"/>
                    <a:pt x="120" y="41"/>
                  </a:cubicBezTo>
                  <a:cubicBezTo>
                    <a:pt x="114" y="46"/>
                    <a:pt x="119" y="51"/>
                    <a:pt x="129" y="55"/>
                  </a:cubicBezTo>
                  <a:cubicBezTo>
                    <a:pt x="140" y="58"/>
                    <a:pt x="143" y="68"/>
                    <a:pt x="122" y="67"/>
                  </a:cubicBezTo>
                  <a:cubicBezTo>
                    <a:pt x="100" y="66"/>
                    <a:pt x="96" y="69"/>
                    <a:pt x="89" y="73"/>
                  </a:cubicBezTo>
                  <a:cubicBezTo>
                    <a:pt x="82" y="78"/>
                    <a:pt x="80" y="90"/>
                    <a:pt x="94" y="95"/>
                  </a:cubicBezTo>
                  <a:cubicBezTo>
                    <a:pt x="109" y="100"/>
                    <a:pt x="119" y="113"/>
                    <a:pt x="129" y="111"/>
                  </a:cubicBezTo>
                  <a:cubicBezTo>
                    <a:pt x="138" y="108"/>
                    <a:pt x="144" y="108"/>
                    <a:pt x="150" y="116"/>
                  </a:cubicBezTo>
                  <a:cubicBezTo>
                    <a:pt x="156" y="124"/>
                    <a:pt x="166" y="124"/>
                    <a:pt x="170" y="131"/>
                  </a:cubicBezTo>
                  <a:cubicBezTo>
                    <a:pt x="173" y="138"/>
                    <a:pt x="179" y="143"/>
                    <a:pt x="176" y="149"/>
                  </a:cubicBezTo>
                  <a:cubicBezTo>
                    <a:pt x="173" y="155"/>
                    <a:pt x="157" y="138"/>
                    <a:pt x="157" y="147"/>
                  </a:cubicBezTo>
                  <a:cubicBezTo>
                    <a:pt x="157" y="156"/>
                    <a:pt x="169" y="166"/>
                    <a:pt x="154" y="168"/>
                  </a:cubicBezTo>
                  <a:cubicBezTo>
                    <a:pt x="140" y="169"/>
                    <a:pt x="129" y="165"/>
                    <a:pt x="124" y="171"/>
                  </a:cubicBezTo>
                  <a:cubicBezTo>
                    <a:pt x="120" y="178"/>
                    <a:pt x="109" y="185"/>
                    <a:pt x="104" y="176"/>
                  </a:cubicBezTo>
                  <a:cubicBezTo>
                    <a:pt x="99" y="166"/>
                    <a:pt x="79" y="159"/>
                    <a:pt x="73" y="151"/>
                  </a:cubicBezTo>
                  <a:cubicBezTo>
                    <a:pt x="68" y="144"/>
                    <a:pt x="59" y="133"/>
                    <a:pt x="44" y="134"/>
                  </a:cubicBezTo>
                  <a:cubicBezTo>
                    <a:pt x="44" y="134"/>
                    <a:pt x="23" y="133"/>
                    <a:pt x="20" y="145"/>
                  </a:cubicBezTo>
                  <a:cubicBezTo>
                    <a:pt x="16" y="156"/>
                    <a:pt x="0" y="164"/>
                    <a:pt x="13" y="176"/>
                  </a:cubicBezTo>
                  <a:cubicBezTo>
                    <a:pt x="25" y="189"/>
                    <a:pt x="56" y="209"/>
                    <a:pt x="63" y="219"/>
                  </a:cubicBezTo>
                  <a:cubicBezTo>
                    <a:pt x="71" y="230"/>
                    <a:pt x="79" y="236"/>
                    <a:pt x="87" y="229"/>
                  </a:cubicBezTo>
                  <a:cubicBezTo>
                    <a:pt x="96" y="223"/>
                    <a:pt x="111" y="219"/>
                    <a:pt x="119" y="231"/>
                  </a:cubicBezTo>
                  <a:cubicBezTo>
                    <a:pt x="128" y="242"/>
                    <a:pt x="134" y="227"/>
                    <a:pt x="145" y="245"/>
                  </a:cubicBezTo>
                  <a:cubicBezTo>
                    <a:pt x="157" y="263"/>
                    <a:pt x="183" y="279"/>
                    <a:pt x="200" y="295"/>
                  </a:cubicBezTo>
                  <a:cubicBezTo>
                    <a:pt x="218" y="312"/>
                    <a:pt x="225" y="309"/>
                    <a:pt x="228" y="322"/>
                  </a:cubicBezTo>
                  <a:cubicBezTo>
                    <a:pt x="230" y="335"/>
                    <a:pt x="239" y="342"/>
                    <a:pt x="246" y="343"/>
                  </a:cubicBezTo>
                  <a:cubicBezTo>
                    <a:pt x="253" y="345"/>
                    <a:pt x="257" y="353"/>
                    <a:pt x="271" y="353"/>
                  </a:cubicBezTo>
                  <a:cubicBezTo>
                    <a:pt x="284" y="353"/>
                    <a:pt x="281" y="351"/>
                    <a:pt x="289" y="341"/>
                  </a:cubicBezTo>
                  <a:cubicBezTo>
                    <a:pt x="298" y="331"/>
                    <a:pt x="319" y="329"/>
                    <a:pt x="309" y="321"/>
                  </a:cubicBezTo>
                  <a:cubicBezTo>
                    <a:pt x="299" y="313"/>
                    <a:pt x="291" y="304"/>
                    <a:pt x="308" y="305"/>
                  </a:cubicBezTo>
                  <a:cubicBezTo>
                    <a:pt x="325" y="305"/>
                    <a:pt x="357" y="313"/>
                    <a:pt x="365" y="302"/>
                  </a:cubicBezTo>
                  <a:cubicBezTo>
                    <a:pt x="373" y="291"/>
                    <a:pt x="379" y="295"/>
                    <a:pt x="391" y="290"/>
                  </a:cubicBezTo>
                  <a:cubicBezTo>
                    <a:pt x="403" y="286"/>
                    <a:pt x="410" y="272"/>
                    <a:pt x="412" y="257"/>
                  </a:cubicBezTo>
                  <a:cubicBezTo>
                    <a:pt x="414" y="242"/>
                    <a:pt x="396" y="245"/>
                    <a:pt x="400" y="231"/>
                  </a:cubicBezTo>
                  <a:cubicBezTo>
                    <a:pt x="405" y="217"/>
                    <a:pt x="420" y="222"/>
                    <a:pt x="420" y="21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3" name="Freeform 483">
              <a:extLst>
                <a:ext uri="{FF2B5EF4-FFF2-40B4-BE49-F238E27FC236}">
                  <a16:creationId xmlns:a16="http://schemas.microsoft.com/office/drawing/2014/main" id="{3D259E22-5873-0648-AA8F-3211FEA3F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1062"/>
              <a:ext cx="9" cy="10"/>
            </a:xfrm>
            <a:custGeom>
              <a:avLst/>
              <a:gdLst>
                <a:gd name="T0" fmla="*/ 15 w 35"/>
                <a:gd name="T1" fmla="*/ 21 h 38"/>
                <a:gd name="T2" fmla="*/ 10 w 35"/>
                <a:gd name="T3" fmla="*/ 35 h 38"/>
                <a:gd name="T4" fmla="*/ 32 w 35"/>
                <a:gd name="T5" fmla="*/ 27 h 38"/>
                <a:gd name="T6" fmla="*/ 21 w 35"/>
                <a:gd name="T7" fmla="*/ 12 h 38"/>
                <a:gd name="T8" fmla="*/ 15 w 35"/>
                <a:gd name="T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8">
                  <a:moveTo>
                    <a:pt x="15" y="21"/>
                  </a:moveTo>
                  <a:cubicBezTo>
                    <a:pt x="5" y="25"/>
                    <a:pt x="0" y="33"/>
                    <a:pt x="10" y="35"/>
                  </a:cubicBezTo>
                  <a:cubicBezTo>
                    <a:pt x="19" y="38"/>
                    <a:pt x="28" y="35"/>
                    <a:pt x="32" y="27"/>
                  </a:cubicBezTo>
                  <a:cubicBezTo>
                    <a:pt x="35" y="18"/>
                    <a:pt x="31" y="0"/>
                    <a:pt x="21" y="12"/>
                  </a:cubicBezTo>
                  <a:cubicBezTo>
                    <a:pt x="21" y="12"/>
                    <a:pt x="24" y="17"/>
                    <a:pt x="15" y="2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4" name="Freeform 484">
              <a:extLst>
                <a:ext uri="{FF2B5EF4-FFF2-40B4-BE49-F238E27FC236}">
                  <a16:creationId xmlns:a16="http://schemas.microsoft.com/office/drawing/2014/main" id="{AB5FE6ED-EB4B-8042-B8CB-09B19E1AA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" y="1063"/>
              <a:ext cx="11" cy="9"/>
            </a:xfrm>
            <a:custGeom>
              <a:avLst/>
              <a:gdLst>
                <a:gd name="T0" fmla="*/ 4 w 45"/>
                <a:gd name="T1" fmla="*/ 9 h 33"/>
                <a:gd name="T2" fmla="*/ 11 w 45"/>
                <a:gd name="T3" fmla="*/ 23 h 33"/>
                <a:gd name="T4" fmla="*/ 31 w 45"/>
                <a:gd name="T5" fmla="*/ 28 h 33"/>
                <a:gd name="T6" fmla="*/ 45 w 45"/>
                <a:gd name="T7" fmla="*/ 24 h 33"/>
                <a:gd name="T8" fmla="*/ 34 w 45"/>
                <a:gd name="T9" fmla="*/ 13 h 33"/>
                <a:gd name="T10" fmla="*/ 4 w 45"/>
                <a:gd name="T11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33">
                  <a:moveTo>
                    <a:pt x="4" y="9"/>
                  </a:moveTo>
                  <a:cubicBezTo>
                    <a:pt x="4" y="9"/>
                    <a:pt x="0" y="23"/>
                    <a:pt x="11" y="23"/>
                  </a:cubicBezTo>
                  <a:cubicBezTo>
                    <a:pt x="23" y="23"/>
                    <a:pt x="25" y="23"/>
                    <a:pt x="31" y="28"/>
                  </a:cubicBezTo>
                  <a:cubicBezTo>
                    <a:pt x="36" y="33"/>
                    <a:pt x="45" y="30"/>
                    <a:pt x="45" y="24"/>
                  </a:cubicBezTo>
                  <a:cubicBezTo>
                    <a:pt x="45" y="18"/>
                    <a:pt x="45" y="20"/>
                    <a:pt x="34" y="13"/>
                  </a:cubicBezTo>
                  <a:cubicBezTo>
                    <a:pt x="24" y="7"/>
                    <a:pt x="6" y="0"/>
                    <a:pt x="4" y="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5" name="Freeform 485">
              <a:extLst>
                <a:ext uri="{FF2B5EF4-FFF2-40B4-BE49-F238E27FC236}">
                  <a16:creationId xmlns:a16="http://schemas.microsoft.com/office/drawing/2014/main" id="{DBF76E2E-4DFF-F543-8C80-CDCCB6760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" y="1031"/>
              <a:ext cx="54" cy="36"/>
            </a:xfrm>
            <a:custGeom>
              <a:avLst/>
              <a:gdLst>
                <a:gd name="T0" fmla="*/ 210 w 217"/>
                <a:gd name="T1" fmla="*/ 76 h 140"/>
                <a:gd name="T2" fmla="*/ 202 w 217"/>
                <a:gd name="T3" fmla="*/ 57 h 140"/>
                <a:gd name="T4" fmla="*/ 176 w 217"/>
                <a:gd name="T5" fmla="*/ 30 h 140"/>
                <a:gd name="T6" fmla="*/ 141 w 217"/>
                <a:gd name="T7" fmla="*/ 7 h 140"/>
                <a:gd name="T8" fmla="*/ 90 w 217"/>
                <a:gd name="T9" fmla="*/ 13 h 140"/>
                <a:gd name="T10" fmla="*/ 69 w 217"/>
                <a:gd name="T11" fmla="*/ 31 h 140"/>
                <a:gd name="T12" fmla="*/ 45 w 217"/>
                <a:gd name="T13" fmla="*/ 46 h 140"/>
                <a:gd name="T14" fmla="*/ 24 w 217"/>
                <a:gd name="T15" fmla="*/ 60 h 140"/>
                <a:gd name="T16" fmla="*/ 10 w 217"/>
                <a:gd name="T17" fmla="*/ 88 h 140"/>
                <a:gd name="T18" fmla="*/ 43 w 217"/>
                <a:gd name="T19" fmla="*/ 104 h 140"/>
                <a:gd name="T20" fmla="*/ 76 w 217"/>
                <a:gd name="T21" fmla="*/ 115 h 140"/>
                <a:gd name="T22" fmla="*/ 103 w 217"/>
                <a:gd name="T23" fmla="*/ 121 h 140"/>
                <a:gd name="T24" fmla="*/ 140 w 217"/>
                <a:gd name="T25" fmla="*/ 135 h 140"/>
                <a:gd name="T26" fmla="*/ 205 w 217"/>
                <a:gd name="T27" fmla="*/ 128 h 140"/>
                <a:gd name="T28" fmla="*/ 207 w 217"/>
                <a:gd name="T29" fmla="*/ 94 h 140"/>
                <a:gd name="T30" fmla="*/ 210 w 217"/>
                <a:gd name="T31" fmla="*/ 7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7" h="140">
                  <a:moveTo>
                    <a:pt x="210" y="76"/>
                  </a:moveTo>
                  <a:cubicBezTo>
                    <a:pt x="216" y="71"/>
                    <a:pt x="208" y="63"/>
                    <a:pt x="202" y="57"/>
                  </a:cubicBezTo>
                  <a:cubicBezTo>
                    <a:pt x="197" y="51"/>
                    <a:pt x="191" y="43"/>
                    <a:pt x="176" y="30"/>
                  </a:cubicBezTo>
                  <a:cubicBezTo>
                    <a:pt x="161" y="17"/>
                    <a:pt x="153" y="6"/>
                    <a:pt x="141" y="7"/>
                  </a:cubicBezTo>
                  <a:cubicBezTo>
                    <a:pt x="129" y="8"/>
                    <a:pt x="96" y="0"/>
                    <a:pt x="90" y="13"/>
                  </a:cubicBezTo>
                  <a:cubicBezTo>
                    <a:pt x="90" y="13"/>
                    <a:pt x="85" y="29"/>
                    <a:pt x="69" y="31"/>
                  </a:cubicBezTo>
                  <a:cubicBezTo>
                    <a:pt x="53" y="33"/>
                    <a:pt x="49" y="39"/>
                    <a:pt x="45" y="46"/>
                  </a:cubicBezTo>
                  <a:cubicBezTo>
                    <a:pt x="40" y="54"/>
                    <a:pt x="33" y="54"/>
                    <a:pt x="24" y="60"/>
                  </a:cubicBezTo>
                  <a:cubicBezTo>
                    <a:pt x="15" y="66"/>
                    <a:pt x="0" y="81"/>
                    <a:pt x="10" y="88"/>
                  </a:cubicBezTo>
                  <a:cubicBezTo>
                    <a:pt x="20" y="94"/>
                    <a:pt x="35" y="104"/>
                    <a:pt x="43" y="104"/>
                  </a:cubicBezTo>
                  <a:cubicBezTo>
                    <a:pt x="52" y="104"/>
                    <a:pt x="69" y="108"/>
                    <a:pt x="76" y="115"/>
                  </a:cubicBezTo>
                  <a:cubicBezTo>
                    <a:pt x="83" y="122"/>
                    <a:pt x="99" y="112"/>
                    <a:pt x="103" y="121"/>
                  </a:cubicBezTo>
                  <a:cubicBezTo>
                    <a:pt x="108" y="129"/>
                    <a:pt x="122" y="135"/>
                    <a:pt x="140" y="135"/>
                  </a:cubicBezTo>
                  <a:cubicBezTo>
                    <a:pt x="158" y="135"/>
                    <a:pt x="205" y="140"/>
                    <a:pt x="205" y="128"/>
                  </a:cubicBezTo>
                  <a:cubicBezTo>
                    <a:pt x="205" y="116"/>
                    <a:pt x="217" y="100"/>
                    <a:pt x="207" y="94"/>
                  </a:cubicBezTo>
                  <a:cubicBezTo>
                    <a:pt x="197" y="89"/>
                    <a:pt x="205" y="81"/>
                    <a:pt x="210" y="7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6" name="Freeform 486">
              <a:extLst>
                <a:ext uri="{FF2B5EF4-FFF2-40B4-BE49-F238E27FC236}">
                  <a16:creationId xmlns:a16="http://schemas.microsoft.com/office/drawing/2014/main" id="{DA1BBAB9-B19B-FD44-9DFB-4868E8165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5" y="1020"/>
              <a:ext cx="13" cy="11"/>
            </a:xfrm>
            <a:custGeom>
              <a:avLst/>
              <a:gdLst>
                <a:gd name="T0" fmla="*/ 14 w 52"/>
                <a:gd name="T1" fmla="*/ 26 h 41"/>
                <a:gd name="T2" fmla="*/ 28 w 52"/>
                <a:gd name="T3" fmla="*/ 35 h 41"/>
                <a:gd name="T4" fmla="*/ 48 w 52"/>
                <a:gd name="T5" fmla="*/ 31 h 41"/>
                <a:gd name="T6" fmla="*/ 36 w 52"/>
                <a:gd name="T7" fmla="*/ 2 h 41"/>
                <a:gd name="T8" fmla="*/ 19 w 52"/>
                <a:gd name="T9" fmla="*/ 3 h 41"/>
                <a:gd name="T10" fmla="*/ 6 w 52"/>
                <a:gd name="T11" fmla="*/ 13 h 41"/>
                <a:gd name="T12" fmla="*/ 14 w 52"/>
                <a:gd name="T13" fmla="*/ 2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1">
                  <a:moveTo>
                    <a:pt x="14" y="26"/>
                  </a:moveTo>
                  <a:cubicBezTo>
                    <a:pt x="14" y="31"/>
                    <a:pt x="16" y="35"/>
                    <a:pt x="28" y="35"/>
                  </a:cubicBezTo>
                  <a:cubicBezTo>
                    <a:pt x="41" y="35"/>
                    <a:pt x="52" y="41"/>
                    <a:pt x="48" y="31"/>
                  </a:cubicBezTo>
                  <a:cubicBezTo>
                    <a:pt x="45" y="22"/>
                    <a:pt x="45" y="2"/>
                    <a:pt x="36" y="2"/>
                  </a:cubicBezTo>
                  <a:cubicBezTo>
                    <a:pt x="28" y="2"/>
                    <a:pt x="30" y="0"/>
                    <a:pt x="19" y="3"/>
                  </a:cubicBezTo>
                  <a:cubicBezTo>
                    <a:pt x="19" y="3"/>
                    <a:pt x="0" y="7"/>
                    <a:pt x="6" y="13"/>
                  </a:cubicBezTo>
                  <a:cubicBezTo>
                    <a:pt x="12" y="18"/>
                    <a:pt x="14" y="20"/>
                    <a:pt x="14" y="2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7" name="Freeform 487">
              <a:extLst>
                <a:ext uri="{FF2B5EF4-FFF2-40B4-BE49-F238E27FC236}">
                  <a16:creationId xmlns:a16="http://schemas.microsoft.com/office/drawing/2014/main" id="{64F6D5AF-DFDA-814A-90D8-394DD0711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2" y="1032"/>
              <a:ext cx="22" cy="10"/>
            </a:xfrm>
            <a:custGeom>
              <a:avLst/>
              <a:gdLst>
                <a:gd name="T0" fmla="*/ 33 w 86"/>
                <a:gd name="T1" fmla="*/ 33 h 41"/>
                <a:gd name="T2" fmla="*/ 49 w 86"/>
                <a:gd name="T3" fmla="*/ 25 h 41"/>
                <a:gd name="T4" fmla="*/ 68 w 86"/>
                <a:gd name="T5" fmla="*/ 22 h 41"/>
                <a:gd name="T6" fmla="*/ 77 w 86"/>
                <a:gd name="T7" fmla="*/ 8 h 41"/>
                <a:gd name="T8" fmla="*/ 48 w 86"/>
                <a:gd name="T9" fmla="*/ 0 h 41"/>
                <a:gd name="T10" fmla="*/ 31 w 86"/>
                <a:gd name="T11" fmla="*/ 8 h 41"/>
                <a:gd name="T12" fmla="*/ 10 w 86"/>
                <a:gd name="T13" fmla="*/ 16 h 41"/>
                <a:gd name="T14" fmla="*/ 7 w 86"/>
                <a:gd name="T15" fmla="*/ 28 h 41"/>
                <a:gd name="T16" fmla="*/ 33 w 86"/>
                <a:gd name="T1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41">
                  <a:moveTo>
                    <a:pt x="33" y="33"/>
                  </a:moveTo>
                  <a:cubicBezTo>
                    <a:pt x="36" y="25"/>
                    <a:pt x="40" y="20"/>
                    <a:pt x="49" y="25"/>
                  </a:cubicBezTo>
                  <a:cubicBezTo>
                    <a:pt x="58" y="30"/>
                    <a:pt x="65" y="27"/>
                    <a:pt x="68" y="22"/>
                  </a:cubicBezTo>
                  <a:cubicBezTo>
                    <a:pt x="71" y="17"/>
                    <a:pt x="86" y="15"/>
                    <a:pt x="77" y="8"/>
                  </a:cubicBezTo>
                  <a:cubicBezTo>
                    <a:pt x="68" y="1"/>
                    <a:pt x="59" y="0"/>
                    <a:pt x="48" y="0"/>
                  </a:cubicBezTo>
                  <a:cubicBezTo>
                    <a:pt x="48" y="0"/>
                    <a:pt x="40" y="0"/>
                    <a:pt x="31" y="8"/>
                  </a:cubicBezTo>
                  <a:cubicBezTo>
                    <a:pt x="22" y="15"/>
                    <a:pt x="18" y="15"/>
                    <a:pt x="10" y="16"/>
                  </a:cubicBezTo>
                  <a:cubicBezTo>
                    <a:pt x="3" y="18"/>
                    <a:pt x="0" y="23"/>
                    <a:pt x="7" y="28"/>
                  </a:cubicBezTo>
                  <a:cubicBezTo>
                    <a:pt x="13" y="33"/>
                    <a:pt x="30" y="41"/>
                    <a:pt x="33" y="3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8" name="Freeform 488">
              <a:extLst>
                <a:ext uri="{FF2B5EF4-FFF2-40B4-BE49-F238E27FC236}">
                  <a16:creationId xmlns:a16="http://schemas.microsoft.com/office/drawing/2014/main" id="{DF8818E6-5E0E-4748-8197-88F314FDC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" y="994"/>
              <a:ext cx="120" cy="62"/>
            </a:xfrm>
            <a:custGeom>
              <a:avLst/>
              <a:gdLst>
                <a:gd name="T0" fmla="*/ 369 w 474"/>
                <a:gd name="T1" fmla="*/ 25 h 246"/>
                <a:gd name="T2" fmla="*/ 324 w 474"/>
                <a:gd name="T3" fmla="*/ 25 h 246"/>
                <a:gd name="T4" fmla="*/ 341 w 474"/>
                <a:gd name="T5" fmla="*/ 12 h 246"/>
                <a:gd name="T6" fmla="*/ 291 w 474"/>
                <a:gd name="T7" fmla="*/ 12 h 246"/>
                <a:gd name="T8" fmla="*/ 227 w 474"/>
                <a:gd name="T9" fmla="*/ 10 h 246"/>
                <a:gd name="T10" fmla="*/ 233 w 474"/>
                <a:gd name="T11" fmla="*/ 33 h 246"/>
                <a:gd name="T12" fmla="*/ 259 w 474"/>
                <a:gd name="T13" fmla="*/ 55 h 246"/>
                <a:gd name="T14" fmla="*/ 289 w 474"/>
                <a:gd name="T15" fmla="*/ 82 h 246"/>
                <a:gd name="T16" fmla="*/ 284 w 474"/>
                <a:gd name="T17" fmla="*/ 108 h 246"/>
                <a:gd name="T18" fmla="*/ 238 w 474"/>
                <a:gd name="T19" fmla="*/ 68 h 246"/>
                <a:gd name="T20" fmla="*/ 199 w 474"/>
                <a:gd name="T21" fmla="*/ 42 h 246"/>
                <a:gd name="T22" fmla="*/ 168 w 474"/>
                <a:gd name="T23" fmla="*/ 69 h 246"/>
                <a:gd name="T24" fmla="*/ 152 w 474"/>
                <a:gd name="T25" fmla="*/ 102 h 246"/>
                <a:gd name="T26" fmla="*/ 106 w 474"/>
                <a:gd name="T27" fmla="*/ 56 h 246"/>
                <a:gd name="T28" fmla="*/ 70 w 474"/>
                <a:gd name="T29" fmla="*/ 25 h 246"/>
                <a:gd name="T30" fmla="*/ 17 w 474"/>
                <a:gd name="T31" fmla="*/ 23 h 246"/>
                <a:gd name="T32" fmla="*/ 18 w 474"/>
                <a:gd name="T33" fmla="*/ 45 h 246"/>
                <a:gd name="T34" fmla="*/ 47 w 474"/>
                <a:gd name="T35" fmla="*/ 67 h 246"/>
                <a:gd name="T36" fmla="*/ 23 w 474"/>
                <a:gd name="T37" fmla="*/ 97 h 246"/>
                <a:gd name="T38" fmla="*/ 63 w 474"/>
                <a:gd name="T39" fmla="*/ 103 h 246"/>
                <a:gd name="T40" fmla="*/ 68 w 474"/>
                <a:gd name="T41" fmla="*/ 121 h 246"/>
                <a:gd name="T42" fmla="*/ 102 w 474"/>
                <a:gd name="T43" fmla="*/ 116 h 246"/>
                <a:gd name="T44" fmla="*/ 103 w 474"/>
                <a:gd name="T45" fmla="*/ 142 h 246"/>
                <a:gd name="T46" fmla="*/ 122 w 474"/>
                <a:gd name="T47" fmla="*/ 152 h 246"/>
                <a:gd name="T48" fmla="*/ 160 w 474"/>
                <a:gd name="T49" fmla="*/ 169 h 246"/>
                <a:gd name="T50" fmla="*/ 226 w 474"/>
                <a:gd name="T51" fmla="*/ 163 h 246"/>
                <a:gd name="T52" fmla="*/ 259 w 474"/>
                <a:gd name="T53" fmla="*/ 163 h 246"/>
                <a:gd name="T54" fmla="*/ 292 w 474"/>
                <a:gd name="T55" fmla="*/ 151 h 246"/>
                <a:gd name="T56" fmla="*/ 287 w 474"/>
                <a:gd name="T57" fmla="*/ 172 h 246"/>
                <a:gd name="T58" fmla="*/ 266 w 474"/>
                <a:gd name="T59" fmla="*/ 189 h 246"/>
                <a:gd name="T60" fmla="*/ 289 w 474"/>
                <a:gd name="T61" fmla="*/ 237 h 246"/>
                <a:gd name="T62" fmla="*/ 382 w 474"/>
                <a:gd name="T63" fmla="*/ 240 h 246"/>
                <a:gd name="T64" fmla="*/ 441 w 474"/>
                <a:gd name="T65" fmla="*/ 220 h 246"/>
                <a:gd name="T66" fmla="*/ 432 w 474"/>
                <a:gd name="T67" fmla="*/ 188 h 246"/>
                <a:gd name="T68" fmla="*/ 469 w 474"/>
                <a:gd name="T69" fmla="*/ 184 h 246"/>
                <a:gd name="T70" fmla="*/ 465 w 474"/>
                <a:gd name="T71" fmla="*/ 145 h 246"/>
                <a:gd name="T72" fmla="*/ 459 w 474"/>
                <a:gd name="T73" fmla="*/ 116 h 246"/>
                <a:gd name="T74" fmla="*/ 449 w 474"/>
                <a:gd name="T75" fmla="*/ 58 h 246"/>
                <a:gd name="T76" fmla="*/ 408 w 474"/>
                <a:gd name="T77" fmla="*/ 2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4" h="246">
                  <a:moveTo>
                    <a:pt x="385" y="16"/>
                  </a:moveTo>
                  <a:cubicBezTo>
                    <a:pt x="381" y="23"/>
                    <a:pt x="369" y="17"/>
                    <a:pt x="369" y="25"/>
                  </a:cubicBezTo>
                  <a:cubicBezTo>
                    <a:pt x="369" y="34"/>
                    <a:pt x="369" y="40"/>
                    <a:pt x="357" y="37"/>
                  </a:cubicBezTo>
                  <a:cubicBezTo>
                    <a:pt x="346" y="34"/>
                    <a:pt x="338" y="26"/>
                    <a:pt x="324" y="25"/>
                  </a:cubicBezTo>
                  <a:cubicBezTo>
                    <a:pt x="311" y="23"/>
                    <a:pt x="295" y="16"/>
                    <a:pt x="310" y="14"/>
                  </a:cubicBezTo>
                  <a:cubicBezTo>
                    <a:pt x="325" y="12"/>
                    <a:pt x="343" y="19"/>
                    <a:pt x="341" y="12"/>
                  </a:cubicBezTo>
                  <a:cubicBezTo>
                    <a:pt x="339" y="5"/>
                    <a:pt x="319" y="5"/>
                    <a:pt x="312" y="4"/>
                  </a:cubicBezTo>
                  <a:cubicBezTo>
                    <a:pt x="304" y="3"/>
                    <a:pt x="302" y="15"/>
                    <a:pt x="291" y="12"/>
                  </a:cubicBezTo>
                  <a:cubicBezTo>
                    <a:pt x="280" y="10"/>
                    <a:pt x="274" y="0"/>
                    <a:pt x="261" y="0"/>
                  </a:cubicBezTo>
                  <a:cubicBezTo>
                    <a:pt x="249" y="0"/>
                    <a:pt x="236" y="6"/>
                    <a:pt x="227" y="10"/>
                  </a:cubicBezTo>
                  <a:cubicBezTo>
                    <a:pt x="218" y="15"/>
                    <a:pt x="198" y="23"/>
                    <a:pt x="205" y="29"/>
                  </a:cubicBezTo>
                  <a:cubicBezTo>
                    <a:pt x="212" y="35"/>
                    <a:pt x="221" y="40"/>
                    <a:pt x="233" y="33"/>
                  </a:cubicBezTo>
                  <a:cubicBezTo>
                    <a:pt x="245" y="25"/>
                    <a:pt x="249" y="28"/>
                    <a:pt x="249" y="36"/>
                  </a:cubicBezTo>
                  <a:cubicBezTo>
                    <a:pt x="248" y="44"/>
                    <a:pt x="246" y="50"/>
                    <a:pt x="259" y="55"/>
                  </a:cubicBezTo>
                  <a:cubicBezTo>
                    <a:pt x="271" y="59"/>
                    <a:pt x="278" y="58"/>
                    <a:pt x="279" y="66"/>
                  </a:cubicBezTo>
                  <a:cubicBezTo>
                    <a:pt x="279" y="75"/>
                    <a:pt x="283" y="78"/>
                    <a:pt x="289" y="82"/>
                  </a:cubicBezTo>
                  <a:cubicBezTo>
                    <a:pt x="296" y="86"/>
                    <a:pt x="301" y="88"/>
                    <a:pt x="301" y="96"/>
                  </a:cubicBezTo>
                  <a:cubicBezTo>
                    <a:pt x="301" y="104"/>
                    <a:pt x="292" y="117"/>
                    <a:pt x="284" y="108"/>
                  </a:cubicBezTo>
                  <a:cubicBezTo>
                    <a:pt x="277" y="98"/>
                    <a:pt x="270" y="89"/>
                    <a:pt x="259" y="86"/>
                  </a:cubicBezTo>
                  <a:cubicBezTo>
                    <a:pt x="249" y="82"/>
                    <a:pt x="245" y="80"/>
                    <a:pt x="238" y="68"/>
                  </a:cubicBezTo>
                  <a:cubicBezTo>
                    <a:pt x="232" y="57"/>
                    <a:pt x="235" y="60"/>
                    <a:pt x="226" y="55"/>
                  </a:cubicBezTo>
                  <a:cubicBezTo>
                    <a:pt x="218" y="50"/>
                    <a:pt x="208" y="43"/>
                    <a:pt x="199" y="42"/>
                  </a:cubicBezTo>
                  <a:cubicBezTo>
                    <a:pt x="190" y="41"/>
                    <a:pt x="180" y="43"/>
                    <a:pt x="177" y="50"/>
                  </a:cubicBezTo>
                  <a:cubicBezTo>
                    <a:pt x="173" y="58"/>
                    <a:pt x="161" y="63"/>
                    <a:pt x="168" y="69"/>
                  </a:cubicBezTo>
                  <a:cubicBezTo>
                    <a:pt x="175" y="76"/>
                    <a:pt x="174" y="86"/>
                    <a:pt x="174" y="91"/>
                  </a:cubicBezTo>
                  <a:cubicBezTo>
                    <a:pt x="174" y="97"/>
                    <a:pt x="160" y="116"/>
                    <a:pt x="152" y="102"/>
                  </a:cubicBezTo>
                  <a:cubicBezTo>
                    <a:pt x="144" y="88"/>
                    <a:pt x="139" y="63"/>
                    <a:pt x="124" y="64"/>
                  </a:cubicBezTo>
                  <a:cubicBezTo>
                    <a:pt x="109" y="65"/>
                    <a:pt x="108" y="71"/>
                    <a:pt x="106" y="56"/>
                  </a:cubicBezTo>
                  <a:cubicBezTo>
                    <a:pt x="104" y="41"/>
                    <a:pt x="99" y="38"/>
                    <a:pt x="89" y="36"/>
                  </a:cubicBezTo>
                  <a:cubicBezTo>
                    <a:pt x="79" y="35"/>
                    <a:pt x="83" y="31"/>
                    <a:pt x="70" y="25"/>
                  </a:cubicBezTo>
                  <a:cubicBezTo>
                    <a:pt x="57" y="18"/>
                    <a:pt x="55" y="15"/>
                    <a:pt x="36" y="17"/>
                  </a:cubicBezTo>
                  <a:cubicBezTo>
                    <a:pt x="36" y="17"/>
                    <a:pt x="30" y="21"/>
                    <a:pt x="17" y="23"/>
                  </a:cubicBezTo>
                  <a:cubicBezTo>
                    <a:pt x="4" y="24"/>
                    <a:pt x="0" y="28"/>
                    <a:pt x="6" y="34"/>
                  </a:cubicBezTo>
                  <a:cubicBezTo>
                    <a:pt x="11" y="40"/>
                    <a:pt x="18" y="40"/>
                    <a:pt x="18" y="45"/>
                  </a:cubicBezTo>
                  <a:cubicBezTo>
                    <a:pt x="18" y="49"/>
                    <a:pt x="21" y="59"/>
                    <a:pt x="22" y="64"/>
                  </a:cubicBezTo>
                  <a:cubicBezTo>
                    <a:pt x="23" y="69"/>
                    <a:pt x="48" y="60"/>
                    <a:pt x="47" y="67"/>
                  </a:cubicBezTo>
                  <a:cubicBezTo>
                    <a:pt x="46" y="73"/>
                    <a:pt x="42" y="75"/>
                    <a:pt x="31" y="79"/>
                  </a:cubicBezTo>
                  <a:cubicBezTo>
                    <a:pt x="21" y="83"/>
                    <a:pt x="9" y="94"/>
                    <a:pt x="23" y="97"/>
                  </a:cubicBezTo>
                  <a:cubicBezTo>
                    <a:pt x="38" y="100"/>
                    <a:pt x="50" y="93"/>
                    <a:pt x="51" y="98"/>
                  </a:cubicBezTo>
                  <a:cubicBezTo>
                    <a:pt x="53" y="102"/>
                    <a:pt x="59" y="103"/>
                    <a:pt x="63" y="103"/>
                  </a:cubicBezTo>
                  <a:cubicBezTo>
                    <a:pt x="67" y="104"/>
                    <a:pt x="78" y="109"/>
                    <a:pt x="77" y="111"/>
                  </a:cubicBezTo>
                  <a:cubicBezTo>
                    <a:pt x="75" y="114"/>
                    <a:pt x="56" y="115"/>
                    <a:pt x="68" y="121"/>
                  </a:cubicBezTo>
                  <a:cubicBezTo>
                    <a:pt x="79" y="128"/>
                    <a:pt x="89" y="123"/>
                    <a:pt x="89" y="119"/>
                  </a:cubicBezTo>
                  <a:cubicBezTo>
                    <a:pt x="90" y="114"/>
                    <a:pt x="100" y="110"/>
                    <a:pt x="102" y="116"/>
                  </a:cubicBezTo>
                  <a:cubicBezTo>
                    <a:pt x="103" y="123"/>
                    <a:pt x="104" y="127"/>
                    <a:pt x="96" y="131"/>
                  </a:cubicBezTo>
                  <a:cubicBezTo>
                    <a:pt x="88" y="136"/>
                    <a:pt x="89" y="142"/>
                    <a:pt x="103" y="142"/>
                  </a:cubicBezTo>
                  <a:cubicBezTo>
                    <a:pt x="117" y="142"/>
                    <a:pt x="131" y="131"/>
                    <a:pt x="132" y="139"/>
                  </a:cubicBezTo>
                  <a:cubicBezTo>
                    <a:pt x="132" y="148"/>
                    <a:pt x="123" y="144"/>
                    <a:pt x="122" y="152"/>
                  </a:cubicBezTo>
                  <a:cubicBezTo>
                    <a:pt x="122" y="159"/>
                    <a:pt x="126" y="166"/>
                    <a:pt x="136" y="169"/>
                  </a:cubicBezTo>
                  <a:cubicBezTo>
                    <a:pt x="146" y="172"/>
                    <a:pt x="154" y="175"/>
                    <a:pt x="160" y="169"/>
                  </a:cubicBezTo>
                  <a:cubicBezTo>
                    <a:pt x="167" y="164"/>
                    <a:pt x="175" y="163"/>
                    <a:pt x="189" y="163"/>
                  </a:cubicBezTo>
                  <a:cubicBezTo>
                    <a:pt x="203" y="163"/>
                    <a:pt x="221" y="171"/>
                    <a:pt x="226" y="163"/>
                  </a:cubicBezTo>
                  <a:cubicBezTo>
                    <a:pt x="231" y="155"/>
                    <a:pt x="243" y="145"/>
                    <a:pt x="245" y="155"/>
                  </a:cubicBezTo>
                  <a:cubicBezTo>
                    <a:pt x="247" y="165"/>
                    <a:pt x="249" y="164"/>
                    <a:pt x="259" y="163"/>
                  </a:cubicBezTo>
                  <a:cubicBezTo>
                    <a:pt x="268" y="162"/>
                    <a:pt x="278" y="165"/>
                    <a:pt x="278" y="158"/>
                  </a:cubicBezTo>
                  <a:cubicBezTo>
                    <a:pt x="278" y="151"/>
                    <a:pt x="284" y="149"/>
                    <a:pt x="292" y="151"/>
                  </a:cubicBezTo>
                  <a:cubicBezTo>
                    <a:pt x="300" y="152"/>
                    <a:pt x="310" y="157"/>
                    <a:pt x="305" y="164"/>
                  </a:cubicBezTo>
                  <a:cubicBezTo>
                    <a:pt x="300" y="170"/>
                    <a:pt x="294" y="169"/>
                    <a:pt x="287" y="172"/>
                  </a:cubicBezTo>
                  <a:cubicBezTo>
                    <a:pt x="279" y="175"/>
                    <a:pt x="274" y="178"/>
                    <a:pt x="266" y="178"/>
                  </a:cubicBezTo>
                  <a:cubicBezTo>
                    <a:pt x="257" y="178"/>
                    <a:pt x="256" y="184"/>
                    <a:pt x="266" y="189"/>
                  </a:cubicBezTo>
                  <a:cubicBezTo>
                    <a:pt x="276" y="195"/>
                    <a:pt x="279" y="190"/>
                    <a:pt x="279" y="204"/>
                  </a:cubicBezTo>
                  <a:cubicBezTo>
                    <a:pt x="279" y="217"/>
                    <a:pt x="269" y="232"/>
                    <a:pt x="289" y="237"/>
                  </a:cubicBezTo>
                  <a:cubicBezTo>
                    <a:pt x="309" y="242"/>
                    <a:pt x="323" y="229"/>
                    <a:pt x="338" y="237"/>
                  </a:cubicBezTo>
                  <a:cubicBezTo>
                    <a:pt x="353" y="245"/>
                    <a:pt x="364" y="240"/>
                    <a:pt x="382" y="240"/>
                  </a:cubicBezTo>
                  <a:cubicBezTo>
                    <a:pt x="400" y="240"/>
                    <a:pt x="426" y="246"/>
                    <a:pt x="427" y="235"/>
                  </a:cubicBezTo>
                  <a:cubicBezTo>
                    <a:pt x="428" y="223"/>
                    <a:pt x="437" y="220"/>
                    <a:pt x="441" y="220"/>
                  </a:cubicBezTo>
                  <a:cubicBezTo>
                    <a:pt x="446" y="220"/>
                    <a:pt x="459" y="220"/>
                    <a:pt x="453" y="210"/>
                  </a:cubicBezTo>
                  <a:cubicBezTo>
                    <a:pt x="447" y="200"/>
                    <a:pt x="433" y="202"/>
                    <a:pt x="432" y="188"/>
                  </a:cubicBezTo>
                  <a:cubicBezTo>
                    <a:pt x="431" y="174"/>
                    <a:pt x="442" y="167"/>
                    <a:pt x="454" y="171"/>
                  </a:cubicBezTo>
                  <a:cubicBezTo>
                    <a:pt x="466" y="174"/>
                    <a:pt x="465" y="184"/>
                    <a:pt x="469" y="184"/>
                  </a:cubicBezTo>
                  <a:cubicBezTo>
                    <a:pt x="474" y="184"/>
                    <a:pt x="474" y="185"/>
                    <a:pt x="474" y="169"/>
                  </a:cubicBezTo>
                  <a:cubicBezTo>
                    <a:pt x="474" y="154"/>
                    <a:pt x="471" y="145"/>
                    <a:pt x="465" y="145"/>
                  </a:cubicBezTo>
                  <a:cubicBezTo>
                    <a:pt x="459" y="145"/>
                    <a:pt x="453" y="141"/>
                    <a:pt x="453" y="135"/>
                  </a:cubicBezTo>
                  <a:cubicBezTo>
                    <a:pt x="453" y="129"/>
                    <a:pt x="461" y="126"/>
                    <a:pt x="459" y="116"/>
                  </a:cubicBezTo>
                  <a:cubicBezTo>
                    <a:pt x="456" y="106"/>
                    <a:pt x="469" y="105"/>
                    <a:pt x="466" y="88"/>
                  </a:cubicBezTo>
                  <a:cubicBezTo>
                    <a:pt x="463" y="72"/>
                    <a:pt x="448" y="76"/>
                    <a:pt x="449" y="58"/>
                  </a:cubicBezTo>
                  <a:cubicBezTo>
                    <a:pt x="450" y="41"/>
                    <a:pt x="448" y="35"/>
                    <a:pt x="439" y="33"/>
                  </a:cubicBezTo>
                  <a:cubicBezTo>
                    <a:pt x="430" y="30"/>
                    <a:pt x="419" y="33"/>
                    <a:pt x="408" y="21"/>
                  </a:cubicBezTo>
                  <a:cubicBezTo>
                    <a:pt x="396" y="9"/>
                    <a:pt x="390" y="10"/>
                    <a:pt x="385" y="1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59" name="Freeform 489">
              <a:extLst>
                <a:ext uri="{FF2B5EF4-FFF2-40B4-BE49-F238E27FC236}">
                  <a16:creationId xmlns:a16="http://schemas.microsoft.com/office/drawing/2014/main" id="{C70D0937-CFC0-E74F-BCC2-BBF55D049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" y="1036"/>
              <a:ext cx="27" cy="18"/>
            </a:xfrm>
            <a:custGeom>
              <a:avLst/>
              <a:gdLst>
                <a:gd name="T0" fmla="*/ 23 w 106"/>
                <a:gd name="T1" fmla="*/ 63 h 72"/>
                <a:gd name="T2" fmla="*/ 49 w 106"/>
                <a:gd name="T3" fmla="*/ 69 h 72"/>
                <a:gd name="T4" fmla="*/ 81 w 106"/>
                <a:gd name="T5" fmla="*/ 63 h 72"/>
                <a:gd name="T6" fmla="*/ 99 w 106"/>
                <a:gd name="T7" fmla="*/ 50 h 72"/>
                <a:gd name="T8" fmla="*/ 89 w 106"/>
                <a:gd name="T9" fmla="*/ 31 h 72"/>
                <a:gd name="T10" fmla="*/ 65 w 106"/>
                <a:gd name="T11" fmla="*/ 12 h 72"/>
                <a:gd name="T12" fmla="*/ 43 w 106"/>
                <a:gd name="T13" fmla="*/ 8 h 72"/>
                <a:gd name="T14" fmla="*/ 23 w 106"/>
                <a:gd name="T15" fmla="*/ 26 h 72"/>
                <a:gd name="T16" fmla="*/ 7 w 106"/>
                <a:gd name="T17" fmla="*/ 51 h 72"/>
                <a:gd name="T18" fmla="*/ 23 w 106"/>
                <a:gd name="T19" fmla="*/ 6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72">
                  <a:moveTo>
                    <a:pt x="23" y="63"/>
                  </a:moveTo>
                  <a:cubicBezTo>
                    <a:pt x="27" y="69"/>
                    <a:pt x="36" y="72"/>
                    <a:pt x="49" y="69"/>
                  </a:cubicBezTo>
                  <a:cubicBezTo>
                    <a:pt x="61" y="66"/>
                    <a:pt x="76" y="72"/>
                    <a:pt x="81" y="63"/>
                  </a:cubicBezTo>
                  <a:cubicBezTo>
                    <a:pt x="86" y="54"/>
                    <a:pt x="106" y="59"/>
                    <a:pt x="99" y="50"/>
                  </a:cubicBezTo>
                  <a:cubicBezTo>
                    <a:pt x="92" y="41"/>
                    <a:pt x="97" y="38"/>
                    <a:pt x="89" y="31"/>
                  </a:cubicBezTo>
                  <a:cubicBezTo>
                    <a:pt x="81" y="25"/>
                    <a:pt x="74" y="13"/>
                    <a:pt x="65" y="12"/>
                  </a:cubicBezTo>
                  <a:cubicBezTo>
                    <a:pt x="56" y="11"/>
                    <a:pt x="52" y="0"/>
                    <a:pt x="43" y="8"/>
                  </a:cubicBezTo>
                  <a:cubicBezTo>
                    <a:pt x="43" y="8"/>
                    <a:pt x="32" y="18"/>
                    <a:pt x="23" y="26"/>
                  </a:cubicBezTo>
                  <a:cubicBezTo>
                    <a:pt x="13" y="33"/>
                    <a:pt x="0" y="46"/>
                    <a:pt x="7" y="51"/>
                  </a:cubicBezTo>
                  <a:cubicBezTo>
                    <a:pt x="14" y="57"/>
                    <a:pt x="18" y="57"/>
                    <a:pt x="23" y="6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0" name="Freeform 490">
              <a:extLst>
                <a:ext uri="{FF2B5EF4-FFF2-40B4-BE49-F238E27FC236}">
                  <a16:creationId xmlns:a16="http://schemas.microsoft.com/office/drawing/2014/main" id="{24E5BD75-3986-814E-ACC8-C75A361E7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" y="958"/>
              <a:ext cx="29" cy="27"/>
            </a:xfrm>
            <a:custGeom>
              <a:avLst/>
              <a:gdLst>
                <a:gd name="T0" fmla="*/ 11 w 117"/>
                <a:gd name="T1" fmla="*/ 34 h 108"/>
                <a:gd name="T2" fmla="*/ 20 w 117"/>
                <a:gd name="T3" fmla="*/ 61 h 108"/>
                <a:gd name="T4" fmla="*/ 42 w 117"/>
                <a:gd name="T5" fmla="*/ 79 h 108"/>
                <a:gd name="T6" fmla="*/ 66 w 117"/>
                <a:gd name="T7" fmla="*/ 100 h 108"/>
                <a:gd name="T8" fmla="*/ 98 w 117"/>
                <a:gd name="T9" fmla="*/ 102 h 108"/>
                <a:gd name="T10" fmla="*/ 103 w 117"/>
                <a:gd name="T11" fmla="*/ 79 h 108"/>
                <a:gd name="T12" fmla="*/ 62 w 117"/>
                <a:gd name="T13" fmla="*/ 46 h 108"/>
                <a:gd name="T14" fmla="*/ 40 w 117"/>
                <a:gd name="T15" fmla="*/ 22 h 108"/>
                <a:gd name="T16" fmla="*/ 5 w 117"/>
                <a:gd name="T17" fmla="*/ 16 h 108"/>
                <a:gd name="T18" fmla="*/ 11 w 117"/>
                <a:gd name="T19" fmla="*/ 3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" h="108">
                  <a:moveTo>
                    <a:pt x="11" y="34"/>
                  </a:moveTo>
                  <a:cubicBezTo>
                    <a:pt x="14" y="43"/>
                    <a:pt x="12" y="57"/>
                    <a:pt x="20" y="61"/>
                  </a:cubicBezTo>
                  <a:cubicBezTo>
                    <a:pt x="28" y="66"/>
                    <a:pt x="38" y="71"/>
                    <a:pt x="42" y="79"/>
                  </a:cubicBezTo>
                  <a:cubicBezTo>
                    <a:pt x="46" y="86"/>
                    <a:pt x="55" y="97"/>
                    <a:pt x="66" y="100"/>
                  </a:cubicBezTo>
                  <a:cubicBezTo>
                    <a:pt x="77" y="103"/>
                    <a:pt x="91" y="108"/>
                    <a:pt x="98" y="102"/>
                  </a:cubicBezTo>
                  <a:cubicBezTo>
                    <a:pt x="106" y="95"/>
                    <a:pt x="117" y="92"/>
                    <a:pt x="103" y="79"/>
                  </a:cubicBezTo>
                  <a:cubicBezTo>
                    <a:pt x="88" y="67"/>
                    <a:pt x="68" y="59"/>
                    <a:pt x="62" y="46"/>
                  </a:cubicBezTo>
                  <a:cubicBezTo>
                    <a:pt x="55" y="33"/>
                    <a:pt x="51" y="30"/>
                    <a:pt x="40" y="22"/>
                  </a:cubicBezTo>
                  <a:cubicBezTo>
                    <a:pt x="28" y="14"/>
                    <a:pt x="0" y="0"/>
                    <a:pt x="5" y="16"/>
                  </a:cubicBezTo>
                  <a:cubicBezTo>
                    <a:pt x="5" y="16"/>
                    <a:pt x="8" y="26"/>
                    <a:pt x="11" y="3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1" name="Freeform 491">
              <a:extLst>
                <a:ext uri="{FF2B5EF4-FFF2-40B4-BE49-F238E27FC236}">
                  <a16:creationId xmlns:a16="http://schemas.microsoft.com/office/drawing/2014/main" id="{86A88D04-D42F-764D-BA53-F3679935F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" y="903"/>
              <a:ext cx="112" cy="57"/>
            </a:xfrm>
            <a:custGeom>
              <a:avLst/>
              <a:gdLst>
                <a:gd name="T0" fmla="*/ 15 w 446"/>
                <a:gd name="T1" fmla="*/ 51 h 225"/>
                <a:gd name="T2" fmla="*/ 65 w 446"/>
                <a:gd name="T3" fmla="*/ 53 h 225"/>
                <a:gd name="T4" fmla="*/ 51 w 446"/>
                <a:gd name="T5" fmla="*/ 70 h 225"/>
                <a:gd name="T6" fmla="*/ 57 w 446"/>
                <a:gd name="T7" fmla="*/ 84 h 225"/>
                <a:gd name="T8" fmla="*/ 77 w 446"/>
                <a:gd name="T9" fmla="*/ 74 h 225"/>
                <a:gd name="T10" fmla="*/ 100 w 446"/>
                <a:gd name="T11" fmla="*/ 63 h 225"/>
                <a:gd name="T12" fmla="*/ 109 w 446"/>
                <a:gd name="T13" fmla="*/ 78 h 225"/>
                <a:gd name="T14" fmla="*/ 116 w 446"/>
                <a:gd name="T15" fmla="*/ 91 h 225"/>
                <a:gd name="T16" fmla="*/ 135 w 446"/>
                <a:gd name="T17" fmla="*/ 88 h 225"/>
                <a:gd name="T18" fmla="*/ 122 w 446"/>
                <a:gd name="T19" fmla="*/ 107 h 225"/>
                <a:gd name="T20" fmla="*/ 124 w 446"/>
                <a:gd name="T21" fmla="*/ 118 h 225"/>
                <a:gd name="T22" fmla="*/ 92 w 446"/>
                <a:gd name="T23" fmla="*/ 115 h 225"/>
                <a:gd name="T24" fmla="*/ 53 w 446"/>
                <a:gd name="T25" fmla="*/ 111 h 225"/>
                <a:gd name="T26" fmla="*/ 58 w 446"/>
                <a:gd name="T27" fmla="*/ 142 h 225"/>
                <a:gd name="T28" fmla="*/ 114 w 446"/>
                <a:gd name="T29" fmla="*/ 165 h 225"/>
                <a:gd name="T30" fmla="*/ 154 w 446"/>
                <a:gd name="T31" fmla="*/ 148 h 225"/>
                <a:gd name="T32" fmla="*/ 175 w 446"/>
                <a:gd name="T33" fmla="*/ 158 h 225"/>
                <a:gd name="T34" fmla="*/ 172 w 446"/>
                <a:gd name="T35" fmla="*/ 177 h 225"/>
                <a:gd name="T36" fmla="*/ 192 w 446"/>
                <a:gd name="T37" fmla="*/ 167 h 225"/>
                <a:gd name="T38" fmla="*/ 223 w 446"/>
                <a:gd name="T39" fmla="*/ 161 h 225"/>
                <a:gd name="T40" fmla="*/ 279 w 446"/>
                <a:gd name="T41" fmla="*/ 169 h 225"/>
                <a:gd name="T42" fmla="*/ 315 w 446"/>
                <a:gd name="T43" fmla="*/ 194 h 225"/>
                <a:gd name="T44" fmla="*/ 355 w 446"/>
                <a:gd name="T45" fmla="*/ 222 h 225"/>
                <a:gd name="T46" fmla="*/ 420 w 446"/>
                <a:gd name="T47" fmla="*/ 217 h 225"/>
                <a:gd name="T48" fmla="*/ 427 w 446"/>
                <a:gd name="T49" fmla="*/ 182 h 225"/>
                <a:gd name="T50" fmla="*/ 400 w 446"/>
                <a:gd name="T51" fmla="*/ 158 h 225"/>
                <a:gd name="T52" fmla="*/ 382 w 446"/>
                <a:gd name="T53" fmla="*/ 143 h 225"/>
                <a:gd name="T54" fmla="*/ 394 w 446"/>
                <a:gd name="T55" fmla="*/ 129 h 225"/>
                <a:gd name="T56" fmla="*/ 400 w 446"/>
                <a:gd name="T57" fmla="*/ 115 h 225"/>
                <a:gd name="T58" fmla="*/ 372 w 446"/>
                <a:gd name="T59" fmla="*/ 100 h 225"/>
                <a:gd name="T60" fmla="*/ 357 w 446"/>
                <a:gd name="T61" fmla="*/ 86 h 225"/>
                <a:gd name="T62" fmla="*/ 334 w 446"/>
                <a:gd name="T63" fmla="*/ 75 h 225"/>
                <a:gd name="T64" fmla="*/ 311 w 446"/>
                <a:gd name="T65" fmla="*/ 86 h 225"/>
                <a:gd name="T66" fmla="*/ 280 w 446"/>
                <a:gd name="T67" fmla="*/ 51 h 225"/>
                <a:gd name="T68" fmla="*/ 240 w 446"/>
                <a:gd name="T69" fmla="*/ 40 h 225"/>
                <a:gd name="T70" fmla="*/ 217 w 446"/>
                <a:gd name="T71" fmla="*/ 55 h 225"/>
                <a:gd name="T72" fmla="*/ 201 w 446"/>
                <a:gd name="T73" fmla="*/ 70 h 225"/>
                <a:gd name="T74" fmla="*/ 197 w 446"/>
                <a:gd name="T75" fmla="*/ 55 h 225"/>
                <a:gd name="T76" fmla="*/ 197 w 446"/>
                <a:gd name="T77" fmla="*/ 35 h 225"/>
                <a:gd name="T78" fmla="*/ 158 w 446"/>
                <a:gd name="T79" fmla="*/ 11 h 225"/>
                <a:gd name="T80" fmla="*/ 129 w 446"/>
                <a:gd name="T81" fmla="*/ 2 h 225"/>
                <a:gd name="T82" fmla="*/ 84 w 446"/>
                <a:gd name="T83" fmla="*/ 6 h 225"/>
                <a:gd name="T84" fmla="*/ 60 w 446"/>
                <a:gd name="T85" fmla="*/ 12 h 225"/>
                <a:gd name="T86" fmla="*/ 15 w 446"/>
                <a:gd name="T87" fmla="*/ 17 h 225"/>
                <a:gd name="T88" fmla="*/ 15 w 446"/>
                <a:gd name="T89" fmla="*/ 5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225">
                  <a:moveTo>
                    <a:pt x="15" y="51"/>
                  </a:moveTo>
                  <a:cubicBezTo>
                    <a:pt x="29" y="53"/>
                    <a:pt x="69" y="43"/>
                    <a:pt x="65" y="53"/>
                  </a:cubicBezTo>
                  <a:cubicBezTo>
                    <a:pt x="61" y="62"/>
                    <a:pt x="63" y="65"/>
                    <a:pt x="51" y="70"/>
                  </a:cubicBezTo>
                  <a:cubicBezTo>
                    <a:pt x="40" y="74"/>
                    <a:pt x="47" y="84"/>
                    <a:pt x="57" y="84"/>
                  </a:cubicBezTo>
                  <a:cubicBezTo>
                    <a:pt x="67" y="84"/>
                    <a:pt x="72" y="84"/>
                    <a:pt x="77" y="74"/>
                  </a:cubicBezTo>
                  <a:cubicBezTo>
                    <a:pt x="82" y="64"/>
                    <a:pt x="90" y="63"/>
                    <a:pt x="100" y="63"/>
                  </a:cubicBezTo>
                  <a:cubicBezTo>
                    <a:pt x="110" y="63"/>
                    <a:pt x="119" y="73"/>
                    <a:pt x="109" y="78"/>
                  </a:cubicBezTo>
                  <a:cubicBezTo>
                    <a:pt x="98" y="83"/>
                    <a:pt x="104" y="94"/>
                    <a:pt x="116" y="91"/>
                  </a:cubicBezTo>
                  <a:cubicBezTo>
                    <a:pt x="128" y="88"/>
                    <a:pt x="134" y="82"/>
                    <a:pt x="135" y="88"/>
                  </a:cubicBezTo>
                  <a:cubicBezTo>
                    <a:pt x="136" y="95"/>
                    <a:pt x="134" y="108"/>
                    <a:pt x="122" y="107"/>
                  </a:cubicBezTo>
                  <a:cubicBezTo>
                    <a:pt x="110" y="106"/>
                    <a:pt x="139" y="118"/>
                    <a:pt x="124" y="118"/>
                  </a:cubicBezTo>
                  <a:cubicBezTo>
                    <a:pt x="108" y="119"/>
                    <a:pt x="111" y="126"/>
                    <a:pt x="92" y="115"/>
                  </a:cubicBezTo>
                  <a:cubicBezTo>
                    <a:pt x="73" y="103"/>
                    <a:pt x="61" y="106"/>
                    <a:pt x="53" y="111"/>
                  </a:cubicBezTo>
                  <a:cubicBezTo>
                    <a:pt x="46" y="116"/>
                    <a:pt x="43" y="131"/>
                    <a:pt x="58" y="142"/>
                  </a:cubicBezTo>
                  <a:cubicBezTo>
                    <a:pt x="72" y="153"/>
                    <a:pt x="96" y="174"/>
                    <a:pt x="114" y="165"/>
                  </a:cubicBezTo>
                  <a:cubicBezTo>
                    <a:pt x="132" y="156"/>
                    <a:pt x="144" y="147"/>
                    <a:pt x="154" y="148"/>
                  </a:cubicBezTo>
                  <a:cubicBezTo>
                    <a:pt x="165" y="149"/>
                    <a:pt x="192" y="149"/>
                    <a:pt x="175" y="158"/>
                  </a:cubicBezTo>
                  <a:cubicBezTo>
                    <a:pt x="158" y="167"/>
                    <a:pt x="163" y="176"/>
                    <a:pt x="172" y="177"/>
                  </a:cubicBezTo>
                  <a:cubicBezTo>
                    <a:pt x="180" y="179"/>
                    <a:pt x="184" y="174"/>
                    <a:pt x="192" y="167"/>
                  </a:cubicBezTo>
                  <a:cubicBezTo>
                    <a:pt x="201" y="161"/>
                    <a:pt x="205" y="160"/>
                    <a:pt x="223" y="161"/>
                  </a:cubicBezTo>
                  <a:cubicBezTo>
                    <a:pt x="240" y="161"/>
                    <a:pt x="258" y="156"/>
                    <a:pt x="279" y="169"/>
                  </a:cubicBezTo>
                  <a:cubicBezTo>
                    <a:pt x="301" y="181"/>
                    <a:pt x="296" y="172"/>
                    <a:pt x="315" y="194"/>
                  </a:cubicBezTo>
                  <a:cubicBezTo>
                    <a:pt x="334" y="217"/>
                    <a:pt x="335" y="220"/>
                    <a:pt x="355" y="222"/>
                  </a:cubicBezTo>
                  <a:cubicBezTo>
                    <a:pt x="375" y="225"/>
                    <a:pt x="412" y="225"/>
                    <a:pt x="420" y="217"/>
                  </a:cubicBezTo>
                  <a:cubicBezTo>
                    <a:pt x="428" y="210"/>
                    <a:pt x="446" y="196"/>
                    <a:pt x="427" y="182"/>
                  </a:cubicBezTo>
                  <a:cubicBezTo>
                    <a:pt x="407" y="169"/>
                    <a:pt x="412" y="163"/>
                    <a:pt x="400" y="158"/>
                  </a:cubicBezTo>
                  <a:cubicBezTo>
                    <a:pt x="387" y="153"/>
                    <a:pt x="382" y="152"/>
                    <a:pt x="382" y="143"/>
                  </a:cubicBezTo>
                  <a:cubicBezTo>
                    <a:pt x="382" y="134"/>
                    <a:pt x="386" y="131"/>
                    <a:pt x="394" y="129"/>
                  </a:cubicBezTo>
                  <a:cubicBezTo>
                    <a:pt x="402" y="127"/>
                    <a:pt x="406" y="124"/>
                    <a:pt x="400" y="115"/>
                  </a:cubicBezTo>
                  <a:cubicBezTo>
                    <a:pt x="395" y="106"/>
                    <a:pt x="374" y="115"/>
                    <a:pt x="372" y="100"/>
                  </a:cubicBezTo>
                  <a:cubicBezTo>
                    <a:pt x="369" y="85"/>
                    <a:pt x="363" y="87"/>
                    <a:pt x="357" y="86"/>
                  </a:cubicBezTo>
                  <a:cubicBezTo>
                    <a:pt x="352" y="84"/>
                    <a:pt x="349" y="73"/>
                    <a:pt x="334" y="75"/>
                  </a:cubicBezTo>
                  <a:cubicBezTo>
                    <a:pt x="320" y="76"/>
                    <a:pt x="329" y="95"/>
                    <a:pt x="311" y="86"/>
                  </a:cubicBezTo>
                  <a:cubicBezTo>
                    <a:pt x="292" y="76"/>
                    <a:pt x="296" y="58"/>
                    <a:pt x="280" y="51"/>
                  </a:cubicBezTo>
                  <a:cubicBezTo>
                    <a:pt x="263" y="45"/>
                    <a:pt x="247" y="39"/>
                    <a:pt x="240" y="40"/>
                  </a:cubicBezTo>
                  <a:cubicBezTo>
                    <a:pt x="233" y="40"/>
                    <a:pt x="219" y="48"/>
                    <a:pt x="217" y="55"/>
                  </a:cubicBezTo>
                  <a:cubicBezTo>
                    <a:pt x="216" y="61"/>
                    <a:pt x="214" y="73"/>
                    <a:pt x="201" y="70"/>
                  </a:cubicBezTo>
                  <a:cubicBezTo>
                    <a:pt x="188" y="68"/>
                    <a:pt x="187" y="60"/>
                    <a:pt x="197" y="55"/>
                  </a:cubicBezTo>
                  <a:cubicBezTo>
                    <a:pt x="207" y="51"/>
                    <a:pt x="207" y="42"/>
                    <a:pt x="197" y="35"/>
                  </a:cubicBezTo>
                  <a:cubicBezTo>
                    <a:pt x="186" y="29"/>
                    <a:pt x="174" y="11"/>
                    <a:pt x="158" y="11"/>
                  </a:cubicBezTo>
                  <a:cubicBezTo>
                    <a:pt x="142" y="11"/>
                    <a:pt x="147" y="4"/>
                    <a:pt x="129" y="2"/>
                  </a:cubicBezTo>
                  <a:cubicBezTo>
                    <a:pt x="110" y="0"/>
                    <a:pt x="88" y="0"/>
                    <a:pt x="84" y="6"/>
                  </a:cubicBezTo>
                  <a:cubicBezTo>
                    <a:pt x="80" y="12"/>
                    <a:pt x="84" y="11"/>
                    <a:pt x="60" y="12"/>
                  </a:cubicBezTo>
                  <a:cubicBezTo>
                    <a:pt x="60" y="12"/>
                    <a:pt x="25" y="7"/>
                    <a:pt x="15" y="17"/>
                  </a:cubicBezTo>
                  <a:cubicBezTo>
                    <a:pt x="6" y="26"/>
                    <a:pt x="0" y="50"/>
                    <a:pt x="15" y="5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2" name="Freeform 492">
              <a:extLst>
                <a:ext uri="{FF2B5EF4-FFF2-40B4-BE49-F238E27FC236}">
                  <a16:creationId xmlns:a16="http://schemas.microsoft.com/office/drawing/2014/main" id="{9CE24824-A7AD-3D42-A247-2B44DBDF1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" y="954"/>
              <a:ext cx="28" cy="11"/>
            </a:xfrm>
            <a:custGeom>
              <a:avLst/>
              <a:gdLst>
                <a:gd name="T0" fmla="*/ 49 w 110"/>
                <a:gd name="T1" fmla="*/ 43 h 46"/>
                <a:gd name="T2" fmla="*/ 75 w 110"/>
                <a:gd name="T3" fmla="*/ 32 h 46"/>
                <a:gd name="T4" fmla="*/ 91 w 110"/>
                <a:gd name="T5" fmla="*/ 21 h 46"/>
                <a:gd name="T6" fmla="*/ 60 w 110"/>
                <a:gd name="T7" fmla="*/ 9 h 46"/>
                <a:gd name="T8" fmla="*/ 30 w 110"/>
                <a:gd name="T9" fmla="*/ 10 h 46"/>
                <a:gd name="T10" fmla="*/ 0 w 110"/>
                <a:gd name="T11" fmla="*/ 13 h 46"/>
                <a:gd name="T12" fmla="*/ 15 w 110"/>
                <a:gd name="T13" fmla="*/ 36 h 46"/>
                <a:gd name="T14" fmla="*/ 49 w 110"/>
                <a:gd name="T15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46">
                  <a:moveTo>
                    <a:pt x="49" y="43"/>
                  </a:moveTo>
                  <a:cubicBezTo>
                    <a:pt x="60" y="41"/>
                    <a:pt x="58" y="29"/>
                    <a:pt x="75" y="32"/>
                  </a:cubicBezTo>
                  <a:cubicBezTo>
                    <a:pt x="93" y="35"/>
                    <a:pt x="110" y="25"/>
                    <a:pt x="91" y="21"/>
                  </a:cubicBezTo>
                  <a:cubicBezTo>
                    <a:pt x="73" y="16"/>
                    <a:pt x="77" y="9"/>
                    <a:pt x="60" y="9"/>
                  </a:cubicBezTo>
                  <a:cubicBezTo>
                    <a:pt x="42" y="9"/>
                    <a:pt x="51" y="13"/>
                    <a:pt x="30" y="10"/>
                  </a:cubicBezTo>
                  <a:cubicBezTo>
                    <a:pt x="30" y="10"/>
                    <a:pt x="0" y="0"/>
                    <a:pt x="0" y="13"/>
                  </a:cubicBezTo>
                  <a:cubicBezTo>
                    <a:pt x="0" y="25"/>
                    <a:pt x="4" y="28"/>
                    <a:pt x="15" y="36"/>
                  </a:cubicBezTo>
                  <a:cubicBezTo>
                    <a:pt x="25" y="43"/>
                    <a:pt x="37" y="46"/>
                    <a:pt x="49" y="4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3" name="Freeform 493">
              <a:extLst>
                <a:ext uri="{FF2B5EF4-FFF2-40B4-BE49-F238E27FC236}">
                  <a16:creationId xmlns:a16="http://schemas.microsoft.com/office/drawing/2014/main" id="{68F910AE-133F-824E-A60A-A77C5FBCC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922"/>
              <a:ext cx="56" cy="39"/>
            </a:xfrm>
            <a:custGeom>
              <a:avLst/>
              <a:gdLst>
                <a:gd name="T0" fmla="*/ 9 w 222"/>
                <a:gd name="T1" fmla="*/ 31 h 152"/>
                <a:gd name="T2" fmla="*/ 8 w 222"/>
                <a:gd name="T3" fmla="*/ 45 h 152"/>
                <a:gd name="T4" fmla="*/ 11 w 222"/>
                <a:gd name="T5" fmla="*/ 65 h 152"/>
                <a:gd name="T6" fmla="*/ 31 w 222"/>
                <a:gd name="T7" fmla="*/ 81 h 152"/>
                <a:gd name="T8" fmla="*/ 53 w 222"/>
                <a:gd name="T9" fmla="*/ 91 h 152"/>
                <a:gd name="T10" fmla="*/ 70 w 222"/>
                <a:gd name="T11" fmla="*/ 97 h 152"/>
                <a:gd name="T12" fmla="*/ 84 w 222"/>
                <a:gd name="T13" fmla="*/ 106 h 152"/>
                <a:gd name="T14" fmla="*/ 64 w 222"/>
                <a:gd name="T15" fmla="*/ 109 h 152"/>
                <a:gd name="T16" fmla="*/ 44 w 222"/>
                <a:gd name="T17" fmla="*/ 119 h 152"/>
                <a:gd name="T18" fmla="*/ 71 w 222"/>
                <a:gd name="T19" fmla="*/ 132 h 152"/>
                <a:gd name="T20" fmla="*/ 93 w 222"/>
                <a:gd name="T21" fmla="*/ 149 h 152"/>
                <a:gd name="T22" fmla="*/ 107 w 222"/>
                <a:gd name="T23" fmla="*/ 145 h 152"/>
                <a:gd name="T24" fmla="*/ 144 w 222"/>
                <a:gd name="T25" fmla="*/ 140 h 152"/>
                <a:gd name="T26" fmla="*/ 173 w 222"/>
                <a:gd name="T27" fmla="*/ 132 h 152"/>
                <a:gd name="T28" fmla="*/ 204 w 222"/>
                <a:gd name="T29" fmla="*/ 128 h 152"/>
                <a:gd name="T30" fmla="*/ 218 w 222"/>
                <a:gd name="T31" fmla="*/ 115 h 152"/>
                <a:gd name="T32" fmla="*/ 207 w 222"/>
                <a:gd name="T33" fmla="*/ 94 h 152"/>
                <a:gd name="T34" fmla="*/ 208 w 222"/>
                <a:gd name="T35" fmla="*/ 81 h 152"/>
                <a:gd name="T36" fmla="*/ 222 w 222"/>
                <a:gd name="T37" fmla="*/ 72 h 152"/>
                <a:gd name="T38" fmla="*/ 206 w 222"/>
                <a:gd name="T39" fmla="*/ 56 h 152"/>
                <a:gd name="T40" fmla="*/ 173 w 222"/>
                <a:gd name="T41" fmla="*/ 44 h 152"/>
                <a:gd name="T42" fmla="*/ 148 w 222"/>
                <a:gd name="T43" fmla="*/ 49 h 152"/>
                <a:gd name="T44" fmla="*/ 132 w 222"/>
                <a:gd name="T45" fmla="*/ 30 h 152"/>
                <a:gd name="T46" fmla="*/ 103 w 222"/>
                <a:gd name="T47" fmla="*/ 18 h 152"/>
                <a:gd name="T48" fmla="*/ 57 w 222"/>
                <a:gd name="T49" fmla="*/ 7 h 152"/>
                <a:gd name="T50" fmla="*/ 34 w 222"/>
                <a:gd name="T51" fmla="*/ 4 h 152"/>
                <a:gd name="T52" fmla="*/ 7 w 222"/>
                <a:gd name="T53" fmla="*/ 6 h 152"/>
                <a:gd name="T54" fmla="*/ 9 w 222"/>
                <a:gd name="T55" fmla="*/ 3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2" h="152">
                  <a:moveTo>
                    <a:pt x="9" y="31"/>
                  </a:moveTo>
                  <a:cubicBezTo>
                    <a:pt x="18" y="35"/>
                    <a:pt x="15" y="41"/>
                    <a:pt x="8" y="45"/>
                  </a:cubicBezTo>
                  <a:cubicBezTo>
                    <a:pt x="1" y="49"/>
                    <a:pt x="0" y="60"/>
                    <a:pt x="11" y="65"/>
                  </a:cubicBezTo>
                  <a:cubicBezTo>
                    <a:pt x="21" y="70"/>
                    <a:pt x="28" y="75"/>
                    <a:pt x="31" y="81"/>
                  </a:cubicBezTo>
                  <a:cubicBezTo>
                    <a:pt x="34" y="86"/>
                    <a:pt x="41" y="90"/>
                    <a:pt x="53" y="91"/>
                  </a:cubicBezTo>
                  <a:cubicBezTo>
                    <a:pt x="64" y="92"/>
                    <a:pt x="66" y="90"/>
                    <a:pt x="70" y="97"/>
                  </a:cubicBezTo>
                  <a:cubicBezTo>
                    <a:pt x="74" y="103"/>
                    <a:pt x="83" y="98"/>
                    <a:pt x="84" y="106"/>
                  </a:cubicBezTo>
                  <a:cubicBezTo>
                    <a:pt x="84" y="114"/>
                    <a:pt x="74" y="112"/>
                    <a:pt x="64" y="109"/>
                  </a:cubicBezTo>
                  <a:cubicBezTo>
                    <a:pt x="53" y="107"/>
                    <a:pt x="30" y="110"/>
                    <a:pt x="44" y="119"/>
                  </a:cubicBezTo>
                  <a:cubicBezTo>
                    <a:pt x="57" y="127"/>
                    <a:pt x="65" y="124"/>
                    <a:pt x="71" y="132"/>
                  </a:cubicBezTo>
                  <a:cubicBezTo>
                    <a:pt x="77" y="141"/>
                    <a:pt x="86" y="147"/>
                    <a:pt x="93" y="149"/>
                  </a:cubicBezTo>
                  <a:cubicBezTo>
                    <a:pt x="100" y="150"/>
                    <a:pt x="106" y="152"/>
                    <a:pt x="107" y="145"/>
                  </a:cubicBezTo>
                  <a:cubicBezTo>
                    <a:pt x="109" y="137"/>
                    <a:pt x="135" y="140"/>
                    <a:pt x="144" y="140"/>
                  </a:cubicBezTo>
                  <a:cubicBezTo>
                    <a:pt x="153" y="139"/>
                    <a:pt x="148" y="130"/>
                    <a:pt x="173" y="132"/>
                  </a:cubicBezTo>
                  <a:cubicBezTo>
                    <a:pt x="197" y="135"/>
                    <a:pt x="201" y="137"/>
                    <a:pt x="204" y="128"/>
                  </a:cubicBezTo>
                  <a:cubicBezTo>
                    <a:pt x="207" y="119"/>
                    <a:pt x="216" y="127"/>
                    <a:pt x="218" y="115"/>
                  </a:cubicBezTo>
                  <a:cubicBezTo>
                    <a:pt x="219" y="103"/>
                    <a:pt x="214" y="94"/>
                    <a:pt x="207" y="94"/>
                  </a:cubicBezTo>
                  <a:cubicBezTo>
                    <a:pt x="200" y="93"/>
                    <a:pt x="198" y="84"/>
                    <a:pt x="208" y="81"/>
                  </a:cubicBezTo>
                  <a:cubicBezTo>
                    <a:pt x="217" y="79"/>
                    <a:pt x="222" y="81"/>
                    <a:pt x="222" y="72"/>
                  </a:cubicBezTo>
                  <a:cubicBezTo>
                    <a:pt x="222" y="64"/>
                    <a:pt x="219" y="60"/>
                    <a:pt x="206" y="56"/>
                  </a:cubicBezTo>
                  <a:cubicBezTo>
                    <a:pt x="193" y="53"/>
                    <a:pt x="182" y="40"/>
                    <a:pt x="173" y="44"/>
                  </a:cubicBezTo>
                  <a:cubicBezTo>
                    <a:pt x="163" y="49"/>
                    <a:pt x="153" y="56"/>
                    <a:pt x="148" y="49"/>
                  </a:cubicBezTo>
                  <a:cubicBezTo>
                    <a:pt x="143" y="41"/>
                    <a:pt x="143" y="31"/>
                    <a:pt x="132" y="30"/>
                  </a:cubicBezTo>
                  <a:cubicBezTo>
                    <a:pt x="122" y="29"/>
                    <a:pt x="115" y="19"/>
                    <a:pt x="103" y="18"/>
                  </a:cubicBezTo>
                  <a:cubicBezTo>
                    <a:pt x="92" y="16"/>
                    <a:pt x="75" y="6"/>
                    <a:pt x="57" y="7"/>
                  </a:cubicBezTo>
                  <a:cubicBezTo>
                    <a:pt x="57" y="7"/>
                    <a:pt x="45" y="7"/>
                    <a:pt x="34" y="4"/>
                  </a:cubicBezTo>
                  <a:cubicBezTo>
                    <a:pt x="24" y="1"/>
                    <a:pt x="14" y="0"/>
                    <a:pt x="7" y="6"/>
                  </a:cubicBezTo>
                  <a:cubicBezTo>
                    <a:pt x="1" y="11"/>
                    <a:pt x="1" y="28"/>
                    <a:pt x="9" y="3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4" name="Freeform 494">
              <a:extLst>
                <a:ext uri="{FF2B5EF4-FFF2-40B4-BE49-F238E27FC236}">
                  <a16:creationId xmlns:a16="http://schemas.microsoft.com/office/drawing/2014/main" id="{8D371237-0CAD-234B-8102-FB4B87DD0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" y="958"/>
              <a:ext cx="54" cy="16"/>
            </a:xfrm>
            <a:custGeom>
              <a:avLst/>
              <a:gdLst>
                <a:gd name="T0" fmla="*/ 92 w 214"/>
                <a:gd name="T1" fmla="*/ 6 h 65"/>
                <a:gd name="T2" fmla="*/ 55 w 214"/>
                <a:gd name="T3" fmla="*/ 4 h 65"/>
                <a:gd name="T4" fmla="*/ 26 w 214"/>
                <a:gd name="T5" fmla="*/ 12 h 65"/>
                <a:gd name="T6" fmla="*/ 3 w 214"/>
                <a:gd name="T7" fmla="*/ 21 h 65"/>
                <a:gd name="T8" fmla="*/ 11 w 214"/>
                <a:gd name="T9" fmla="*/ 43 h 65"/>
                <a:gd name="T10" fmla="*/ 33 w 214"/>
                <a:gd name="T11" fmla="*/ 58 h 65"/>
                <a:gd name="T12" fmla="*/ 91 w 214"/>
                <a:gd name="T13" fmla="*/ 56 h 65"/>
                <a:gd name="T14" fmla="*/ 133 w 214"/>
                <a:gd name="T15" fmla="*/ 56 h 65"/>
                <a:gd name="T16" fmla="*/ 175 w 214"/>
                <a:gd name="T17" fmla="*/ 55 h 65"/>
                <a:gd name="T18" fmla="*/ 192 w 214"/>
                <a:gd name="T19" fmla="*/ 31 h 65"/>
                <a:gd name="T20" fmla="*/ 203 w 214"/>
                <a:gd name="T21" fmla="*/ 17 h 65"/>
                <a:gd name="T22" fmla="*/ 179 w 214"/>
                <a:gd name="T23" fmla="*/ 10 h 65"/>
                <a:gd name="T24" fmla="*/ 128 w 214"/>
                <a:gd name="T25" fmla="*/ 10 h 65"/>
                <a:gd name="T26" fmla="*/ 92 w 214"/>
                <a:gd name="T27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4" h="65">
                  <a:moveTo>
                    <a:pt x="92" y="6"/>
                  </a:moveTo>
                  <a:cubicBezTo>
                    <a:pt x="83" y="11"/>
                    <a:pt x="67" y="7"/>
                    <a:pt x="55" y="4"/>
                  </a:cubicBezTo>
                  <a:cubicBezTo>
                    <a:pt x="43" y="0"/>
                    <a:pt x="38" y="11"/>
                    <a:pt x="26" y="12"/>
                  </a:cubicBezTo>
                  <a:cubicBezTo>
                    <a:pt x="14" y="14"/>
                    <a:pt x="6" y="13"/>
                    <a:pt x="3" y="21"/>
                  </a:cubicBezTo>
                  <a:cubicBezTo>
                    <a:pt x="0" y="29"/>
                    <a:pt x="1" y="40"/>
                    <a:pt x="11" y="43"/>
                  </a:cubicBezTo>
                  <a:cubicBezTo>
                    <a:pt x="21" y="46"/>
                    <a:pt x="19" y="60"/>
                    <a:pt x="33" y="58"/>
                  </a:cubicBezTo>
                  <a:cubicBezTo>
                    <a:pt x="48" y="57"/>
                    <a:pt x="82" y="58"/>
                    <a:pt x="91" y="56"/>
                  </a:cubicBezTo>
                  <a:cubicBezTo>
                    <a:pt x="101" y="54"/>
                    <a:pt x="122" y="50"/>
                    <a:pt x="133" y="56"/>
                  </a:cubicBezTo>
                  <a:cubicBezTo>
                    <a:pt x="144" y="63"/>
                    <a:pt x="173" y="65"/>
                    <a:pt x="175" y="55"/>
                  </a:cubicBezTo>
                  <a:cubicBezTo>
                    <a:pt x="177" y="45"/>
                    <a:pt x="182" y="35"/>
                    <a:pt x="192" y="31"/>
                  </a:cubicBezTo>
                  <a:cubicBezTo>
                    <a:pt x="202" y="27"/>
                    <a:pt x="214" y="22"/>
                    <a:pt x="203" y="17"/>
                  </a:cubicBezTo>
                  <a:cubicBezTo>
                    <a:pt x="192" y="12"/>
                    <a:pt x="192" y="10"/>
                    <a:pt x="179" y="10"/>
                  </a:cubicBezTo>
                  <a:cubicBezTo>
                    <a:pt x="166" y="11"/>
                    <a:pt x="142" y="13"/>
                    <a:pt x="128" y="10"/>
                  </a:cubicBezTo>
                  <a:cubicBezTo>
                    <a:pt x="128" y="10"/>
                    <a:pt x="101" y="1"/>
                    <a:pt x="92" y="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5" name="Freeform 495">
              <a:extLst>
                <a:ext uri="{FF2B5EF4-FFF2-40B4-BE49-F238E27FC236}">
                  <a16:creationId xmlns:a16="http://schemas.microsoft.com/office/drawing/2014/main" id="{ABF9F441-1BB4-FC40-8CBD-D92F056C3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" y="984"/>
              <a:ext cx="284" cy="88"/>
            </a:xfrm>
            <a:custGeom>
              <a:avLst/>
              <a:gdLst>
                <a:gd name="T0" fmla="*/ 397 w 1124"/>
                <a:gd name="T1" fmla="*/ 318 h 346"/>
                <a:gd name="T2" fmla="*/ 465 w 1124"/>
                <a:gd name="T3" fmla="*/ 334 h 346"/>
                <a:gd name="T4" fmla="*/ 516 w 1124"/>
                <a:gd name="T5" fmla="*/ 310 h 346"/>
                <a:gd name="T6" fmla="*/ 536 w 1124"/>
                <a:gd name="T7" fmla="*/ 323 h 346"/>
                <a:gd name="T8" fmla="*/ 589 w 1124"/>
                <a:gd name="T9" fmla="*/ 340 h 346"/>
                <a:gd name="T10" fmla="*/ 656 w 1124"/>
                <a:gd name="T11" fmla="*/ 338 h 346"/>
                <a:gd name="T12" fmla="*/ 715 w 1124"/>
                <a:gd name="T13" fmla="*/ 342 h 346"/>
                <a:gd name="T14" fmla="*/ 789 w 1124"/>
                <a:gd name="T15" fmla="*/ 339 h 346"/>
                <a:gd name="T16" fmla="*/ 871 w 1124"/>
                <a:gd name="T17" fmla="*/ 302 h 346"/>
                <a:gd name="T18" fmla="*/ 892 w 1124"/>
                <a:gd name="T19" fmla="*/ 323 h 346"/>
                <a:gd name="T20" fmla="*/ 957 w 1124"/>
                <a:gd name="T21" fmla="*/ 342 h 346"/>
                <a:gd name="T22" fmla="*/ 1029 w 1124"/>
                <a:gd name="T23" fmla="*/ 327 h 346"/>
                <a:gd name="T24" fmla="*/ 1081 w 1124"/>
                <a:gd name="T25" fmla="*/ 306 h 346"/>
                <a:gd name="T26" fmla="*/ 1087 w 1124"/>
                <a:gd name="T27" fmla="*/ 268 h 346"/>
                <a:gd name="T28" fmla="*/ 1119 w 1124"/>
                <a:gd name="T29" fmla="*/ 220 h 346"/>
                <a:gd name="T30" fmla="*/ 1070 w 1124"/>
                <a:gd name="T31" fmla="*/ 196 h 346"/>
                <a:gd name="T32" fmla="*/ 999 w 1124"/>
                <a:gd name="T33" fmla="*/ 170 h 346"/>
                <a:gd name="T34" fmla="*/ 895 w 1124"/>
                <a:gd name="T35" fmla="*/ 171 h 346"/>
                <a:gd name="T36" fmla="*/ 811 w 1124"/>
                <a:gd name="T37" fmla="*/ 176 h 346"/>
                <a:gd name="T38" fmla="*/ 723 w 1124"/>
                <a:gd name="T39" fmla="*/ 197 h 346"/>
                <a:gd name="T40" fmla="*/ 662 w 1124"/>
                <a:gd name="T41" fmla="*/ 213 h 346"/>
                <a:gd name="T42" fmla="*/ 612 w 1124"/>
                <a:gd name="T43" fmla="*/ 196 h 346"/>
                <a:gd name="T44" fmla="*/ 561 w 1124"/>
                <a:gd name="T45" fmla="*/ 202 h 346"/>
                <a:gd name="T46" fmla="*/ 513 w 1124"/>
                <a:gd name="T47" fmla="*/ 214 h 346"/>
                <a:gd name="T48" fmla="*/ 500 w 1124"/>
                <a:gd name="T49" fmla="*/ 176 h 346"/>
                <a:gd name="T50" fmla="*/ 449 w 1124"/>
                <a:gd name="T51" fmla="*/ 145 h 346"/>
                <a:gd name="T52" fmla="*/ 407 w 1124"/>
                <a:gd name="T53" fmla="*/ 128 h 346"/>
                <a:gd name="T54" fmla="*/ 460 w 1124"/>
                <a:gd name="T55" fmla="*/ 127 h 346"/>
                <a:gd name="T56" fmla="*/ 481 w 1124"/>
                <a:gd name="T57" fmla="*/ 100 h 346"/>
                <a:gd name="T58" fmla="*/ 410 w 1124"/>
                <a:gd name="T59" fmla="*/ 79 h 346"/>
                <a:gd name="T60" fmla="*/ 356 w 1124"/>
                <a:gd name="T61" fmla="*/ 46 h 346"/>
                <a:gd name="T62" fmla="*/ 276 w 1124"/>
                <a:gd name="T63" fmla="*/ 63 h 346"/>
                <a:gd name="T64" fmla="*/ 206 w 1124"/>
                <a:gd name="T65" fmla="*/ 19 h 346"/>
                <a:gd name="T66" fmla="*/ 91 w 1124"/>
                <a:gd name="T67" fmla="*/ 0 h 346"/>
                <a:gd name="T68" fmla="*/ 16 w 1124"/>
                <a:gd name="T69" fmla="*/ 13 h 346"/>
                <a:gd name="T70" fmla="*/ 11 w 1124"/>
                <a:gd name="T71" fmla="*/ 51 h 346"/>
                <a:gd name="T72" fmla="*/ 83 w 1124"/>
                <a:gd name="T73" fmla="*/ 95 h 346"/>
                <a:gd name="T74" fmla="*/ 160 w 1124"/>
                <a:gd name="T75" fmla="*/ 112 h 346"/>
                <a:gd name="T76" fmla="*/ 254 w 1124"/>
                <a:gd name="T77" fmla="*/ 111 h 346"/>
                <a:gd name="T78" fmla="*/ 314 w 1124"/>
                <a:gd name="T79" fmla="*/ 181 h 346"/>
                <a:gd name="T80" fmla="*/ 288 w 1124"/>
                <a:gd name="T81" fmla="*/ 241 h 346"/>
                <a:gd name="T82" fmla="*/ 315 w 1124"/>
                <a:gd name="T83" fmla="*/ 287 h 346"/>
                <a:gd name="T84" fmla="*/ 364 w 1124"/>
                <a:gd name="T85" fmla="*/ 319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24" h="346">
                  <a:moveTo>
                    <a:pt x="378" y="304"/>
                  </a:moveTo>
                  <a:cubicBezTo>
                    <a:pt x="386" y="303"/>
                    <a:pt x="387" y="300"/>
                    <a:pt x="388" y="308"/>
                  </a:cubicBezTo>
                  <a:cubicBezTo>
                    <a:pt x="389" y="316"/>
                    <a:pt x="393" y="318"/>
                    <a:pt x="397" y="318"/>
                  </a:cubicBezTo>
                  <a:cubicBezTo>
                    <a:pt x="400" y="318"/>
                    <a:pt x="400" y="324"/>
                    <a:pt x="407" y="325"/>
                  </a:cubicBezTo>
                  <a:cubicBezTo>
                    <a:pt x="415" y="325"/>
                    <a:pt x="422" y="322"/>
                    <a:pt x="432" y="328"/>
                  </a:cubicBezTo>
                  <a:cubicBezTo>
                    <a:pt x="443" y="335"/>
                    <a:pt x="452" y="335"/>
                    <a:pt x="465" y="334"/>
                  </a:cubicBezTo>
                  <a:cubicBezTo>
                    <a:pt x="479" y="332"/>
                    <a:pt x="485" y="335"/>
                    <a:pt x="488" y="330"/>
                  </a:cubicBezTo>
                  <a:cubicBezTo>
                    <a:pt x="492" y="326"/>
                    <a:pt x="501" y="328"/>
                    <a:pt x="504" y="322"/>
                  </a:cubicBezTo>
                  <a:cubicBezTo>
                    <a:pt x="507" y="317"/>
                    <a:pt x="507" y="311"/>
                    <a:pt x="516" y="310"/>
                  </a:cubicBezTo>
                  <a:cubicBezTo>
                    <a:pt x="526" y="309"/>
                    <a:pt x="525" y="299"/>
                    <a:pt x="532" y="299"/>
                  </a:cubicBezTo>
                  <a:cubicBezTo>
                    <a:pt x="539" y="299"/>
                    <a:pt x="547" y="299"/>
                    <a:pt x="546" y="309"/>
                  </a:cubicBezTo>
                  <a:cubicBezTo>
                    <a:pt x="544" y="318"/>
                    <a:pt x="535" y="317"/>
                    <a:pt x="536" y="323"/>
                  </a:cubicBezTo>
                  <a:cubicBezTo>
                    <a:pt x="536" y="329"/>
                    <a:pt x="542" y="327"/>
                    <a:pt x="544" y="334"/>
                  </a:cubicBezTo>
                  <a:cubicBezTo>
                    <a:pt x="545" y="340"/>
                    <a:pt x="554" y="341"/>
                    <a:pt x="561" y="341"/>
                  </a:cubicBezTo>
                  <a:cubicBezTo>
                    <a:pt x="568" y="341"/>
                    <a:pt x="584" y="346"/>
                    <a:pt x="589" y="340"/>
                  </a:cubicBezTo>
                  <a:cubicBezTo>
                    <a:pt x="594" y="335"/>
                    <a:pt x="606" y="336"/>
                    <a:pt x="615" y="336"/>
                  </a:cubicBezTo>
                  <a:cubicBezTo>
                    <a:pt x="625" y="336"/>
                    <a:pt x="617" y="343"/>
                    <a:pt x="633" y="342"/>
                  </a:cubicBezTo>
                  <a:cubicBezTo>
                    <a:pt x="650" y="340"/>
                    <a:pt x="653" y="344"/>
                    <a:pt x="656" y="338"/>
                  </a:cubicBezTo>
                  <a:cubicBezTo>
                    <a:pt x="659" y="332"/>
                    <a:pt x="668" y="329"/>
                    <a:pt x="672" y="336"/>
                  </a:cubicBezTo>
                  <a:cubicBezTo>
                    <a:pt x="675" y="343"/>
                    <a:pt x="680" y="340"/>
                    <a:pt x="690" y="335"/>
                  </a:cubicBezTo>
                  <a:cubicBezTo>
                    <a:pt x="701" y="329"/>
                    <a:pt x="703" y="342"/>
                    <a:pt x="715" y="342"/>
                  </a:cubicBezTo>
                  <a:cubicBezTo>
                    <a:pt x="726" y="342"/>
                    <a:pt x="725" y="326"/>
                    <a:pt x="739" y="332"/>
                  </a:cubicBezTo>
                  <a:cubicBezTo>
                    <a:pt x="754" y="339"/>
                    <a:pt x="754" y="344"/>
                    <a:pt x="765" y="339"/>
                  </a:cubicBezTo>
                  <a:cubicBezTo>
                    <a:pt x="776" y="334"/>
                    <a:pt x="760" y="332"/>
                    <a:pt x="789" y="339"/>
                  </a:cubicBezTo>
                  <a:cubicBezTo>
                    <a:pt x="817" y="345"/>
                    <a:pt x="826" y="337"/>
                    <a:pt x="845" y="333"/>
                  </a:cubicBezTo>
                  <a:cubicBezTo>
                    <a:pt x="863" y="329"/>
                    <a:pt x="863" y="327"/>
                    <a:pt x="866" y="319"/>
                  </a:cubicBezTo>
                  <a:cubicBezTo>
                    <a:pt x="870" y="310"/>
                    <a:pt x="875" y="307"/>
                    <a:pt x="871" y="302"/>
                  </a:cubicBezTo>
                  <a:cubicBezTo>
                    <a:pt x="867" y="297"/>
                    <a:pt x="859" y="294"/>
                    <a:pt x="872" y="294"/>
                  </a:cubicBezTo>
                  <a:cubicBezTo>
                    <a:pt x="885" y="293"/>
                    <a:pt x="885" y="287"/>
                    <a:pt x="885" y="302"/>
                  </a:cubicBezTo>
                  <a:cubicBezTo>
                    <a:pt x="886" y="316"/>
                    <a:pt x="885" y="322"/>
                    <a:pt x="892" y="323"/>
                  </a:cubicBezTo>
                  <a:cubicBezTo>
                    <a:pt x="898" y="325"/>
                    <a:pt x="901" y="334"/>
                    <a:pt x="912" y="332"/>
                  </a:cubicBezTo>
                  <a:cubicBezTo>
                    <a:pt x="923" y="330"/>
                    <a:pt x="938" y="327"/>
                    <a:pt x="941" y="335"/>
                  </a:cubicBezTo>
                  <a:cubicBezTo>
                    <a:pt x="943" y="342"/>
                    <a:pt x="950" y="342"/>
                    <a:pt x="957" y="342"/>
                  </a:cubicBezTo>
                  <a:cubicBezTo>
                    <a:pt x="964" y="341"/>
                    <a:pt x="989" y="346"/>
                    <a:pt x="989" y="337"/>
                  </a:cubicBezTo>
                  <a:cubicBezTo>
                    <a:pt x="990" y="327"/>
                    <a:pt x="999" y="327"/>
                    <a:pt x="1009" y="327"/>
                  </a:cubicBezTo>
                  <a:cubicBezTo>
                    <a:pt x="1020" y="326"/>
                    <a:pt x="1020" y="322"/>
                    <a:pt x="1029" y="327"/>
                  </a:cubicBezTo>
                  <a:cubicBezTo>
                    <a:pt x="1037" y="332"/>
                    <a:pt x="1046" y="336"/>
                    <a:pt x="1052" y="330"/>
                  </a:cubicBezTo>
                  <a:cubicBezTo>
                    <a:pt x="1059" y="325"/>
                    <a:pt x="1071" y="326"/>
                    <a:pt x="1072" y="319"/>
                  </a:cubicBezTo>
                  <a:cubicBezTo>
                    <a:pt x="1072" y="312"/>
                    <a:pt x="1071" y="307"/>
                    <a:pt x="1081" y="306"/>
                  </a:cubicBezTo>
                  <a:cubicBezTo>
                    <a:pt x="1091" y="305"/>
                    <a:pt x="1090" y="297"/>
                    <a:pt x="1085" y="293"/>
                  </a:cubicBezTo>
                  <a:cubicBezTo>
                    <a:pt x="1080" y="289"/>
                    <a:pt x="1065" y="287"/>
                    <a:pt x="1072" y="280"/>
                  </a:cubicBezTo>
                  <a:cubicBezTo>
                    <a:pt x="1080" y="273"/>
                    <a:pt x="1087" y="278"/>
                    <a:pt x="1087" y="268"/>
                  </a:cubicBezTo>
                  <a:cubicBezTo>
                    <a:pt x="1087" y="258"/>
                    <a:pt x="1090" y="253"/>
                    <a:pt x="1098" y="251"/>
                  </a:cubicBezTo>
                  <a:cubicBezTo>
                    <a:pt x="1106" y="249"/>
                    <a:pt x="1109" y="248"/>
                    <a:pt x="1110" y="239"/>
                  </a:cubicBezTo>
                  <a:cubicBezTo>
                    <a:pt x="1112" y="231"/>
                    <a:pt x="1124" y="228"/>
                    <a:pt x="1119" y="220"/>
                  </a:cubicBezTo>
                  <a:cubicBezTo>
                    <a:pt x="1114" y="211"/>
                    <a:pt x="1110" y="209"/>
                    <a:pt x="1100" y="211"/>
                  </a:cubicBezTo>
                  <a:cubicBezTo>
                    <a:pt x="1090" y="213"/>
                    <a:pt x="1079" y="219"/>
                    <a:pt x="1079" y="209"/>
                  </a:cubicBezTo>
                  <a:cubicBezTo>
                    <a:pt x="1079" y="199"/>
                    <a:pt x="1076" y="201"/>
                    <a:pt x="1070" y="196"/>
                  </a:cubicBezTo>
                  <a:cubicBezTo>
                    <a:pt x="1063" y="191"/>
                    <a:pt x="1057" y="185"/>
                    <a:pt x="1043" y="187"/>
                  </a:cubicBezTo>
                  <a:cubicBezTo>
                    <a:pt x="1029" y="189"/>
                    <a:pt x="1007" y="198"/>
                    <a:pt x="1007" y="187"/>
                  </a:cubicBezTo>
                  <a:cubicBezTo>
                    <a:pt x="1007" y="175"/>
                    <a:pt x="1006" y="173"/>
                    <a:pt x="999" y="170"/>
                  </a:cubicBezTo>
                  <a:cubicBezTo>
                    <a:pt x="993" y="168"/>
                    <a:pt x="993" y="160"/>
                    <a:pt x="974" y="163"/>
                  </a:cubicBezTo>
                  <a:cubicBezTo>
                    <a:pt x="956" y="166"/>
                    <a:pt x="917" y="160"/>
                    <a:pt x="916" y="165"/>
                  </a:cubicBezTo>
                  <a:cubicBezTo>
                    <a:pt x="916" y="170"/>
                    <a:pt x="916" y="171"/>
                    <a:pt x="895" y="171"/>
                  </a:cubicBezTo>
                  <a:cubicBezTo>
                    <a:pt x="874" y="171"/>
                    <a:pt x="864" y="175"/>
                    <a:pt x="858" y="168"/>
                  </a:cubicBezTo>
                  <a:cubicBezTo>
                    <a:pt x="852" y="161"/>
                    <a:pt x="849" y="160"/>
                    <a:pt x="837" y="162"/>
                  </a:cubicBezTo>
                  <a:cubicBezTo>
                    <a:pt x="825" y="163"/>
                    <a:pt x="825" y="175"/>
                    <a:pt x="811" y="176"/>
                  </a:cubicBezTo>
                  <a:cubicBezTo>
                    <a:pt x="797" y="177"/>
                    <a:pt x="789" y="184"/>
                    <a:pt x="779" y="185"/>
                  </a:cubicBezTo>
                  <a:cubicBezTo>
                    <a:pt x="769" y="187"/>
                    <a:pt x="756" y="188"/>
                    <a:pt x="753" y="193"/>
                  </a:cubicBezTo>
                  <a:cubicBezTo>
                    <a:pt x="749" y="197"/>
                    <a:pt x="731" y="191"/>
                    <a:pt x="723" y="197"/>
                  </a:cubicBezTo>
                  <a:cubicBezTo>
                    <a:pt x="715" y="203"/>
                    <a:pt x="703" y="205"/>
                    <a:pt x="703" y="211"/>
                  </a:cubicBezTo>
                  <a:cubicBezTo>
                    <a:pt x="703" y="218"/>
                    <a:pt x="704" y="217"/>
                    <a:pt x="688" y="217"/>
                  </a:cubicBezTo>
                  <a:cubicBezTo>
                    <a:pt x="671" y="217"/>
                    <a:pt x="674" y="214"/>
                    <a:pt x="662" y="213"/>
                  </a:cubicBezTo>
                  <a:cubicBezTo>
                    <a:pt x="650" y="213"/>
                    <a:pt x="648" y="211"/>
                    <a:pt x="645" y="206"/>
                  </a:cubicBezTo>
                  <a:cubicBezTo>
                    <a:pt x="642" y="200"/>
                    <a:pt x="638" y="198"/>
                    <a:pt x="632" y="195"/>
                  </a:cubicBezTo>
                  <a:cubicBezTo>
                    <a:pt x="625" y="191"/>
                    <a:pt x="614" y="190"/>
                    <a:pt x="612" y="196"/>
                  </a:cubicBezTo>
                  <a:cubicBezTo>
                    <a:pt x="611" y="201"/>
                    <a:pt x="600" y="208"/>
                    <a:pt x="597" y="203"/>
                  </a:cubicBezTo>
                  <a:cubicBezTo>
                    <a:pt x="593" y="198"/>
                    <a:pt x="592" y="193"/>
                    <a:pt x="583" y="197"/>
                  </a:cubicBezTo>
                  <a:cubicBezTo>
                    <a:pt x="574" y="201"/>
                    <a:pt x="574" y="205"/>
                    <a:pt x="561" y="202"/>
                  </a:cubicBezTo>
                  <a:cubicBezTo>
                    <a:pt x="549" y="199"/>
                    <a:pt x="546" y="193"/>
                    <a:pt x="540" y="191"/>
                  </a:cubicBezTo>
                  <a:cubicBezTo>
                    <a:pt x="534" y="188"/>
                    <a:pt x="520" y="185"/>
                    <a:pt x="518" y="193"/>
                  </a:cubicBezTo>
                  <a:cubicBezTo>
                    <a:pt x="517" y="202"/>
                    <a:pt x="526" y="215"/>
                    <a:pt x="513" y="214"/>
                  </a:cubicBezTo>
                  <a:cubicBezTo>
                    <a:pt x="501" y="213"/>
                    <a:pt x="512" y="208"/>
                    <a:pt x="501" y="207"/>
                  </a:cubicBezTo>
                  <a:cubicBezTo>
                    <a:pt x="491" y="206"/>
                    <a:pt x="485" y="197"/>
                    <a:pt x="491" y="191"/>
                  </a:cubicBezTo>
                  <a:cubicBezTo>
                    <a:pt x="498" y="185"/>
                    <a:pt x="501" y="181"/>
                    <a:pt x="500" y="176"/>
                  </a:cubicBezTo>
                  <a:cubicBezTo>
                    <a:pt x="499" y="171"/>
                    <a:pt x="496" y="168"/>
                    <a:pt x="488" y="166"/>
                  </a:cubicBezTo>
                  <a:cubicBezTo>
                    <a:pt x="481" y="164"/>
                    <a:pt x="472" y="163"/>
                    <a:pt x="468" y="155"/>
                  </a:cubicBezTo>
                  <a:cubicBezTo>
                    <a:pt x="463" y="146"/>
                    <a:pt x="460" y="143"/>
                    <a:pt x="449" y="145"/>
                  </a:cubicBezTo>
                  <a:cubicBezTo>
                    <a:pt x="438" y="146"/>
                    <a:pt x="430" y="149"/>
                    <a:pt x="422" y="151"/>
                  </a:cubicBezTo>
                  <a:cubicBezTo>
                    <a:pt x="415" y="153"/>
                    <a:pt x="412" y="152"/>
                    <a:pt x="406" y="147"/>
                  </a:cubicBezTo>
                  <a:cubicBezTo>
                    <a:pt x="400" y="142"/>
                    <a:pt x="400" y="132"/>
                    <a:pt x="407" y="128"/>
                  </a:cubicBezTo>
                  <a:cubicBezTo>
                    <a:pt x="414" y="124"/>
                    <a:pt x="424" y="129"/>
                    <a:pt x="425" y="123"/>
                  </a:cubicBezTo>
                  <a:cubicBezTo>
                    <a:pt x="427" y="117"/>
                    <a:pt x="433" y="117"/>
                    <a:pt x="440" y="123"/>
                  </a:cubicBezTo>
                  <a:cubicBezTo>
                    <a:pt x="446" y="130"/>
                    <a:pt x="454" y="131"/>
                    <a:pt x="460" y="127"/>
                  </a:cubicBezTo>
                  <a:cubicBezTo>
                    <a:pt x="467" y="122"/>
                    <a:pt x="470" y="119"/>
                    <a:pt x="481" y="119"/>
                  </a:cubicBezTo>
                  <a:cubicBezTo>
                    <a:pt x="493" y="119"/>
                    <a:pt x="496" y="123"/>
                    <a:pt x="496" y="115"/>
                  </a:cubicBezTo>
                  <a:cubicBezTo>
                    <a:pt x="497" y="106"/>
                    <a:pt x="486" y="100"/>
                    <a:pt x="481" y="100"/>
                  </a:cubicBezTo>
                  <a:cubicBezTo>
                    <a:pt x="476" y="100"/>
                    <a:pt x="457" y="95"/>
                    <a:pt x="448" y="95"/>
                  </a:cubicBezTo>
                  <a:cubicBezTo>
                    <a:pt x="438" y="95"/>
                    <a:pt x="441" y="86"/>
                    <a:pt x="429" y="87"/>
                  </a:cubicBezTo>
                  <a:cubicBezTo>
                    <a:pt x="417" y="87"/>
                    <a:pt x="410" y="87"/>
                    <a:pt x="410" y="79"/>
                  </a:cubicBezTo>
                  <a:cubicBezTo>
                    <a:pt x="410" y="70"/>
                    <a:pt x="412" y="70"/>
                    <a:pt x="405" y="64"/>
                  </a:cubicBezTo>
                  <a:cubicBezTo>
                    <a:pt x="397" y="59"/>
                    <a:pt x="385" y="56"/>
                    <a:pt x="376" y="54"/>
                  </a:cubicBezTo>
                  <a:cubicBezTo>
                    <a:pt x="367" y="51"/>
                    <a:pt x="367" y="45"/>
                    <a:pt x="356" y="46"/>
                  </a:cubicBezTo>
                  <a:cubicBezTo>
                    <a:pt x="345" y="48"/>
                    <a:pt x="344" y="55"/>
                    <a:pt x="329" y="54"/>
                  </a:cubicBezTo>
                  <a:cubicBezTo>
                    <a:pt x="314" y="52"/>
                    <a:pt x="314" y="55"/>
                    <a:pt x="303" y="60"/>
                  </a:cubicBezTo>
                  <a:cubicBezTo>
                    <a:pt x="293" y="65"/>
                    <a:pt x="296" y="64"/>
                    <a:pt x="276" y="63"/>
                  </a:cubicBezTo>
                  <a:cubicBezTo>
                    <a:pt x="257" y="62"/>
                    <a:pt x="245" y="66"/>
                    <a:pt x="243" y="54"/>
                  </a:cubicBezTo>
                  <a:cubicBezTo>
                    <a:pt x="240" y="41"/>
                    <a:pt x="233" y="43"/>
                    <a:pt x="225" y="36"/>
                  </a:cubicBezTo>
                  <a:cubicBezTo>
                    <a:pt x="216" y="30"/>
                    <a:pt x="223" y="20"/>
                    <a:pt x="206" y="19"/>
                  </a:cubicBezTo>
                  <a:cubicBezTo>
                    <a:pt x="190" y="19"/>
                    <a:pt x="172" y="28"/>
                    <a:pt x="162" y="16"/>
                  </a:cubicBezTo>
                  <a:cubicBezTo>
                    <a:pt x="153" y="5"/>
                    <a:pt x="122" y="13"/>
                    <a:pt x="120" y="8"/>
                  </a:cubicBezTo>
                  <a:cubicBezTo>
                    <a:pt x="118" y="3"/>
                    <a:pt x="102" y="0"/>
                    <a:pt x="91" y="0"/>
                  </a:cubicBezTo>
                  <a:cubicBezTo>
                    <a:pt x="81" y="0"/>
                    <a:pt x="86" y="3"/>
                    <a:pt x="63" y="4"/>
                  </a:cubicBezTo>
                  <a:cubicBezTo>
                    <a:pt x="63" y="4"/>
                    <a:pt x="51" y="1"/>
                    <a:pt x="42" y="8"/>
                  </a:cubicBezTo>
                  <a:cubicBezTo>
                    <a:pt x="33" y="16"/>
                    <a:pt x="25" y="11"/>
                    <a:pt x="16" y="13"/>
                  </a:cubicBezTo>
                  <a:cubicBezTo>
                    <a:pt x="7" y="16"/>
                    <a:pt x="3" y="24"/>
                    <a:pt x="14" y="29"/>
                  </a:cubicBezTo>
                  <a:cubicBezTo>
                    <a:pt x="25" y="34"/>
                    <a:pt x="27" y="36"/>
                    <a:pt x="21" y="38"/>
                  </a:cubicBezTo>
                  <a:cubicBezTo>
                    <a:pt x="15" y="39"/>
                    <a:pt x="0" y="49"/>
                    <a:pt x="11" y="51"/>
                  </a:cubicBezTo>
                  <a:cubicBezTo>
                    <a:pt x="23" y="54"/>
                    <a:pt x="26" y="49"/>
                    <a:pt x="34" y="58"/>
                  </a:cubicBezTo>
                  <a:cubicBezTo>
                    <a:pt x="42" y="67"/>
                    <a:pt x="63" y="64"/>
                    <a:pt x="65" y="77"/>
                  </a:cubicBezTo>
                  <a:cubicBezTo>
                    <a:pt x="67" y="91"/>
                    <a:pt x="73" y="95"/>
                    <a:pt x="83" y="95"/>
                  </a:cubicBezTo>
                  <a:cubicBezTo>
                    <a:pt x="93" y="95"/>
                    <a:pt x="100" y="92"/>
                    <a:pt x="105" y="99"/>
                  </a:cubicBezTo>
                  <a:cubicBezTo>
                    <a:pt x="110" y="107"/>
                    <a:pt x="105" y="112"/>
                    <a:pt x="121" y="112"/>
                  </a:cubicBezTo>
                  <a:cubicBezTo>
                    <a:pt x="137" y="112"/>
                    <a:pt x="142" y="108"/>
                    <a:pt x="160" y="112"/>
                  </a:cubicBezTo>
                  <a:cubicBezTo>
                    <a:pt x="179" y="115"/>
                    <a:pt x="219" y="113"/>
                    <a:pt x="220" y="109"/>
                  </a:cubicBezTo>
                  <a:cubicBezTo>
                    <a:pt x="222" y="105"/>
                    <a:pt x="225" y="102"/>
                    <a:pt x="238" y="102"/>
                  </a:cubicBezTo>
                  <a:cubicBezTo>
                    <a:pt x="251" y="102"/>
                    <a:pt x="248" y="106"/>
                    <a:pt x="254" y="111"/>
                  </a:cubicBezTo>
                  <a:cubicBezTo>
                    <a:pt x="260" y="116"/>
                    <a:pt x="271" y="119"/>
                    <a:pt x="273" y="129"/>
                  </a:cubicBezTo>
                  <a:cubicBezTo>
                    <a:pt x="275" y="139"/>
                    <a:pt x="276" y="147"/>
                    <a:pt x="291" y="152"/>
                  </a:cubicBezTo>
                  <a:cubicBezTo>
                    <a:pt x="306" y="157"/>
                    <a:pt x="313" y="170"/>
                    <a:pt x="314" y="181"/>
                  </a:cubicBezTo>
                  <a:cubicBezTo>
                    <a:pt x="314" y="193"/>
                    <a:pt x="301" y="200"/>
                    <a:pt x="300" y="206"/>
                  </a:cubicBezTo>
                  <a:cubicBezTo>
                    <a:pt x="298" y="213"/>
                    <a:pt x="296" y="226"/>
                    <a:pt x="292" y="228"/>
                  </a:cubicBezTo>
                  <a:cubicBezTo>
                    <a:pt x="288" y="230"/>
                    <a:pt x="287" y="236"/>
                    <a:pt x="288" y="241"/>
                  </a:cubicBezTo>
                  <a:cubicBezTo>
                    <a:pt x="290" y="246"/>
                    <a:pt x="296" y="244"/>
                    <a:pt x="298" y="250"/>
                  </a:cubicBezTo>
                  <a:cubicBezTo>
                    <a:pt x="300" y="256"/>
                    <a:pt x="303" y="257"/>
                    <a:pt x="303" y="268"/>
                  </a:cubicBezTo>
                  <a:cubicBezTo>
                    <a:pt x="303" y="279"/>
                    <a:pt x="314" y="276"/>
                    <a:pt x="315" y="287"/>
                  </a:cubicBezTo>
                  <a:cubicBezTo>
                    <a:pt x="316" y="299"/>
                    <a:pt x="316" y="307"/>
                    <a:pt x="327" y="308"/>
                  </a:cubicBezTo>
                  <a:cubicBezTo>
                    <a:pt x="338" y="309"/>
                    <a:pt x="342" y="306"/>
                    <a:pt x="346" y="314"/>
                  </a:cubicBezTo>
                  <a:cubicBezTo>
                    <a:pt x="351" y="322"/>
                    <a:pt x="359" y="319"/>
                    <a:pt x="364" y="319"/>
                  </a:cubicBezTo>
                  <a:cubicBezTo>
                    <a:pt x="370" y="319"/>
                    <a:pt x="375" y="321"/>
                    <a:pt x="375" y="314"/>
                  </a:cubicBezTo>
                  <a:cubicBezTo>
                    <a:pt x="375" y="308"/>
                    <a:pt x="370" y="304"/>
                    <a:pt x="378" y="30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6" name="Freeform 496">
              <a:extLst>
                <a:ext uri="{FF2B5EF4-FFF2-40B4-BE49-F238E27FC236}">
                  <a16:creationId xmlns:a16="http://schemas.microsoft.com/office/drawing/2014/main" id="{13815EDC-3074-C748-90E1-0500D3DF0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4" y="1395"/>
              <a:ext cx="34" cy="21"/>
            </a:xfrm>
            <a:custGeom>
              <a:avLst/>
              <a:gdLst>
                <a:gd name="T0" fmla="*/ 23 w 137"/>
                <a:gd name="T1" fmla="*/ 39 h 85"/>
                <a:gd name="T2" fmla="*/ 6 w 137"/>
                <a:gd name="T3" fmla="*/ 54 h 85"/>
                <a:gd name="T4" fmla="*/ 15 w 137"/>
                <a:gd name="T5" fmla="*/ 72 h 85"/>
                <a:gd name="T6" fmla="*/ 35 w 137"/>
                <a:gd name="T7" fmla="*/ 83 h 85"/>
                <a:gd name="T8" fmla="*/ 73 w 137"/>
                <a:gd name="T9" fmla="*/ 78 h 85"/>
                <a:gd name="T10" fmla="*/ 91 w 137"/>
                <a:gd name="T11" fmla="*/ 59 h 85"/>
                <a:gd name="T12" fmla="*/ 112 w 137"/>
                <a:gd name="T13" fmla="*/ 43 h 85"/>
                <a:gd name="T14" fmla="*/ 133 w 137"/>
                <a:gd name="T15" fmla="*/ 24 h 85"/>
                <a:gd name="T16" fmla="*/ 126 w 137"/>
                <a:gd name="T17" fmla="*/ 3 h 85"/>
                <a:gd name="T18" fmla="*/ 99 w 137"/>
                <a:gd name="T19" fmla="*/ 2 h 85"/>
                <a:gd name="T20" fmla="*/ 79 w 137"/>
                <a:gd name="T21" fmla="*/ 5 h 85"/>
                <a:gd name="T22" fmla="*/ 64 w 137"/>
                <a:gd name="T23" fmla="*/ 11 h 85"/>
                <a:gd name="T24" fmla="*/ 28 w 137"/>
                <a:gd name="T25" fmla="*/ 20 h 85"/>
                <a:gd name="T26" fmla="*/ 23 w 137"/>
                <a:gd name="T27" fmla="*/ 3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7" h="85">
                  <a:moveTo>
                    <a:pt x="23" y="39"/>
                  </a:moveTo>
                  <a:cubicBezTo>
                    <a:pt x="13" y="41"/>
                    <a:pt x="0" y="44"/>
                    <a:pt x="6" y="54"/>
                  </a:cubicBezTo>
                  <a:cubicBezTo>
                    <a:pt x="11" y="64"/>
                    <a:pt x="14" y="65"/>
                    <a:pt x="15" y="72"/>
                  </a:cubicBezTo>
                  <a:cubicBezTo>
                    <a:pt x="15" y="79"/>
                    <a:pt x="27" y="83"/>
                    <a:pt x="35" y="83"/>
                  </a:cubicBezTo>
                  <a:cubicBezTo>
                    <a:pt x="42" y="83"/>
                    <a:pt x="71" y="85"/>
                    <a:pt x="73" y="78"/>
                  </a:cubicBezTo>
                  <a:cubicBezTo>
                    <a:pt x="76" y="70"/>
                    <a:pt x="80" y="67"/>
                    <a:pt x="91" y="59"/>
                  </a:cubicBezTo>
                  <a:cubicBezTo>
                    <a:pt x="103" y="51"/>
                    <a:pt x="99" y="45"/>
                    <a:pt x="112" y="43"/>
                  </a:cubicBezTo>
                  <a:cubicBezTo>
                    <a:pt x="124" y="40"/>
                    <a:pt x="132" y="35"/>
                    <a:pt x="133" y="24"/>
                  </a:cubicBezTo>
                  <a:cubicBezTo>
                    <a:pt x="134" y="14"/>
                    <a:pt x="137" y="5"/>
                    <a:pt x="126" y="3"/>
                  </a:cubicBezTo>
                  <a:cubicBezTo>
                    <a:pt x="115" y="1"/>
                    <a:pt x="112" y="1"/>
                    <a:pt x="99" y="2"/>
                  </a:cubicBezTo>
                  <a:cubicBezTo>
                    <a:pt x="99" y="2"/>
                    <a:pt x="81" y="0"/>
                    <a:pt x="79" y="5"/>
                  </a:cubicBezTo>
                  <a:cubicBezTo>
                    <a:pt x="76" y="10"/>
                    <a:pt x="85" y="13"/>
                    <a:pt x="64" y="11"/>
                  </a:cubicBezTo>
                  <a:cubicBezTo>
                    <a:pt x="44" y="9"/>
                    <a:pt x="30" y="12"/>
                    <a:pt x="28" y="20"/>
                  </a:cubicBezTo>
                  <a:cubicBezTo>
                    <a:pt x="27" y="28"/>
                    <a:pt x="33" y="37"/>
                    <a:pt x="23" y="3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7" name="Freeform 497">
              <a:extLst>
                <a:ext uri="{FF2B5EF4-FFF2-40B4-BE49-F238E27FC236}">
                  <a16:creationId xmlns:a16="http://schemas.microsoft.com/office/drawing/2014/main" id="{76CEEECD-EB24-2C4E-B117-3E74880A7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" y="875"/>
              <a:ext cx="26" cy="18"/>
            </a:xfrm>
            <a:custGeom>
              <a:avLst/>
              <a:gdLst>
                <a:gd name="T0" fmla="*/ 9 w 102"/>
                <a:gd name="T1" fmla="*/ 43 h 71"/>
                <a:gd name="T2" fmla="*/ 30 w 102"/>
                <a:gd name="T3" fmla="*/ 46 h 71"/>
                <a:gd name="T4" fmla="*/ 52 w 102"/>
                <a:gd name="T5" fmla="*/ 52 h 71"/>
                <a:gd name="T6" fmla="*/ 65 w 102"/>
                <a:gd name="T7" fmla="*/ 68 h 71"/>
                <a:gd name="T8" fmla="*/ 90 w 102"/>
                <a:gd name="T9" fmla="*/ 60 h 71"/>
                <a:gd name="T10" fmla="*/ 95 w 102"/>
                <a:gd name="T11" fmla="*/ 45 h 71"/>
                <a:gd name="T12" fmla="*/ 87 w 102"/>
                <a:gd name="T13" fmla="*/ 22 h 71"/>
                <a:gd name="T14" fmla="*/ 68 w 102"/>
                <a:gd name="T15" fmla="*/ 10 h 71"/>
                <a:gd name="T16" fmla="*/ 53 w 102"/>
                <a:gd name="T17" fmla="*/ 12 h 71"/>
                <a:gd name="T18" fmla="*/ 29 w 102"/>
                <a:gd name="T19" fmla="*/ 2 h 71"/>
                <a:gd name="T20" fmla="*/ 14 w 102"/>
                <a:gd name="T21" fmla="*/ 10 h 71"/>
                <a:gd name="T22" fmla="*/ 1 w 102"/>
                <a:gd name="T23" fmla="*/ 25 h 71"/>
                <a:gd name="T24" fmla="*/ 9 w 102"/>
                <a:gd name="T25" fmla="*/ 4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" h="71">
                  <a:moveTo>
                    <a:pt x="9" y="43"/>
                  </a:moveTo>
                  <a:cubicBezTo>
                    <a:pt x="18" y="47"/>
                    <a:pt x="20" y="48"/>
                    <a:pt x="30" y="46"/>
                  </a:cubicBezTo>
                  <a:cubicBezTo>
                    <a:pt x="40" y="45"/>
                    <a:pt x="50" y="41"/>
                    <a:pt x="52" y="52"/>
                  </a:cubicBezTo>
                  <a:cubicBezTo>
                    <a:pt x="54" y="63"/>
                    <a:pt x="55" y="68"/>
                    <a:pt x="65" y="68"/>
                  </a:cubicBezTo>
                  <a:cubicBezTo>
                    <a:pt x="75" y="68"/>
                    <a:pt x="90" y="71"/>
                    <a:pt x="90" y="60"/>
                  </a:cubicBezTo>
                  <a:cubicBezTo>
                    <a:pt x="90" y="50"/>
                    <a:pt x="102" y="55"/>
                    <a:pt x="95" y="45"/>
                  </a:cubicBezTo>
                  <a:cubicBezTo>
                    <a:pt x="89" y="36"/>
                    <a:pt x="93" y="30"/>
                    <a:pt x="87" y="22"/>
                  </a:cubicBezTo>
                  <a:cubicBezTo>
                    <a:pt x="80" y="14"/>
                    <a:pt x="75" y="8"/>
                    <a:pt x="68" y="10"/>
                  </a:cubicBezTo>
                  <a:cubicBezTo>
                    <a:pt x="61" y="11"/>
                    <a:pt x="67" y="17"/>
                    <a:pt x="53" y="12"/>
                  </a:cubicBezTo>
                  <a:cubicBezTo>
                    <a:pt x="53" y="12"/>
                    <a:pt x="37" y="4"/>
                    <a:pt x="29" y="2"/>
                  </a:cubicBezTo>
                  <a:cubicBezTo>
                    <a:pt x="21" y="0"/>
                    <a:pt x="18" y="5"/>
                    <a:pt x="14" y="10"/>
                  </a:cubicBezTo>
                  <a:cubicBezTo>
                    <a:pt x="9" y="14"/>
                    <a:pt x="3" y="15"/>
                    <a:pt x="1" y="25"/>
                  </a:cubicBezTo>
                  <a:cubicBezTo>
                    <a:pt x="0" y="34"/>
                    <a:pt x="1" y="40"/>
                    <a:pt x="9" y="4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8" name="Freeform 498">
              <a:extLst>
                <a:ext uri="{FF2B5EF4-FFF2-40B4-BE49-F238E27FC236}">
                  <a16:creationId xmlns:a16="http://schemas.microsoft.com/office/drawing/2014/main" id="{D1CA4880-63F8-6244-ADF3-907E46BF8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5" y="760"/>
              <a:ext cx="575" cy="258"/>
            </a:xfrm>
            <a:custGeom>
              <a:avLst/>
              <a:gdLst>
                <a:gd name="T0" fmla="*/ 130 w 2277"/>
                <a:gd name="T1" fmla="*/ 583 h 1020"/>
                <a:gd name="T2" fmla="*/ 209 w 2277"/>
                <a:gd name="T3" fmla="*/ 612 h 1020"/>
                <a:gd name="T4" fmla="*/ 311 w 2277"/>
                <a:gd name="T5" fmla="*/ 734 h 1020"/>
                <a:gd name="T6" fmla="*/ 521 w 2277"/>
                <a:gd name="T7" fmla="*/ 730 h 1020"/>
                <a:gd name="T8" fmla="*/ 621 w 2277"/>
                <a:gd name="T9" fmla="*/ 651 h 1020"/>
                <a:gd name="T10" fmla="*/ 606 w 2277"/>
                <a:gd name="T11" fmla="*/ 726 h 1020"/>
                <a:gd name="T12" fmla="*/ 750 w 2277"/>
                <a:gd name="T13" fmla="*/ 754 h 1020"/>
                <a:gd name="T14" fmla="*/ 795 w 2277"/>
                <a:gd name="T15" fmla="*/ 849 h 1020"/>
                <a:gd name="T16" fmla="*/ 579 w 2277"/>
                <a:gd name="T17" fmla="*/ 840 h 1020"/>
                <a:gd name="T18" fmla="*/ 518 w 2277"/>
                <a:gd name="T19" fmla="*/ 975 h 1020"/>
                <a:gd name="T20" fmla="*/ 703 w 2277"/>
                <a:gd name="T21" fmla="*/ 992 h 1020"/>
                <a:gd name="T22" fmla="*/ 939 w 2277"/>
                <a:gd name="T23" fmla="*/ 985 h 1020"/>
                <a:gd name="T24" fmla="*/ 1138 w 2277"/>
                <a:gd name="T25" fmla="*/ 975 h 1020"/>
                <a:gd name="T26" fmla="*/ 1137 w 2277"/>
                <a:gd name="T27" fmla="*/ 904 h 1020"/>
                <a:gd name="T28" fmla="*/ 975 w 2277"/>
                <a:gd name="T29" fmla="*/ 832 h 1020"/>
                <a:gd name="T30" fmla="*/ 1210 w 2277"/>
                <a:gd name="T31" fmla="*/ 770 h 1020"/>
                <a:gd name="T32" fmla="*/ 1332 w 2277"/>
                <a:gd name="T33" fmla="*/ 701 h 1020"/>
                <a:gd name="T34" fmla="*/ 1335 w 2277"/>
                <a:gd name="T35" fmla="*/ 631 h 1020"/>
                <a:gd name="T36" fmla="*/ 1165 w 2277"/>
                <a:gd name="T37" fmla="*/ 608 h 1020"/>
                <a:gd name="T38" fmla="*/ 1425 w 2277"/>
                <a:gd name="T39" fmla="*/ 614 h 1020"/>
                <a:gd name="T40" fmla="*/ 1400 w 2277"/>
                <a:gd name="T41" fmla="*/ 567 h 1020"/>
                <a:gd name="T42" fmla="*/ 1525 w 2277"/>
                <a:gd name="T43" fmla="*/ 511 h 1020"/>
                <a:gd name="T44" fmla="*/ 1570 w 2277"/>
                <a:gd name="T45" fmla="*/ 472 h 1020"/>
                <a:gd name="T46" fmla="*/ 1700 w 2277"/>
                <a:gd name="T47" fmla="*/ 425 h 1020"/>
                <a:gd name="T48" fmla="*/ 1929 w 2277"/>
                <a:gd name="T49" fmla="*/ 270 h 1020"/>
                <a:gd name="T50" fmla="*/ 1915 w 2277"/>
                <a:gd name="T51" fmla="*/ 257 h 1020"/>
                <a:gd name="T52" fmla="*/ 2022 w 2277"/>
                <a:gd name="T53" fmla="*/ 222 h 1020"/>
                <a:gd name="T54" fmla="*/ 2157 w 2277"/>
                <a:gd name="T55" fmla="*/ 104 h 1020"/>
                <a:gd name="T56" fmla="*/ 1995 w 2277"/>
                <a:gd name="T57" fmla="*/ 55 h 1020"/>
                <a:gd name="T58" fmla="*/ 1901 w 2277"/>
                <a:gd name="T59" fmla="*/ 52 h 1020"/>
                <a:gd name="T60" fmla="*/ 1646 w 2277"/>
                <a:gd name="T61" fmla="*/ 4 h 1020"/>
                <a:gd name="T62" fmla="*/ 1462 w 2277"/>
                <a:gd name="T63" fmla="*/ 43 h 1020"/>
                <a:gd name="T64" fmla="*/ 1347 w 2277"/>
                <a:gd name="T65" fmla="*/ 77 h 1020"/>
                <a:gd name="T66" fmla="*/ 1163 w 2277"/>
                <a:gd name="T67" fmla="*/ 32 h 1020"/>
                <a:gd name="T68" fmla="*/ 1101 w 2277"/>
                <a:gd name="T69" fmla="*/ 77 h 1020"/>
                <a:gd name="T70" fmla="*/ 908 w 2277"/>
                <a:gd name="T71" fmla="*/ 113 h 1020"/>
                <a:gd name="T72" fmla="*/ 894 w 2277"/>
                <a:gd name="T73" fmla="*/ 170 h 1020"/>
                <a:gd name="T74" fmla="*/ 683 w 2277"/>
                <a:gd name="T75" fmla="*/ 143 h 1020"/>
                <a:gd name="T76" fmla="*/ 605 w 2277"/>
                <a:gd name="T77" fmla="*/ 177 h 1020"/>
                <a:gd name="T78" fmla="*/ 316 w 2277"/>
                <a:gd name="T79" fmla="*/ 239 h 1020"/>
                <a:gd name="T80" fmla="*/ 440 w 2277"/>
                <a:gd name="T81" fmla="*/ 267 h 1020"/>
                <a:gd name="T82" fmla="*/ 497 w 2277"/>
                <a:gd name="T83" fmla="*/ 332 h 1020"/>
                <a:gd name="T84" fmla="*/ 684 w 2277"/>
                <a:gd name="T85" fmla="*/ 307 h 1020"/>
                <a:gd name="T86" fmla="*/ 667 w 2277"/>
                <a:gd name="T87" fmla="*/ 368 h 1020"/>
                <a:gd name="T88" fmla="*/ 875 w 2277"/>
                <a:gd name="T89" fmla="*/ 393 h 1020"/>
                <a:gd name="T90" fmla="*/ 1162 w 2277"/>
                <a:gd name="T91" fmla="*/ 310 h 1020"/>
                <a:gd name="T92" fmla="*/ 1201 w 2277"/>
                <a:gd name="T93" fmla="*/ 342 h 1020"/>
                <a:gd name="T94" fmla="*/ 1161 w 2277"/>
                <a:gd name="T95" fmla="*/ 403 h 1020"/>
                <a:gd name="T96" fmla="*/ 1003 w 2277"/>
                <a:gd name="T97" fmla="*/ 527 h 1020"/>
                <a:gd name="T98" fmla="*/ 803 w 2277"/>
                <a:gd name="T99" fmla="*/ 439 h 1020"/>
                <a:gd name="T100" fmla="*/ 749 w 2277"/>
                <a:gd name="T101" fmla="*/ 538 h 1020"/>
                <a:gd name="T102" fmla="*/ 963 w 2277"/>
                <a:gd name="T103" fmla="*/ 616 h 1020"/>
                <a:gd name="T104" fmla="*/ 720 w 2277"/>
                <a:gd name="T105" fmla="*/ 628 h 1020"/>
                <a:gd name="T106" fmla="*/ 624 w 2277"/>
                <a:gd name="T107" fmla="*/ 539 h 1020"/>
                <a:gd name="T108" fmla="*/ 540 w 2277"/>
                <a:gd name="T109" fmla="*/ 451 h 1020"/>
                <a:gd name="T110" fmla="*/ 214 w 2277"/>
                <a:gd name="T111" fmla="*/ 276 h 1020"/>
                <a:gd name="T112" fmla="*/ 137 w 2277"/>
                <a:gd name="T113" fmla="*/ 375 h 1020"/>
                <a:gd name="T114" fmla="*/ 34 w 2277"/>
                <a:gd name="T115" fmla="*/ 422 h 1020"/>
                <a:gd name="T116" fmla="*/ 33 w 2277"/>
                <a:gd name="T117" fmla="*/ 461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77" h="1020">
                  <a:moveTo>
                    <a:pt x="30" y="492"/>
                  </a:moveTo>
                  <a:cubicBezTo>
                    <a:pt x="33" y="502"/>
                    <a:pt x="29" y="505"/>
                    <a:pt x="41" y="512"/>
                  </a:cubicBezTo>
                  <a:cubicBezTo>
                    <a:pt x="52" y="520"/>
                    <a:pt x="58" y="532"/>
                    <a:pt x="69" y="532"/>
                  </a:cubicBezTo>
                  <a:cubicBezTo>
                    <a:pt x="80" y="532"/>
                    <a:pt x="93" y="534"/>
                    <a:pt x="103" y="532"/>
                  </a:cubicBezTo>
                  <a:cubicBezTo>
                    <a:pt x="112" y="531"/>
                    <a:pt x="126" y="534"/>
                    <a:pt x="131" y="529"/>
                  </a:cubicBezTo>
                  <a:cubicBezTo>
                    <a:pt x="136" y="524"/>
                    <a:pt x="153" y="529"/>
                    <a:pt x="144" y="535"/>
                  </a:cubicBezTo>
                  <a:cubicBezTo>
                    <a:pt x="136" y="542"/>
                    <a:pt x="127" y="542"/>
                    <a:pt x="110" y="542"/>
                  </a:cubicBezTo>
                  <a:cubicBezTo>
                    <a:pt x="93" y="542"/>
                    <a:pt x="80" y="543"/>
                    <a:pt x="77" y="550"/>
                  </a:cubicBezTo>
                  <a:cubicBezTo>
                    <a:pt x="75" y="557"/>
                    <a:pt x="86" y="560"/>
                    <a:pt x="99" y="570"/>
                  </a:cubicBezTo>
                  <a:cubicBezTo>
                    <a:pt x="112" y="580"/>
                    <a:pt x="126" y="590"/>
                    <a:pt x="130" y="583"/>
                  </a:cubicBezTo>
                  <a:cubicBezTo>
                    <a:pt x="133" y="576"/>
                    <a:pt x="143" y="575"/>
                    <a:pt x="148" y="575"/>
                  </a:cubicBezTo>
                  <a:cubicBezTo>
                    <a:pt x="153" y="576"/>
                    <a:pt x="169" y="561"/>
                    <a:pt x="175" y="573"/>
                  </a:cubicBezTo>
                  <a:cubicBezTo>
                    <a:pt x="181" y="584"/>
                    <a:pt x="192" y="591"/>
                    <a:pt x="201" y="583"/>
                  </a:cubicBezTo>
                  <a:cubicBezTo>
                    <a:pt x="209" y="575"/>
                    <a:pt x="218" y="574"/>
                    <a:pt x="225" y="574"/>
                  </a:cubicBezTo>
                  <a:cubicBezTo>
                    <a:pt x="232" y="574"/>
                    <a:pt x="237" y="560"/>
                    <a:pt x="251" y="561"/>
                  </a:cubicBezTo>
                  <a:cubicBezTo>
                    <a:pt x="265" y="562"/>
                    <a:pt x="287" y="559"/>
                    <a:pt x="287" y="568"/>
                  </a:cubicBezTo>
                  <a:cubicBezTo>
                    <a:pt x="287" y="578"/>
                    <a:pt x="262" y="574"/>
                    <a:pt x="273" y="580"/>
                  </a:cubicBezTo>
                  <a:cubicBezTo>
                    <a:pt x="285" y="587"/>
                    <a:pt x="292" y="595"/>
                    <a:pt x="273" y="595"/>
                  </a:cubicBezTo>
                  <a:cubicBezTo>
                    <a:pt x="254" y="595"/>
                    <a:pt x="242" y="598"/>
                    <a:pt x="229" y="598"/>
                  </a:cubicBezTo>
                  <a:cubicBezTo>
                    <a:pt x="217" y="599"/>
                    <a:pt x="222" y="605"/>
                    <a:pt x="209" y="612"/>
                  </a:cubicBezTo>
                  <a:cubicBezTo>
                    <a:pt x="196" y="619"/>
                    <a:pt x="189" y="619"/>
                    <a:pt x="178" y="621"/>
                  </a:cubicBezTo>
                  <a:cubicBezTo>
                    <a:pt x="167" y="622"/>
                    <a:pt x="166" y="631"/>
                    <a:pt x="180" y="640"/>
                  </a:cubicBezTo>
                  <a:cubicBezTo>
                    <a:pt x="194" y="649"/>
                    <a:pt x="201" y="657"/>
                    <a:pt x="214" y="668"/>
                  </a:cubicBezTo>
                  <a:cubicBezTo>
                    <a:pt x="227" y="679"/>
                    <a:pt x="234" y="684"/>
                    <a:pt x="242" y="684"/>
                  </a:cubicBezTo>
                  <a:cubicBezTo>
                    <a:pt x="250" y="683"/>
                    <a:pt x="254" y="671"/>
                    <a:pt x="268" y="678"/>
                  </a:cubicBezTo>
                  <a:cubicBezTo>
                    <a:pt x="282" y="684"/>
                    <a:pt x="307" y="683"/>
                    <a:pt x="315" y="683"/>
                  </a:cubicBezTo>
                  <a:cubicBezTo>
                    <a:pt x="324" y="683"/>
                    <a:pt x="330" y="686"/>
                    <a:pt x="313" y="690"/>
                  </a:cubicBezTo>
                  <a:cubicBezTo>
                    <a:pt x="295" y="694"/>
                    <a:pt x="268" y="692"/>
                    <a:pt x="257" y="697"/>
                  </a:cubicBezTo>
                  <a:cubicBezTo>
                    <a:pt x="245" y="701"/>
                    <a:pt x="244" y="709"/>
                    <a:pt x="268" y="715"/>
                  </a:cubicBezTo>
                  <a:cubicBezTo>
                    <a:pt x="292" y="722"/>
                    <a:pt x="303" y="727"/>
                    <a:pt x="311" y="734"/>
                  </a:cubicBezTo>
                  <a:cubicBezTo>
                    <a:pt x="320" y="740"/>
                    <a:pt x="329" y="729"/>
                    <a:pt x="343" y="740"/>
                  </a:cubicBezTo>
                  <a:cubicBezTo>
                    <a:pt x="356" y="750"/>
                    <a:pt x="373" y="748"/>
                    <a:pt x="385" y="747"/>
                  </a:cubicBezTo>
                  <a:cubicBezTo>
                    <a:pt x="397" y="745"/>
                    <a:pt x="414" y="747"/>
                    <a:pt x="416" y="735"/>
                  </a:cubicBezTo>
                  <a:cubicBezTo>
                    <a:pt x="418" y="722"/>
                    <a:pt x="424" y="709"/>
                    <a:pt x="434" y="721"/>
                  </a:cubicBezTo>
                  <a:cubicBezTo>
                    <a:pt x="445" y="733"/>
                    <a:pt x="448" y="737"/>
                    <a:pt x="457" y="738"/>
                  </a:cubicBezTo>
                  <a:cubicBezTo>
                    <a:pt x="465" y="739"/>
                    <a:pt x="477" y="742"/>
                    <a:pt x="473" y="733"/>
                  </a:cubicBezTo>
                  <a:cubicBezTo>
                    <a:pt x="469" y="724"/>
                    <a:pt x="459" y="724"/>
                    <a:pt x="459" y="717"/>
                  </a:cubicBezTo>
                  <a:cubicBezTo>
                    <a:pt x="459" y="709"/>
                    <a:pt x="470" y="697"/>
                    <a:pt x="480" y="715"/>
                  </a:cubicBezTo>
                  <a:cubicBezTo>
                    <a:pt x="489" y="733"/>
                    <a:pt x="488" y="737"/>
                    <a:pt x="500" y="740"/>
                  </a:cubicBezTo>
                  <a:cubicBezTo>
                    <a:pt x="511" y="743"/>
                    <a:pt x="520" y="740"/>
                    <a:pt x="521" y="730"/>
                  </a:cubicBezTo>
                  <a:cubicBezTo>
                    <a:pt x="522" y="720"/>
                    <a:pt x="540" y="719"/>
                    <a:pt x="533" y="709"/>
                  </a:cubicBezTo>
                  <a:cubicBezTo>
                    <a:pt x="526" y="698"/>
                    <a:pt x="525" y="684"/>
                    <a:pt x="535" y="686"/>
                  </a:cubicBezTo>
                  <a:cubicBezTo>
                    <a:pt x="545" y="689"/>
                    <a:pt x="550" y="699"/>
                    <a:pt x="558" y="699"/>
                  </a:cubicBezTo>
                  <a:cubicBezTo>
                    <a:pt x="566" y="700"/>
                    <a:pt x="570" y="699"/>
                    <a:pt x="570" y="689"/>
                  </a:cubicBezTo>
                  <a:cubicBezTo>
                    <a:pt x="570" y="680"/>
                    <a:pt x="573" y="676"/>
                    <a:pt x="563" y="669"/>
                  </a:cubicBezTo>
                  <a:cubicBezTo>
                    <a:pt x="552" y="663"/>
                    <a:pt x="548" y="655"/>
                    <a:pt x="553" y="646"/>
                  </a:cubicBezTo>
                  <a:cubicBezTo>
                    <a:pt x="558" y="636"/>
                    <a:pt x="571" y="622"/>
                    <a:pt x="571" y="637"/>
                  </a:cubicBezTo>
                  <a:cubicBezTo>
                    <a:pt x="570" y="652"/>
                    <a:pt x="568" y="661"/>
                    <a:pt x="576" y="664"/>
                  </a:cubicBezTo>
                  <a:cubicBezTo>
                    <a:pt x="583" y="668"/>
                    <a:pt x="589" y="684"/>
                    <a:pt x="598" y="670"/>
                  </a:cubicBezTo>
                  <a:cubicBezTo>
                    <a:pt x="608" y="656"/>
                    <a:pt x="604" y="659"/>
                    <a:pt x="621" y="651"/>
                  </a:cubicBezTo>
                  <a:cubicBezTo>
                    <a:pt x="637" y="643"/>
                    <a:pt x="619" y="625"/>
                    <a:pt x="641" y="625"/>
                  </a:cubicBezTo>
                  <a:cubicBezTo>
                    <a:pt x="664" y="625"/>
                    <a:pt x="671" y="613"/>
                    <a:pt x="681" y="612"/>
                  </a:cubicBezTo>
                  <a:cubicBezTo>
                    <a:pt x="691" y="611"/>
                    <a:pt x="702" y="610"/>
                    <a:pt x="690" y="619"/>
                  </a:cubicBezTo>
                  <a:cubicBezTo>
                    <a:pt x="677" y="628"/>
                    <a:pt x="672" y="623"/>
                    <a:pt x="671" y="633"/>
                  </a:cubicBezTo>
                  <a:cubicBezTo>
                    <a:pt x="670" y="644"/>
                    <a:pt x="671" y="649"/>
                    <a:pt x="658" y="651"/>
                  </a:cubicBezTo>
                  <a:cubicBezTo>
                    <a:pt x="645" y="653"/>
                    <a:pt x="636" y="652"/>
                    <a:pt x="634" y="664"/>
                  </a:cubicBezTo>
                  <a:cubicBezTo>
                    <a:pt x="631" y="675"/>
                    <a:pt x="636" y="685"/>
                    <a:pt x="624" y="686"/>
                  </a:cubicBezTo>
                  <a:cubicBezTo>
                    <a:pt x="611" y="686"/>
                    <a:pt x="614" y="694"/>
                    <a:pt x="603" y="702"/>
                  </a:cubicBezTo>
                  <a:cubicBezTo>
                    <a:pt x="591" y="709"/>
                    <a:pt x="593" y="707"/>
                    <a:pt x="593" y="715"/>
                  </a:cubicBezTo>
                  <a:cubicBezTo>
                    <a:pt x="594" y="724"/>
                    <a:pt x="602" y="712"/>
                    <a:pt x="606" y="726"/>
                  </a:cubicBezTo>
                  <a:cubicBezTo>
                    <a:pt x="609" y="740"/>
                    <a:pt x="614" y="750"/>
                    <a:pt x="627" y="750"/>
                  </a:cubicBezTo>
                  <a:cubicBezTo>
                    <a:pt x="641" y="750"/>
                    <a:pt x="647" y="755"/>
                    <a:pt x="653" y="745"/>
                  </a:cubicBezTo>
                  <a:cubicBezTo>
                    <a:pt x="659" y="735"/>
                    <a:pt x="662" y="733"/>
                    <a:pt x="670" y="733"/>
                  </a:cubicBezTo>
                  <a:cubicBezTo>
                    <a:pt x="678" y="733"/>
                    <a:pt x="679" y="734"/>
                    <a:pt x="679" y="741"/>
                  </a:cubicBezTo>
                  <a:cubicBezTo>
                    <a:pt x="679" y="748"/>
                    <a:pt x="690" y="754"/>
                    <a:pt x="697" y="755"/>
                  </a:cubicBezTo>
                  <a:cubicBezTo>
                    <a:pt x="705" y="757"/>
                    <a:pt x="708" y="748"/>
                    <a:pt x="716" y="748"/>
                  </a:cubicBezTo>
                  <a:cubicBezTo>
                    <a:pt x="724" y="748"/>
                    <a:pt x="740" y="746"/>
                    <a:pt x="740" y="738"/>
                  </a:cubicBezTo>
                  <a:cubicBezTo>
                    <a:pt x="740" y="730"/>
                    <a:pt x="748" y="727"/>
                    <a:pt x="755" y="727"/>
                  </a:cubicBezTo>
                  <a:cubicBezTo>
                    <a:pt x="763" y="727"/>
                    <a:pt x="763" y="733"/>
                    <a:pt x="763" y="740"/>
                  </a:cubicBezTo>
                  <a:cubicBezTo>
                    <a:pt x="763" y="746"/>
                    <a:pt x="769" y="752"/>
                    <a:pt x="750" y="754"/>
                  </a:cubicBezTo>
                  <a:cubicBezTo>
                    <a:pt x="732" y="755"/>
                    <a:pt x="748" y="757"/>
                    <a:pt x="736" y="760"/>
                  </a:cubicBezTo>
                  <a:cubicBezTo>
                    <a:pt x="724" y="762"/>
                    <a:pt x="717" y="770"/>
                    <a:pt x="723" y="775"/>
                  </a:cubicBezTo>
                  <a:cubicBezTo>
                    <a:pt x="730" y="779"/>
                    <a:pt x="740" y="779"/>
                    <a:pt x="740" y="788"/>
                  </a:cubicBezTo>
                  <a:cubicBezTo>
                    <a:pt x="741" y="796"/>
                    <a:pt x="735" y="808"/>
                    <a:pt x="743" y="810"/>
                  </a:cubicBezTo>
                  <a:cubicBezTo>
                    <a:pt x="750" y="813"/>
                    <a:pt x="757" y="819"/>
                    <a:pt x="744" y="819"/>
                  </a:cubicBezTo>
                  <a:cubicBezTo>
                    <a:pt x="731" y="819"/>
                    <a:pt x="733" y="826"/>
                    <a:pt x="743" y="829"/>
                  </a:cubicBezTo>
                  <a:cubicBezTo>
                    <a:pt x="752" y="833"/>
                    <a:pt x="753" y="838"/>
                    <a:pt x="765" y="836"/>
                  </a:cubicBezTo>
                  <a:cubicBezTo>
                    <a:pt x="777" y="833"/>
                    <a:pt x="788" y="829"/>
                    <a:pt x="798" y="831"/>
                  </a:cubicBezTo>
                  <a:cubicBezTo>
                    <a:pt x="809" y="832"/>
                    <a:pt x="829" y="827"/>
                    <a:pt x="826" y="838"/>
                  </a:cubicBezTo>
                  <a:cubicBezTo>
                    <a:pt x="824" y="848"/>
                    <a:pt x="816" y="852"/>
                    <a:pt x="795" y="849"/>
                  </a:cubicBezTo>
                  <a:cubicBezTo>
                    <a:pt x="773" y="846"/>
                    <a:pt x="754" y="846"/>
                    <a:pt x="743" y="846"/>
                  </a:cubicBezTo>
                  <a:cubicBezTo>
                    <a:pt x="731" y="846"/>
                    <a:pt x="731" y="834"/>
                    <a:pt x="719" y="834"/>
                  </a:cubicBezTo>
                  <a:cubicBezTo>
                    <a:pt x="707" y="834"/>
                    <a:pt x="707" y="833"/>
                    <a:pt x="706" y="823"/>
                  </a:cubicBezTo>
                  <a:cubicBezTo>
                    <a:pt x="705" y="814"/>
                    <a:pt x="703" y="814"/>
                    <a:pt x="690" y="803"/>
                  </a:cubicBezTo>
                  <a:cubicBezTo>
                    <a:pt x="677" y="793"/>
                    <a:pt x="665" y="778"/>
                    <a:pt x="654" y="777"/>
                  </a:cubicBezTo>
                  <a:cubicBezTo>
                    <a:pt x="642" y="776"/>
                    <a:pt x="626" y="776"/>
                    <a:pt x="610" y="776"/>
                  </a:cubicBezTo>
                  <a:cubicBezTo>
                    <a:pt x="594" y="776"/>
                    <a:pt x="591" y="776"/>
                    <a:pt x="583" y="780"/>
                  </a:cubicBezTo>
                  <a:cubicBezTo>
                    <a:pt x="574" y="785"/>
                    <a:pt x="554" y="782"/>
                    <a:pt x="554" y="792"/>
                  </a:cubicBezTo>
                  <a:cubicBezTo>
                    <a:pt x="554" y="802"/>
                    <a:pt x="554" y="816"/>
                    <a:pt x="570" y="816"/>
                  </a:cubicBezTo>
                  <a:cubicBezTo>
                    <a:pt x="586" y="816"/>
                    <a:pt x="567" y="828"/>
                    <a:pt x="579" y="840"/>
                  </a:cubicBezTo>
                  <a:cubicBezTo>
                    <a:pt x="591" y="851"/>
                    <a:pt x="595" y="856"/>
                    <a:pt x="605" y="856"/>
                  </a:cubicBezTo>
                  <a:cubicBezTo>
                    <a:pt x="615" y="856"/>
                    <a:pt x="620" y="858"/>
                    <a:pt x="620" y="863"/>
                  </a:cubicBezTo>
                  <a:cubicBezTo>
                    <a:pt x="620" y="868"/>
                    <a:pt x="622" y="881"/>
                    <a:pt x="609" y="881"/>
                  </a:cubicBezTo>
                  <a:cubicBezTo>
                    <a:pt x="596" y="881"/>
                    <a:pt x="548" y="882"/>
                    <a:pt x="540" y="882"/>
                  </a:cubicBezTo>
                  <a:cubicBezTo>
                    <a:pt x="531" y="882"/>
                    <a:pt x="530" y="896"/>
                    <a:pt x="517" y="899"/>
                  </a:cubicBezTo>
                  <a:cubicBezTo>
                    <a:pt x="504" y="901"/>
                    <a:pt x="510" y="908"/>
                    <a:pt x="496" y="909"/>
                  </a:cubicBezTo>
                  <a:cubicBezTo>
                    <a:pt x="482" y="909"/>
                    <a:pt x="467" y="914"/>
                    <a:pt x="465" y="920"/>
                  </a:cubicBezTo>
                  <a:cubicBezTo>
                    <a:pt x="463" y="927"/>
                    <a:pt x="477" y="929"/>
                    <a:pt x="475" y="942"/>
                  </a:cubicBezTo>
                  <a:cubicBezTo>
                    <a:pt x="473" y="955"/>
                    <a:pt x="470" y="960"/>
                    <a:pt x="485" y="968"/>
                  </a:cubicBezTo>
                  <a:cubicBezTo>
                    <a:pt x="500" y="977"/>
                    <a:pt x="509" y="984"/>
                    <a:pt x="518" y="975"/>
                  </a:cubicBezTo>
                  <a:cubicBezTo>
                    <a:pt x="526" y="967"/>
                    <a:pt x="536" y="965"/>
                    <a:pt x="538" y="972"/>
                  </a:cubicBezTo>
                  <a:cubicBezTo>
                    <a:pt x="540" y="979"/>
                    <a:pt x="549" y="983"/>
                    <a:pt x="556" y="983"/>
                  </a:cubicBezTo>
                  <a:cubicBezTo>
                    <a:pt x="563" y="983"/>
                    <a:pt x="575" y="977"/>
                    <a:pt x="581" y="985"/>
                  </a:cubicBezTo>
                  <a:cubicBezTo>
                    <a:pt x="588" y="992"/>
                    <a:pt x="602" y="985"/>
                    <a:pt x="603" y="977"/>
                  </a:cubicBezTo>
                  <a:cubicBezTo>
                    <a:pt x="604" y="970"/>
                    <a:pt x="615" y="970"/>
                    <a:pt x="617" y="976"/>
                  </a:cubicBezTo>
                  <a:cubicBezTo>
                    <a:pt x="619" y="982"/>
                    <a:pt x="619" y="984"/>
                    <a:pt x="630" y="984"/>
                  </a:cubicBezTo>
                  <a:cubicBezTo>
                    <a:pt x="641" y="984"/>
                    <a:pt x="647" y="990"/>
                    <a:pt x="649" y="980"/>
                  </a:cubicBezTo>
                  <a:cubicBezTo>
                    <a:pt x="652" y="969"/>
                    <a:pt x="666" y="956"/>
                    <a:pt x="670" y="966"/>
                  </a:cubicBezTo>
                  <a:cubicBezTo>
                    <a:pt x="674" y="976"/>
                    <a:pt x="675" y="979"/>
                    <a:pt x="684" y="981"/>
                  </a:cubicBezTo>
                  <a:cubicBezTo>
                    <a:pt x="692" y="983"/>
                    <a:pt x="695" y="992"/>
                    <a:pt x="703" y="992"/>
                  </a:cubicBezTo>
                  <a:cubicBezTo>
                    <a:pt x="711" y="992"/>
                    <a:pt x="725" y="987"/>
                    <a:pt x="735" y="990"/>
                  </a:cubicBezTo>
                  <a:cubicBezTo>
                    <a:pt x="746" y="994"/>
                    <a:pt x="798" y="995"/>
                    <a:pt x="800" y="990"/>
                  </a:cubicBezTo>
                  <a:cubicBezTo>
                    <a:pt x="802" y="985"/>
                    <a:pt x="787" y="985"/>
                    <a:pt x="788" y="980"/>
                  </a:cubicBezTo>
                  <a:cubicBezTo>
                    <a:pt x="788" y="975"/>
                    <a:pt x="787" y="973"/>
                    <a:pt x="800" y="974"/>
                  </a:cubicBezTo>
                  <a:cubicBezTo>
                    <a:pt x="813" y="975"/>
                    <a:pt x="816" y="974"/>
                    <a:pt x="819" y="965"/>
                  </a:cubicBezTo>
                  <a:cubicBezTo>
                    <a:pt x="821" y="957"/>
                    <a:pt x="834" y="958"/>
                    <a:pt x="838" y="968"/>
                  </a:cubicBezTo>
                  <a:cubicBezTo>
                    <a:pt x="842" y="978"/>
                    <a:pt x="856" y="982"/>
                    <a:pt x="864" y="979"/>
                  </a:cubicBezTo>
                  <a:cubicBezTo>
                    <a:pt x="872" y="975"/>
                    <a:pt x="886" y="960"/>
                    <a:pt x="894" y="975"/>
                  </a:cubicBezTo>
                  <a:cubicBezTo>
                    <a:pt x="903" y="989"/>
                    <a:pt x="895" y="995"/>
                    <a:pt x="912" y="995"/>
                  </a:cubicBezTo>
                  <a:cubicBezTo>
                    <a:pt x="928" y="995"/>
                    <a:pt x="934" y="994"/>
                    <a:pt x="939" y="985"/>
                  </a:cubicBezTo>
                  <a:cubicBezTo>
                    <a:pt x="944" y="977"/>
                    <a:pt x="945" y="970"/>
                    <a:pt x="965" y="970"/>
                  </a:cubicBezTo>
                  <a:cubicBezTo>
                    <a:pt x="986" y="970"/>
                    <a:pt x="992" y="972"/>
                    <a:pt x="992" y="967"/>
                  </a:cubicBezTo>
                  <a:cubicBezTo>
                    <a:pt x="992" y="961"/>
                    <a:pt x="1001" y="962"/>
                    <a:pt x="1006" y="965"/>
                  </a:cubicBezTo>
                  <a:cubicBezTo>
                    <a:pt x="1012" y="968"/>
                    <a:pt x="1027" y="970"/>
                    <a:pt x="1026" y="978"/>
                  </a:cubicBezTo>
                  <a:cubicBezTo>
                    <a:pt x="1024" y="987"/>
                    <a:pt x="1028" y="995"/>
                    <a:pt x="1011" y="998"/>
                  </a:cubicBezTo>
                  <a:cubicBezTo>
                    <a:pt x="993" y="1002"/>
                    <a:pt x="980" y="1018"/>
                    <a:pt x="997" y="1016"/>
                  </a:cubicBezTo>
                  <a:cubicBezTo>
                    <a:pt x="1013" y="1015"/>
                    <a:pt x="1036" y="1020"/>
                    <a:pt x="1036" y="1012"/>
                  </a:cubicBezTo>
                  <a:cubicBezTo>
                    <a:pt x="1037" y="1003"/>
                    <a:pt x="1048" y="1004"/>
                    <a:pt x="1056" y="1003"/>
                  </a:cubicBezTo>
                  <a:cubicBezTo>
                    <a:pt x="1064" y="1003"/>
                    <a:pt x="1099" y="999"/>
                    <a:pt x="1104" y="988"/>
                  </a:cubicBezTo>
                  <a:cubicBezTo>
                    <a:pt x="1108" y="977"/>
                    <a:pt x="1130" y="990"/>
                    <a:pt x="1138" y="975"/>
                  </a:cubicBezTo>
                  <a:cubicBezTo>
                    <a:pt x="1146" y="961"/>
                    <a:pt x="1154" y="956"/>
                    <a:pt x="1161" y="958"/>
                  </a:cubicBezTo>
                  <a:cubicBezTo>
                    <a:pt x="1168" y="960"/>
                    <a:pt x="1170" y="970"/>
                    <a:pt x="1179" y="970"/>
                  </a:cubicBezTo>
                  <a:cubicBezTo>
                    <a:pt x="1188" y="970"/>
                    <a:pt x="1186" y="965"/>
                    <a:pt x="1198" y="956"/>
                  </a:cubicBezTo>
                  <a:cubicBezTo>
                    <a:pt x="1211" y="947"/>
                    <a:pt x="1221" y="950"/>
                    <a:pt x="1221" y="934"/>
                  </a:cubicBezTo>
                  <a:cubicBezTo>
                    <a:pt x="1222" y="917"/>
                    <a:pt x="1221" y="917"/>
                    <a:pt x="1212" y="909"/>
                  </a:cubicBezTo>
                  <a:cubicBezTo>
                    <a:pt x="1203" y="900"/>
                    <a:pt x="1201" y="894"/>
                    <a:pt x="1192" y="894"/>
                  </a:cubicBezTo>
                  <a:cubicBezTo>
                    <a:pt x="1183" y="894"/>
                    <a:pt x="1179" y="896"/>
                    <a:pt x="1176" y="906"/>
                  </a:cubicBezTo>
                  <a:cubicBezTo>
                    <a:pt x="1173" y="916"/>
                    <a:pt x="1173" y="912"/>
                    <a:pt x="1160" y="919"/>
                  </a:cubicBezTo>
                  <a:cubicBezTo>
                    <a:pt x="1147" y="925"/>
                    <a:pt x="1148" y="924"/>
                    <a:pt x="1147" y="917"/>
                  </a:cubicBezTo>
                  <a:cubicBezTo>
                    <a:pt x="1147" y="910"/>
                    <a:pt x="1143" y="904"/>
                    <a:pt x="1137" y="904"/>
                  </a:cubicBezTo>
                  <a:cubicBezTo>
                    <a:pt x="1132" y="904"/>
                    <a:pt x="1117" y="900"/>
                    <a:pt x="1124" y="892"/>
                  </a:cubicBezTo>
                  <a:cubicBezTo>
                    <a:pt x="1131" y="884"/>
                    <a:pt x="1150" y="888"/>
                    <a:pt x="1135" y="877"/>
                  </a:cubicBezTo>
                  <a:cubicBezTo>
                    <a:pt x="1119" y="866"/>
                    <a:pt x="1106" y="870"/>
                    <a:pt x="1095" y="871"/>
                  </a:cubicBezTo>
                  <a:cubicBezTo>
                    <a:pt x="1084" y="871"/>
                    <a:pt x="1078" y="867"/>
                    <a:pt x="1073" y="876"/>
                  </a:cubicBezTo>
                  <a:cubicBezTo>
                    <a:pt x="1068" y="884"/>
                    <a:pt x="1055" y="885"/>
                    <a:pt x="1055" y="879"/>
                  </a:cubicBezTo>
                  <a:cubicBezTo>
                    <a:pt x="1055" y="872"/>
                    <a:pt x="1058" y="870"/>
                    <a:pt x="1044" y="869"/>
                  </a:cubicBezTo>
                  <a:cubicBezTo>
                    <a:pt x="1031" y="867"/>
                    <a:pt x="1009" y="864"/>
                    <a:pt x="998" y="870"/>
                  </a:cubicBezTo>
                  <a:cubicBezTo>
                    <a:pt x="986" y="876"/>
                    <a:pt x="964" y="877"/>
                    <a:pt x="963" y="867"/>
                  </a:cubicBezTo>
                  <a:cubicBezTo>
                    <a:pt x="963" y="857"/>
                    <a:pt x="980" y="864"/>
                    <a:pt x="976" y="852"/>
                  </a:cubicBezTo>
                  <a:cubicBezTo>
                    <a:pt x="972" y="841"/>
                    <a:pt x="968" y="836"/>
                    <a:pt x="975" y="832"/>
                  </a:cubicBezTo>
                  <a:cubicBezTo>
                    <a:pt x="981" y="828"/>
                    <a:pt x="991" y="832"/>
                    <a:pt x="996" y="839"/>
                  </a:cubicBezTo>
                  <a:cubicBezTo>
                    <a:pt x="1001" y="846"/>
                    <a:pt x="1016" y="858"/>
                    <a:pt x="1031" y="858"/>
                  </a:cubicBezTo>
                  <a:cubicBezTo>
                    <a:pt x="1047" y="858"/>
                    <a:pt x="1072" y="857"/>
                    <a:pt x="1088" y="858"/>
                  </a:cubicBezTo>
                  <a:cubicBezTo>
                    <a:pt x="1104" y="860"/>
                    <a:pt x="1127" y="861"/>
                    <a:pt x="1140" y="857"/>
                  </a:cubicBezTo>
                  <a:cubicBezTo>
                    <a:pt x="1154" y="853"/>
                    <a:pt x="1182" y="853"/>
                    <a:pt x="1189" y="844"/>
                  </a:cubicBezTo>
                  <a:cubicBezTo>
                    <a:pt x="1196" y="836"/>
                    <a:pt x="1203" y="836"/>
                    <a:pt x="1206" y="827"/>
                  </a:cubicBezTo>
                  <a:cubicBezTo>
                    <a:pt x="1210" y="818"/>
                    <a:pt x="1226" y="824"/>
                    <a:pt x="1217" y="810"/>
                  </a:cubicBezTo>
                  <a:cubicBezTo>
                    <a:pt x="1208" y="797"/>
                    <a:pt x="1206" y="788"/>
                    <a:pt x="1199" y="784"/>
                  </a:cubicBezTo>
                  <a:cubicBezTo>
                    <a:pt x="1192" y="780"/>
                    <a:pt x="1185" y="776"/>
                    <a:pt x="1185" y="770"/>
                  </a:cubicBezTo>
                  <a:cubicBezTo>
                    <a:pt x="1185" y="765"/>
                    <a:pt x="1204" y="759"/>
                    <a:pt x="1210" y="770"/>
                  </a:cubicBezTo>
                  <a:cubicBezTo>
                    <a:pt x="1216" y="780"/>
                    <a:pt x="1229" y="777"/>
                    <a:pt x="1247" y="775"/>
                  </a:cubicBezTo>
                  <a:cubicBezTo>
                    <a:pt x="1265" y="774"/>
                    <a:pt x="1296" y="782"/>
                    <a:pt x="1299" y="770"/>
                  </a:cubicBezTo>
                  <a:cubicBezTo>
                    <a:pt x="1303" y="757"/>
                    <a:pt x="1350" y="772"/>
                    <a:pt x="1350" y="759"/>
                  </a:cubicBezTo>
                  <a:cubicBezTo>
                    <a:pt x="1351" y="745"/>
                    <a:pt x="1347" y="740"/>
                    <a:pt x="1330" y="740"/>
                  </a:cubicBezTo>
                  <a:cubicBezTo>
                    <a:pt x="1313" y="741"/>
                    <a:pt x="1295" y="745"/>
                    <a:pt x="1291" y="738"/>
                  </a:cubicBezTo>
                  <a:cubicBezTo>
                    <a:pt x="1286" y="732"/>
                    <a:pt x="1275" y="727"/>
                    <a:pt x="1299" y="727"/>
                  </a:cubicBezTo>
                  <a:cubicBezTo>
                    <a:pt x="1324" y="727"/>
                    <a:pt x="1365" y="737"/>
                    <a:pt x="1368" y="727"/>
                  </a:cubicBezTo>
                  <a:cubicBezTo>
                    <a:pt x="1372" y="717"/>
                    <a:pt x="1380" y="722"/>
                    <a:pt x="1381" y="716"/>
                  </a:cubicBezTo>
                  <a:cubicBezTo>
                    <a:pt x="1383" y="710"/>
                    <a:pt x="1374" y="705"/>
                    <a:pt x="1365" y="706"/>
                  </a:cubicBezTo>
                  <a:cubicBezTo>
                    <a:pt x="1355" y="707"/>
                    <a:pt x="1343" y="704"/>
                    <a:pt x="1332" y="701"/>
                  </a:cubicBezTo>
                  <a:cubicBezTo>
                    <a:pt x="1322" y="698"/>
                    <a:pt x="1323" y="692"/>
                    <a:pt x="1312" y="694"/>
                  </a:cubicBezTo>
                  <a:cubicBezTo>
                    <a:pt x="1302" y="696"/>
                    <a:pt x="1294" y="699"/>
                    <a:pt x="1295" y="691"/>
                  </a:cubicBezTo>
                  <a:cubicBezTo>
                    <a:pt x="1297" y="683"/>
                    <a:pt x="1313" y="683"/>
                    <a:pt x="1326" y="684"/>
                  </a:cubicBezTo>
                  <a:cubicBezTo>
                    <a:pt x="1339" y="686"/>
                    <a:pt x="1386" y="694"/>
                    <a:pt x="1395" y="688"/>
                  </a:cubicBezTo>
                  <a:cubicBezTo>
                    <a:pt x="1405" y="682"/>
                    <a:pt x="1410" y="671"/>
                    <a:pt x="1405" y="666"/>
                  </a:cubicBezTo>
                  <a:cubicBezTo>
                    <a:pt x="1401" y="661"/>
                    <a:pt x="1414" y="654"/>
                    <a:pt x="1405" y="647"/>
                  </a:cubicBezTo>
                  <a:cubicBezTo>
                    <a:pt x="1395" y="640"/>
                    <a:pt x="1395" y="637"/>
                    <a:pt x="1383" y="639"/>
                  </a:cubicBezTo>
                  <a:cubicBezTo>
                    <a:pt x="1371" y="641"/>
                    <a:pt x="1362" y="639"/>
                    <a:pt x="1347" y="641"/>
                  </a:cubicBezTo>
                  <a:cubicBezTo>
                    <a:pt x="1332" y="642"/>
                    <a:pt x="1310" y="645"/>
                    <a:pt x="1309" y="642"/>
                  </a:cubicBezTo>
                  <a:cubicBezTo>
                    <a:pt x="1307" y="639"/>
                    <a:pt x="1335" y="636"/>
                    <a:pt x="1335" y="631"/>
                  </a:cubicBezTo>
                  <a:cubicBezTo>
                    <a:pt x="1336" y="626"/>
                    <a:pt x="1335" y="622"/>
                    <a:pt x="1313" y="619"/>
                  </a:cubicBezTo>
                  <a:cubicBezTo>
                    <a:pt x="1291" y="616"/>
                    <a:pt x="1281" y="606"/>
                    <a:pt x="1269" y="613"/>
                  </a:cubicBezTo>
                  <a:cubicBezTo>
                    <a:pt x="1256" y="619"/>
                    <a:pt x="1243" y="623"/>
                    <a:pt x="1235" y="625"/>
                  </a:cubicBezTo>
                  <a:cubicBezTo>
                    <a:pt x="1226" y="626"/>
                    <a:pt x="1227" y="628"/>
                    <a:pt x="1218" y="635"/>
                  </a:cubicBezTo>
                  <a:cubicBezTo>
                    <a:pt x="1208" y="641"/>
                    <a:pt x="1187" y="669"/>
                    <a:pt x="1182" y="659"/>
                  </a:cubicBezTo>
                  <a:cubicBezTo>
                    <a:pt x="1177" y="649"/>
                    <a:pt x="1188" y="643"/>
                    <a:pt x="1197" y="637"/>
                  </a:cubicBezTo>
                  <a:cubicBezTo>
                    <a:pt x="1206" y="631"/>
                    <a:pt x="1224" y="631"/>
                    <a:pt x="1213" y="621"/>
                  </a:cubicBezTo>
                  <a:cubicBezTo>
                    <a:pt x="1203" y="612"/>
                    <a:pt x="1193" y="621"/>
                    <a:pt x="1178" y="623"/>
                  </a:cubicBezTo>
                  <a:cubicBezTo>
                    <a:pt x="1162" y="624"/>
                    <a:pt x="1123" y="626"/>
                    <a:pt x="1129" y="616"/>
                  </a:cubicBezTo>
                  <a:cubicBezTo>
                    <a:pt x="1135" y="606"/>
                    <a:pt x="1147" y="607"/>
                    <a:pt x="1165" y="608"/>
                  </a:cubicBezTo>
                  <a:cubicBezTo>
                    <a:pt x="1184" y="610"/>
                    <a:pt x="1233" y="621"/>
                    <a:pt x="1242" y="613"/>
                  </a:cubicBezTo>
                  <a:cubicBezTo>
                    <a:pt x="1251" y="606"/>
                    <a:pt x="1280" y="609"/>
                    <a:pt x="1264" y="603"/>
                  </a:cubicBezTo>
                  <a:cubicBezTo>
                    <a:pt x="1247" y="598"/>
                    <a:pt x="1233" y="611"/>
                    <a:pt x="1235" y="598"/>
                  </a:cubicBezTo>
                  <a:cubicBezTo>
                    <a:pt x="1237" y="584"/>
                    <a:pt x="1249" y="585"/>
                    <a:pt x="1242" y="581"/>
                  </a:cubicBezTo>
                  <a:cubicBezTo>
                    <a:pt x="1236" y="577"/>
                    <a:pt x="1236" y="573"/>
                    <a:pt x="1246" y="569"/>
                  </a:cubicBezTo>
                  <a:cubicBezTo>
                    <a:pt x="1256" y="565"/>
                    <a:pt x="1273" y="578"/>
                    <a:pt x="1282" y="583"/>
                  </a:cubicBezTo>
                  <a:cubicBezTo>
                    <a:pt x="1292" y="589"/>
                    <a:pt x="1303" y="586"/>
                    <a:pt x="1314" y="590"/>
                  </a:cubicBezTo>
                  <a:cubicBezTo>
                    <a:pt x="1326" y="593"/>
                    <a:pt x="1337" y="608"/>
                    <a:pt x="1352" y="615"/>
                  </a:cubicBezTo>
                  <a:cubicBezTo>
                    <a:pt x="1368" y="621"/>
                    <a:pt x="1390" y="621"/>
                    <a:pt x="1403" y="619"/>
                  </a:cubicBezTo>
                  <a:cubicBezTo>
                    <a:pt x="1417" y="618"/>
                    <a:pt x="1424" y="623"/>
                    <a:pt x="1425" y="614"/>
                  </a:cubicBezTo>
                  <a:cubicBezTo>
                    <a:pt x="1426" y="605"/>
                    <a:pt x="1418" y="610"/>
                    <a:pt x="1418" y="599"/>
                  </a:cubicBezTo>
                  <a:cubicBezTo>
                    <a:pt x="1418" y="588"/>
                    <a:pt x="1398" y="587"/>
                    <a:pt x="1391" y="587"/>
                  </a:cubicBezTo>
                  <a:cubicBezTo>
                    <a:pt x="1385" y="587"/>
                    <a:pt x="1333" y="594"/>
                    <a:pt x="1324" y="583"/>
                  </a:cubicBezTo>
                  <a:cubicBezTo>
                    <a:pt x="1316" y="573"/>
                    <a:pt x="1306" y="572"/>
                    <a:pt x="1298" y="572"/>
                  </a:cubicBezTo>
                  <a:cubicBezTo>
                    <a:pt x="1290" y="572"/>
                    <a:pt x="1279" y="568"/>
                    <a:pt x="1271" y="564"/>
                  </a:cubicBezTo>
                  <a:cubicBezTo>
                    <a:pt x="1264" y="560"/>
                    <a:pt x="1258" y="554"/>
                    <a:pt x="1272" y="552"/>
                  </a:cubicBezTo>
                  <a:cubicBezTo>
                    <a:pt x="1286" y="550"/>
                    <a:pt x="1318" y="552"/>
                    <a:pt x="1322" y="559"/>
                  </a:cubicBezTo>
                  <a:cubicBezTo>
                    <a:pt x="1327" y="566"/>
                    <a:pt x="1337" y="570"/>
                    <a:pt x="1340" y="567"/>
                  </a:cubicBezTo>
                  <a:cubicBezTo>
                    <a:pt x="1342" y="563"/>
                    <a:pt x="1355" y="563"/>
                    <a:pt x="1361" y="568"/>
                  </a:cubicBezTo>
                  <a:cubicBezTo>
                    <a:pt x="1367" y="573"/>
                    <a:pt x="1396" y="572"/>
                    <a:pt x="1400" y="567"/>
                  </a:cubicBezTo>
                  <a:cubicBezTo>
                    <a:pt x="1405" y="562"/>
                    <a:pt x="1408" y="560"/>
                    <a:pt x="1423" y="560"/>
                  </a:cubicBezTo>
                  <a:cubicBezTo>
                    <a:pt x="1438" y="560"/>
                    <a:pt x="1455" y="562"/>
                    <a:pt x="1458" y="555"/>
                  </a:cubicBezTo>
                  <a:cubicBezTo>
                    <a:pt x="1461" y="547"/>
                    <a:pt x="1467" y="547"/>
                    <a:pt x="1483" y="548"/>
                  </a:cubicBezTo>
                  <a:cubicBezTo>
                    <a:pt x="1499" y="550"/>
                    <a:pt x="1512" y="550"/>
                    <a:pt x="1512" y="545"/>
                  </a:cubicBezTo>
                  <a:cubicBezTo>
                    <a:pt x="1513" y="540"/>
                    <a:pt x="1527" y="534"/>
                    <a:pt x="1510" y="527"/>
                  </a:cubicBezTo>
                  <a:cubicBezTo>
                    <a:pt x="1494" y="520"/>
                    <a:pt x="1479" y="512"/>
                    <a:pt x="1451" y="512"/>
                  </a:cubicBezTo>
                  <a:cubicBezTo>
                    <a:pt x="1424" y="511"/>
                    <a:pt x="1411" y="520"/>
                    <a:pt x="1409" y="510"/>
                  </a:cubicBezTo>
                  <a:cubicBezTo>
                    <a:pt x="1407" y="501"/>
                    <a:pt x="1400" y="498"/>
                    <a:pt x="1424" y="499"/>
                  </a:cubicBezTo>
                  <a:cubicBezTo>
                    <a:pt x="1448" y="499"/>
                    <a:pt x="1479" y="501"/>
                    <a:pt x="1493" y="501"/>
                  </a:cubicBezTo>
                  <a:cubicBezTo>
                    <a:pt x="1507" y="501"/>
                    <a:pt x="1519" y="500"/>
                    <a:pt x="1525" y="511"/>
                  </a:cubicBezTo>
                  <a:cubicBezTo>
                    <a:pt x="1531" y="522"/>
                    <a:pt x="1524" y="525"/>
                    <a:pt x="1555" y="526"/>
                  </a:cubicBezTo>
                  <a:cubicBezTo>
                    <a:pt x="1586" y="527"/>
                    <a:pt x="1602" y="535"/>
                    <a:pt x="1615" y="522"/>
                  </a:cubicBezTo>
                  <a:cubicBezTo>
                    <a:pt x="1629" y="510"/>
                    <a:pt x="1626" y="507"/>
                    <a:pt x="1642" y="506"/>
                  </a:cubicBezTo>
                  <a:cubicBezTo>
                    <a:pt x="1658" y="505"/>
                    <a:pt x="1656" y="488"/>
                    <a:pt x="1647" y="490"/>
                  </a:cubicBezTo>
                  <a:cubicBezTo>
                    <a:pt x="1638" y="492"/>
                    <a:pt x="1615" y="508"/>
                    <a:pt x="1616" y="497"/>
                  </a:cubicBezTo>
                  <a:cubicBezTo>
                    <a:pt x="1618" y="485"/>
                    <a:pt x="1629" y="485"/>
                    <a:pt x="1638" y="483"/>
                  </a:cubicBezTo>
                  <a:cubicBezTo>
                    <a:pt x="1646" y="481"/>
                    <a:pt x="1666" y="484"/>
                    <a:pt x="1668" y="477"/>
                  </a:cubicBezTo>
                  <a:cubicBezTo>
                    <a:pt x="1671" y="470"/>
                    <a:pt x="1663" y="459"/>
                    <a:pt x="1654" y="459"/>
                  </a:cubicBezTo>
                  <a:cubicBezTo>
                    <a:pt x="1646" y="459"/>
                    <a:pt x="1632" y="470"/>
                    <a:pt x="1619" y="470"/>
                  </a:cubicBezTo>
                  <a:cubicBezTo>
                    <a:pt x="1606" y="470"/>
                    <a:pt x="1576" y="480"/>
                    <a:pt x="1570" y="472"/>
                  </a:cubicBezTo>
                  <a:cubicBezTo>
                    <a:pt x="1563" y="464"/>
                    <a:pt x="1564" y="461"/>
                    <a:pt x="1553" y="457"/>
                  </a:cubicBezTo>
                  <a:cubicBezTo>
                    <a:pt x="1542" y="453"/>
                    <a:pt x="1537" y="444"/>
                    <a:pt x="1552" y="444"/>
                  </a:cubicBezTo>
                  <a:cubicBezTo>
                    <a:pt x="1568" y="444"/>
                    <a:pt x="1579" y="451"/>
                    <a:pt x="1585" y="458"/>
                  </a:cubicBezTo>
                  <a:cubicBezTo>
                    <a:pt x="1590" y="465"/>
                    <a:pt x="1614" y="463"/>
                    <a:pt x="1622" y="459"/>
                  </a:cubicBezTo>
                  <a:cubicBezTo>
                    <a:pt x="1630" y="454"/>
                    <a:pt x="1641" y="446"/>
                    <a:pt x="1657" y="446"/>
                  </a:cubicBezTo>
                  <a:cubicBezTo>
                    <a:pt x="1673" y="447"/>
                    <a:pt x="1702" y="456"/>
                    <a:pt x="1705" y="446"/>
                  </a:cubicBezTo>
                  <a:cubicBezTo>
                    <a:pt x="1708" y="436"/>
                    <a:pt x="1705" y="439"/>
                    <a:pt x="1692" y="433"/>
                  </a:cubicBezTo>
                  <a:cubicBezTo>
                    <a:pt x="1679" y="426"/>
                    <a:pt x="1688" y="421"/>
                    <a:pt x="1676" y="416"/>
                  </a:cubicBezTo>
                  <a:cubicBezTo>
                    <a:pt x="1663" y="412"/>
                    <a:pt x="1669" y="398"/>
                    <a:pt x="1681" y="402"/>
                  </a:cubicBezTo>
                  <a:cubicBezTo>
                    <a:pt x="1694" y="406"/>
                    <a:pt x="1689" y="423"/>
                    <a:pt x="1700" y="425"/>
                  </a:cubicBezTo>
                  <a:cubicBezTo>
                    <a:pt x="1711" y="427"/>
                    <a:pt x="1742" y="439"/>
                    <a:pt x="1752" y="423"/>
                  </a:cubicBezTo>
                  <a:cubicBezTo>
                    <a:pt x="1762" y="407"/>
                    <a:pt x="1787" y="389"/>
                    <a:pt x="1809" y="378"/>
                  </a:cubicBezTo>
                  <a:cubicBezTo>
                    <a:pt x="1830" y="368"/>
                    <a:pt x="1856" y="361"/>
                    <a:pt x="1881" y="346"/>
                  </a:cubicBezTo>
                  <a:cubicBezTo>
                    <a:pt x="1906" y="331"/>
                    <a:pt x="1930" y="321"/>
                    <a:pt x="1952" y="311"/>
                  </a:cubicBezTo>
                  <a:cubicBezTo>
                    <a:pt x="1974" y="301"/>
                    <a:pt x="1982" y="299"/>
                    <a:pt x="2008" y="294"/>
                  </a:cubicBezTo>
                  <a:cubicBezTo>
                    <a:pt x="2035" y="288"/>
                    <a:pt x="2029" y="283"/>
                    <a:pt x="2050" y="274"/>
                  </a:cubicBezTo>
                  <a:cubicBezTo>
                    <a:pt x="2072" y="266"/>
                    <a:pt x="2065" y="265"/>
                    <a:pt x="2062" y="256"/>
                  </a:cubicBezTo>
                  <a:cubicBezTo>
                    <a:pt x="2059" y="246"/>
                    <a:pt x="2051" y="251"/>
                    <a:pt x="2028" y="252"/>
                  </a:cubicBezTo>
                  <a:cubicBezTo>
                    <a:pt x="2004" y="253"/>
                    <a:pt x="1992" y="253"/>
                    <a:pt x="1981" y="259"/>
                  </a:cubicBezTo>
                  <a:cubicBezTo>
                    <a:pt x="1969" y="264"/>
                    <a:pt x="1947" y="268"/>
                    <a:pt x="1929" y="270"/>
                  </a:cubicBezTo>
                  <a:cubicBezTo>
                    <a:pt x="1911" y="272"/>
                    <a:pt x="1892" y="274"/>
                    <a:pt x="1877" y="281"/>
                  </a:cubicBezTo>
                  <a:cubicBezTo>
                    <a:pt x="1862" y="287"/>
                    <a:pt x="1856" y="291"/>
                    <a:pt x="1835" y="293"/>
                  </a:cubicBezTo>
                  <a:cubicBezTo>
                    <a:pt x="1813" y="295"/>
                    <a:pt x="1781" y="302"/>
                    <a:pt x="1762" y="310"/>
                  </a:cubicBezTo>
                  <a:cubicBezTo>
                    <a:pt x="1744" y="317"/>
                    <a:pt x="1743" y="317"/>
                    <a:pt x="1727" y="319"/>
                  </a:cubicBezTo>
                  <a:cubicBezTo>
                    <a:pt x="1711" y="321"/>
                    <a:pt x="1696" y="328"/>
                    <a:pt x="1702" y="314"/>
                  </a:cubicBezTo>
                  <a:cubicBezTo>
                    <a:pt x="1709" y="299"/>
                    <a:pt x="1722" y="301"/>
                    <a:pt x="1743" y="297"/>
                  </a:cubicBezTo>
                  <a:cubicBezTo>
                    <a:pt x="1764" y="292"/>
                    <a:pt x="1767" y="293"/>
                    <a:pt x="1792" y="289"/>
                  </a:cubicBezTo>
                  <a:cubicBezTo>
                    <a:pt x="1817" y="284"/>
                    <a:pt x="1824" y="287"/>
                    <a:pt x="1840" y="279"/>
                  </a:cubicBezTo>
                  <a:cubicBezTo>
                    <a:pt x="1857" y="271"/>
                    <a:pt x="1863" y="269"/>
                    <a:pt x="1880" y="267"/>
                  </a:cubicBezTo>
                  <a:cubicBezTo>
                    <a:pt x="1897" y="264"/>
                    <a:pt x="1910" y="263"/>
                    <a:pt x="1915" y="257"/>
                  </a:cubicBezTo>
                  <a:cubicBezTo>
                    <a:pt x="1920" y="251"/>
                    <a:pt x="1904" y="245"/>
                    <a:pt x="1883" y="247"/>
                  </a:cubicBezTo>
                  <a:cubicBezTo>
                    <a:pt x="1863" y="249"/>
                    <a:pt x="1850" y="254"/>
                    <a:pt x="1832" y="255"/>
                  </a:cubicBezTo>
                  <a:cubicBezTo>
                    <a:pt x="1814" y="256"/>
                    <a:pt x="1810" y="264"/>
                    <a:pt x="1793" y="251"/>
                  </a:cubicBezTo>
                  <a:cubicBezTo>
                    <a:pt x="1777" y="239"/>
                    <a:pt x="1779" y="236"/>
                    <a:pt x="1766" y="233"/>
                  </a:cubicBezTo>
                  <a:cubicBezTo>
                    <a:pt x="1753" y="229"/>
                    <a:pt x="1757" y="219"/>
                    <a:pt x="1774" y="223"/>
                  </a:cubicBezTo>
                  <a:cubicBezTo>
                    <a:pt x="1791" y="227"/>
                    <a:pt x="1788" y="242"/>
                    <a:pt x="1806" y="243"/>
                  </a:cubicBezTo>
                  <a:cubicBezTo>
                    <a:pt x="1824" y="244"/>
                    <a:pt x="1831" y="241"/>
                    <a:pt x="1853" y="239"/>
                  </a:cubicBezTo>
                  <a:cubicBezTo>
                    <a:pt x="1874" y="236"/>
                    <a:pt x="1896" y="232"/>
                    <a:pt x="1909" y="234"/>
                  </a:cubicBezTo>
                  <a:cubicBezTo>
                    <a:pt x="1921" y="236"/>
                    <a:pt x="1967" y="239"/>
                    <a:pt x="1981" y="233"/>
                  </a:cubicBezTo>
                  <a:cubicBezTo>
                    <a:pt x="1995" y="226"/>
                    <a:pt x="2003" y="221"/>
                    <a:pt x="2022" y="222"/>
                  </a:cubicBezTo>
                  <a:cubicBezTo>
                    <a:pt x="2040" y="223"/>
                    <a:pt x="2053" y="218"/>
                    <a:pt x="2069" y="221"/>
                  </a:cubicBezTo>
                  <a:cubicBezTo>
                    <a:pt x="2086" y="225"/>
                    <a:pt x="2096" y="217"/>
                    <a:pt x="2109" y="211"/>
                  </a:cubicBezTo>
                  <a:cubicBezTo>
                    <a:pt x="2123" y="204"/>
                    <a:pt x="2138" y="203"/>
                    <a:pt x="2177" y="190"/>
                  </a:cubicBezTo>
                  <a:cubicBezTo>
                    <a:pt x="2215" y="177"/>
                    <a:pt x="2212" y="176"/>
                    <a:pt x="2233" y="164"/>
                  </a:cubicBezTo>
                  <a:cubicBezTo>
                    <a:pt x="2255" y="153"/>
                    <a:pt x="2273" y="152"/>
                    <a:pt x="2275" y="135"/>
                  </a:cubicBezTo>
                  <a:cubicBezTo>
                    <a:pt x="2277" y="119"/>
                    <a:pt x="2270" y="114"/>
                    <a:pt x="2260" y="109"/>
                  </a:cubicBezTo>
                  <a:cubicBezTo>
                    <a:pt x="2251" y="104"/>
                    <a:pt x="2248" y="98"/>
                    <a:pt x="2230" y="101"/>
                  </a:cubicBezTo>
                  <a:cubicBezTo>
                    <a:pt x="2212" y="104"/>
                    <a:pt x="2200" y="107"/>
                    <a:pt x="2195" y="99"/>
                  </a:cubicBezTo>
                  <a:cubicBezTo>
                    <a:pt x="2189" y="91"/>
                    <a:pt x="2179" y="89"/>
                    <a:pt x="2175" y="94"/>
                  </a:cubicBezTo>
                  <a:cubicBezTo>
                    <a:pt x="2171" y="99"/>
                    <a:pt x="2164" y="104"/>
                    <a:pt x="2157" y="104"/>
                  </a:cubicBezTo>
                  <a:cubicBezTo>
                    <a:pt x="2149" y="104"/>
                    <a:pt x="2139" y="122"/>
                    <a:pt x="2139" y="110"/>
                  </a:cubicBezTo>
                  <a:cubicBezTo>
                    <a:pt x="2139" y="97"/>
                    <a:pt x="2155" y="98"/>
                    <a:pt x="2144" y="92"/>
                  </a:cubicBezTo>
                  <a:cubicBezTo>
                    <a:pt x="2134" y="87"/>
                    <a:pt x="2124" y="84"/>
                    <a:pt x="2123" y="77"/>
                  </a:cubicBezTo>
                  <a:cubicBezTo>
                    <a:pt x="2122" y="69"/>
                    <a:pt x="2131" y="54"/>
                    <a:pt x="2126" y="49"/>
                  </a:cubicBezTo>
                  <a:cubicBezTo>
                    <a:pt x="2121" y="45"/>
                    <a:pt x="2103" y="39"/>
                    <a:pt x="2096" y="46"/>
                  </a:cubicBezTo>
                  <a:cubicBezTo>
                    <a:pt x="2090" y="52"/>
                    <a:pt x="2081" y="57"/>
                    <a:pt x="2068" y="54"/>
                  </a:cubicBezTo>
                  <a:cubicBezTo>
                    <a:pt x="2054" y="50"/>
                    <a:pt x="2050" y="51"/>
                    <a:pt x="2045" y="44"/>
                  </a:cubicBezTo>
                  <a:cubicBezTo>
                    <a:pt x="2039" y="36"/>
                    <a:pt x="2035" y="33"/>
                    <a:pt x="2027" y="36"/>
                  </a:cubicBezTo>
                  <a:cubicBezTo>
                    <a:pt x="2018" y="40"/>
                    <a:pt x="2010" y="40"/>
                    <a:pt x="2007" y="47"/>
                  </a:cubicBezTo>
                  <a:cubicBezTo>
                    <a:pt x="2004" y="54"/>
                    <a:pt x="2003" y="58"/>
                    <a:pt x="1995" y="55"/>
                  </a:cubicBezTo>
                  <a:cubicBezTo>
                    <a:pt x="1987" y="52"/>
                    <a:pt x="1983" y="45"/>
                    <a:pt x="1974" y="47"/>
                  </a:cubicBezTo>
                  <a:cubicBezTo>
                    <a:pt x="1966" y="48"/>
                    <a:pt x="1934" y="56"/>
                    <a:pt x="1929" y="60"/>
                  </a:cubicBezTo>
                  <a:cubicBezTo>
                    <a:pt x="1923" y="64"/>
                    <a:pt x="1921" y="69"/>
                    <a:pt x="1904" y="72"/>
                  </a:cubicBezTo>
                  <a:cubicBezTo>
                    <a:pt x="1886" y="75"/>
                    <a:pt x="1878" y="85"/>
                    <a:pt x="1860" y="82"/>
                  </a:cubicBezTo>
                  <a:cubicBezTo>
                    <a:pt x="1841" y="79"/>
                    <a:pt x="1817" y="75"/>
                    <a:pt x="1806" y="80"/>
                  </a:cubicBezTo>
                  <a:cubicBezTo>
                    <a:pt x="1795" y="85"/>
                    <a:pt x="1787" y="84"/>
                    <a:pt x="1791" y="77"/>
                  </a:cubicBezTo>
                  <a:cubicBezTo>
                    <a:pt x="1795" y="70"/>
                    <a:pt x="1800" y="68"/>
                    <a:pt x="1818" y="67"/>
                  </a:cubicBezTo>
                  <a:cubicBezTo>
                    <a:pt x="1835" y="65"/>
                    <a:pt x="1845" y="72"/>
                    <a:pt x="1853" y="64"/>
                  </a:cubicBezTo>
                  <a:cubicBezTo>
                    <a:pt x="1860" y="57"/>
                    <a:pt x="1866" y="62"/>
                    <a:pt x="1881" y="59"/>
                  </a:cubicBezTo>
                  <a:cubicBezTo>
                    <a:pt x="1896" y="56"/>
                    <a:pt x="1886" y="57"/>
                    <a:pt x="1901" y="52"/>
                  </a:cubicBezTo>
                  <a:cubicBezTo>
                    <a:pt x="1916" y="47"/>
                    <a:pt x="1928" y="47"/>
                    <a:pt x="1936" y="43"/>
                  </a:cubicBezTo>
                  <a:cubicBezTo>
                    <a:pt x="1944" y="39"/>
                    <a:pt x="1944" y="30"/>
                    <a:pt x="1914" y="31"/>
                  </a:cubicBezTo>
                  <a:cubicBezTo>
                    <a:pt x="1883" y="31"/>
                    <a:pt x="1883" y="26"/>
                    <a:pt x="1863" y="26"/>
                  </a:cubicBezTo>
                  <a:cubicBezTo>
                    <a:pt x="1844" y="27"/>
                    <a:pt x="1835" y="31"/>
                    <a:pt x="1825" y="26"/>
                  </a:cubicBezTo>
                  <a:cubicBezTo>
                    <a:pt x="1815" y="21"/>
                    <a:pt x="1800" y="16"/>
                    <a:pt x="1795" y="22"/>
                  </a:cubicBezTo>
                  <a:cubicBezTo>
                    <a:pt x="1789" y="29"/>
                    <a:pt x="1787" y="31"/>
                    <a:pt x="1777" y="26"/>
                  </a:cubicBezTo>
                  <a:cubicBezTo>
                    <a:pt x="1767" y="20"/>
                    <a:pt x="1776" y="18"/>
                    <a:pt x="1754" y="20"/>
                  </a:cubicBezTo>
                  <a:cubicBezTo>
                    <a:pt x="1732" y="22"/>
                    <a:pt x="1734" y="22"/>
                    <a:pt x="1725" y="15"/>
                  </a:cubicBezTo>
                  <a:cubicBezTo>
                    <a:pt x="1716" y="8"/>
                    <a:pt x="1720" y="3"/>
                    <a:pt x="1700" y="3"/>
                  </a:cubicBezTo>
                  <a:cubicBezTo>
                    <a:pt x="1680" y="3"/>
                    <a:pt x="1667" y="3"/>
                    <a:pt x="1646" y="4"/>
                  </a:cubicBezTo>
                  <a:cubicBezTo>
                    <a:pt x="1625" y="6"/>
                    <a:pt x="1611" y="16"/>
                    <a:pt x="1626" y="23"/>
                  </a:cubicBezTo>
                  <a:cubicBezTo>
                    <a:pt x="1641" y="29"/>
                    <a:pt x="1666" y="33"/>
                    <a:pt x="1649" y="38"/>
                  </a:cubicBezTo>
                  <a:cubicBezTo>
                    <a:pt x="1633" y="43"/>
                    <a:pt x="1625" y="49"/>
                    <a:pt x="1615" y="37"/>
                  </a:cubicBezTo>
                  <a:cubicBezTo>
                    <a:pt x="1606" y="25"/>
                    <a:pt x="1613" y="6"/>
                    <a:pt x="1596" y="3"/>
                  </a:cubicBezTo>
                  <a:cubicBezTo>
                    <a:pt x="1580" y="0"/>
                    <a:pt x="1569" y="8"/>
                    <a:pt x="1544" y="11"/>
                  </a:cubicBezTo>
                  <a:cubicBezTo>
                    <a:pt x="1519" y="14"/>
                    <a:pt x="1526" y="18"/>
                    <a:pt x="1504" y="17"/>
                  </a:cubicBezTo>
                  <a:cubicBezTo>
                    <a:pt x="1481" y="16"/>
                    <a:pt x="1476" y="34"/>
                    <a:pt x="1487" y="41"/>
                  </a:cubicBezTo>
                  <a:cubicBezTo>
                    <a:pt x="1499" y="49"/>
                    <a:pt x="1531" y="52"/>
                    <a:pt x="1532" y="61"/>
                  </a:cubicBezTo>
                  <a:cubicBezTo>
                    <a:pt x="1534" y="70"/>
                    <a:pt x="1517" y="66"/>
                    <a:pt x="1497" y="61"/>
                  </a:cubicBezTo>
                  <a:cubicBezTo>
                    <a:pt x="1478" y="56"/>
                    <a:pt x="1471" y="58"/>
                    <a:pt x="1462" y="43"/>
                  </a:cubicBezTo>
                  <a:cubicBezTo>
                    <a:pt x="1453" y="28"/>
                    <a:pt x="1441" y="25"/>
                    <a:pt x="1426" y="21"/>
                  </a:cubicBezTo>
                  <a:cubicBezTo>
                    <a:pt x="1410" y="18"/>
                    <a:pt x="1375" y="16"/>
                    <a:pt x="1365" y="18"/>
                  </a:cubicBezTo>
                  <a:cubicBezTo>
                    <a:pt x="1354" y="20"/>
                    <a:pt x="1354" y="19"/>
                    <a:pt x="1336" y="15"/>
                  </a:cubicBezTo>
                  <a:cubicBezTo>
                    <a:pt x="1318" y="11"/>
                    <a:pt x="1319" y="6"/>
                    <a:pt x="1302" y="12"/>
                  </a:cubicBezTo>
                  <a:cubicBezTo>
                    <a:pt x="1284" y="18"/>
                    <a:pt x="1281" y="22"/>
                    <a:pt x="1264" y="20"/>
                  </a:cubicBezTo>
                  <a:cubicBezTo>
                    <a:pt x="1246" y="18"/>
                    <a:pt x="1228" y="32"/>
                    <a:pt x="1249" y="35"/>
                  </a:cubicBezTo>
                  <a:cubicBezTo>
                    <a:pt x="1269" y="38"/>
                    <a:pt x="1274" y="46"/>
                    <a:pt x="1281" y="51"/>
                  </a:cubicBezTo>
                  <a:cubicBezTo>
                    <a:pt x="1288" y="56"/>
                    <a:pt x="1302" y="49"/>
                    <a:pt x="1304" y="59"/>
                  </a:cubicBezTo>
                  <a:cubicBezTo>
                    <a:pt x="1307" y="69"/>
                    <a:pt x="1308" y="76"/>
                    <a:pt x="1317" y="76"/>
                  </a:cubicBezTo>
                  <a:cubicBezTo>
                    <a:pt x="1325" y="76"/>
                    <a:pt x="1344" y="70"/>
                    <a:pt x="1347" y="77"/>
                  </a:cubicBezTo>
                  <a:cubicBezTo>
                    <a:pt x="1350" y="84"/>
                    <a:pt x="1346" y="87"/>
                    <a:pt x="1335" y="87"/>
                  </a:cubicBezTo>
                  <a:cubicBezTo>
                    <a:pt x="1324" y="88"/>
                    <a:pt x="1324" y="100"/>
                    <a:pt x="1317" y="107"/>
                  </a:cubicBezTo>
                  <a:cubicBezTo>
                    <a:pt x="1311" y="114"/>
                    <a:pt x="1292" y="120"/>
                    <a:pt x="1300" y="110"/>
                  </a:cubicBezTo>
                  <a:cubicBezTo>
                    <a:pt x="1309" y="100"/>
                    <a:pt x="1322" y="97"/>
                    <a:pt x="1307" y="87"/>
                  </a:cubicBezTo>
                  <a:cubicBezTo>
                    <a:pt x="1292" y="78"/>
                    <a:pt x="1286" y="89"/>
                    <a:pt x="1279" y="78"/>
                  </a:cubicBezTo>
                  <a:cubicBezTo>
                    <a:pt x="1271" y="67"/>
                    <a:pt x="1281" y="57"/>
                    <a:pt x="1251" y="52"/>
                  </a:cubicBezTo>
                  <a:cubicBezTo>
                    <a:pt x="1221" y="47"/>
                    <a:pt x="1225" y="44"/>
                    <a:pt x="1216" y="39"/>
                  </a:cubicBezTo>
                  <a:cubicBezTo>
                    <a:pt x="1208" y="35"/>
                    <a:pt x="1207" y="31"/>
                    <a:pt x="1200" y="37"/>
                  </a:cubicBezTo>
                  <a:cubicBezTo>
                    <a:pt x="1193" y="43"/>
                    <a:pt x="1187" y="51"/>
                    <a:pt x="1178" y="41"/>
                  </a:cubicBezTo>
                  <a:cubicBezTo>
                    <a:pt x="1170" y="32"/>
                    <a:pt x="1168" y="41"/>
                    <a:pt x="1163" y="32"/>
                  </a:cubicBezTo>
                  <a:cubicBezTo>
                    <a:pt x="1157" y="24"/>
                    <a:pt x="1155" y="40"/>
                    <a:pt x="1135" y="36"/>
                  </a:cubicBezTo>
                  <a:cubicBezTo>
                    <a:pt x="1115" y="33"/>
                    <a:pt x="1134" y="24"/>
                    <a:pt x="1110" y="26"/>
                  </a:cubicBezTo>
                  <a:cubicBezTo>
                    <a:pt x="1087" y="27"/>
                    <a:pt x="1089" y="28"/>
                    <a:pt x="1077" y="32"/>
                  </a:cubicBezTo>
                  <a:cubicBezTo>
                    <a:pt x="1064" y="36"/>
                    <a:pt x="1062" y="36"/>
                    <a:pt x="1062" y="41"/>
                  </a:cubicBezTo>
                  <a:cubicBezTo>
                    <a:pt x="1062" y="47"/>
                    <a:pt x="1066" y="44"/>
                    <a:pt x="1074" y="51"/>
                  </a:cubicBezTo>
                  <a:cubicBezTo>
                    <a:pt x="1082" y="58"/>
                    <a:pt x="1094" y="62"/>
                    <a:pt x="1100" y="62"/>
                  </a:cubicBezTo>
                  <a:cubicBezTo>
                    <a:pt x="1106" y="62"/>
                    <a:pt x="1100" y="73"/>
                    <a:pt x="1120" y="69"/>
                  </a:cubicBezTo>
                  <a:cubicBezTo>
                    <a:pt x="1139" y="64"/>
                    <a:pt x="1175" y="65"/>
                    <a:pt x="1175" y="71"/>
                  </a:cubicBezTo>
                  <a:cubicBezTo>
                    <a:pt x="1174" y="77"/>
                    <a:pt x="1160" y="81"/>
                    <a:pt x="1142" y="79"/>
                  </a:cubicBezTo>
                  <a:cubicBezTo>
                    <a:pt x="1125" y="77"/>
                    <a:pt x="1114" y="77"/>
                    <a:pt x="1101" y="77"/>
                  </a:cubicBezTo>
                  <a:cubicBezTo>
                    <a:pt x="1088" y="77"/>
                    <a:pt x="1073" y="77"/>
                    <a:pt x="1061" y="68"/>
                  </a:cubicBezTo>
                  <a:cubicBezTo>
                    <a:pt x="1049" y="59"/>
                    <a:pt x="1053" y="52"/>
                    <a:pt x="1037" y="52"/>
                  </a:cubicBezTo>
                  <a:cubicBezTo>
                    <a:pt x="1021" y="52"/>
                    <a:pt x="996" y="48"/>
                    <a:pt x="991" y="53"/>
                  </a:cubicBezTo>
                  <a:cubicBezTo>
                    <a:pt x="985" y="58"/>
                    <a:pt x="980" y="65"/>
                    <a:pt x="995" y="70"/>
                  </a:cubicBezTo>
                  <a:cubicBezTo>
                    <a:pt x="1010" y="75"/>
                    <a:pt x="1033" y="84"/>
                    <a:pt x="1023" y="90"/>
                  </a:cubicBezTo>
                  <a:cubicBezTo>
                    <a:pt x="1014" y="95"/>
                    <a:pt x="1016" y="95"/>
                    <a:pt x="993" y="86"/>
                  </a:cubicBezTo>
                  <a:cubicBezTo>
                    <a:pt x="970" y="77"/>
                    <a:pt x="964" y="77"/>
                    <a:pt x="950" y="77"/>
                  </a:cubicBezTo>
                  <a:cubicBezTo>
                    <a:pt x="937" y="76"/>
                    <a:pt x="924" y="81"/>
                    <a:pt x="932" y="87"/>
                  </a:cubicBezTo>
                  <a:cubicBezTo>
                    <a:pt x="940" y="92"/>
                    <a:pt x="955" y="100"/>
                    <a:pt x="940" y="100"/>
                  </a:cubicBezTo>
                  <a:cubicBezTo>
                    <a:pt x="926" y="101"/>
                    <a:pt x="912" y="105"/>
                    <a:pt x="908" y="113"/>
                  </a:cubicBezTo>
                  <a:cubicBezTo>
                    <a:pt x="904" y="121"/>
                    <a:pt x="907" y="133"/>
                    <a:pt x="930" y="135"/>
                  </a:cubicBezTo>
                  <a:cubicBezTo>
                    <a:pt x="954" y="138"/>
                    <a:pt x="977" y="153"/>
                    <a:pt x="997" y="154"/>
                  </a:cubicBezTo>
                  <a:cubicBezTo>
                    <a:pt x="1017" y="155"/>
                    <a:pt x="1033" y="169"/>
                    <a:pt x="1049" y="172"/>
                  </a:cubicBezTo>
                  <a:cubicBezTo>
                    <a:pt x="1064" y="175"/>
                    <a:pt x="1093" y="181"/>
                    <a:pt x="1102" y="190"/>
                  </a:cubicBezTo>
                  <a:cubicBezTo>
                    <a:pt x="1110" y="198"/>
                    <a:pt x="1132" y="221"/>
                    <a:pt x="1109" y="210"/>
                  </a:cubicBezTo>
                  <a:cubicBezTo>
                    <a:pt x="1087" y="199"/>
                    <a:pt x="1053" y="181"/>
                    <a:pt x="1038" y="178"/>
                  </a:cubicBezTo>
                  <a:cubicBezTo>
                    <a:pt x="1023" y="176"/>
                    <a:pt x="1004" y="172"/>
                    <a:pt x="987" y="168"/>
                  </a:cubicBezTo>
                  <a:cubicBezTo>
                    <a:pt x="970" y="163"/>
                    <a:pt x="955" y="155"/>
                    <a:pt x="940" y="152"/>
                  </a:cubicBezTo>
                  <a:cubicBezTo>
                    <a:pt x="925" y="149"/>
                    <a:pt x="906" y="149"/>
                    <a:pt x="906" y="159"/>
                  </a:cubicBezTo>
                  <a:cubicBezTo>
                    <a:pt x="906" y="169"/>
                    <a:pt x="910" y="174"/>
                    <a:pt x="894" y="170"/>
                  </a:cubicBezTo>
                  <a:cubicBezTo>
                    <a:pt x="879" y="165"/>
                    <a:pt x="867" y="152"/>
                    <a:pt x="859" y="143"/>
                  </a:cubicBezTo>
                  <a:cubicBezTo>
                    <a:pt x="851" y="133"/>
                    <a:pt x="845" y="126"/>
                    <a:pt x="834" y="124"/>
                  </a:cubicBezTo>
                  <a:cubicBezTo>
                    <a:pt x="822" y="122"/>
                    <a:pt x="814" y="117"/>
                    <a:pt x="802" y="117"/>
                  </a:cubicBezTo>
                  <a:cubicBezTo>
                    <a:pt x="790" y="118"/>
                    <a:pt x="782" y="125"/>
                    <a:pt x="778" y="116"/>
                  </a:cubicBezTo>
                  <a:cubicBezTo>
                    <a:pt x="775" y="107"/>
                    <a:pt x="781" y="105"/>
                    <a:pt x="763" y="105"/>
                  </a:cubicBezTo>
                  <a:cubicBezTo>
                    <a:pt x="745" y="104"/>
                    <a:pt x="752" y="106"/>
                    <a:pt x="735" y="106"/>
                  </a:cubicBezTo>
                  <a:cubicBezTo>
                    <a:pt x="717" y="106"/>
                    <a:pt x="707" y="103"/>
                    <a:pt x="708" y="114"/>
                  </a:cubicBezTo>
                  <a:cubicBezTo>
                    <a:pt x="709" y="125"/>
                    <a:pt x="713" y="125"/>
                    <a:pt x="720" y="125"/>
                  </a:cubicBezTo>
                  <a:cubicBezTo>
                    <a:pt x="727" y="125"/>
                    <a:pt x="738" y="131"/>
                    <a:pt x="723" y="136"/>
                  </a:cubicBezTo>
                  <a:cubicBezTo>
                    <a:pt x="709" y="141"/>
                    <a:pt x="697" y="143"/>
                    <a:pt x="683" y="143"/>
                  </a:cubicBezTo>
                  <a:cubicBezTo>
                    <a:pt x="669" y="143"/>
                    <a:pt x="657" y="143"/>
                    <a:pt x="651" y="147"/>
                  </a:cubicBezTo>
                  <a:cubicBezTo>
                    <a:pt x="645" y="151"/>
                    <a:pt x="628" y="151"/>
                    <a:pt x="640" y="155"/>
                  </a:cubicBezTo>
                  <a:cubicBezTo>
                    <a:pt x="652" y="160"/>
                    <a:pt x="650" y="170"/>
                    <a:pt x="667" y="168"/>
                  </a:cubicBezTo>
                  <a:cubicBezTo>
                    <a:pt x="683" y="167"/>
                    <a:pt x="703" y="165"/>
                    <a:pt x="716" y="170"/>
                  </a:cubicBezTo>
                  <a:cubicBezTo>
                    <a:pt x="729" y="174"/>
                    <a:pt x="735" y="176"/>
                    <a:pt x="730" y="183"/>
                  </a:cubicBezTo>
                  <a:cubicBezTo>
                    <a:pt x="725" y="190"/>
                    <a:pt x="725" y="196"/>
                    <a:pt x="710" y="190"/>
                  </a:cubicBezTo>
                  <a:cubicBezTo>
                    <a:pt x="695" y="184"/>
                    <a:pt x="680" y="176"/>
                    <a:pt x="671" y="178"/>
                  </a:cubicBezTo>
                  <a:cubicBezTo>
                    <a:pt x="662" y="179"/>
                    <a:pt x="651" y="173"/>
                    <a:pt x="645" y="180"/>
                  </a:cubicBezTo>
                  <a:cubicBezTo>
                    <a:pt x="639" y="186"/>
                    <a:pt x="639" y="187"/>
                    <a:pt x="627" y="184"/>
                  </a:cubicBezTo>
                  <a:cubicBezTo>
                    <a:pt x="615" y="181"/>
                    <a:pt x="607" y="183"/>
                    <a:pt x="605" y="177"/>
                  </a:cubicBezTo>
                  <a:cubicBezTo>
                    <a:pt x="603" y="170"/>
                    <a:pt x="593" y="164"/>
                    <a:pt x="581" y="164"/>
                  </a:cubicBezTo>
                  <a:cubicBezTo>
                    <a:pt x="568" y="164"/>
                    <a:pt x="537" y="168"/>
                    <a:pt x="528" y="171"/>
                  </a:cubicBezTo>
                  <a:cubicBezTo>
                    <a:pt x="518" y="175"/>
                    <a:pt x="500" y="173"/>
                    <a:pt x="497" y="181"/>
                  </a:cubicBezTo>
                  <a:cubicBezTo>
                    <a:pt x="493" y="188"/>
                    <a:pt x="485" y="192"/>
                    <a:pt x="477" y="193"/>
                  </a:cubicBezTo>
                  <a:cubicBezTo>
                    <a:pt x="469" y="195"/>
                    <a:pt x="466" y="203"/>
                    <a:pt x="457" y="196"/>
                  </a:cubicBezTo>
                  <a:cubicBezTo>
                    <a:pt x="447" y="190"/>
                    <a:pt x="434" y="193"/>
                    <a:pt x="425" y="193"/>
                  </a:cubicBezTo>
                  <a:cubicBezTo>
                    <a:pt x="416" y="193"/>
                    <a:pt x="397" y="193"/>
                    <a:pt x="389" y="201"/>
                  </a:cubicBezTo>
                  <a:cubicBezTo>
                    <a:pt x="380" y="208"/>
                    <a:pt x="371" y="214"/>
                    <a:pt x="357" y="215"/>
                  </a:cubicBezTo>
                  <a:cubicBezTo>
                    <a:pt x="343" y="216"/>
                    <a:pt x="335" y="219"/>
                    <a:pt x="323" y="225"/>
                  </a:cubicBezTo>
                  <a:cubicBezTo>
                    <a:pt x="312" y="231"/>
                    <a:pt x="305" y="238"/>
                    <a:pt x="316" y="239"/>
                  </a:cubicBezTo>
                  <a:cubicBezTo>
                    <a:pt x="328" y="241"/>
                    <a:pt x="330" y="246"/>
                    <a:pt x="335" y="251"/>
                  </a:cubicBezTo>
                  <a:cubicBezTo>
                    <a:pt x="340" y="255"/>
                    <a:pt x="346" y="261"/>
                    <a:pt x="358" y="255"/>
                  </a:cubicBezTo>
                  <a:cubicBezTo>
                    <a:pt x="370" y="249"/>
                    <a:pt x="381" y="254"/>
                    <a:pt x="385" y="244"/>
                  </a:cubicBezTo>
                  <a:cubicBezTo>
                    <a:pt x="389" y="234"/>
                    <a:pt x="389" y="232"/>
                    <a:pt x="407" y="232"/>
                  </a:cubicBezTo>
                  <a:cubicBezTo>
                    <a:pt x="425" y="232"/>
                    <a:pt x="443" y="231"/>
                    <a:pt x="439" y="240"/>
                  </a:cubicBezTo>
                  <a:cubicBezTo>
                    <a:pt x="436" y="249"/>
                    <a:pt x="420" y="247"/>
                    <a:pt x="411" y="252"/>
                  </a:cubicBezTo>
                  <a:cubicBezTo>
                    <a:pt x="401" y="257"/>
                    <a:pt x="386" y="253"/>
                    <a:pt x="388" y="260"/>
                  </a:cubicBezTo>
                  <a:cubicBezTo>
                    <a:pt x="389" y="267"/>
                    <a:pt x="397" y="264"/>
                    <a:pt x="403" y="272"/>
                  </a:cubicBezTo>
                  <a:cubicBezTo>
                    <a:pt x="409" y="279"/>
                    <a:pt x="424" y="282"/>
                    <a:pt x="425" y="276"/>
                  </a:cubicBezTo>
                  <a:cubicBezTo>
                    <a:pt x="426" y="269"/>
                    <a:pt x="432" y="267"/>
                    <a:pt x="440" y="267"/>
                  </a:cubicBezTo>
                  <a:cubicBezTo>
                    <a:pt x="449" y="268"/>
                    <a:pt x="452" y="263"/>
                    <a:pt x="464" y="261"/>
                  </a:cubicBezTo>
                  <a:cubicBezTo>
                    <a:pt x="477" y="259"/>
                    <a:pt x="480" y="256"/>
                    <a:pt x="495" y="254"/>
                  </a:cubicBezTo>
                  <a:cubicBezTo>
                    <a:pt x="510" y="251"/>
                    <a:pt x="525" y="244"/>
                    <a:pt x="524" y="252"/>
                  </a:cubicBezTo>
                  <a:cubicBezTo>
                    <a:pt x="523" y="260"/>
                    <a:pt x="512" y="259"/>
                    <a:pt x="496" y="263"/>
                  </a:cubicBezTo>
                  <a:cubicBezTo>
                    <a:pt x="480" y="267"/>
                    <a:pt x="482" y="277"/>
                    <a:pt x="467" y="277"/>
                  </a:cubicBezTo>
                  <a:cubicBezTo>
                    <a:pt x="452" y="277"/>
                    <a:pt x="443" y="282"/>
                    <a:pt x="447" y="285"/>
                  </a:cubicBezTo>
                  <a:cubicBezTo>
                    <a:pt x="452" y="289"/>
                    <a:pt x="438" y="294"/>
                    <a:pt x="429" y="297"/>
                  </a:cubicBezTo>
                  <a:cubicBezTo>
                    <a:pt x="421" y="300"/>
                    <a:pt x="417" y="306"/>
                    <a:pt x="420" y="313"/>
                  </a:cubicBezTo>
                  <a:cubicBezTo>
                    <a:pt x="423" y="320"/>
                    <a:pt x="428" y="330"/>
                    <a:pt x="443" y="330"/>
                  </a:cubicBezTo>
                  <a:cubicBezTo>
                    <a:pt x="458" y="330"/>
                    <a:pt x="478" y="332"/>
                    <a:pt x="497" y="332"/>
                  </a:cubicBezTo>
                  <a:cubicBezTo>
                    <a:pt x="515" y="333"/>
                    <a:pt x="505" y="334"/>
                    <a:pt x="495" y="345"/>
                  </a:cubicBezTo>
                  <a:cubicBezTo>
                    <a:pt x="484" y="355"/>
                    <a:pt x="489" y="360"/>
                    <a:pt x="508" y="365"/>
                  </a:cubicBezTo>
                  <a:cubicBezTo>
                    <a:pt x="528" y="370"/>
                    <a:pt x="525" y="375"/>
                    <a:pt x="548" y="378"/>
                  </a:cubicBezTo>
                  <a:cubicBezTo>
                    <a:pt x="570" y="381"/>
                    <a:pt x="573" y="381"/>
                    <a:pt x="579" y="385"/>
                  </a:cubicBezTo>
                  <a:cubicBezTo>
                    <a:pt x="586" y="388"/>
                    <a:pt x="604" y="395"/>
                    <a:pt x="616" y="383"/>
                  </a:cubicBezTo>
                  <a:cubicBezTo>
                    <a:pt x="629" y="372"/>
                    <a:pt x="654" y="360"/>
                    <a:pt x="662" y="353"/>
                  </a:cubicBezTo>
                  <a:cubicBezTo>
                    <a:pt x="671" y="346"/>
                    <a:pt x="696" y="330"/>
                    <a:pt x="682" y="329"/>
                  </a:cubicBezTo>
                  <a:cubicBezTo>
                    <a:pt x="667" y="328"/>
                    <a:pt x="618" y="341"/>
                    <a:pt x="613" y="333"/>
                  </a:cubicBezTo>
                  <a:cubicBezTo>
                    <a:pt x="608" y="325"/>
                    <a:pt x="616" y="321"/>
                    <a:pt x="635" y="319"/>
                  </a:cubicBezTo>
                  <a:cubicBezTo>
                    <a:pt x="654" y="317"/>
                    <a:pt x="671" y="314"/>
                    <a:pt x="684" y="307"/>
                  </a:cubicBezTo>
                  <a:cubicBezTo>
                    <a:pt x="697" y="299"/>
                    <a:pt x="706" y="301"/>
                    <a:pt x="727" y="294"/>
                  </a:cubicBezTo>
                  <a:cubicBezTo>
                    <a:pt x="749" y="288"/>
                    <a:pt x="767" y="291"/>
                    <a:pt x="742" y="301"/>
                  </a:cubicBezTo>
                  <a:cubicBezTo>
                    <a:pt x="717" y="311"/>
                    <a:pt x="686" y="337"/>
                    <a:pt x="711" y="330"/>
                  </a:cubicBezTo>
                  <a:cubicBezTo>
                    <a:pt x="736" y="324"/>
                    <a:pt x="761" y="314"/>
                    <a:pt x="778" y="314"/>
                  </a:cubicBezTo>
                  <a:cubicBezTo>
                    <a:pt x="794" y="314"/>
                    <a:pt x="825" y="317"/>
                    <a:pt x="851" y="312"/>
                  </a:cubicBezTo>
                  <a:cubicBezTo>
                    <a:pt x="877" y="306"/>
                    <a:pt x="922" y="303"/>
                    <a:pt x="910" y="308"/>
                  </a:cubicBezTo>
                  <a:cubicBezTo>
                    <a:pt x="897" y="313"/>
                    <a:pt x="882" y="320"/>
                    <a:pt x="850" y="323"/>
                  </a:cubicBezTo>
                  <a:cubicBezTo>
                    <a:pt x="819" y="326"/>
                    <a:pt x="782" y="328"/>
                    <a:pt x="754" y="334"/>
                  </a:cubicBezTo>
                  <a:cubicBezTo>
                    <a:pt x="726" y="340"/>
                    <a:pt x="707" y="335"/>
                    <a:pt x="690" y="347"/>
                  </a:cubicBezTo>
                  <a:cubicBezTo>
                    <a:pt x="672" y="358"/>
                    <a:pt x="679" y="359"/>
                    <a:pt x="667" y="368"/>
                  </a:cubicBezTo>
                  <a:cubicBezTo>
                    <a:pt x="654" y="376"/>
                    <a:pt x="648" y="396"/>
                    <a:pt x="663" y="398"/>
                  </a:cubicBezTo>
                  <a:cubicBezTo>
                    <a:pt x="678" y="401"/>
                    <a:pt x="700" y="402"/>
                    <a:pt x="714" y="401"/>
                  </a:cubicBezTo>
                  <a:cubicBezTo>
                    <a:pt x="728" y="399"/>
                    <a:pt x="837" y="402"/>
                    <a:pt x="837" y="393"/>
                  </a:cubicBezTo>
                  <a:cubicBezTo>
                    <a:pt x="837" y="385"/>
                    <a:pt x="834" y="367"/>
                    <a:pt x="847" y="367"/>
                  </a:cubicBezTo>
                  <a:cubicBezTo>
                    <a:pt x="860" y="367"/>
                    <a:pt x="856" y="378"/>
                    <a:pt x="867" y="375"/>
                  </a:cubicBezTo>
                  <a:cubicBezTo>
                    <a:pt x="877" y="373"/>
                    <a:pt x="888" y="371"/>
                    <a:pt x="900" y="371"/>
                  </a:cubicBezTo>
                  <a:cubicBezTo>
                    <a:pt x="912" y="371"/>
                    <a:pt x="945" y="357"/>
                    <a:pt x="953" y="358"/>
                  </a:cubicBezTo>
                  <a:cubicBezTo>
                    <a:pt x="962" y="360"/>
                    <a:pt x="964" y="370"/>
                    <a:pt x="946" y="373"/>
                  </a:cubicBezTo>
                  <a:cubicBezTo>
                    <a:pt x="928" y="375"/>
                    <a:pt x="915" y="380"/>
                    <a:pt x="902" y="382"/>
                  </a:cubicBezTo>
                  <a:cubicBezTo>
                    <a:pt x="890" y="384"/>
                    <a:pt x="875" y="388"/>
                    <a:pt x="875" y="393"/>
                  </a:cubicBezTo>
                  <a:cubicBezTo>
                    <a:pt x="875" y="399"/>
                    <a:pt x="881" y="403"/>
                    <a:pt x="900" y="403"/>
                  </a:cubicBezTo>
                  <a:cubicBezTo>
                    <a:pt x="920" y="402"/>
                    <a:pt x="930" y="393"/>
                    <a:pt x="951" y="393"/>
                  </a:cubicBezTo>
                  <a:cubicBezTo>
                    <a:pt x="973" y="393"/>
                    <a:pt x="980" y="380"/>
                    <a:pt x="1004" y="384"/>
                  </a:cubicBezTo>
                  <a:cubicBezTo>
                    <a:pt x="1028" y="388"/>
                    <a:pt x="1026" y="376"/>
                    <a:pt x="1041" y="376"/>
                  </a:cubicBezTo>
                  <a:cubicBezTo>
                    <a:pt x="1057" y="376"/>
                    <a:pt x="1059" y="369"/>
                    <a:pt x="1071" y="369"/>
                  </a:cubicBezTo>
                  <a:cubicBezTo>
                    <a:pt x="1084" y="369"/>
                    <a:pt x="1103" y="361"/>
                    <a:pt x="1110" y="351"/>
                  </a:cubicBezTo>
                  <a:cubicBezTo>
                    <a:pt x="1117" y="341"/>
                    <a:pt x="1124" y="333"/>
                    <a:pt x="1122" y="325"/>
                  </a:cubicBezTo>
                  <a:cubicBezTo>
                    <a:pt x="1120" y="316"/>
                    <a:pt x="1107" y="305"/>
                    <a:pt x="1116" y="307"/>
                  </a:cubicBezTo>
                  <a:cubicBezTo>
                    <a:pt x="1125" y="310"/>
                    <a:pt x="1130" y="320"/>
                    <a:pt x="1140" y="315"/>
                  </a:cubicBezTo>
                  <a:cubicBezTo>
                    <a:pt x="1149" y="311"/>
                    <a:pt x="1158" y="319"/>
                    <a:pt x="1162" y="310"/>
                  </a:cubicBezTo>
                  <a:cubicBezTo>
                    <a:pt x="1165" y="300"/>
                    <a:pt x="1170" y="301"/>
                    <a:pt x="1180" y="293"/>
                  </a:cubicBezTo>
                  <a:cubicBezTo>
                    <a:pt x="1191" y="285"/>
                    <a:pt x="1187" y="284"/>
                    <a:pt x="1208" y="280"/>
                  </a:cubicBezTo>
                  <a:cubicBezTo>
                    <a:pt x="1228" y="277"/>
                    <a:pt x="1236" y="268"/>
                    <a:pt x="1244" y="266"/>
                  </a:cubicBezTo>
                  <a:cubicBezTo>
                    <a:pt x="1253" y="264"/>
                    <a:pt x="1277" y="265"/>
                    <a:pt x="1264" y="269"/>
                  </a:cubicBezTo>
                  <a:cubicBezTo>
                    <a:pt x="1251" y="274"/>
                    <a:pt x="1228" y="284"/>
                    <a:pt x="1215" y="289"/>
                  </a:cubicBezTo>
                  <a:cubicBezTo>
                    <a:pt x="1202" y="294"/>
                    <a:pt x="1197" y="297"/>
                    <a:pt x="1189" y="305"/>
                  </a:cubicBezTo>
                  <a:cubicBezTo>
                    <a:pt x="1181" y="313"/>
                    <a:pt x="1174" y="315"/>
                    <a:pt x="1163" y="320"/>
                  </a:cubicBezTo>
                  <a:cubicBezTo>
                    <a:pt x="1152" y="326"/>
                    <a:pt x="1151" y="332"/>
                    <a:pt x="1151" y="342"/>
                  </a:cubicBezTo>
                  <a:cubicBezTo>
                    <a:pt x="1151" y="353"/>
                    <a:pt x="1161" y="353"/>
                    <a:pt x="1175" y="351"/>
                  </a:cubicBezTo>
                  <a:cubicBezTo>
                    <a:pt x="1190" y="350"/>
                    <a:pt x="1183" y="340"/>
                    <a:pt x="1201" y="342"/>
                  </a:cubicBezTo>
                  <a:cubicBezTo>
                    <a:pt x="1219" y="343"/>
                    <a:pt x="1231" y="342"/>
                    <a:pt x="1236" y="347"/>
                  </a:cubicBezTo>
                  <a:cubicBezTo>
                    <a:pt x="1241" y="351"/>
                    <a:pt x="1257" y="348"/>
                    <a:pt x="1270" y="348"/>
                  </a:cubicBezTo>
                  <a:cubicBezTo>
                    <a:pt x="1283" y="348"/>
                    <a:pt x="1299" y="352"/>
                    <a:pt x="1296" y="356"/>
                  </a:cubicBezTo>
                  <a:cubicBezTo>
                    <a:pt x="1293" y="360"/>
                    <a:pt x="1267" y="360"/>
                    <a:pt x="1249" y="360"/>
                  </a:cubicBezTo>
                  <a:cubicBezTo>
                    <a:pt x="1231" y="360"/>
                    <a:pt x="1196" y="358"/>
                    <a:pt x="1179" y="365"/>
                  </a:cubicBezTo>
                  <a:cubicBezTo>
                    <a:pt x="1162" y="373"/>
                    <a:pt x="1153" y="369"/>
                    <a:pt x="1135" y="373"/>
                  </a:cubicBezTo>
                  <a:cubicBezTo>
                    <a:pt x="1117" y="376"/>
                    <a:pt x="1105" y="376"/>
                    <a:pt x="1094" y="383"/>
                  </a:cubicBezTo>
                  <a:cubicBezTo>
                    <a:pt x="1084" y="391"/>
                    <a:pt x="1098" y="390"/>
                    <a:pt x="1127" y="388"/>
                  </a:cubicBezTo>
                  <a:cubicBezTo>
                    <a:pt x="1155" y="387"/>
                    <a:pt x="1198" y="386"/>
                    <a:pt x="1198" y="393"/>
                  </a:cubicBezTo>
                  <a:cubicBezTo>
                    <a:pt x="1198" y="401"/>
                    <a:pt x="1188" y="403"/>
                    <a:pt x="1161" y="403"/>
                  </a:cubicBezTo>
                  <a:cubicBezTo>
                    <a:pt x="1134" y="403"/>
                    <a:pt x="1101" y="399"/>
                    <a:pt x="1084" y="401"/>
                  </a:cubicBezTo>
                  <a:cubicBezTo>
                    <a:pt x="1066" y="403"/>
                    <a:pt x="1057" y="409"/>
                    <a:pt x="1044" y="412"/>
                  </a:cubicBezTo>
                  <a:cubicBezTo>
                    <a:pt x="1031" y="415"/>
                    <a:pt x="983" y="421"/>
                    <a:pt x="970" y="421"/>
                  </a:cubicBezTo>
                  <a:cubicBezTo>
                    <a:pt x="958" y="421"/>
                    <a:pt x="945" y="426"/>
                    <a:pt x="927" y="426"/>
                  </a:cubicBezTo>
                  <a:cubicBezTo>
                    <a:pt x="910" y="427"/>
                    <a:pt x="875" y="434"/>
                    <a:pt x="883" y="441"/>
                  </a:cubicBezTo>
                  <a:cubicBezTo>
                    <a:pt x="891" y="447"/>
                    <a:pt x="905" y="454"/>
                    <a:pt x="912" y="461"/>
                  </a:cubicBezTo>
                  <a:cubicBezTo>
                    <a:pt x="920" y="469"/>
                    <a:pt x="935" y="483"/>
                    <a:pt x="950" y="483"/>
                  </a:cubicBezTo>
                  <a:cubicBezTo>
                    <a:pt x="964" y="483"/>
                    <a:pt x="980" y="483"/>
                    <a:pt x="980" y="491"/>
                  </a:cubicBezTo>
                  <a:cubicBezTo>
                    <a:pt x="980" y="499"/>
                    <a:pt x="969" y="509"/>
                    <a:pt x="980" y="517"/>
                  </a:cubicBezTo>
                  <a:cubicBezTo>
                    <a:pt x="991" y="524"/>
                    <a:pt x="991" y="527"/>
                    <a:pt x="1003" y="527"/>
                  </a:cubicBezTo>
                  <a:cubicBezTo>
                    <a:pt x="1015" y="526"/>
                    <a:pt x="1033" y="531"/>
                    <a:pt x="1039" y="526"/>
                  </a:cubicBezTo>
                  <a:cubicBezTo>
                    <a:pt x="1046" y="521"/>
                    <a:pt x="1054" y="520"/>
                    <a:pt x="1064" y="520"/>
                  </a:cubicBezTo>
                  <a:cubicBezTo>
                    <a:pt x="1075" y="520"/>
                    <a:pt x="1089" y="520"/>
                    <a:pt x="1084" y="525"/>
                  </a:cubicBezTo>
                  <a:cubicBezTo>
                    <a:pt x="1080" y="531"/>
                    <a:pt x="1066" y="532"/>
                    <a:pt x="1052" y="536"/>
                  </a:cubicBezTo>
                  <a:cubicBezTo>
                    <a:pt x="1038" y="540"/>
                    <a:pt x="1016" y="540"/>
                    <a:pt x="1004" y="540"/>
                  </a:cubicBezTo>
                  <a:cubicBezTo>
                    <a:pt x="992" y="540"/>
                    <a:pt x="976" y="533"/>
                    <a:pt x="966" y="527"/>
                  </a:cubicBezTo>
                  <a:cubicBezTo>
                    <a:pt x="956" y="520"/>
                    <a:pt x="937" y="491"/>
                    <a:pt x="921" y="488"/>
                  </a:cubicBezTo>
                  <a:cubicBezTo>
                    <a:pt x="905" y="485"/>
                    <a:pt x="892" y="476"/>
                    <a:pt x="879" y="470"/>
                  </a:cubicBezTo>
                  <a:cubicBezTo>
                    <a:pt x="866" y="464"/>
                    <a:pt x="849" y="447"/>
                    <a:pt x="839" y="441"/>
                  </a:cubicBezTo>
                  <a:cubicBezTo>
                    <a:pt x="828" y="436"/>
                    <a:pt x="819" y="436"/>
                    <a:pt x="803" y="439"/>
                  </a:cubicBezTo>
                  <a:cubicBezTo>
                    <a:pt x="787" y="441"/>
                    <a:pt x="738" y="448"/>
                    <a:pt x="729" y="441"/>
                  </a:cubicBezTo>
                  <a:cubicBezTo>
                    <a:pt x="720" y="434"/>
                    <a:pt x="697" y="427"/>
                    <a:pt x="690" y="428"/>
                  </a:cubicBezTo>
                  <a:cubicBezTo>
                    <a:pt x="683" y="428"/>
                    <a:pt x="664" y="444"/>
                    <a:pt x="659" y="447"/>
                  </a:cubicBezTo>
                  <a:cubicBezTo>
                    <a:pt x="654" y="451"/>
                    <a:pt x="652" y="461"/>
                    <a:pt x="653" y="464"/>
                  </a:cubicBezTo>
                  <a:cubicBezTo>
                    <a:pt x="654" y="466"/>
                    <a:pt x="652" y="469"/>
                    <a:pt x="658" y="477"/>
                  </a:cubicBezTo>
                  <a:cubicBezTo>
                    <a:pt x="664" y="484"/>
                    <a:pt x="663" y="492"/>
                    <a:pt x="663" y="499"/>
                  </a:cubicBezTo>
                  <a:cubicBezTo>
                    <a:pt x="663" y="506"/>
                    <a:pt x="668" y="520"/>
                    <a:pt x="679" y="520"/>
                  </a:cubicBezTo>
                  <a:cubicBezTo>
                    <a:pt x="691" y="521"/>
                    <a:pt x="700" y="517"/>
                    <a:pt x="701" y="522"/>
                  </a:cubicBezTo>
                  <a:cubicBezTo>
                    <a:pt x="702" y="527"/>
                    <a:pt x="717" y="530"/>
                    <a:pt x="724" y="527"/>
                  </a:cubicBezTo>
                  <a:cubicBezTo>
                    <a:pt x="730" y="525"/>
                    <a:pt x="743" y="528"/>
                    <a:pt x="749" y="538"/>
                  </a:cubicBezTo>
                  <a:cubicBezTo>
                    <a:pt x="755" y="548"/>
                    <a:pt x="758" y="560"/>
                    <a:pt x="770" y="562"/>
                  </a:cubicBezTo>
                  <a:cubicBezTo>
                    <a:pt x="783" y="563"/>
                    <a:pt x="794" y="570"/>
                    <a:pt x="798" y="577"/>
                  </a:cubicBezTo>
                  <a:cubicBezTo>
                    <a:pt x="801" y="583"/>
                    <a:pt x="822" y="611"/>
                    <a:pt x="806" y="608"/>
                  </a:cubicBezTo>
                  <a:cubicBezTo>
                    <a:pt x="789" y="606"/>
                    <a:pt x="783" y="601"/>
                    <a:pt x="783" y="611"/>
                  </a:cubicBezTo>
                  <a:cubicBezTo>
                    <a:pt x="783" y="620"/>
                    <a:pt x="779" y="627"/>
                    <a:pt x="796" y="627"/>
                  </a:cubicBezTo>
                  <a:cubicBezTo>
                    <a:pt x="813" y="627"/>
                    <a:pt x="828" y="626"/>
                    <a:pt x="839" y="628"/>
                  </a:cubicBezTo>
                  <a:cubicBezTo>
                    <a:pt x="851" y="631"/>
                    <a:pt x="879" y="630"/>
                    <a:pt x="885" y="634"/>
                  </a:cubicBezTo>
                  <a:cubicBezTo>
                    <a:pt x="892" y="638"/>
                    <a:pt x="897" y="643"/>
                    <a:pt x="911" y="638"/>
                  </a:cubicBezTo>
                  <a:cubicBezTo>
                    <a:pt x="925" y="633"/>
                    <a:pt x="938" y="636"/>
                    <a:pt x="941" y="628"/>
                  </a:cubicBezTo>
                  <a:cubicBezTo>
                    <a:pt x="944" y="621"/>
                    <a:pt x="950" y="618"/>
                    <a:pt x="963" y="616"/>
                  </a:cubicBezTo>
                  <a:cubicBezTo>
                    <a:pt x="977" y="615"/>
                    <a:pt x="978" y="616"/>
                    <a:pt x="973" y="625"/>
                  </a:cubicBezTo>
                  <a:cubicBezTo>
                    <a:pt x="968" y="634"/>
                    <a:pt x="952" y="638"/>
                    <a:pt x="940" y="640"/>
                  </a:cubicBezTo>
                  <a:cubicBezTo>
                    <a:pt x="929" y="641"/>
                    <a:pt x="922" y="646"/>
                    <a:pt x="922" y="654"/>
                  </a:cubicBezTo>
                  <a:cubicBezTo>
                    <a:pt x="922" y="661"/>
                    <a:pt x="939" y="679"/>
                    <a:pt x="920" y="676"/>
                  </a:cubicBezTo>
                  <a:cubicBezTo>
                    <a:pt x="900" y="673"/>
                    <a:pt x="887" y="659"/>
                    <a:pt x="871" y="654"/>
                  </a:cubicBezTo>
                  <a:cubicBezTo>
                    <a:pt x="854" y="649"/>
                    <a:pt x="849" y="644"/>
                    <a:pt x="830" y="644"/>
                  </a:cubicBezTo>
                  <a:cubicBezTo>
                    <a:pt x="811" y="644"/>
                    <a:pt x="797" y="637"/>
                    <a:pt x="778" y="636"/>
                  </a:cubicBezTo>
                  <a:cubicBezTo>
                    <a:pt x="758" y="636"/>
                    <a:pt x="727" y="638"/>
                    <a:pt x="717" y="641"/>
                  </a:cubicBezTo>
                  <a:cubicBezTo>
                    <a:pt x="707" y="645"/>
                    <a:pt x="686" y="648"/>
                    <a:pt x="690" y="641"/>
                  </a:cubicBezTo>
                  <a:cubicBezTo>
                    <a:pt x="693" y="633"/>
                    <a:pt x="720" y="632"/>
                    <a:pt x="720" y="628"/>
                  </a:cubicBezTo>
                  <a:cubicBezTo>
                    <a:pt x="720" y="625"/>
                    <a:pt x="759" y="628"/>
                    <a:pt x="741" y="616"/>
                  </a:cubicBezTo>
                  <a:cubicBezTo>
                    <a:pt x="723" y="605"/>
                    <a:pt x="710" y="616"/>
                    <a:pt x="712" y="609"/>
                  </a:cubicBezTo>
                  <a:cubicBezTo>
                    <a:pt x="715" y="602"/>
                    <a:pt x="739" y="606"/>
                    <a:pt x="741" y="598"/>
                  </a:cubicBezTo>
                  <a:cubicBezTo>
                    <a:pt x="743" y="590"/>
                    <a:pt x="760" y="593"/>
                    <a:pt x="759" y="581"/>
                  </a:cubicBezTo>
                  <a:cubicBezTo>
                    <a:pt x="758" y="569"/>
                    <a:pt x="755" y="575"/>
                    <a:pt x="744" y="565"/>
                  </a:cubicBezTo>
                  <a:cubicBezTo>
                    <a:pt x="733" y="554"/>
                    <a:pt x="722" y="537"/>
                    <a:pt x="709" y="537"/>
                  </a:cubicBezTo>
                  <a:cubicBezTo>
                    <a:pt x="695" y="537"/>
                    <a:pt x="702" y="553"/>
                    <a:pt x="692" y="549"/>
                  </a:cubicBezTo>
                  <a:cubicBezTo>
                    <a:pt x="681" y="545"/>
                    <a:pt x="685" y="531"/>
                    <a:pt x="667" y="529"/>
                  </a:cubicBezTo>
                  <a:cubicBezTo>
                    <a:pt x="648" y="527"/>
                    <a:pt x="655" y="529"/>
                    <a:pt x="649" y="536"/>
                  </a:cubicBezTo>
                  <a:cubicBezTo>
                    <a:pt x="642" y="543"/>
                    <a:pt x="628" y="543"/>
                    <a:pt x="624" y="539"/>
                  </a:cubicBezTo>
                  <a:cubicBezTo>
                    <a:pt x="621" y="535"/>
                    <a:pt x="619" y="523"/>
                    <a:pt x="626" y="519"/>
                  </a:cubicBezTo>
                  <a:cubicBezTo>
                    <a:pt x="634" y="514"/>
                    <a:pt x="638" y="509"/>
                    <a:pt x="633" y="501"/>
                  </a:cubicBezTo>
                  <a:cubicBezTo>
                    <a:pt x="628" y="492"/>
                    <a:pt x="629" y="486"/>
                    <a:pt x="624" y="481"/>
                  </a:cubicBezTo>
                  <a:cubicBezTo>
                    <a:pt x="620" y="476"/>
                    <a:pt x="622" y="469"/>
                    <a:pt x="612" y="468"/>
                  </a:cubicBezTo>
                  <a:cubicBezTo>
                    <a:pt x="602" y="466"/>
                    <a:pt x="583" y="468"/>
                    <a:pt x="583" y="462"/>
                  </a:cubicBezTo>
                  <a:cubicBezTo>
                    <a:pt x="583" y="456"/>
                    <a:pt x="596" y="451"/>
                    <a:pt x="595" y="438"/>
                  </a:cubicBezTo>
                  <a:cubicBezTo>
                    <a:pt x="594" y="425"/>
                    <a:pt x="583" y="425"/>
                    <a:pt x="575" y="420"/>
                  </a:cubicBezTo>
                  <a:cubicBezTo>
                    <a:pt x="567" y="415"/>
                    <a:pt x="555" y="416"/>
                    <a:pt x="547" y="416"/>
                  </a:cubicBezTo>
                  <a:cubicBezTo>
                    <a:pt x="539" y="416"/>
                    <a:pt x="520" y="416"/>
                    <a:pt x="521" y="426"/>
                  </a:cubicBezTo>
                  <a:cubicBezTo>
                    <a:pt x="522" y="435"/>
                    <a:pt x="537" y="446"/>
                    <a:pt x="540" y="451"/>
                  </a:cubicBezTo>
                  <a:cubicBezTo>
                    <a:pt x="543" y="455"/>
                    <a:pt x="540" y="461"/>
                    <a:pt x="525" y="458"/>
                  </a:cubicBezTo>
                  <a:cubicBezTo>
                    <a:pt x="511" y="454"/>
                    <a:pt x="510" y="446"/>
                    <a:pt x="501" y="444"/>
                  </a:cubicBezTo>
                  <a:cubicBezTo>
                    <a:pt x="492" y="443"/>
                    <a:pt x="492" y="434"/>
                    <a:pt x="493" y="423"/>
                  </a:cubicBezTo>
                  <a:cubicBezTo>
                    <a:pt x="494" y="413"/>
                    <a:pt x="483" y="401"/>
                    <a:pt x="477" y="399"/>
                  </a:cubicBezTo>
                  <a:cubicBezTo>
                    <a:pt x="472" y="398"/>
                    <a:pt x="411" y="406"/>
                    <a:pt x="409" y="395"/>
                  </a:cubicBezTo>
                  <a:cubicBezTo>
                    <a:pt x="406" y="383"/>
                    <a:pt x="406" y="382"/>
                    <a:pt x="394" y="379"/>
                  </a:cubicBezTo>
                  <a:cubicBezTo>
                    <a:pt x="381" y="376"/>
                    <a:pt x="372" y="368"/>
                    <a:pt x="365" y="358"/>
                  </a:cubicBezTo>
                  <a:cubicBezTo>
                    <a:pt x="358" y="348"/>
                    <a:pt x="335" y="321"/>
                    <a:pt x="322" y="312"/>
                  </a:cubicBezTo>
                  <a:cubicBezTo>
                    <a:pt x="309" y="302"/>
                    <a:pt x="298" y="292"/>
                    <a:pt x="268" y="286"/>
                  </a:cubicBezTo>
                  <a:cubicBezTo>
                    <a:pt x="238" y="280"/>
                    <a:pt x="231" y="276"/>
                    <a:pt x="214" y="276"/>
                  </a:cubicBezTo>
                  <a:cubicBezTo>
                    <a:pt x="198" y="276"/>
                    <a:pt x="175" y="276"/>
                    <a:pt x="168" y="279"/>
                  </a:cubicBezTo>
                  <a:cubicBezTo>
                    <a:pt x="161" y="283"/>
                    <a:pt x="159" y="305"/>
                    <a:pt x="174" y="305"/>
                  </a:cubicBezTo>
                  <a:cubicBezTo>
                    <a:pt x="188" y="306"/>
                    <a:pt x="232" y="301"/>
                    <a:pt x="231" y="310"/>
                  </a:cubicBezTo>
                  <a:cubicBezTo>
                    <a:pt x="229" y="320"/>
                    <a:pt x="211" y="319"/>
                    <a:pt x="199" y="318"/>
                  </a:cubicBezTo>
                  <a:cubicBezTo>
                    <a:pt x="187" y="317"/>
                    <a:pt x="162" y="313"/>
                    <a:pt x="168" y="320"/>
                  </a:cubicBezTo>
                  <a:cubicBezTo>
                    <a:pt x="175" y="327"/>
                    <a:pt x="190" y="335"/>
                    <a:pt x="164" y="330"/>
                  </a:cubicBezTo>
                  <a:cubicBezTo>
                    <a:pt x="138" y="325"/>
                    <a:pt x="137" y="322"/>
                    <a:pt x="123" y="325"/>
                  </a:cubicBezTo>
                  <a:cubicBezTo>
                    <a:pt x="108" y="327"/>
                    <a:pt x="108" y="335"/>
                    <a:pt x="102" y="339"/>
                  </a:cubicBezTo>
                  <a:cubicBezTo>
                    <a:pt x="95" y="342"/>
                    <a:pt x="88" y="355"/>
                    <a:pt x="106" y="360"/>
                  </a:cubicBezTo>
                  <a:cubicBezTo>
                    <a:pt x="124" y="364"/>
                    <a:pt x="128" y="370"/>
                    <a:pt x="137" y="375"/>
                  </a:cubicBezTo>
                  <a:cubicBezTo>
                    <a:pt x="146" y="380"/>
                    <a:pt x="157" y="392"/>
                    <a:pt x="153" y="396"/>
                  </a:cubicBezTo>
                  <a:cubicBezTo>
                    <a:pt x="148" y="399"/>
                    <a:pt x="139" y="403"/>
                    <a:pt x="130" y="396"/>
                  </a:cubicBezTo>
                  <a:cubicBezTo>
                    <a:pt x="120" y="388"/>
                    <a:pt x="105" y="377"/>
                    <a:pt x="96" y="375"/>
                  </a:cubicBezTo>
                  <a:cubicBezTo>
                    <a:pt x="88" y="373"/>
                    <a:pt x="79" y="375"/>
                    <a:pt x="71" y="377"/>
                  </a:cubicBezTo>
                  <a:cubicBezTo>
                    <a:pt x="63" y="379"/>
                    <a:pt x="63" y="383"/>
                    <a:pt x="51" y="381"/>
                  </a:cubicBezTo>
                  <a:cubicBezTo>
                    <a:pt x="39" y="380"/>
                    <a:pt x="35" y="390"/>
                    <a:pt x="47" y="390"/>
                  </a:cubicBezTo>
                  <a:cubicBezTo>
                    <a:pt x="60" y="390"/>
                    <a:pt x="72" y="391"/>
                    <a:pt x="65" y="395"/>
                  </a:cubicBezTo>
                  <a:cubicBezTo>
                    <a:pt x="59" y="398"/>
                    <a:pt x="45" y="403"/>
                    <a:pt x="57" y="408"/>
                  </a:cubicBezTo>
                  <a:cubicBezTo>
                    <a:pt x="68" y="413"/>
                    <a:pt x="75" y="425"/>
                    <a:pt x="61" y="423"/>
                  </a:cubicBezTo>
                  <a:cubicBezTo>
                    <a:pt x="47" y="422"/>
                    <a:pt x="37" y="418"/>
                    <a:pt x="34" y="422"/>
                  </a:cubicBezTo>
                  <a:cubicBezTo>
                    <a:pt x="32" y="426"/>
                    <a:pt x="35" y="427"/>
                    <a:pt x="23" y="428"/>
                  </a:cubicBezTo>
                  <a:cubicBezTo>
                    <a:pt x="11" y="430"/>
                    <a:pt x="14" y="437"/>
                    <a:pt x="29" y="441"/>
                  </a:cubicBezTo>
                  <a:cubicBezTo>
                    <a:pt x="45" y="444"/>
                    <a:pt x="47" y="453"/>
                    <a:pt x="63" y="453"/>
                  </a:cubicBezTo>
                  <a:cubicBezTo>
                    <a:pt x="79" y="453"/>
                    <a:pt x="85" y="449"/>
                    <a:pt x="94" y="459"/>
                  </a:cubicBezTo>
                  <a:cubicBezTo>
                    <a:pt x="103" y="469"/>
                    <a:pt x="117" y="466"/>
                    <a:pt x="125" y="459"/>
                  </a:cubicBezTo>
                  <a:cubicBezTo>
                    <a:pt x="133" y="452"/>
                    <a:pt x="141" y="449"/>
                    <a:pt x="148" y="452"/>
                  </a:cubicBezTo>
                  <a:cubicBezTo>
                    <a:pt x="156" y="455"/>
                    <a:pt x="162" y="464"/>
                    <a:pt x="151" y="470"/>
                  </a:cubicBezTo>
                  <a:cubicBezTo>
                    <a:pt x="141" y="476"/>
                    <a:pt x="152" y="483"/>
                    <a:pt x="113" y="474"/>
                  </a:cubicBezTo>
                  <a:cubicBezTo>
                    <a:pt x="113" y="474"/>
                    <a:pt x="83" y="480"/>
                    <a:pt x="67" y="474"/>
                  </a:cubicBezTo>
                  <a:cubicBezTo>
                    <a:pt x="52" y="467"/>
                    <a:pt x="45" y="466"/>
                    <a:pt x="33" y="461"/>
                  </a:cubicBezTo>
                  <a:cubicBezTo>
                    <a:pt x="21" y="456"/>
                    <a:pt x="0" y="461"/>
                    <a:pt x="10" y="472"/>
                  </a:cubicBezTo>
                  <a:cubicBezTo>
                    <a:pt x="20" y="484"/>
                    <a:pt x="27" y="483"/>
                    <a:pt x="30" y="49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69" name="Freeform 499">
              <a:extLst>
                <a:ext uri="{FF2B5EF4-FFF2-40B4-BE49-F238E27FC236}">
                  <a16:creationId xmlns:a16="http://schemas.microsoft.com/office/drawing/2014/main" id="{B385833C-286E-0541-98D4-26219ED3E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" y="1228"/>
              <a:ext cx="14" cy="15"/>
            </a:xfrm>
            <a:custGeom>
              <a:avLst/>
              <a:gdLst>
                <a:gd name="T0" fmla="*/ 4 w 54"/>
                <a:gd name="T1" fmla="*/ 42 h 58"/>
                <a:gd name="T2" fmla="*/ 14 w 54"/>
                <a:gd name="T3" fmla="*/ 57 h 58"/>
                <a:gd name="T4" fmla="*/ 30 w 54"/>
                <a:gd name="T5" fmla="*/ 50 h 58"/>
                <a:gd name="T6" fmla="*/ 42 w 54"/>
                <a:gd name="T7" fmla="*/ 30 h 58"/>
                <a:gd name="T8" fmla="*/ 50 w 54"/>
                <a:gd name="T9" fmla="*/ 15 h 58"/>
                <a:gd name="T10" fmla="*/ 41 w 54"/>
                <a:gd name="T11" fmla="*/ 9 h 58"/>
                <a:gd name="T12" fmla="*/ 25 w 54"/>
                <a:gd name="T13" fmla="*/ 10 h 58"/>
                <a:gd name="T14" fmla="*/ 18 w 54"/>
                <a:gd name="T15" fmla="*/ 18 h 58"/>
                <a:gd name="T16" fmla="*/ 3 w 54"/>
                <a:gd name="T17" fmla="*/ 31 h 58"/>
                <a:gd name="T18" fmla="*/ 4 w 54"/>
                <a:gd name="T19" fmla="*/ 4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8">
                  <a:moveTo>
                    <a:pt x="4" y="42"/>
                  </a:moveTo>
                  <a:cubicBezTo>
                    <a:pt x="7" y="43"/>
                    <a:pt x="8" y="56"/>
                    <a:pt x="14" y="57"/>
                  </a:cubicBezTo>
                  <a:cubicBezTo>
                    <a:pt x="21" y="58"/>
                    <a:pt x="29" y="54"/>
                    <a:pt x="30" y="50"/>
                  </a:cubicBezTo>
                  <a:cubicBezTo>
                    <a:pt x="31" y="46"/>
                    <a:pt x="32" y="34"/>
                    <a:pt x="42" y="30"/>
                  </a:cubicBezTo>
                  <a:cubicBezTo>
                    <a:pt x="51" y="26"/>
                    <a:pt x="54" y="19"/>
                    <a:pt x="50" y="15"/>
                  </a:cubicBezTo>
                  <a:cubicBezTo>
                    <a:pt x="46" y="11"/>
                    <a:pt x="45" y="14"/>
                    <a:pt x="41" y="9"/>
                  </a:cubicBezTo>
                  <a:cubicBezTo>
                    <a:pt x="38" y="5"/>
                    <a:pt x="26" y="0"/>
                    <a:pt x="25" y="10"/>
                  </a:cubicBezTo>
                  <a:cubicBezTo>
                    <a:pt x="25" y="10"/>
                    <a:pt x="24" y="19"/>
                    <a:pt x="18" y="18"/>
                  </a:cubicBezTo>
                  <a:cubicBezTo>
                    <a:pt x="12" y="17"/>
                    <a:pt x="3" y="26"/>
                    <a:pt x="3" y="31"/>
                  </a:cubicBezTo>
                  <a:cubicBezTo>
                    <a:pt x="2" y="36"/>
                    <a:pt x="0" y="40"/>
                    <a:pt x="4" y="4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0" name="Freeform 500">
              <a:extLst>
                <a:ext uri="{FF2B5EF4-FFF2-40B4-BE49-F238E27FC236}">
                  <a16:creationId xmlns:a16="http://schemas.microsoft.com/office/drawing/2014/main" id="{144F3F87-7C00-D54F-ABEA-02136B128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" y="1219"/>
              <a:ext cx="8" cy="5"/>
            </a:xfrm>
            <a:custGeom>
              <a:avLst/>
              <a:gdLst>
                <a:gd name="T0" fmla="*/ 6 w 31"/>
                <a:gd name="T1" fmla="*/ 1 h 20"/>
                <a:gd name="T2" fmla="*/ 4 w 31"/>
                <a:gd name="T3" fmla="*/ 7 h 20"/>
                <a:gd name="T4" fmla="*/ 20 w 31"/>
                <a:gd name="T5" fmla="*/ 15 h 20"/>
                <a:gd name="T6" fmla="*/ 22 w 31"/>
                <a:gd name="T7" fmla="*/ 2 h 20"/>
                <a:gd name="T8" fmla="*/ 6 w 31"/>
                <a:gd name="T9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6" y="1"/>
                  </a:moveTo>
                  <a:cubicBezTo>
                    <a:pt x="6" y="1"/>
                    <a:pt x="0" y="0"/>
                    <a:pt x="4" y="7"/>
                  </a:cubicBezTo>
                  <a:cubicBezTo>
                    <a:pt x="7" y="14"/>
                    <a:pt x="18" y="20"/>
                    <a:pt x="20" y="15"/>
                  </a:cubicBezTo>
                  <a:cubicBezTo>
                    <a:pt x="21" y="10"/>
                    <a:pt x="31" y="5"/>
                    <a:pt x="22" y="2"/>
                  </a:cubicBezTo>
                  <a:cubicBezTo>
                    <a:pt x="13" y="0"/>
                    <a:pt x="11" y="0"/>
                    <a:pt x="6" y="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1" name="Freeform 501">
              <a:extLst>
                <a:ext uri="{FF2B5EF4-FFF2-40B4-BE49-F238E27FC236}">
                  <a16:creationId xmlns:a16="http://schemas.microsoft.com/office/drawing/2014/main" id="{4B09C127-F0AF-D14F-8278-D8F0D34CE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1236"/>
              <a:ext cx="15" cy="13"/>
            </a:xfrm>
            <a:custGeom>
              <a:avLst/>
              <a:gdLst>
                <a:gd name="T0" fmla="*/ 28 w 59"/>
                <a:gd name="T1" fmla="*/ 7 h 49"/>
                <a:gd name="T2" fmla="*/ 15 w 59"/>
                <a:gd name="T3" fmla="*/ 18 h 49"/>
                <a:gd name="T4" fmla="*/ 7 w 59"/>
                <a:gd name="T5" fmla="*/ 34 h 49"/>
                <a:gd name="T6" fmla="*/ 35 w 59"/>
                <a:gd name="T7" fmla="*/ 41 h 49"/>
                <a:gd name="T8" fmla="*/ 46 w 59"/>
                <a:gd name="T9" fmla="*/ 17 h 49"/>
                <a:gd name="T10" fmla="*/ 28 w 59"/>
                <a:gd name="T11" fmla="*/ 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49">
                  <a:moveTo>
                    <a:pt x="28" y="7"/>
                  </a:moveTo>
                  <a:cubicBezTo>
                    <a:pt x="27" y="8"/>
                    <a:pt x="25" y="14"/>
                    <a:pt x="15" y="18"/>
                  </a:cubicBezTo>
                  <a:cubicBezTo>
                    <a:pt x="4" y="22"/>
                    <a:pt x="0" y="30"/>
                    <a:pt x="7" y="34"/>
                  </a:cubicBezTo>
                  <a:cubicBezTo>
                    <a:pt x="13" y="38"/>
                    <a:pt x="31" y="49"/>
                    <a:pt x="35" y="41"/>
                  </a:cubicBezTo>
                  <a:cubicBezTo>
                    <a:pt x="40" y="32"/>
                    <a:pt x="59" y="20"/>
                    <a:pt x="46" y="17"/>
                  </a:cubicBezTo>
                  <a:cubicBezTo>
                    <a:pt x="34" y="13"/>
                    <a:pt x="32" y="0"/>
                    <a:pt x="28" y="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2" name="Freeform 502">
              <a:extLst>
                <a:ext uri="{FF2B5EF4-FFF2-40B4-BE49-F238E27FC236}">
                  <a16:creationId xmlns:a16="http://schemas.microsoft.com/office/drawing/2014/main" id="{9C013703-3096-6248-864C-714F1589F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963"/>
              <a:ext cx="29" cy="23"/>
            </a:xfrm>
            <a:custGeom>
              <a:avLst/>
              <a:gdLst>
                <a:gd name="T0" fmla="*/ 15 w 114"/>
                <a:gd name="T1" fmla="*/ 82 h 91"/>
                <a:gd name="T2" fmla="*/ 43 w 114"/>
                <a:gd name="T3" fmla="*/ 78 h 91"/>
                <a:gd name="T4" fmla="*/ 51 w 114"/>
                <a:gd name="T5" fmla="*/ 66 h 91"/>
                <a:gd name="T6" fmla="*/ 92 w 114"/>
                <a:gd name="T7" fmla="*/ 70 h 91"/>
                <a:gd name="T8" fmla="*/ 114 w 114"/>
                <a:gd name="T9" fmla="*/ 52 h 91"/>
                <a:gd name="T10" fmla="*/ 101 w 114"/>
                <a:gd name="T11" fmla="*/ 27 h 91"/>
                <a:gd name="T12" fmla="*/ 54 w 114"/>
                <a:gd name="T13" fmla="*/ 12 h 91"/>
                <a:gd name="T14" fmla="*/ 29 w 114"/>
                <a:gd name="T15" fmla="*/ 8 h 91"/>
                <a:gd name="T16" fmla="*/ 12 w 114"/>
                <a:gd name="T17" fmla="*/ 35 h 91"/>
                <a:gd name="T18" fmla="*/ 25 w 114"/>
                <a:gd name="T19" fmla="*/ 63 h 91"/>
                <a:gd name="T20" fmla="*/ 15 w 114"/>
                <a:gd name="T21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91">
                  <a:moveTo>
                    <a:pt x="15" y="82"/>
                  </a:moveTo>
                  <a:cubicBezTo>
                    <a:pt x="30" y="86"/>
                    <a:pt x="46" y="91"/>
                    <a:pt x="43" y="78"/>
                  </a:cubicBezTo>
                  <a:cubicBezTo>
                    <a:pt x="40" y="65"/>
                    <a:pt x="42" y="58"/>
                    <a:pt x="51" y="66"/>
                  </a:cubicBezTo>
                  <a:cubicBezTo>
                    <a:pt x="60" y="73"/>
                    <a:pt x="85" y="75"/>
                    <a:pt x="92" y="70"/>
                  </a:cubicBezTo>
                  <a:cubicBezTo>
                    <a:pt x="98" y="65"/>
                    <a:pt x="114" y="64"/>
                    <a:pt x="114" y="52"/>
                  </a:cubicBezTo>
                  <a:cubicBezTo>
                    <a:pt x="113" y="39"/>
                    <a:pt x="112" y="33"/>
                    <a:pt x="101" y="27"/>
                  </a:cubicBezTo>
                  <a:cubicBezTo>
                    <a:pt x="90" y="21"/>
                    <a:pt x="75" y="10"/>
                    <a:pt x="54" y="12"/>
                  </a:cubicBezTo>
                  <a:cubicBezTo>
                    <a:pt x="54" y="12"/>
                    <a:pt x="35" y="0"/>
                    <a:pt x="29" y="8"/>
                  </a:cubicBezTo>
                  <a:cubicBezTo>
                    <a:pt x="23" y="16"/>
                    <a:pt x="4" y="21"/>
                    <a:pt x="12" y="35"/>
                  </a:cubicBezTo>
                  <a:cubicBezTo>
                    <a:pt x="21" y="48"/>
                    <a:pt x="29" y="58"/>
                    <a:pt x="25" y="63"/>
                  </a:cubicBezTo>
                  <a:cubicBezTo>
                    <a:pt x="21" y="68"/>
                    <a:pt x="0" y="78"/>
                    <a:pt x="15" y="8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3" name="Freeform 503">
              <a:extLst>
                <a:ext uri="{FF2B5EF4-FFF2-40B4-BE49-F238E27FC236}">
                  <a16:creationId xmlns:a16="http://schemas.microsoft.com/office/drawing/2014/main" id="{4D9D53C5-2615-BC47-85E0-42DDF5F9D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0" y="1754"/>
              <a:ext cx="41" cy="24"/>
            </a:xfrm>
            <a:custGeom>
              <a:avLst/>
              <a:gdLst>
                <a:gd name="T0" fmla="*/ 103 w 160"/>
                <a:gd name="T1" fmla="*/ 91 h 94"/>
                <a:gd name="T2" fmla="*/ 127 w 160"/>
                <a:gd name="T3" fmla="*/ 86 h 94"/>
                <a:gd name="T4" fmla="*/ 135 w 160"/>
                <a:gd name="T5" fmla="*/ 72 h 94"/>
                <a:gd name="T6" fmla="*/ 149 w 160"/>
                <a:gd name="T7" fmla="*/ 58 h 94"/>
                <a:gd name="T8" fmla="*/ 159 w 160"/>
                <a:gd name="T9" fmla="*/ 50 h 94"/>
                <a:gd name="T10" fmla="*/ 144 w 160"/>
                <a:gd name="T11" fmla="*/ 47 h 94"/>
                <a:gd name="T12" fmla="*/ 113 w 160"/>
                <a:gd name="T13" fmla="*/ 48 h 94"/>
                <a:gd name="T14" fmla="*/ 72 w 160"/>
                <a:gd name="T15" fmla="*/ 48 h 94"/>
                <a:gd name="T16" fmla="*/ 63 w 160"/>
                <a:gd name="T17" fmla="*/ 40 h 94"/>
                <a:gd name="T18" fmla="*/ 45 w 160"/>
                <a:gd name="T19" fmla="*/ 43 h 94"/>
                <a:gd name="T20" fmla="*/ 36 w 160"/>
                <a:gd name="T21" fmla="*/ 48 h 94"/>
                <a:gd name="T22" fmla="*/ 30 w 160"/>
                <a:gd name="T23" fmla="*/ 32 h 94"/>
                <a:gd name="T24" fmla="*/ 27 w 160"/>
                <a:gd name="T25" fmla="*/ 17 h 94"/>
                <a:gd name="T26" fmla="*/ 15 w 160"/>
                <a:gd name="T27" fmla="*/ 9 h 94"/>
                <a:gd name="T28" fmla="*/ 7 w 160"/>
                <a:gd name="T29" fmla="*/ 25 h 94"/>
                <a:gd name="T30" fmla="*/ 7 w 160"/>
                <a:gd name="T31" fmla="*/ 40 h 94"/>
                <a:gd name="T32" fmla="*/ 18 w 160"/>
                <a:gd name="T33" fmla="*/ 54 h 94"/>
                <a:gd name="T34" fmla="*/ 40 w 160"/>
                <a:gd name="T35" fmla="*/ 64 h 94"/>
                <a:gd name="T36" fmla="*/ 53 w 160"/>
                <a:gd name="T37" fmla="*/ 75 h 94"/>
                <a:gd name="T38" fmla="*/ 62 w 160"/>
                <a:gd name="T39" fmla="*/ 80 h 94"/>
                <a:gd name="T40" fmla="*/ 77 w 160"/>
                <a:gd name="T41" fmla="*/ 81 h 94"/>
                <a:gd name="T42" fmla="*/ 83 w 160"/>
                <a:gd name="T43" fmla="*/ 74 h 94"/>
                <a:gd name="T44" fmla="*/ 95 w 160"/>
                <a:gd name="T45" fmla="*/ 81 h 94"/>
                <a:gd name="T46" fmla="*/ 103 w 160"/>
                <a:gd name="T47" fmla="*/ 9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" h="94">
                  <a:moveTo>
                    <a:pt x="103" y="91"/>
                  </a:moveTo>
                  <a:cubicBezTo>
                    <a:pt x="109" y="91"/>
                    <a:pt x="127" y="94"/>
                    <a:pt x="127" y="86"/>
                  </a:cubicBezTo>
                  <a:cubicBezTo>
                    <a:pt x="128" y="79"/>
                    <a:pt x="130" y="74"/>
                    <a:pt x="135" y="72"/>
                  </a:cubicBezTo>
                  <a:cubicBezTo>
                    <a:pt x="139" y="70"/>
                    <a:pt x="141" y="58"/>
                    <a:pt x="149" y="58"/>
                  </a:cubicBezTo>
                  <a:cubicBezTo>
                    <a:pt x="157" y="58"/>
                    <a:pt x="160" y="56"/>
                    <a:pt x="159" y="50"/>
                  </a:cubicBezTo>
                  <a:cubicBezTo>
                    <a:pt x="159" y="44"/>
                    <a:pt x="155" y="48"/>
                    <a:pt x="144" y="47"/>
                  </a:cubicBezTo>
                  <a:cubicBezTo>
                    <a:pt x="132" y="46"/>
                    <a:pt x="127" y="51"/>
                    <a:pt x="113" y="48"/>
                  </a:cubicBezTo>
                  <a:cubicBezTo>
                    <a:pt x="98" y="46"/>
                    <a:pt x="76" y="53"/>
                    <a:pt x="72" y="48"/>
                  </a:cubicBezTo>
                  <a:cubicBezTo>
                    <a:pt x="69" y="42"/>
                    <a:pt x="70" y="41"/>
                    <a:pt x="63" y="40"/>
                  </a:cubicBezTo>
                  <a:cubicBezTo>
                    <a:pt x="55" y="40"/>
                    <a:pt x="46" y="36"/>
                    <a:pt x="45" y="43"/>
                  </a:cubicBezTo>
                  <a:cubicBezTo>
                    <a:pt x="44" y="51"/>
                    <a:pt x="38" y="52"/>
                    <a:pt x="36" y="48"/>
                  </a:cubicBezTo>
                  <a:cubicBezTo>
                    <a:pt x="34" y="43"/>
                    <a:pt x="34" y="34"/>
                    <a:pt x="30" y="32"/>
                  </a:cubicBezTo>
                  <a:cubicBezTo>
                    <a:pt x="26" y="30"/>
                    <a:pt x="24" y="22"/>
                    <a:pt x="27" y="17"/>
                  </a:cubicBezTo>
                  <a:cubicBezTo>
                    <a:pt x="30" y="13"/>
                    <a:pt x="22" y="0"/>
                    <a:pt x="15" y="9"/>
                  </a:cubicBezTo>
                  <a:cubicBezTo>
                    <a:pt x="15" y="9"/>
                    <a:pt x="14" y="25"/>
                    <a:pt x="7" y="25"/>
                  </a:cubicBezTo>
                  <a:cubicBezTo>
                    <a:pt x="0" y="24"/>
                    <a:pt x="1" y="37"/>
                    <a:pt x="7" y="40"/>
                  </a:cubicBezTo>
                  <a:cubicBezTo>
                    <a:pt x="13" y="43"/>
                    <a:pt x="11" y="52"/>
                    <a:pt x="18" y="54"/>
                  </a:cubicBezTo>
                  <a:cubicBezTo>
                    <a:pt x="26" y="55"/>
                    <a:pt x="36" y="60"/>
                    <a:pt x="40" y="64"/>
                  </a:cubicBezTo>
                  <a:cubicBezTo>
                    <a:pt x="43" y="69"/>
                    <a:pt x="47" y="75"/>
                    <a:pt x="53" y="75"/>
                  </a:cubicBezTo>
                  <a:cubicBezTo>
                    <a:pt x="58" y="75"/>
                    <a:pt x="61" y="77"/>
                    <a:pt x="62" y="80"/>
                  </a:cubicBezTo>
                  <a:cubicBezTo>
                    <a:pt x="63" y="82"/>
                    <a:pt x="77" y="87"/>
                    <a:pt x="77" y="81"/>
                  </a:cubicBezTo>
                  <a:cubicBezTo>
                    <a:pt x="77" y="75"/>
                    <a:pt x="79" y="74"/>
                    <a:pt x="83" y="74"/>
                  </a:cubicBezTo>
                  <a:cubicBezTo>
                    <a:pt x="87" y="74"/>
                    <a:pt x="95" y="74"/>
                    <a:pt x="95" y="81"/>
                  </a:cubicBezTo>
                  <a:cubicBezTo>
                    <a:pt x="94" y="89"/>
                    <a:pt x="97" y="90"/>
                    <a:pt x="103" y="9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4" name="Freeform 504">
              <a:extLst>
                <a:ext uri="{FF2B5EF4-FFF2-40B4-BE49-F238E27FC236}">
                  <a16:creationId xmlns:a16="http://schemas.microsoft.com/office/drawing/2014/main" id="{B98D6009-BEC4-6D4F-BD18-A5B1D6646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8" y="1741"/>
              <a:ext cx="14" cy="9"/>
            </a:xfrm>
            <a:custGeom>
              <a:avLst/>
              <a:gdLst>
                <a:gd name="T0" fmla="*/ 31 w 58"/>
                <a:gd name="T1" fmla="*/ 26 h 37"/>
                <a:gd name="T2" fmla="*/ 50 w 58"/>
                <a:gd name="T3" fmla="*/ 10 h 37"/>
                <a:gd name="T4" fmla="*/ 58 w 58"/>
                <a:gd name="T5" fmla="*/ 5 h 37"/>
                <a:gd name="T6" fmla="*/ 49 w 58"/>
                <a:gd name="T7" fmla="*/ 1 h 37"/>
                <a:gd name="T8" fmla="*/ 30 w 58"/>
                <a:gd name="T9" fmla="*/ 9 h 37"/>
                <a:gd name="T10" fmla="*/ 11 w 58"/>
                <a:gd name="T11" fmla="*/ 23 h 37"/>
                <a:gd name="T12" fmla="*/ 9 w 58"/>
                <a:gd name="T13" fmla="*/ 34 h 37"/>
                <a:gd name="T14" fmla="*/ 31 w 58"/>
                <a:gd name="T15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7">
                  <a:moveTo>
                    <a:pt x="31" y="26"/>
                  </a:moveTo>
                  <a:cubicBezTo>
                    <a:pt x="36" y="18"/>
                    <a:pt x="43" y="10"/>
                    <a:pt x="50" y="10"/>
                  </a:cubicBezTo>
                  <a:cubicBezTo>
                    <a:pt x="56" y="10"/>
                    <a:pt x="58" y="7"/>
                    <a:pt x="58" y="5"/>
                  </a:cubicBezTo>
                  <a:cubicBezTo>
                    <a:pt x="58" y="2"/>
                    <a:pt x="55" y="0"/>
                    <a:pt x="49" y="1"/>
                  </a:cubicBezTo>
                  <a:cubicBezTo>
                    <a:pt x="43" y="2"/>
                    <a:pt x="37" y="1"/>
                    <a:pt x="30" y="9"/>
                  </a:cubicBezTo>
                  <a:cubicBezTo>
                    <a:pt x="30" y="9"/>
                    <a:pt x="19" y="20"/>
                    <a:pt x="11" y="23"/>
                  </a:cubicBezTo>
                  <a:cubicBezTo>
                    <a:pt x="3" y="26"/>
                    <a:pt x="0" y="30"/>
                    <a:pt x="9" y="34"/>
                  </a:cubicBezTo>
                  <a:cubicBezTo>
                    <a:pt x="18" y="37"/>
                    <a:pt x="26" y="34"/>
                    <a:pt x="31" y="2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5" name="Freeform 505">
              <a:extLst>
                <a:ext uri="{FF2B5EF4-FFF2-40B4-BE49-F238E27FC236}">
                  <a16:creationId xmlns:a16="http://schemas.microsoft.com/office/drawing/2014/main" id="{930C76BF-CCB8-1A4F-8D43-C79309920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" y="1693"/>
              <a:ext cx="51" cy="22"/>
            </a:xfrm>
            <a:custGeom>
              <a:avLst/>
              <a:gdLst>
                <a:gd name="T0" fmla="*/ 89 w 201"/>
                <a:gd name="T1" fmla="*/ 64 h 88"/>
                <a:gd name="T2" fmla="*/ 124 w 201"/>
                <a:gd name="T3" fmla="*/ 76 h 88"/>
                <a:gd name="T4" fmla="*/ 148 w 201"/>
                <a:gd name="T5" fmla="*/ 81 h 88"/>
                <a:gd name="T6" fmla="*/ 172 w 201"/>
                <a:gd name="T7" fmla="*/ 86 h 88"/>
                <a:gd name="T8" fmla="*/ 190 w 201"/>
                <a:gd name="T9" fmla="*/ 81 h 88"/>
                <a:gd name="T10" fmla="*/ 187 w 201"/>
                <a:gd name="T11" fmla="*/ 61 h 88"/>
                <a:gd name="T12" fmla="*/ 167 w 201"/>
                <a:gd name="T13" fmla="*/ 51 h 88"/>
                <a:gd name="T14" fmla="*/ 139 w 201"/>
                <a:gd name="T15" fmla="*/ 35 h 88"/>
                <a:gd name="T16" fmla="*/ 121 w 201"/>
                <a:gd name="T17" fmla="*/ 25 h 88"/>
                <a:gd name="T18" fmla="*/ 99 w 201"/>
                <a:gd name="T19" fmla="*/ 17 h 88"/>
                <a:gd name="T20" fmla="*/ 70 w 201"/>
                <a:gd name="T21" fmla="*/ 10 h 88"/>
                <a:gd name="T22" fmla="*/ 37 w 201"/>
                <a:gd name="T23" fmla="*/ 3 h 88"/>
                <a:gd name="T24" fmla="*/ 26 w 201"/>
                <a:gd name="T25" fmla="*/ 6 h 88"/>
                <a:gd name="T26" fmla="*/ 12 w 201"/>
                <a:gd name="T27" fmla="*/ 17 h 88"/>
                <a:gd name="T28" fmla="*/ 41 w 201"/>
                <a:gd name="T29" fmla="*/ 31 h 88"/>
                <a:gd name="T30" fmla="*/ 69 w 201"/>
                <a:gd name="T31" fmla="*/ 48 h 88"/>
                <a:gd name="T32" fmla="*/ 89 w 201"/>
                <a:gd name="T33" fmla="*/ 6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1" h="88">
                  <a:moveTo>
                    <a:pt x="89" y="64"/>
                  </a:moveTo>
                  <a:cubicBezTo>
                    <a:pt x="100" y="67"/>
                    <a:pt x="113" y="74"/>
                    <a:pt x="124" y="76"/>
                  </a:cubicBezTo>
                  <a:cubicBezTo>
                    <a:pt x="135" y="78"/>
                    <a:pt x="141" y="76"/>
                    <a:pt x="148" y="81"/>
                  </a:cubicBezTo>
                  <a:cubicBezTo>
                    <a:pt x="155" y="86"/>
                    <a:pt x="165" y="86"/>
                    <a:pt x="172" y="86"/>
                  </a:cubicBezTo>
                  <a:cubicBezTo>
                    <a:pt x="179" y="86"/>
                    <a:pt x="190" y="88"/>
                    <a:pt x="190" y="81"/>
                  </a:cubicBezTo>
                  <a:cubicBezTo>
                    <a:pt x="190" y="74"/>
                    <a:pt x="201" y="64"/>
                    <a:pt x="187" y="61"/>
                  </a:cubicBezTo>
                  <a:cubicBezTo>
                    <a:pt x="173" y="57"/>
                    <a:pt x="178" y="54"/>
                    <a:pt x="167" y="51"/>
                  </a:cubicBezTo>
                  <a:cubicBezTo>
                    <a:pt x="157" y="47"/>
                    <a:pt x="150" y="37"/>
                    <a:pt x="139" y="35"/>
                  </a:cubicBezTo>
                  <a:cubicBezTo>
                    <a:pt x="128" y="34"/>
                    <a:pt x="132" y="28"/>
                    <a:pt x="121" y="25"/>
                  </a:cubicBezTo>
                  <a:cubicBezTo>
                    <a:pt x="110" y="22"/>
                    <a:pt x="110" y="19"/>
                    <a:pt x="99" y="17"/>
                  </a:cubicBezTo>
                  <a:cubicBezTo>
                    <a:pt x="88" y="15"/>
                    <a:pt x="89" y="11"/>
                    <a:pt x="70" y="10"/>
                  </a:cubicBezTo>
                  <a:cubicBezTo>
                    <a:pt x="51" y="9"/>
                    <a:pt x="54" y="11"/>
                    <a:pt x="37" y="3"/>
                  </a:cubicBezTo>
                  <a:cubicBezTo>
                    <a:pt x="37" y="3"/>
                    <a:pt x="31" y="0"/>
                    <a:pt x="26" y="6"/>
                  </a:cubicBezTo>
                  <a:cubicBezTo>
                    <a:pt x="20" y="12"/>
                    <a:pt x="0" y="11"/>
                    <a:pt x="12" y="17"/>
                  </a:cubicBezTo>
                  <a:cubicBezTo>
                    <a:pt x="24" y="23"/>
                    <a:pt x="33" y="31"/>
                    <a:pt x="41" y="31"/>
                  </a:cubicBezTo>
                  <a:cubicBezTo>
                    <a:pt x="49" y="31"/>
                    <a:pt x="63" y="43"/>
                    <a:pt x="69" y="48"/>
                  </a:cubicBezTo>
                  <a:cubicBezTo>
                    <a:pt x="74" y="53"/>
                    <a:pt x="78" y="60"/>
                    <a:pt x="89" y="6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6" name="Freeform 506">
              <a:extLst>
                <a:ext uri="{FF2B5EF4-FFF2-40B4-BE49-F238E27FC236}">
                  <a16:creationId xmlns:a16="http://schemas.microsoft.com/office/drawing/2014/main" id="{66BFEE75-4393-5F45-B07E-ECC5F97C0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" y="941"/>
              <a:ext cx="9" cy="7"/>
            </a:xfrm>
            <a:custGeom>
              <a:avLst/>
              <a:gdLst>
                <a:gd name="T0" fmla="*/ 15 w 35"/>
                <a:gd name="T1" fmla="*/ 19 h 28"/>
                <a:gd name="T2" fmla="*/ 28 w 35"/>
                <a:gd name="T3" fmla="*/ 22 h 28"/>
                <a:gd name="T4" fmla="*/ 24 w 35"/>
                <a:gd name="T5" fmla="*/ 7 h 28"/>
                <a:gd name="T6" fmla="*/ 6 w 35"/>
                <a:gd name="T7" fmla="*/ 4 h 28"/>
                <a:gd name="T8" fmla="*/ 15 w 35"/>
                <a:gd name="T9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8">
                  <a:moveTo>
                    <a:pt x="15" y="19"/>
                  </a:moveTo>
                  <a:cubicBezTo>
                    <a:pt x="18" y="23"/>
                    <a:pt x="23" y="28"/>
                    <a:pt x="28" y="22"/>
                  </a:cubicBezTo>
                  <a:cubicBezTo>
                    <a:pt x="33" y="15"/>
                    <a:pt x="35" y="14"/>
                    <a:pt x="24" y="7"/>
                  </a:cubicBezTo>
                  <a:cubicBezTo>
                    <a:pt x="24" y="7"/>
                    <a:pt x="12" y="0"/>
                    <a:pt x="6" y="4"/>
                  </a:cubicBezTo>
                  <a:cubicBezTo>
                    <a:pt x="0" y="9"/>
                    <a:pt x="12" y="14"/>
                    <a:pt x="15" y="1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7" name="Freeform 507">
              <a:extLst>
                <a:ext uri="{FF2B5EF4-FFF2-40B4-BE49-F238E27FC236}">
                  <a16:creationId xmlns:a16="http://schemas.microsoft.com/office/drawing/2014/main" id="{8447003B-CE4D-DA44-8DFC-9AD16BA18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" y="990"/>
              <a:ext cx="16" cy="15"/>
            </a:xfrm>
            <a:custGeom>
              <a:avLst/>
              <a:gdLst>
                <a:gd name="T0" fmla="*/ 55 w 64"/>
                <a:gd name="T1" fmla="*/ 21 h 62"/>
                <a:gd name="T2" fmla="*/ 47 w 64"/>
                <a:gd name="T3" fmla="*/ 11 h 62"/>
                <a:gd name="T4" fmla="*/ 33 w 64"/>
                <a:gd name="T5" fmla="*/ 5 h 62"/>
                <a:gd name="T6" fmla="*/ 14 w 64"/>
                <a:gd name="T7" fmla="*/ 15 h 62"/>
                <a:gd name="T8" fmla="*/ 5 w 64"/>
                <a:gd name="T9" fmla="*/ 35 h 62"/>
                <a:gd name="T10" fmla="*/ 20 w 64"/>
                <a:gd name="T11" fmla="*/ 48 h 62"/>
                <a:gd name="T12" fmla="*/ 45 w 64"/>
                <a:gd name="T13" fmla="*/ 59 h 62"/>
                <a:gd name="T14" fmla="*/ 54 w 64"/>
                <a:gd name="T15" fmla="*/ 51 h 62"/>
                <a:gd name="T16" fmla="*/ 59 w 64"/>
                <a:gd name="T17" fmla="*/ 34 h 62"/>
                <a:gd name="T18" fmla="*/ 63 w 64"/>
                <a:gd name="T19" fmla="*/ 28 h 62"/>
                <a:gd name="T20" fmla="*/ 55 w 64"/>
                <a:gd name="T21" fmla="*/ 2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62">
                  <a:moveTo>
                    <a:pt x="55" y="21"/>
                  </a:moveTo>
                  <a:cubicBezTo>
                    <a:pt x="55" y="17"/>
                    <a:pt x="52" y="15"/>
                    <a:pt x="47" y="11"/>
                  </a:cubicBezTo>
                  <a:cubicBezTo>
                    <a:pt x="47" y="11"/>
                    <a:pt x="38" y="0"/>
                    <a:pt x="33" y="5"/>
                  </a:cubicBezTo>
                  <a:cubicBezTo>
                    <a:pt x="28" y="10"/>
                    <a:pt x="23" y="14"/>
                    <a:pt x="14" y="15"/>
                  </a:cubicBezTo>
                  <a:cubicBezTo>
                    <a:pt x="5" y="16"/>
                    <a:pt x="0" y="29"/>
                    <a:pt x="5" y="35"/>
                  </a:cubicBezTo>
                  <a:cubicBezTo>
                    <a:pt x="10" y="42"/>
                    <a:pt x="17" y="44"/>
                    <a:pt x="20" y="48"/>
                  </a:cubicBezTo>
                  <a:cubicBezTo>
                    <a:pt x="23" y="52"/>
                    <a:pt x="41" y="59"/>
                    <a:pt x="45" y="59"/>
                  </a:cubicBezTo>
                  <a:cubicBezTo>
                    <a:pt x="49" y="59"/>
                    <a:pt x="53" y="62"/>
                    <a:pt x="54" y="51"/>
                  </a:cubicBezTo>
                  <a:cubicBezTo>
                    <a:pt x="56" y="40"/>
                    <a:pt x="54" y="36"/>
                    <a:pt x="59" y="34"/>
                  </a:cubicBezTo>
                  <a:cubicBezTo>
                    <a:pt x="64" y="32"/>
                    <a:pt x="63" y="32"/>
                    <a:pt x="63" y="28"/>
                  </a:cubicBezTo>
                  <a:cubicBezTo>
                    <a:pt x="62" y="24"/>
                    <a:pt x="55" y="25"/>
                    <a:pt x="55" y="2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8" name="Freeform 508">
              <a:extLst>
                <a:ext uri="{FF2B5EF4-FFF2-40B4-BE49-F238E27FC236}">
                  <a16:creationId xmlns:a16="http://schemas.microsoft.com/office/drawing/2014/main" id="{1FB2A758-6E1F-4C48-9EDD-B03F0BC1B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" y="1604"/>
              <a:ext cx="36" cy="48"/>
            </a:xfrm>
            <a:custGeom>
              <a:avLst/>
              <a:gdLst>
                <a:gd name="T0" fmla="*/ 114 w 142"/>
                <a:gd name="T1" fmla="*/ 138 h 187"/>
                <a:gd name="T2" fmla="*/ 110 w 142"/>
                <a:gd name="T3" fmla="*/ 122 h 187"/>
                <a:gd name="T4" fmla="*/ 104 w 142"/>
                <a:gd name="T5" fmla="*/ 109 h 187"/>
                <a:gd name="T6" fmla="*/ 100 w 142"/>
                <a:gd name="T7" fmla="*/ 92 h 187"/>
                <a:gd name="T8" fmla="*/ 92 w 142"/>
                <a:gd name="T9" fmla="*/ 77 h 187"/>
                <a:gd name="T10" fmla="*/ 90 w 142"/>
                <a:gd name="T11" fmla="*/ 43 h 187"/>
                <a:gd name="T12" fmla="*/ 100 w 142"/>
                <a:gd name="T13" fmla="*/ 24 h 187"/>
                <a:gd name="T14" fmla="*/ 105 w 142"/>
                <a:gd name="T15" fmla="*/ 14 h 187"/>
                <a:gd name="T16" fmla="*/ 85 w 142"/>
                <a:gd name="T17" fmla="*/ 6 h 187"/>
                <a:gd name="T18" fmla="*/ 69 w 142"/>
                <a:gd name="T19" fmla="*/ 13 h 187"/>
                <a:gd name="T20" fmla="*/ 60 w 142"/>
                <a:gd name="T21" fmla="*/ 5 h 187"/>
                <a:gd name="T22" fmla="*/ 28 w 142"/>
                <a:gd name="T23" fmla="*/ 3 h 187"/>
                <a:gd name="T24" fmla="*/ 13 w 142"/>
                <a:gd name="T25" fmla="*/ 6 h 187"/>
                <a:gd name="T26" fmla="*/ 1 w 142"/>
                <a:gd name="T27" fmla="*/ 26 h 187"/>
                <a:gd name="T28" fmla="*/ 19 w 142"/>
                <a:gd name="T29" fmla="*/ 54 h 187"/>
                <a:gd name="T30" fmla="*/ 35 w 142"/>
                <a:gd name="T31" fmla="*/ 76 h 187"/>
                <a:gd name="T32" fmla="*/ 54 w 142"/>
                <a:gd name="T33" fmla="*/ 108 h 187"/>
                <a:gd name="T34" fmla="*/ 81 w 142"/>
                <a:gd name="T35" fmla="*/ 137 h 187"/>
                <a:gd name="T36" fmla="*/ 102 w 142"/>
                <a:gd name="T37" fmla="*/ 159 h 187"/>
                <a:gd name="T38" fmla="*/ 123 w 142"/>
                <a:gd name="T39" fmla="*/ 178 h 187"/>
                <a:gd name="T40" fmla="*/ 130 w 142"/>
                <a:gd name="T41" fmla="*/ 166 h 187"/>
                <a:gd name="T42" fmla="*/ 114 w 142"/>
                <a:gd name="T43" fmla="*/ 13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2" h="187">
                  <a:moveTo>
                    <a:pt x="114" y="138"/>
                  </a:moveTo>
                  <a:cubicBezTo>
                    <a:pt x="113" y="127"/>
                    <a:pt x="114" y="126"/>
                    <a:pt x="110" y="122"/>
                  </a:cubicBezTo>
                  <a:cubicBezTo>
                    <a:pt x="107" y="118"/>
                    <a:pt x="104" y="119"/>
                    <a:pt x="104" y="109"/>
                  </a:cubicBezTo>
                  <a:cubicBezTo>
                    <a:pt x="105" y="99"/>
                    <a:pt x="105" y="98"/>
                    <a:pt x="100" y="92"/>
                  </a:cubicBezTo>
                  <a:cubicBezTo>
                    <a:pt x="95" y="85"/>
                    <a:pt x="95" y="81"/>
                    <a:pt x="92" y="77"/>
                  </a:cubicBezTo>
                  <a:cubicBezTo>
                    <a:pt x="88" y="73"/>
                    <a:pt x="84" y="50"/>
                    <a:pt x="90" y="43"/>
                  </a:cubicBezTo>
                  <a:cubicBezTo>
                    <a:pt x="95" y="37"/>
                    <a:pt x="95" y="28"/>
                    <a:pt x="100" y="24"/>
                  </a:cubicBezTo>
                  <a:cubicBezTo>
                    <a:pt x="105" y="20"/>
                    <a:pt x="105" y="20"/>
                    <a:pt x="105" y="14"/>
                  </a:cubicBezTo>
                  <a:cubicBezTo>
                    <a:pt x="105" y="8"/>
                    <a:pt x="98" y="0"/>
                    <a:pt x="85" y="6"/>
                  </a:cubicBezTo>
                  <a:cubicBezTo>
                    <a:pt x="73" y="12"/>
                    <a:pt x="76" y="15"/>
                    <a:pt x="69" y="13"/>
                  </a:cubicBezTo>
                  <a:cubicBezTo>
                    <a:pt x="62" y="11"/>
                    <a:pt x="65" y="5"/>
                    <a:pt x="60" y="5"/>
                  </a:cubicBezTo>
                  <a:cubicBezTo>
                    <a:pt x="56" y="5"/>
                    <a:pt x="40" y="4"/>
                    <a:pt x="28" y="3"/>
                  </a:cubicBezTo>
                  <a:cubicBezTo>
                    <a:pt x="28" y="3"/>
                    <a:pt x="15" y="1"/>
                    <a:pt x="13" y="6"/>
                  </a:cubicBezTo>
                  <a:cubicBezTo>
                    <a:pt x="11" y="12"/>
                    <a:pt x="0" y="16"/>
                    <a:pt x="1" y="26"/>
                  </a:cubicBezTo>
                  <a:cubicBezTo>
                    <a:pt x="2" y="36"/>
                    <a:pt x="13" y="43"/>
                    <a:pt x="19" y="54"/>
                  </a:cubicBezTo>
                  <a:cubicBezTo>
                    <a:pt x="26" y="65"/>
                    <a:pt x="28" y="64"/>
                    <a:pt x="35" y="76"/>
                  </a:cubicBezTo>
                  <a:cubicBezTo>
                    <a:pt x="41" y="88"/>
                    <a:pt x="47" y="98"/>
                    <a:pt x="54" y="108"/>
                  </a:cubicBezTo>
                  <a:cubicBezTo>
                    <a:pt x="61" y="118"/>
                    <a:pt x="72" y="130"/>
                    <a:pt x="81" y="137"/>
                  </a:cubicBezTo>
                  <a:cubicBezTo>
                    <a:pt x="90" y="145"/>
                    <a:pt x="95" y="153"/>
                    <a:pt x="102" y="159"/>
                  </a:cubicBezTo>
                  <a:cubicBezTo>
                    <a:pt x="110" y="165"/>
                    <a:pt x="119" y="174"/>
                    <a:pt x="123" y="178"/>
                  </a:cubicBezTo>
                  <a:cubicBezTo>
                    <a:pt x="128" y="183"/>
                    <a:pt x="142" y="187"/>
                    <a:pt x="130" y="166"/>
                  </a:cubicBezTo>
                  <a:cubicBezTo>
                    <a:pt x="117" y="144"/>
                    <a:pt x="114" y="149"/>
                    <a:pt x="114" y="13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79" name="Freeform 509">
              <a:extLst>
                <a:ext uri="{FF2B5EF4-FFF2-40B4-BE49-F238E27FC236}">
                  <a16:creationId xmlns:a16="http://schemas.microsoft.com/office/drawing/2014/main" id="{4FA1D8E2-42D5-F246-8056-66E04E164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" y="1079"/>
              <a:ext cx="1378" cy="779"/>
            </a:xfrm>
            <a:custGeom>
              <a:avLst/>
              <a:gdLst>
                <a:gd name="T0" fmla="*/ 5315 w 5449"/>
                <a:gd name="T1" fmla="*/ 2070 h 3078"/>
                <a:gd name="T2" fmla="*/ 5194 w 5449"/>
                <a:gd name="T3" fmla="*/ 1985 h 3078"/>
                <a:gd name="T4" fmla="*/ 5040 w 5449"/>
                <a:gd name="T5" fmla="*/ 1742 h 3078"/>
                <a:gd name="T6" fmla="*/ 4791 w 5449"/>
                <a:gd name="T7" fmla="*/ 1647 h 3078"/>
                <a:gd name="T8" fmla="*/ 4568 w 5449"/>
                <a:gd name="T9" fmla="*/ 1595 h 3078"/>
                <a:gd name="T10" fmla="*/ 4328 w 5449"/>
                <a:gd name="T11" fmla="*/ 1315 h 3078"/>
                <a:gd name="T12" fmla="*/ 4030 w 5449"/>
                <a:gd name="T13" fmla="*/ 1468 h 3078"/>
                <a:gd name="T14" fmla="*/ 3963 w 5449"/>
                <a:gd name="T15" fmla="*/ 2006 h 3078"/>
                <a:gd name="T16" fmla="*/ 3934 w 5449"/>
                <a:gd name="T17" fmla="*/ 2357 h 3078"/>
                <a:gd name="T18" fmla="*/ 3762 w 5449"/>
                <a:gd name="T19" fmla="*/ 2019 h 3078"/>
                <a:gd name="T20" fmla="*/ 3239 w 5449"/>
                <a:gd name="T21" fmla="*/ 1806 h 3078"/>
                <a:gd name="T22" fmla="*/ 3053 w 5449"/>
                <a:gd name="T23" fmla="*/ 1367 h 3078"/>
                <a:gd name="T24" fmla="*/ 3032 w 5449"/>
                <a:gd name="T25" fmla="*/ 1141 h 3078"/>
                <a:gd name="T26" fmla="*/ 3260 w 5449"/>
                <a:gd name="T27" fmla="*/ 950 h 3078"/>
                <a:gd name="T28" fmla="*/ 3647 w 5449"/>
                <a:gd name="T29" fmla="*/ 936 h 3078"/>
                <a:gd name="T30" fmla="*/ 3759 w 5449"/>
                <a:gd name="T31" fmla="*/ 725 h 3078"/>
                <a:gd name="T32" fmla="*/ 3565 w 5449"/>
                <a:gd name="T33" fmla="*/ 520 h 3078"/>
                <a:gd name="T34" fmla="*/ 3465 w 5449"/>
                <a:gd name="T35" fmla="*/ 789 h 3078"/>
                <a:gd name="T36" fmla="*/ 3225 w 5449"/>
                <a:gd name="T37" fmla="*/ 663 h 3078"/>
                <a:gd name="T38" fmla="*/ 3056 w 5449"/>
                <a:gd name="T39" fmla="*/ 340 h 3078"/>
                <a:gd name="T40" fmla="*/ 3185 w 5449"/>
                <a:gd name="T41" fmla="*/ 20 h 3078"/>
                <a:gd name="T42" fmla="*/ 2912 w 5449"/>
                <a:gd name="T43" fmla="*/ 291 h 3078"/>
                <a:gd name="T44" fmla="*/ 2966 w 5449"/>
                <a:gd name="T45" fmla="*/ 554 h 3078"/>
                <a:gd name="T46" fmla="*/ 2916 w 5449"/>
                <a:gd name="T47" fmla="*/ 794 h 3078"/>
                <a:gd name="T48" fmla="*/ 2935 w 5449"/>
                <a:gd name="T49" fmla="*/ 635 h 3078"/>
                <a:gd name="T50" fmla="*/ 2648 w 5449"/>
                <a:gd name="T51" fmla="*/ 607 h 3078"/>
                <a:gd name="T52" fmla="*/ 2506 w 5449"/>
                <a:gd name="T53" fmla="*/ 754 h 3078"/>
                <a:gd name="T54" fmla="*/ 2108 w 5449"/>
                <a:gd name="T55" fmla="*/ 710 h 3078"/>
                <a:gd name="T56" fmla="*/ 2129 w 5449"/>
                <a:gd name="T57" fmla="*/ 836 h 3078"/>
                <a:gd name="T58" fmla="*/ 1919 w 5449"/>
                <a:gd name="T59" fmla="*/ 737 h 3078"/>
                <a:gd name="T60" fmla="*/ 1549 w 5449"/>
                <a:gd name="T61" fmla="*/ 626 h 3078"/>
                <a:gd name="T62" fmla="*/ 1008 w 5449"/>
                <a:gd name="T63" fmla="*/ 499 h 3078"/>
                <a:gd name="T64" fmla="*/ 739 w 5449"/>
                <a:gd name="T65" fmla="*/ 523 h 3078"/>
                <a:gd name="T66" fmla="*/ 689 w 5449"/>
                <a:gd name="T67" fmla="*/ 522 h 3078"/>
                <a:gd name="T68" fmla="*/ 365 w 5449"/>
                <a:gd name="T69" fmla="*/ 566 h 3078"/>
                <a:gd name="T70" fmla="*/ 26 w 5449"/>
                <a:gd name="T71" fmla="*/ 1526 h 3078"/>
                <a:gd name="T72" fmla="*/ 566 w 5449"/>
                <a:gd name="T73" fmla="*/ 1814 h 3078"/>
                <a:gd name="T74" fmla="*/ 765 w 5449"/>
                <a:gd name="T75" fmla="*/ 2180 h 3078"/>
                <a:gd name="T76" fmla="*/ 883 w 5449"/>
                <a:gd name="T77" fmla="*/ 2360 h 3078"/>
                <a:gd name="T78" fmla="*/ 989 w 5449"/>
                <a:gd name="T79" fmla="*/ 2522 h 3078"/>
                <a:gd name="T80" fmla="*/ 1027 w 5449"/>
                <a:gd name="T81" fmla="*/ 2442 h 3078"/>
                <a:gd name="T82" fmla="*/ 2910 w 5449"/>
                <a:gd name="T83" fmla="*/ 2520 h 3078"/>
                <a:gd name="T84" fmla="*/ 3313 w 5449"/>
                <a:gd name="T85" fmla="*/ 2566 h 3078"/>
                <a:gd name="T86" fmla="*/ 3594 w 5449"/>
                <a:gd name="T87" fmla="*/ 2642 h 3078"/>
                <a:gd name="T88" fmla="*/ 3867 w 5449"/>
                <a:gd name="T89" fmla="*/ 2864 h 3078"/>
                <a:gd name="T90" fmla="*/ 3758 w 5449"/>
                <a:gd name="T91" fmla="*/ 3051 h 3078"/>
                <a:gd name="T92" fmla="*/ 4055 w 5449"/>
                <a:gd name="T93" fmla="*/ 2917 h 3078"/>
                <a:gd name="T94" fmla="*/ 4707 w 5449"/>
                <a:gd name="T95" fmla="*/ 2820 h 3078"/>
                <a:gd name="T96" fmla="*/ 4847 w 5449"/>
                <a:gd name="T97" fmla="*/ 2938 h 3078"/>
                <a:gd name="T98" fmla="*/ 5157 w 5449"/>
                <a:gd name="T99" fmla="*/ 2691 h 3078"/>
                <a:gd name="T100" fmla="*/ 4816 w 5449"/>
                <a:gd name="T101" fmla="*/ 2620 h 3078"/>
                <a:gd name="T102" fmla="*/ 4549 w 5449"/>
                <a:gd name="T103" fmla="*/ 2605 h 3078"/>
                <a:gd name="T104" fmla="*/ 1352 w 5449"/>
                <a:gd name="T105" fmla="*/ 974 h 3078"/>
                <a:gd name="T106" fmla="*/ 1172 w 5449"/>
                <a:gd name="T107" fmla="*/ 1012 h 3078"/>
                <a:gd name="T108" fmla="*/ 1051 w 5449"/>
                <a:gd name="T109" fmla="*/ 927 h 3078"/>
                <a:gd name="T110" fmla="*/ 1359 w 5449"/>
                <a:gd name="T111" fmla="*/ 865 h 3078"/>
                <a:gd name="T112" fmla="*/ 1914 w 5449"/>
                <a:gd name="T113" fmla="*/ 1302 h 3078"/>
                <a:gd name="T114" fmla="*/ 1559 w 5449"/>
                <a:gd name="T115" fmla="*/ 1425 h 3078"/>
                <a:gd name="T116" fmla="*/ 1851 w 5449"/>
                <a:gd name="T117" fmla="*/ 1320 h 3078"/>
                <a:gd name="T118" fmla="*/ 2789 w 5449"/>
                <a:gd name="T119" fmla="*/ 2257 h 3078"/>
                <a:gd name="T120" fmla="*/ 2762 w 5449"/>
                <a:gd name="T121" fmla="*/ 2119 h 3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49" h="3078">
                  <a:moveTo>
                    <a:pt x="5217" y="2370"/>
                  </a:moveTo>
                  <a:cubicBezTo>
                    <a:pt x="5240" y="2365"/>
                    <a:pt x="5233" y="2363"/>
                    <a:pt x="5246" y="2347"/>
                  </a:cubicBezTo>
                  <a:cubicBezTo>
                    <a:pt x="5259" y="2330"/>
                    <a:pt x="5257" y="2322"/>
                    <a:pt x="5280" y="2317"/>
                  </a:cubicBezTo>
                  <a:cubicBezTo>
                    <a:pt x="5304" y="2313"/>
                    <a:pt x="5315" y="2312"/>
                    <a:pt x="5331" y="2311"/>
                  </a:cubicBezTo>
                  <a:cubicBezTo>
                    <a:pt x="5348" y="2310"/>
                    <a:pt x="5376" y="2306"/>
                    <a:pt x="5401" y="2285"/>
                  </a:cubicBezTo>
                  <a:cubicBezTo>
                    <a:pt x="5425" y="2264"/>
                    <a:pt x="5440" y="2259"/>
                    <a:pt x="5444" y="2253"/>
                  </a:cubicBezTo>
                  <a:cubicBezTo>
                    <a:pt x="5449" y="2246"/>
                    <a:pt x="5446" y="2231"/>
                    <a:pt x="5434" y="2226"/>
                  </a:cubicBezTo>
                  <a:cubicBezTo>
                    <a:pt x="5423" y="2220"/>
                    <a:pt x="5421" y="2209"/>
                    <a:pt x="5429" y="2202"/>
                  </a:cubicBezTo>
                  <a:cubicBezTo>
                    <a:pt x="5438" y="2195"/>
                    <a:pt x="5435" y="2187"/>
                    <a:pt x="5435" y="2175"/>
                  </a:cubicBezTo>
                  <a:cubicBezTo>
                    <a:pt x="5435" y="2163"/>
                    <a:pt x="5441" y="2144"/>
                    <a:pt x="5431" y="2138"/>
                  </a:cubicBezTo>
                  <a:cubicBezTo>
                    <a:pt x="5421" y="2131"/>
                    <a:pt x="5396" y="2132"/>
                    <a:pt x="5396" y="2120"/>
                  </a:cubicBezTo>
                  <a:cubicBezTo>
                    <a:pt x="5396" y="2109"/>
                    <a:pt x="5397" y="2108"/>
                    <a:pt x="5405" y="2104"/>
                  </a:cubicBezTo>
                  <a:cubicBezTo>
                    <a:pt x="5413" y="2100"/>
                    <a:pt x="5413" y="2096"/>
                    <a:pt x="5403" y="2097"/>
                  </a:cubicBezTo>
                  <a:cubicBezTo>
                    <a:pt x="5393" y="2099"/>
                    <a:pt x="5391" y="2107"/>
                    <a:pt x="5378" y="2107"/>
                  </a:cubicBezTo>
                  <a:cubicBezTo>
                    <a:pt x="5366" y="2106"/>
                    <a:pt x="5364" y="2108"/>
                    <a:pt x="5358" y="2116"/>
                  </a:cubicBezTo>
                  <a:cubicBezTo>
                    <a:pt x="5353" y="2124"/>
                    <a:pt x="5340" y="2140"/>
                    <a:pt x="5336" y="2130"/>
                  </a:cubicBezTo>
                  <a:cubicBezTo>
                    <a:pt x="5333" y="2120"/>
                    <a:pt x="5338" y="2113"/>
                    <a:pt x="5344" y="2107"/>
                  </a:cubicBezTo>
                  <a:cubicBezTo>
                    <a:pt x="5350" y="2102"/>
                    <a:pt x="5358" y="2103"/>
                    <a:pt x="5353" y="2097"/>
                  </a:cubicBezTo>
                  <a:cubicBezTo>
                    <a:pt x="5349" y="2090"/>
                    <a:pt x="5348" y="2096"/>
                    <a:pt x="5345" y="2084"/>
                  </a:cubicBezTo>
                  <a:cubicBezTo>
                    <a:pt x="5341" y="2073"/>
                    <a:pt x="5328" y="2070"/>
                    <a:pt x="5315" y="2070"/>
                  </a:cubicBezTo>
                  <a:cubicBezTo>
                    <a:pt x="5303" y="2070"/>
                    <a:pt x="5291" y="2075"/>
                    <a:pt x="5278" y="2083"/>
                  </a:cubicBezTo>
                  <a:cubicBezTo>
                    <a:pt x="5265" y="2091"/>
                    <a:pt x="5247" y="2093"/>
                    <a:pt x="5233" y="2103"/>
                  </a:cubicBezTo>
                  <a:cubicBezTo>
                    <a:pt x="5219" y="2113"/>
                    <a:pt x="5219" y="2125"/>
                    <a:pt x="5209" y="2125"/>
                  </a:cubicBezTo>
                  <a:cubicBezTo>
                    <a:pt x="5199" y="2125"/>
                    <a:pt x="5181" y="2132"/>
                    <a:pt x="5176" y="2136"/>
                  </a:cubicBezTo>
                  <a:cubicBezTo>
                    <a:pt x="5171" y="2140"/>
                    <a:pt x="5158" y="2145"/>
                    <a:pt x="5158" y="2135"/>
                  </a:cubicBezTo>
                  <a:cubicBezTo>
                    <a:pt x="5158" y="2124"/>
                    <a:pt x="5163" y="2117"/>
                    <a:pt x="5177" y="2113"/>
                  </a:cubicBezTo>
                  <a:cubicBezTo>
                    <a:pt x="5191" y="2109"/>
                    <a:pt x="5199" y="2106"/>
                    <a:pt x="5204" y="2100"/>
                  </a:cubicBezTo>
                  <a:cubicBezTo>
                    <a:pt x="5208" y="2095"/>
                    <a:pt x="5214" y="2092"/>
                    <a:pt x="5226" y="2091"/>
                  </a:cubicBezTo>
                  <a:cubicBezTo>
                    <a:pt x="5238" y="2090"/>
                    <a:pt x="5257" y="2087"/>
                    <a:pt x="5263" y="2078"/>
                  </a:cubicBezTo>
                  <a:cubicBezTo>
                    <a:pt x="5270" y="2069"/>
                    <a:pt x="5289" y="2066"/>
                    <a:pt x="5290" y="2061"/>
                  </a:cubicBezTo>
                  <a:cubicBezTo>
                    <a:pt x="5292" y="2056"/>
                    <a:pt x="5297" y="2057"/>
                    <a:pt x="5310" y="2056"/>
                  </a:cubicBezTo>
                  <a:cubicBezTo>
                    <a:pt x="5323" y="2055"/>
                    <a:pt x="5330" y="2054"/>
                    <a:pt x="5333" y="2047"/>
                  </a:cubicBezTo>
                  <a:cubicBezTo>
                    <a:pt x="5335" y="2040"/>
                    <a:pt x="5338" y="2036"/>
                    <a:pt x="5323" y="2030"/>
                  </a:cubicBezTo>
                  <a:cubicBezTo>
                    <a:pt x="5308" y="2024"/>
                    <a:pt x="5307" y="2022"/>
                    <a:pt x="5305" y="2014"/>
                  </a:cubicBezTo>
                  <a:cubicBezTo>
                    <a:pt x="5304" y="2005"/>
                    <a:pt x="5292" y="2008"/>
                    <a:pt x="5288" y="2011"/>
                  </a:cubicBezTo>
                  <a:cubicBezTo>
                    <a:pt x="5285" y="2015"/>
                    <a:pt x="5257" y="2020"/>
                    <a:pt x="5250" y="2015"/>
                  </a:cubicBezTo>
                  <a:cubicBezTo>
                    <a:pt x="5244" y="2010"/>
                    <a:pt x="5249" y="2001"/>
                    <a:pt x="5238" y="1996"/>
                  </a:cubicBezTo>
                  <a:cubicBezTo>
                    <a:pt x="5227" y="1992"/>
                    <a:pt x="5229" y="1983"/>
                    <a:pt x="5228" y="1976"/>
                  </a:cubicBezTo>
                  <a:cubicBezTo>
                    <a:pt x="5227" y="1969"/>
                    <a:pt x="5217" y="1977"/>
                    <a:pt x="5211" y="1983"/>
                  </a:cubicBezTo>
                  <a:cubicBezTo>
                    <a:pt x="5205" y="1990"/>
                    <a:pt x="5203" y="1995"/>
                    <a:pt x="5194" y="1985"/>
                  </a:cubicBezTo>
                  <a:cubicBezTo>
                    <a:pt x="5186" y="1975"/>
                    <a:pt x="5184" y="1964"/>
                    <a:pt x="5172" y="1970"/>
                  </a:cubicBezTo>
                  <a:cubicBezTo>
                    <a:pt x="5160" y="1976"/>
                    <a:pt x="5148" y="1993"/>
                    <a:pt x="5148" y="1978"/>
                  </a:cubicBezTo>
                  <a:cubicBezTo>
                    <a:pt x="5148" y="1963"/>
                    <a:pt x="5143" y="1962"/>
                    <a:pt x="5148" y="1957"/>
                  </a:cubicBezTo>
                  <a:cubicBezTo>
                    <a:pt x="5153" y="1952"/>
                    <a:pt x="5155" y="1950"/>
                    <a:pt x="5148" y="1948"/>
                  </a:cubicBezTo>
                  <a:cubicBezTo>
                    <a:pt x="5141" y="1945"/>
                    <a:pt x="5138" y="1940"/>
                    <a:pt x="5146" y="1935"/>
                  </a:cubicBezTo>
                  <a:cubicBezTo>
                    <a:pt x="5153" y="1929"/>
                    <a:pt x="5146" y="1920"/>
                    <a:pt x="5138" y="1926"/>
                  </a:cubicBezTo>
                  <a:cubicBezTo>
                    <a:pt x="5129" y="1932"/>
                    <a:pt x="5132" y="1942"/>
                    <a:pt x="5118" y="1930"/>
                  </a:cubicBezTo>
                  <a:cubicBezTo>
                    <a:pt x="5105" y="1917"/>
                    <a:pt x="5105" y="1914"/>
                    <a:pt x="5109" y="1907"/>
                  </a:cubicBezTo>
                  <a:cubicBezTo>
                    <a:pt x="5113" y="1900"/>
                    <a:pt x="5111" y="1893"/>
                    <a:pt x="5102" y="1893"/>
                  </a:cubicBezTo>
                  <a:cubicBezTo>
                    <a:pt x="5093" y="1893"/>
                    <a:pt x="5092" y="1915"/>
                    <a:pt x="5080" y="1900"/>
                  </a:cubicBezTo>
                  <a:cubicBezTo>
                    <a:pt x="5069" y="1884"/>
                    <a:pt x="5065" y="1879"/>
                    <a:pt x="5055" y="1874"/>
                  </a:cubicBezTo>
                  <a:cubicBezTo>
                    <a:pt x="5044" y="1870"/>
                    <a:pt x="5038" y="1863"/>
                    <a:pt x="5045" y="1858"/>
                  </a:cubicBezTo>
                  <a:cubicBezTo>
                    <a:pt x="5052" y="1853"/>
                    <a:pt x="5070" y="1847"/>
                    <a:pt x="5069" y="1856"/>
                  </a:cubicBezTo>
                  <a:cubicBezTo>
                    <a:pt x="5068" y="1865"/>
                    <a:pt x="5075" y="1869"/>
                    <a:pt x="5082" y="1869"/>
                  </a:cubicBezTo>
                  <a:cubicBezTo>
                    <a:pt x="5090" y="1869"/>
                    <a:pt x="5086" y="1870"/>
                    <a:pt x="5083" y="1856"/>
                  </a:cubicBezTo>
                  <a:cubicBezTo>
                    <a:pt x="5080" y="1842"/>
                    <a:pt x="5078" y="1828"/>
                    <a:pt x="5080" y="1822"/>
                  </a:cubicBezTo>
                  <a:cubicBezTo>
                    <a:pt x="5082" y="1816"/>
                    <a:pt x="5082" y="1809"/>
                    <a:pt x="5071" y="1802"/>
                  </a:cubicBezTo>
                  <a:cubicBezTo>
                    <a:pt x="5060" y="1796"/>
                    <a:pt x="5059" y="1797"/>
                    <a:pt x="5059" y="1787"/>
                  </a:cubicBezTo>
                  <a:cubicBezTo>
                    <a:pt x="5059" y="1777"/>
                    <a:pt x="5041" y="1777"/>
                    <a:pt x="5044" y="1762"/>
                  </a:cubicBezTo>
                  <a:cubicBezTo>
                    <a:pt x="5047" y="1747"/>
                    <a:pt x="5049" y="1745"/>
                    <a:pt x="5040" y="1742"/>
                  </a:cubicBezTo>
                  <a:cubicBezTo>
                    <a:pt x="5032" y="1739"/>
                    <a:pt x="5032" y="1737"/>
                    <a:pt x="5026" y="1724"/>
                  </a:cubicBezTo>
                  <a:cubicBezTo>
                    <a:pt x="5019" y="1711"/>
                    <a:pt x="5010" y="1720"/>
                    <a:pt x="5007" y="1702"/>
                  </a:cubicBezTo>
                  <a:cubicBezTo>
                    <a:pt x="5003" y="1685"/>
                    <a:pt x="5006" y="1683"/>
                    <a:pt x="4994" y="1682"/>
                  </a:cubicBezTo>
                  <a:cubicBezTo>
                    <a:pt x="4983" y="1680"/>
                    <a:pt x="4978" y="1675"/>
                    <a:pt x="4979" y="1662"/>
                  </a:cubicBezTo>
                  <a:cubicBezTo>
                    <a:pt x="4979" y="1649"/>
                    <a:pt x="4983" y="1649"/>
                    <a:pt x="4974" y="1643"/>
                  </a:cubicBezTo>
                  <a:cubicBezTo>
                    <a:pt x="4964" y="1637"/>
                    <a:pt x="4968" y="1632"/>
                    <a:pt x="4960" y="1619"/>
                  </a:cubicBezTo>
                  <a:cubicBezTo>
                    <a:pt x="4952" y="1607"/>
                    <a:pt x="4946" y="1607"/>
                    <a:pt x="4938" y="1596"/>
                  </a:cubicBezTo>
                  <a:cubicBezTo>
                    <a:pt x="4930" y="1586"/>
                    <a:pt x="4926" y="1576"/>
                    <a:pt x="4920" y="1568"/>
                  </a:cubicBezTo>
                  <a:cubicBezTo>
                    <a:pt x="4914" y="1559"/>
                    <a:pt x="4915" y="1539"/>
                    <a:pt x="4903" y="1538"/>
                  </a:cubicBezTo>
                  <a:cubicBezTo>
                    <a:pt x="4890" y="1538"/>
                    <a:pt x="4885" y="1527"/>
                    <a:pt x="4886" y="1519"/>
                  </a:cubicBezTo>
                  <a:cubicBezTo>
                    <a:pt x="4888" y="1511"/>
                    <a:pt x="4894" y="1500"/>
                    <a:pt x="4884" y="1495"/>
                  </a:cubicBezTo>
                  <a:cubicBezTo>
                    <a:pt x="4874" y="1490"/>
                    <a:pt x="4864" y="1493"/>
                    <a:pt x="4857" y="1507"/>
                  </a:cubicBezTo>
                  <a:cubicBezTo>
                    <a:pt x="4850" y="1520"/>
                    <a:pt x="4840" y="1529"/>
                    <a:pt x="4840" y="1541"/>
                  </a:cubicBezTo>
                  <a:cubicBezTo>
                    <a:pt x="4840" y="1552"/>
                    <a:pt x="4838" y="1551"/>
                    <a:pt x="4829" y="1553"/>
                  </a:cubicBezTo>
                  <a:cubicBezTo>
                    <a:pt x="4821" y="1554"/>
                    <a:pt x="4824" y="1563"/>
                    <a:pt x="4817" y="1567"/>
                  </a:cubicBezTo>
                  <a:cubicBezTo>
                    <a:pt x="4810" y="1571"/>
                    <a:pt x="4804" y="1574"/>
                    <a:pt x="4818" y="1581"/>
                  </a:cubicBezTo>
                  <a:cubicBezTo>
                    <a:pt x="4832" y="1587"/>
                    <a:pt x="4832" y="1591"/>
                    <a:pt x="4822" y="1597"/>
                  </a:cubicBezTo>
                  <a:cubicBezTo>
                    <a:pt x="4812" y="1603"/>
                    <a:pt x="4798" y="1615"/>
                    <a:pt x="4806" y="1619"/>
                  </a:cubicBezTo>
                  <a:cubicBezTo>
                    <a:pt x="4814" y="1624"/>
                    <a:pt x="4815" y="1632"/>
                    <a:pt x="4805" y="1634"/>
                  </a:cubicBezTo>
                  <a:cubicBezTo>
                    <a:pt x="4795" y="1637"/>
                    <a:pt x="4797" y="1639"/>
                    <a:pt x="4791" y="1647"/>
                  </a:cubicBezTo>
                  <a:cubicBezTo>
                    <a:pt x="4784" y="1654"/>
                    <a:pt x="4781" y="1651"/>
                    <a:pt x="4768" y="1651"/>
                  </a:cubicBezTo>
                  <a:cubicBezTo>
                    <a:pt x="4755" y="1651"/>
                    <a:pt x="4753" y="1657"/>
                    <a:pt x="4750" y="1668"/>
                  </a:cubicBezTo>
                  <a:cubicBezTo>
                    <a:pt x="4747" y="1680"/>
                    <a:pt x="4743" y="1685"/>
                    <a:pt x="4730" y="1688"/>
                  </a:cubicBezTo>
                  <a:cubicBezTo>
                    <a:pt x="4717" y="1691"/>
                    <a:pt x="4711" y="1690"/>
                    <a:pt x="4703" y="1697"/>
                  </a:cubicBezTo>
                  <a:cubicBezTo>
                    <a:pt x="4696" y="1703"/>
                    <a:pt x="4688" y="1710"/>
                    <a:pt x="4680" y="1706"/>
                  </a:cubicBezTo>
                  <a:cubicBezTo>
                    <a:pt x="4673" y="1702"/>
                    <a:pt x="4675" y="1695"/>
                    <a:pt x="4670" y="1690"/>
                  </a:cubicBezTo>
                  <a:cubicBezTo>
                    <a:pt x="4666" y="1684"/>
                    <a:pt x="4664" y="1695"/>
                    <a:pt x="4660" y="1704"/>
                  </a:cubicBezTo>
                  <a:cubicBezTo>
                    <a:pt x="4657" y="1713"/>
                    <a:pt x="4652" y="1717"/>
                    <a:pt x="4642" y="1718"/>
                  </a:cubicBezTo>
                  <a:cubicBezTo>
                    <a:pt x="4633" y="1720"/>
                    <a:pt x="4628" y="1713"/>
                    <a:pt x="4640" y="1702"/>
                  </a:cubicBezTo>
                  <a:cubicBezTo>
                    <a:pt x="4651" y="1692"/>
                    <a:pt x="4657" y="1692"/>
                    <a:pt x="4652" y="1684"/>
                  </a:cubicBezTo>
                  <a:cubicBezTo>
                    <a:pt x="4648" y="1675"/>
                    <a:pt x="4640" y="1685"/>
                    <a:pt x="4640" y="1667"/>
                  </a:cubicBezTo>
                  <a:cubicBezTo>
                    <a:pt x="4640" y="1650"/>
                    <a:pt x="4639" y="1646"/>
                    <a:pt x="4626" y="1646"/>
                  </a:cubicBezTo>
                  <a:cubicBezTo>
                    <a:pt x="4613" y="1646"/>
                    <a:pt x="4587" y="1643"/>
                    <a:pt x="4579" y="1644"/>
                  </a:cubicBezTo>
                  <a:cubicBezTo>
                    <a:pt x="4571" y="1646"/>
                    <a:pt x="4564" y="1644"/>
                    <a:pt x="4559" y="1656"/>
                  </a:cubicBezTo>
                  <a:cubicBezTo>
                    <a:pt x="4554" y="1667"/>
                    <a:pt x="4547" y="1667"/>
                    <a:pt x="4538" y="1664"/>
                  </a:cubicBezTo>
                  <a:cubicBezTo>
                    <a:pt x="4528" y="1660"/>
                    <a:pt x="4514" y="1657"/>
                    <a:pt x="4528" y="1651"/>
                  </a:cubicBezTo>
                  <a:cubicBezTo>
                    <a:pt x="4541" y="1644"/>
                    <a:pt x="4541" y="1640"/>
                    <a:pt x="4551" y="1639"/>
                  </a:cubicBezTo>
                  <a:cubicBezTo>
                    <a:pt x="4561" y="1637"/>
                    <a:pt x="4567" y="1641"/>
                    <a:pt x="4567" y="1633"/>
                  </a:cubicBezTo>
                  <a:cubicBezTo>
                    <a:pt x="4567" y="1625"/>
                    <a:pt x="4590" y="1631"/>
                    <a:pt x="4583" y="1622"/>
                  </a:cubicBezTo>
                  <a:cubicBezTo>
                    <a:pt x="4576" y="1612"/>
                    <a:pt x="4577" y="1595"/>
                    <a:pt x="4568" y="1595"/>
                  </a:cubicBezTo>
                  <a:cubicBezTo>
                    <a:pt x="4559" y="1595"/>
                    <a:pt x="4552" y="1591"/>
                    <a:pt x="4552" y="1586"/>
                  </a:cubicBezTo>
                  <a:cubicBezTo>
                    <a:pt x="4552" y="1581"/>
                    <a:pt x="4570" y="1586"/>
                    <a:pt x="4567" y="1571"/>
                  </a:cubicBezTo>
                  <a:cubicBezTo>
                    <a:pt x="4564" y="1555"/>
                    <a:pt x="4556" y="1558"/>
                    <a:pt x="4556" y="1546"/>
                  </a:cubicBezTo>
                  <a:cubicBezTo>
                    <a:pt x="4556" y="1535"/>
                    <a:pt x="4571" y="1527"/>
                    <a:pt x="4559" y="1516"/>
                  </a:cubicBezTo>
                  <a:cubicBezTo>
                    <a:pt x="4548" y="1505"/>
                    <a:pt x="4543" y="1498"/>
                    <a:pt x="4549" y="1486"/>
                  </a:cubicBezTo>
                  <a:cubicBezTo>
                    <a:pt x="4554" y="1475"/>
                    <a:pt x="4566" y="1469"/>
                    <a:pt x="4571" y="1462"/>
                  </a:cubicBezTo>
                  <a:cubicBezTo>
                    <a:pt x="4576" y="1456"/>
                    <a:pt x="4581" y="1452"/>
                    <a:pt x="4570" y="1446"/>
                  </a:cubicBezTo>
                  <a:cubicBezTo>
                    <a:pt x="4559" y="1439"/>
                    <a:pt x="4553" y="1431"/>
                    <a:pt x="4547" y="1443"/>
                  </a:cubicBezTo>
                  <a:cubicBezTo>
                    <a:pt x="4541" y="1455"/>
                    <a:pt x="4538" y="1463"/>
                    <a:pt x="4529" y="1452"/>
                  </a:cubicBezTo>
                  <a:cubicBezTo>
                    <a:pt x="4521" y="1440"/>
                    <a:pt x="4510" y="1434"/>
                    <a:pt x="4498" y="1436"/>
                  </a:cubicBezTo>
                  <a:cubicBezTo>
                    <a:pt x="4485" y="1437"/>
                    <a:pt x="4487" y="1431"/>
                    <a:pt x="4470" y="1429"/>
                  </a:cubicBezTo>
                  <a:cubicBezTo>
                    <a:pt x="4454" y="1428"/>
                    <a:pt x="4432" y="1415"/>
                    <a:pt x="4430" y="1409"/>
                  </a:cubicBezTo>
                  <a:cubicBezTo>
                    <a:pt x="4429" y="1402"/>
                    <a:pt x="4422" y="1395"/>
                    <a:pt x="4424" y="1389"/>
                  </a:cubicBezTo>
                  <a:cubicBezTo>
                    <a:pt x="4426" y="1384"/>
                    <a:pt x="4435" y="1379"/>
                    <a:pt x="4427" y="1376"/>
                  </a:cubicBezTo>
                  <a:cubicBezTo>
                    <a:pt x="4419" y="1374"/>
                    <a:pt x="4415" y="1378"/>
                    <a:pt x="4409" y="1379"/>
                  </a:cubicBezTo>
                  <a:cubicBezTo>
                    <a:pt x="4402" y="1381"/>
                    <a:pt x="4398" y="1379"/>
                    <a:pt x="4396" y="1369"/>
                  </a:cubicBezTo>
                  <a:cubicBezTo>
                    <a:pt x="4394" y="1358"/>
                    <a:pt x="4392" y="1357"/>
                    <a:pt x="4384" y="1357"/>
                  </a:cubicBezTo>
                  <a:cubicBezTo>
                    <a:pt x="4375" y="1357"/>
                    <a:pt x="4365" y="1354"/>
                    <a:pt x="4365" y="1346"/>
                  </a:cubicBezTo>
                  <a:cubicBezTo>
                    <a:pt x="4365" y="1337"/>
                    <a:pt x="4357" y="1330"/>
                    <a:pt x="4350" y="1330"/>
                  </a:cubicBezTo>
                  <a:cubicBezTo>
                    <a:pt x="4343" y="1330"/>
                    <a:pt x="4340" y="1318"/>
                    <a:pt x="4328" y="1315"/>
                  </a:cubicBezTo>
                  <a:cubicBezTo>
                    <a:pt x="4316" y="1313"/>
                    <a:pt x="4324" y="1306"/>
                    <a:pt x="4311" y="1304"/>
                  </a:cubicBezTo>
                  <a:cubicBezTo>
                    <a:pt x="4297" y="1302"/>
                    <a:pt x="4298" y="1295"/>
                    <a:pt x="4288" y="1297"/>
                  </a:cubicBezTo>
                  <a:cubicBezTo>
                    <a:pt x="4278" y="1299"/>
                    <a:pt x="4278" y="1306"/>
                    <a:pt x="4267" y="1306"/>
                  </a:cubicBezTo>
                  <a:cubicBezTo>
                    <a:pt x="4256" y="1306"/>
                    <a:pt x="4264" y="1316"/>
                    <a:pt x="4252" y="1316"/>
                  </a:cubicBezTo>
                  <a:cubicBezTo>
                    <a:pt x="4240" y="1316"/>
                    <a:pt x="4243" y="1323"/>
                    <a:pt x="4231" y="1323"/>
                  </a:cubicBezTo>
                  <a:cubicBezTo>
                    <a:pt x="4219" y="1322"/>
                    <a:pt x="4208" y="1310"/>
                    <a:pt x="4197" y="1311"/>
                  </a:cubicBezTo>
                  <a:cubicBezTo>
                    <a:pt x="4187" y="1312"/>
                    <a:pt x="4174" y="1321"/>
                    <a:pt x="4167" y="1315"/>
                  </a:cubicBezTo>
                  <a:cubicBezTo>
                    <a:pt x="4159" y="1309"/>
                    <a:pt x="4145" y="1303"/>
                    <a:pt x="4137" y="1303"/>
                  </a:cubicBezTo>
                  <a:cubicBezTo>
                    <a:pt x="4129" y="1303"/>
                    <a:pt x="4129" y="1295"/>
                    <a:pt x="4118" y="1295"/>
                  </a:cubicBezTo>
                  <a:cubicBezTo>
                    <a:pt x="4107" y="1296"/>
                    <a:pt x="4109" y="1289"/>
                    <a:pt x="4091" y="1289"/>
                  </a:cubicBezTo>
                  <a:cubicBezTo>
                    <a:pt x="4074" y="1289"/>
                    <a:pt x="4046" y="1282"/>
                    <a:pt x="4038" y="1291"/>
                  </a:cubicBezTo>
                  <a:cubicBezTo>
                    <a:pt x="4030" y="1300"/>
                    <a:pt x="4030" y="1303"/>
                    <a:pt x="4019" y="1306"/>
                  </a:cubicBezTo>
                  <a:cubicBezTo>
                    <a:pt x="4008" y="1309"/>
                    <a:pt x="4009" y="1321"/>
                    <a:pt x="4010" y="1333"/>
                  </a:cubicBezTo>
                  <a:cubicBezTo>
                    <a:pt x="4012" y="1346"/>
                    <a:pt x="4012" y="1362"/>
                    <a:pt x="4018" y="1367"/>
                  </a:cubicBezTo>
                  <a:cubicBezTo>
                    <a:pt x="4025" y="1372"/>
                    <a:pt x="4023" y="1381"/>
                    <a:pt x="4030" y="1381"/>
                  </a:cubicBezTo>
                  <a:cubicBezTo>
                    <a:pt x="4038" y="1382"/>
                    <a:pt x="4045" y="1384"/>
                    <a:pt x="4045" y="1391"/>
                  </a:cubicBezTo>
                  <a:cubicBezTo>
                    <a:pt x="4045" y="1399"/>
                    <a:pt x="4033" y="1394"/>
                    <a:pt x="4035" y="1407"/>
                  </a:cubicBezTo>
                  <a:cubicBezTo>
                    <a:pt x="4038" y="1419"/>
                    <a:pt x="4038" y="1427"/>
                    <a:pt x="4030" y="1434"/>
                  </a:cubicBezTo>
                  <a:cubicBezTo>
                    <a:pt x="4023" y="1442"/>
                    <a:pt x="4018" y="1445"/>
                    <a:pt x="4018" y="1452"/>
                  </a:cubicBezTo>
                  <a:cubicBezTo>
                    <a:pt x="4018" y="1460"/>
                    <a:pt x="4025" y="1463"/>
                    <a:pt x="4030" y="1468"/>
                  </a:cubicBezTo>
                  <a:cubicBezTo>
                    <a:pt x="4035" y="1473"/>
                    <a:pt x="4040" y="1477"/>
                    <a:pt x="4040" y="1486"/>
                  </a:cubicBezTo>
                  <a:cubicBezTo>
                    <a:pt x="4040" y="1495"/>
                    <a:pt x="4036" y="1508"/>
                    <a:pt x="4045" y="1512"/>
                  </a:cubicBezTo>
                  <a:cubicBezTo>
                    <a:pt x="4053" y="1516"/>
                    <a:pt x="4056" y="1518"/>
                    <a:pt x="4056" y="1527"/>
                  </a:cubicBezTo>
                  <a:cubicBezTo>
                    <a:pt x="4057" y="1536"/>
                    <a:pt x="4058" y="1538"/>
                    <a:pt x="4064" y="1544"/>
                  </a:cubicBezTo>
                  <a:cubicBezTo>
                    <a:pt x="4070" y="1550"/>
                    <a:pt x="4061" y="1566"/>
                    <a:pt x="4045" y="1566"/>
                  </a:cubicBezTo>
                  <a:cubicBezTo>
                    <a:pt x="4030" y="1566"/>
                    <a:pt x="4048" y="1574"/>
                    <a:pt x="4035" y="1581"/>
                  </a:cubicBezTo>
                  <a:cubicBezTo>
                    <a:pt x="4023" y="1587"/>
                    <a:pt x="4028" y="1593"/>
                    <a:pt x="4031" y="1598"/>
                  </a:cubicBezTo>
                  <a:cubicBezTo>
                    <a:pt x="4035" y="1603"/>
                    <a:pt x="4036" y="1606"/>
                    <a:pt x="4024" y="1614"/>
                  </a:cubicBezTo>
                  <a:cubicBezTo>
                    <a:pt x="4012" y="1622"/>
                    <a:pt x="4008" y="1628"/>
                    <a:pt x="4001" y="1634"/>
                  </a:cubicBezTo>
                  <a:cubicBezTo>
                    <a:pt x="3994" y="1641"/>
                    <a:pt x="3986" y="1639"/>
                    <a:pt x="3985" y="1652"/>
                  </a:cubicBezTo>
                  <a:cubicBezTo>
                    <a:pt x="3983" y="1665"/>
                    <a:pt x="3974" y="1672"/>
                    <a:pt x="3989" y="1676"/>
                  </a:cubicBezTo>
                  <a:cubicBezTo>
                    <a:pt x="4004" y="1680"/>
                    <a:pt x="4033" y="1703"/>
                    <a:pt x="4044" y="1705"/>
                  </a:cubicBezTo>
                  <a:cubicBezTo>
                    <a:pt x="4055" y="1708"/>
                    <a:pt x="4085" y="1729"/>
                    <a:pt x="4091" y="1746"/>
                  </a:cubicBezTo>
                  <a:cubicBezTo>
                    <a:pt x="4096" y="1763"/>
                    <a:pt x="4114" y="1782"/>
                    <a:pt x="4116" y="1801"/>
                  </a:cubicBezTo>
                  <a:cubicBezTo>
                    <a:pt x="4118" y="1821"/>
                    <a:pt x="4119" y="1848"/>
                    <a:pt x="4118" y="1864"/>
                  </a:cubicBezTo>
                  <a:cubicBezTo>
                    <a:pt x="4117" y="1880"/>
                    <a:pt x="4120" y="1900"/>
                    <a:pt x="4108" y="1907"/>
                  </a:cubicBezTo>
                  <a:cubicBezTo>
                    <a:pt x="4096" y="1914"/>
                    <a:pt x="4083" y="1928"/>
                    <a:pt x="4073" y="1939"/>
                  </a:cubicBezTo>
                  <a:cubicBezTo>
                    <a:pt x="4062" y="1950"/>
                    <a:pt x="4046" y="1963"/>
                    <a:pt x="4035" y="1972"/>
                  </a:cubicBezTo>
                  <a:cubicBezTo>
                    <a:pt x="4025" y="1981"/>
                    <a:pt x="4004" y="1996"/>
                    <a:pt x="3989" y="1999"/>
                  </a:cubicBezTo>
                  <a:cubicBezTo>
                    <a:pt x="3974" y="2002"/>
                    <a:pt x="3968" y="2011"/>
                    <a:pt x="3963" y="2006"/>
                  </a:cubicBezTo>
                  <a:cubicBezTo>
                    <a:pt x="3958" y="2001"/>
                    <a:pt x="3950" y="2000"/>
                    <a:pt x="3946" y="2002"/>
                  </a:cubicBezTo>
                  <a:cubicBezTo>
                    <a:pt x="3942" y="2004"/>
                    <a:pt x="3942" y="2008"/>
                    <a:pt x="3928" y="2008"/>
                  </a:cubicBezTo>
                  <a:cubicBezTo>
                    <a:pt x="3914" y="2008"/>
                    <a:pt x="3909" y="2011"/>
                    <a:pt x="3914" y="2022"/>
                  </a:cubicBezTo>
                  <a:cubicBezTo>
                    <a:pt x="3919" y="2033"/>
                    <a:pt x="3921" y="2036"/>
                    <a:pt x="3926" y="2047"/>
                  </a:cubicBezTo>
                  <a:cubicBezTo>
                    <a:pt x="3931" y="2059"/>
                    <a:pt x="3937" y="2070"/>
                    <a:pt x="3946" y="2077"/>
                  </a:cubicBezTo>
                  <a:cubicBezTo>
                    <a:pt x="3954" y="2083"/>
                    <a:pt x="3956" y="2090"/>
                    <a:pt x="3956" y="2100"/>
                  </a:cubicBezTo>
                  <a:cubicBezTo>
                    <a:pt x="3956" y="2110"/>
                    <a:pt x="3953" y="2125"/>
                    <a:pt x="3957" y="2132"/>
                  </a:cubicBezTo>
                  <a:cubicBezTo>
                    <a:pt x="3962" y="2138"/>
                    <a:pt x="3961" y="2148"/>
                    <a:pt x="3962" y="2155"/>
                  </a:cubicBezTo>
                  <a:cubicBezTo>
                    <a:pt x="3962" y="2163"/>
                    <a:pt x="3973" y="2173"/>
                    <a:pt x="3971" y="2186"/>
                  </a:cubicBezTo>
                  <a:cubicBezTo>
                    <a:pt x="3969" y="2198"/>
                    <a:pt x="3969" y="2204"/>
                    <a:pt x="3977" y="2209"/>
                  </a:cubicBezTo>
                  <a:cubicBezTo>
                    <a:pt x="3986" y="2214"/>
                    <a:pt x="3985" y="2229"/>
                    <a:pt x="3990" y="2231"/>
                  </a:cubicBezTo>
                  <a:cubicBezTo>
                    <a:pt x="3995" y="2234"/>
                    <a:pt x="4005" y="2241"/>
                    <a:pt x="3997" y="2245"/>
                  </a:cubicBezTo>
                  <a:cubicBezTo>
                    <a:pt x="3990" y="2249"/>
                    <a:pt x="3974" y="2269"/>
                    <a:pt x="3968" y="2275"/>
                  </a:cubicBezTo>
                  <a:cubicBezTo>
                    <a:pt x="3962" y="2281"/>
                    <a:pt x="3966" y="2288"/>
                    <a:pt x="3972" y="2294"/>
                  </a:cubicBezTo>
                  <a:cubicBezTo>
                    <a:pt x="3979" y="2301"/>
                    <a:pt x="3983" y="2310"/>
                    <a:pt x="3979" y="2313"/>
                  </a:cubicBezTo>
                  <a:cubicBezTo>
                    <a:pt x="3975" y="2316"/>
                    <a:pt x="3967" y="2317"/>
                    <a:pt x="3959" y="2307"/>
                  </a:cubicBezTo>
                  <a:cubicBezTo>
                    <a:pt x="3952" y="2298"/>
                    <a:pt x="3944" y="2292"/>
                    <a:pt x="3934" y="2297"/>
                  </a:cubicBezTo>
                  <a:cubicBezTo>
                    <a:pt x="3924" y="2302"/>
                    <a:pt x="3916" y="2314"/>
                    <a:pt x="3916" y="2322"/>
                  </a:cubicBezTo>
                  <a:cubicBezTo>
                    <a:pt x="3917" y="2330"/>
                    <a:pt x="3919" y="2335"/>
                    <a:pt x="3925" y="2340"/>
                  </a:cubicBezTo>
                  <a:cubicBezTo>
                    <a:pt x="3932" y="2345"/>
                    <a:pt x="3939" y="2355"/>
                    <a:pt x="3934" y="2357"/>
                  </a:cubicBezTo>
                  <a:cubicBezTo>
                    <a:pt x="3929" y="2358"/>
                    <a:pt x="3929" y="2357"/>
                    <a:pt x="3921" y="2349"/>
                  </a:cubicBezTo>
                  <a:cubicBezTo>
                    <a:pt x="3912" y="2341"/>
                    <a:pt x="3909" y="2328"/>
                    <a:pt x="3899" y="2325"/>
                  </a:cubicBezTo>
                  <a:cubicBezTo>
                    <a:pt x="3889" y="2322"/>
                    <a:pt x="3878" y="2319"/>
                    <a:pt x="3872" y="2322"/>
                  </a:cubicBezTo>
                  <a:cubicBezTo>
                    <a:pt x="3866" y="2325"/>
                    <a:pt x="3853" y="2331"/>
                    <a:pt x="3848" y="2339"/>
                  </a:cubicBezTo>
                  <a:cubicBezTo>
                    <a:pt x="3843" y="2347"/>
                    <a:pt x="3829" y="2348"/>
                    <a:pt x="3830" y="2342"/>
                  </a:cubicBezTo>
                  <a:cubicBezTo>
                    <a:pt x="3832" y="2335"/>
                    <a:pt x="3848" y="2331"/>
                    <a:pt x="3851" y="2322"/>
                  </a:cubicBezTo>
                  <a:cubicBezTo>
                    <a:pt x="3853" y="2314"/>
                    <a:pt x="3867" y="2317"/>
                    <a:pt x="3866" y="2306"/>
                  </a:cubicBezTo>
                  <a:cubicBezTo>
                    <a:pt x="3866" y="2295"/>
                    <a:pt x="3859" y="2289"/>
                    <a:pt x="3853" y="2282"/>
                  </a:cubicBezTo>
                  <a:cubicBezTo>
                    <a:pt x="3848" y="2276"/>
                    <a:pt x="3837" y="2267"/>
                    <a:pt x="3831" y="2260"/>
                  </a:cubicBezTo>
                  <a:cubicBezTo>
                    <a:pt x="3825" y="2254"/>
                    <a:pt x="3817" y="2246"/>
                    <a:pt x="3806" y="2246"/>
                  </a:cubicBezTo>
                  <a:cubicBezTo>
                    <a:pt x="3795" y="2246"/>
                    <a:pt x="3782" y="2250"/>
                    <a:pt x="3785" y="2244"/>
                  </a:cubicBezTo>
                  <a:cubicBezTo>
                    <a:pt x="3787" y="2239"/>
                    <a:pt x="3800" y="2235"/>
                    <a:pt x="3800" y="2225"/>
                  </a:cubicBezTo>
                  <a:cubicBezTo>
                    <a:pt x="3799" y="2215"/>
                    <a:pt x="3789" y="2218"/>
                    <a:pt x="3781" y="2210"/>
                  </a:cubicBezTo>
                  <a:cubicBezTo>
                    <a:pt x="3773" y="2202"/>
                    <a:pt x="3767" y="2189"/>
                    <a:pt x="3760" y="2184"/>
                  </a:cubicBezTo>
                  <a:cubicBezTo>
                    <a:pt x="3753" y="2179"/>
                    <a:pt x="3749" y="2174"/>
                    <a:pt x="3749" y="2166"/>
                  </a:cubicBezTo>
                  <a:cubicBezTo>
                    <a:pt x="3749" y="2158"/>
                    <a:pt x="3762" y="2160"/>
                    <a:pt x="3760" y="2142"/>
                  </a:cubicBezTo>
                  <a:cubicBezTo>
                    <a:pt x="3757" y="2124"/>
                    <a:pt x="3763" y="2095"/>
                    <a:pt x="3757" y="2084"/>
                  </a:cubicBezTo>
                  <a:cubicBezTo>
                    <a:pt x="3752" y="2074"/>
                    <a:pt x="3741" y="2073"/>
                    <a:pt x="3742" y="2062"/>
                  </a:cubicBezTo>
                  <a:cubicBezTo>
                    <a:pt x="3742" y="2050"/>
                    <a:pt x="3745" y="2052"/>
                    <a:pt x="3750" y="2038"/>
                  </a:cubicBezTo>
                  <a:cubicBezTo>
                    <a:pt x="3755" y="2024"/>
                    <a:pt x="3761" y="2028"/>
                    <a:pt x="3762" y="2019"/>
                  </a:cubicBezTo>
                  <a:cubicBezTo>
                    <a:pt x="3764" y="2009"/>
                    <a:pt x="3754" y="2012"/>
                    <a:pt x="3754" y="2001"/>
                  </a:cubicBezTo>
                  <a:cubicBezTo>
                    <a:pt x="3754" y="1991"/>
                    <a:pt x="3754" y="1982"/>
                    <a:pt x="3741" y="1983"/>
                  </a:cubicBezTo>
                  <a:cubicBezTo>
                    <a:pt x="3728" y="1983"/>
                    <a:pt x="3699" y="1989"/>
                    <a:pt x="3696" y="1981"/>
                  </a:cubicBezTo>
                  <a:cubicBezTo>
                    <a:pt x="3693" y="1973"/>
                    <a:pt x="3676" y="1974"/>
                    <a:pt x="3666" y="1974"/>
                  </a:cubicBezTo>
                  <a:cubicBezTo>
                    <a:pt x="3656" y="1974"/>
                    <a:pt x="3652" y="1966"/>
                    <a:pt x="3639" y="1967"/>
                  </a:cubicBezTo>
                  <a:cubicBezTo>
                    <a:pt x="3626" y="1968"/>
                    <a:pt x="3623" y="1972"/>
                    <a:pt x="3608" y="1974"/>
                  </a:cubicBezTo>
                  <a:cubicBezTo>
                    <a:pt x="3593" y="1976"/>
                    <a:pt x="3577" y="1969"/>
                    <a:pt x="3571" y="1977"/>
                  </a:cubicBezTo>
                  <a:cubicBezTo>
                    <a:pt x="3565" y="1985"/>
                    <a:pt x="3562" y="1993"/>
                    <a:pt x="3557" y="1999"/>
                  </a:cubicBezTo>
                  <a:cubicBezTo>
                    <a:pt x="3552" y="2006"/>
                    <a:pt x="3545" y="2006"/>
                    <a:pt x="3549" y="1995"/>
                  </a:cubicBezTo>
                  <a:cubicBezTo>
                    <a:pt x="3552" y="1984"/>
                    <a:pt x="3564" y="1981"/>
                    <a:pt x="3563" y="1971"/>
                  </a:cubicBezTo>
                  <a:cubicBezTo>
                    <a:pt x="3562" y="1961"/>
                    <a:pt x="3559" y="1966"/>
                    <a:pt x="3543" y="1954"/>
                  </a:cubicBezTo>
                  <a:cubicBezTo>
                    <a:pt x="3527" y="1942"/>
                    <a:pt x="3541" y="1945"/>
                    <a:pt x="3521" y="1940"/>
                  </a:cubicBezTo>
                  <a:cubicBezTo>
                    <a:pt x="3501" y="1934"/>
                    <a:pt x="3500" y="1925"/>
                    <a:pt x="3482" y="1924"/>
                  </a:cubicBezTo>
                  <a:cubicBezTo>
                    <a:pt x="3464" y="1923"/>
                    <a:pt x="3476" y="1916"/>
                    <a:pt x="3455" y="1916"/>
                  </a:cubicBezTo>
                  <a:cubicBezTo>
                    <a:pt x="3433" y="1916"/>
                    <a:pt x="3435" y="1905"/>
                    <a:pt x="3419" y="1905"/>
                  </a:cubicBezTo>
                  <a:cubicBezTo>
                    <a:pt x="3403" y="1906"/>
                    <a:pt x="3411" y="1890"/>
                    <a:pt x="3400" y="1880"/>
                  </a:cubicBezTo>
                  <a:cubicBezTo>
                    <a:pt x="3388" y="1869"/>
                    <a:pt x="3373" y="1861"/>
                    <a:pt x="3356" y="1851"/>
                  </a:cubicBezTo>
                  <a:cubicBezTo>
                    <a:pt x="3339" y="1841"/>
                    <a:pt x="3324" y="1823"/>
                    <a:pt x="3304" y="1823"/>
                  </a:cubicBezTo>
                  <a:cubicBezTo>
                    <a:pt x="3285" y="1823"/>
                    <a:pt x="3285" y="1828"/>
                    <a:pt x="3269" y="1819"/>
                  </a:cubicBezTo>
                  <a:cubicBezTo>
                    <a:pt x="3252" y="1811"/>
                    <a:pt x="3254" y="1816"/>
                    <a:pt x="3239" y="1806"/>
                  </a:cubicBezTo>
                  <a:cubicBezTo>
                    <a:pt x="3225" y="1795"/>
                    <a:pt x="3216" y="1788"/>
                    <a:pt x="3201" y="1791"/>
                  </a:cubicBezTo>
                  <a:cubicBezTo>
                    <a:pt x="3185" y="1795"/>
                    <a:pt x="3180" y="1800"/>
                    <a:pt x="3166" y="1804"/>
                  </a:cubicBezTo>
                  <a:cubicBezTo>
                    <a:pt x="3152" y="1807"/>
                    <a:pt x="3142" y="1807"/>
                    <a:pt x="3135" y="1814"/>
                  </a:cubicBezTo>
                  <a:cubicBezTo>
                    <a:pt x="3128" y="1821"/>
                    <a:pt x="3117" y="1821"/>
                    <a:pt x="3107" y="1819"/>
                  </a:cubicBezTo>
                  <a:cubicBezTo>
                    <a:pt x="3096" y="1816"/>
                    <a:pt x="3098" y="1811"/>
                    <a:pt x="3099" y="1798"/>
                  </a:cubicBezTo>
                  <a:cubicBezTo>
                    <a:pt x="3101" y="1784"/>
                    <a:pt x="3107" y="1775"/>
                    <a:pt x="3097" y="1765"/>
                  </a:cubicBezTo>
                  <a:cubicBezTo>
                    <a:pt x="3087" y="1755"/>
                    <a:pt x="3091" y="1750"/>
                    <a:pt x="3082" y="1730"/>
                  </a:cubicBezTo>
                  <a:cubicBezTo>
                    <a:pt x="3072" y="1711"/>
                    <a:pt x="3064" y="1690"/>
                    <a:pt x="3061" y="1680"/>
                  </a:cubicBezTo>
                  <a:cubicBezTo>
                    <a:pt x="3059" y="1669"/>
                    <a:pt x="3060" y="1655"/>
                    <a:pt x="3048" y="1655"/>
                  </a:cubicBezTo>
                  <a:cubicBezTo>
                    <a:pt x="3036" y="1655"/>
                    <a:pt x="3015" y="1655"/>
                    <a:pt x="3003" y="1656"/>
                  </a:cubicBezTo>
                  <a:cubicBezTo>
                    <a:pt x="2991" y="1657"/>
                    <a:pt x="2982" y="1665"/>
                    <a:pt x="2978" y="1656"/>
                  </a:cubicBezTo>
                  <a:cubicBezTo>
                    <a:pt x="2973" y="1647"/>
                    <a:pt x="2965" y="1639"/>
                    <a:pt x="2961" y="1637"/>
                  </a:cubicBezTo>
                  <a:cubicBezTo>
                    <a:pt x="2957" y="1634"/>
                    <a:pt x="2949" y="1626"/>
                    <a:pt x="2954" y="1616"/>
                  </a:cubicBezTo>
                  <a:cubicBezTo>
                    <a:pt x="2959" y="1607"/>
                    <a:pt x="2961" y="1602"/>
                    <a:pt x="2957" y="1594"/>
                  </a:cubicBezTo>
                  <a:cubicBezTo>
                    <a:pt x="2953" y="1586"/>
                    <a:pt x="2948" y="1580"/>
                    <a:pt x="2950" y="1559"/>
                  </a:cubicBezTo>
                  <a:cubicBezTo>
                    <a:pt x="2953" y="1538"/>
                    <a:pt x="2956" y="1537"/>
                    <a:pt x="2958" y="1517"/>
                  </a:cubicBezTo>
                  <a:cubicBezTo>
                    <a:pt x="2959" y="1497"/>
                    <a:pt x="2967" y="1502"/>
                    <a:pt x="2975" y="1485"/>
                  </a:cubicBezTo>
                  <a:cubicBezTo>
                    <a:pt x="2983" y="1467"/>
                    <a:pt x="3006" y="1442"/>
                    <a:pt x="3008" y="1422"/>
                  </a:cubicBezTo>
                  <a:cubicBezTo>
                    <a:pt x="3010" y="1401"/>
                    <a:pt x="3013" y="1393"/>
                    <a:pt x="3025" y="1386"/>
                  </a:cubicBezTo>
                  <a:cubicBezTo>
                    <a:pt x="3036" y="1379"/>
                    <a:pt x="3058" y="1381"/>
                    <a:pt x="3053" y="1367"/>
                  </a:cubicBezTo>
                  <a:cubicBezTo>
                    <a:pt x="3048" y="1353"/>
                    <a:pt x="3039" y="1348"/>
                    <a:pt x="3049" y="1344"/>
                  </a:cubicBezTo>
                  <a:cubicBezTo>
                    <a:pt x="3060" y="1341"/>
                    <a:pt x="3072" y="1348"/>
                    <a:pt x="3076" y="1336"/>
                  </a:cubicBezTo>
                  <a:cubicBezTo>
                    <a:pt x="3079" y="1323"/>
                    <a:pt x="3077" y="1319"/>
                    <a:pt x="3083" y="1326"/>
                  </a:cubicBezTo>
                  <a:cubicBezTo>
                    <a:pt x="3089" y="1332"/>
                    <a:pt x="3103" y="1336"/>
                    <a:pt x="3098" y="1323"/>
                  </a:cubicBezTo>
                  <a:cubicBezTo>
                    <a:pt x="3093" y="1311"/>
                    <a:pt x="3090" y="1302"/>
                    <a:pt x="3094" y="1297"/>
                  </a:cubicBezTo>
                  <a:cubicBezTo>
                    <a:pt x="3097" y="1292"/>
                    <a:pt x="3098" y="1290"/>
                    <a:pt x="3108" y="1293"/>
                  </a:cubicBezTo>
                  <a:cubicBezTo>
                    <a:pt x="3118" y="1296"/>
                    <a:pt x="3129" y="1298"/>
                    <a:pt x="3130" y="1292"/>
                  </a:cubicBezTo>
                  <a:cubicBezTo>
                    <a:pt x="3132" y="1285"/>
                    <a:pt x="3138" y="1285"/>
                    <a:pt x="3122" y="1280"/>
                  </a:cubicBezTo>
                  <a:cubicBezTo>
                    <a:pt x="3105" y="1275"/>
                    <a:pt x="3104" y="1273"/>
                    <a:pt x="3109" y="1266"/>
                  </a:cubicBezTo>
                  <a:cubicBezTo>
                    <a:pt x="3114" y="1259"/>
                    <a:pt x="3129" y="1260"/>
                    <a:pt x="3143" y="1265"/>
                  </a:cubicBezTo>
                  <a:cubicBezTo>
                    <a:pt x="3158" y="1270"/>
                    <a:pt x="3169" y="1278"/>
                    <a:pt x="3174" y="1272"/>
                  </a:cubicBezTo>
                  <a:cubicBezTo>
                    <a:pt x="3179" y="1265"/>
                    <a:pt x="3187" y="1261"/>
                    <a:pt x="3197" y="1260"/>
                  </a:cubicBezTo>
                  <a:cubicBezTo>
                    <a:pt x="3207" y="1258"/>
                    <a:pt x="3213" y="1260"/>
                    <a:pt x="3213" y="1245"/>
                  </a:cubicBezTo>
                  <a:cubicBezTo>
                    <a:pt x="3213" y="1230"/>
                    <a:pt x="3236" y="1222"/>
                    <a:pt x="3212" y="1216"/>
                  </a:cubicBezTo>
                  <a:cubicBezTo>
                    <a:pt x="3188" y="1209"/>
                    <a:pt x="3189" y="1209"/>
                    <a:pt x="3170" y="1197"/>
                  </a:cubicBezTo>
                  <a:cubicBezTo>
                    <a:pt x="3152" y="1185"/>
                    <a:pt x="3154" y="1184"/>
                    <a:pt x="3140" y="1184"/>
                  </a:cubicBezTo>
                  <a:cubicBezTo>
                    <a:pt x="3127" y="1185"/>
                    <a:pt x="3113" y="1192"/>
                    <a:pt x="3104" y="1180"/>
                  </a:cubicBezTo>
                  <a:cubicBezTo>
                    <a:pt x="3096" y="1169"/>
                    <a:pt x="3104" y="1160"/>
                    <a:pt x="3079" y="1166"/>
                  </a:cubicBezTo>
                  <a:cubicBezTo>
                    <a:pt x="3053" y="1173"/>
                    <a:pt x="3027" y="1172"/>
                    <a:pt x="3022" y="1160"/>
                  </a:cubicBezTo>
                  <a:cubicBezTo>
                    <a:pt x="3017" y="1148"/>
                    <a:pt x="3018" y="1137"/>
                    <a:pt x="3032" y="1141"/>
                  </a:cubicBezTo>
                  <a:cubicBezTo>
                    <a:pt x="3046" y="1144"/>
                    <a:pt x="3057" y="1155"/>
                    <a:pt x="3069" y="1153"/>
                  </a:cubicBezTo>
                  <a:cubicBezTo>
                    <a:pt x="3080" y="1151"/>
                    <a:pt x="3100" y="1152"/>
                    <a:pt x="3104" y="1161"/>
                  </a:cubicBezTo>
                  <a:cubicBezTo>
                    <a:pt x="3109" y="1171"/>
                    <a:pt x="3110" y="1173"/>
                    <a:pt x="3122" y="1173"/>
                  </a:cubicBezTo>
                  <a:cubicBezTo>
                    <a:pt x="3135" y="1173"/>
                    <a:pt x="3154" y="1166"/>
                    <a:pt x="3165" y="1173"/>
                  </a:cubicBezTo>
                  <a:cubicBezTo>
                    <a:pt x="3177" y="1179"/>
                    <a:pt x="3203" y="1197"/>
                    <a:pt x="3209" y="1192"/>
                  </a:cubicBezTo>
                  <a:cubicBezTo>
                    <a:pt x="3216" y="1187"/>
                    <a:pt x="3225" y="1183"/>
                    <a:pt x="3235" y="1182"/>
                  </a:cubicBezTo>
                  <a:cubicBezTo>
                    <a:pt x="3245" y="1181"/>
                    <a:pt x="3259" y="1181"/>
                    <a:pt x="3256" y="1165"/>
                  </a:cubicBezTo>
                  <a:cubicBezTo>
                    <a:pt x="3253" y="1149"/>
                    <a:pt x="3256" y="1136"/>
                    <a:pt x="3267" y="1135"/>
                  </a:cubicBezTo>
                  <a:cubicBezTo>
                    <a:pt x="3278" y="1134"/>
                    <a:pt x="3282" y="1142"/>
                    <a:pt x="3284" y="1148"/>
                  </a:cubicBezTo>
                  <a:cubicBezTo>
                    <a:pt x="3287" y="1154"/>
                    <a:pt x="3294" y="1158"/>
                    <a:pt x="3300" y="1152"/>
                  </a:cubicBezTo>
                  <a:cubicBezTo>
                    <a:pt x="3306" y="1146"/>
                    <a:pt x="3313" y="1147"/>
                    <a:pt x="3328" y="1148"/>
                  </a:cubicBezTo>
                  <a:cubicBezTo>
                    <a:pt x="3343" y="1149"/>
                    <a:pt x="3387" y="1136"/>
                    <a:pt x="3390" y="1121"/>
                  </a:cubicBezTo>
                  <a:cubicBezTo>
                    <a:pt x="3393" y="1107"/>
                    <a:pt x="3400" y="1098"/>
                    <a:pt x="3416" y="1082"/>
                  </a:cubicBezTo>
                  <a:cubicBezTo>
                    <a:pt x="3433" y="1066"/>
                    <a:pt x="3437" y="1061"/>
                    <a:pt x="3442" y="1050"/>
                  </a:cubicBezTo>
                  <a:cubicBezTo>
                    <a:pt x="3447" y="1040"/>
                    <a:pt x="3457" y="1024"/>
                    <a:pt x="3441" y="1021"/>
                  </a:cubicBezTo>
                  <a:cubicBezTo>
                    <a:pt x="3424" y="1018"/>
                    <a:pt x="3419" y="1012"/>
                    <a:pt x="3399" y="1015"/>
                  </a:cubicBezTo>
                  <a:cubicBezTo>
                    <a:pt x="3379" y="1019"/>
                    <a:pt x="3369" y="1010"/>
                    <a:pt x="3348" y="1010"/>
                  </a:cubicBezTo>
                  <a:cubicBezTo>
                    <a:pt x="3327" y="1010"/>
                    <a:pt x="3309" y="1006"/>
                    <a:pt x="3298" y="996"/>
                  </a:cubicBezTo>
                  <a:cubicBezTo>
                    <a:pt x="3287" y="986"/>
                    <a:pt x="3282" y="970"/>
                    <a:pt x="3269" y="965"/>
                  </a:cubicBezTo>
                  <a:cubicBezTo>
                    <a:pt x="3257" y="960"/>
                    <a:pt x="3245" y="959"/>
                    <a:pt x="3260" y="950"/>
                  </a:cubicBezTo>
                  <a:cubicBezTo>
                    <a:pt x="3275" y="941"/>
                    <a:pt x="3277" y="943"/>
                    <a:pt x="3285" y="949"/>
                  </a:cubicBezTo>
                  <a:cubicBezTo>
                    <a:pt x="3293" y="954"/>
                    <a:pt x="3294" y="961"/>
                    <a:pt x="3304" y="964"/>
                  </a:cubicBezTo>
                  <a:cubicBezTo>
                    <a:pt x="3313" y="967"/>
                    <a:pt x="3336" y="971"/>
                    <a:pt x="3347" y="981"/>
                  </a:cubicBezTo>
                  <a:cubicBezTo>
                    <a:pt x="3359" y="990"/>
                    <a:pt x="3367" y="1000"/>
                    <a:pt x="3384" y="1004"/>
                  </a:cubicBezTo>
                  <a:cubicBezTo>
                    <a:pt x="3400" y="1007"/>
                    <a:pt x="3429" y="1013"/>
                    <a:pt x="3438" y="1001"/>
                  </a:cubicBezTo>
                  <a:cubicBezTo>
                    <a:pt x="3446" y="989"/>
                    <a:pt x="3466" y="978"/>
                    <a:pt x="3476" y="976"/>
                  </a:cubicBezTo>
                  <a:cubicBezTo>
                    <a:pt x="3486" y="974"/>
                    <a:pt x="3486" y="955"/>
                    <a:pt x="3498" y="946"/>
                  </a:cubicBezTo>
                  <a:cubicBezTo>
                    <a:pt x="3509" y="936"/>
                    <a:pt x="3516" y="933"/>
                    <a:pt x="3514" y="925"/>
                  </a:cubicBezTo>
                  <a:cubicBezTo>
                    <a:pt x="3513" y="917"/>
                    <a:pt x="3507" y="918"/>
                    <a:pt x="3504" y="913"/>
                  </a:cubicBezTo>
                  <a:cubicBezTo>
                    <a:pt x="3502" y="908"/>
                    <a:pt x="3494" y="905"/>
                    <a:pt x="3486" y="903"/>
                  </a:cubicBezTo>
                  <a:cubicBezTo>
                    <a:pt x="3479" y="901"/>
                    <a:pt x="3468" y="895"/>
                    <a:pt x="3474" y="888"/>
                  </a:cubicBezTo>
                  <a:cubicBezTo>
                    <a:pt x="3481" y="880"/>
                    <a:pt x="3491" y="888"/>
                    <a:pt x="3505" y="887"/>
                  </a:cubicBezTo>
                  <a:cubicBezTo>
                    <a:pt x="3519" y="885"/>
                    <a:pt x="3544" y="875"/>
                    <a:pt x="3550" y="888"/>
                  </a:cubicBezTo>
                  <a:cubicBezTo>
                    <a:pt x="3555" y="900"/>
                    <a:pt x="3564" y="913"/>
                    <a:pt x="3577" y="914"/>
                  </a:cubicBezTo>
                  <a:cubicBezTo>
                    <a:pt x="3591" y="915"/>
                    <a:pt x="3602" y="919"/>
                    <a:pt x="3608" y="931"/>
                  </a:cubicBezTo>
                  <a:cubicBezTo>
                    <a:pt x="3615" y="942"/>
                    <a:pt x="3627" y="949"/>
                    <a:pt x="3634" y="961"/>
                  </a:cubicBezTo>
                  <a:cubicBezTo>
                    <a:pt x="3641" y="973"/>
                    <a:pt x="3649" y="967"/>
                    <a:pt x="3661" y="967"/>
                  </a:cubicBezTo>
                  <a:cubicBezTo>
                    <a:pt x="3672" y="967"/>
                    <a:pt x="3681" y="967"/>
                    <a:pt x="3680" y="961"/>
                  </a:cubicBezTo>
                  <a:cubicBezTo>
                    <a:pt x="3679" y="954"/>
                    <a:pt x="3680" y="950"/>
                    <a:pt x="3671" y="950"/>
                  </a:cubicBezTo>
                  <a:cubicBezTo>
                    <a:pt x="3661" y="950"/>
                    <a:pt x="3658" y="941"/>
                    <a:pt x="3647" y="936"/>
                  </a:cubicBezTo>
                  <a:cubicBezTo>
                    <a:pt x="3636" y="930"/>
                    <a:pt x="3637" y="932"/>
                    <a:pt x="3625" y="927"/>
                  </a:cubicBezTo>
                  <a:cubicBezTo>
                    <a:pt x="3614" y="922"/>
                    <a:pt x="3605" y="906"/>
                    <a:pt x="3612" y="906"/>
                  </a:cubicBezTo>
                  <a:cubicBezTo>
                    <a:pt x="3619" y="906"/>
                    <a:pt x="3629" y="905"/>
                    <a:pt x="3632" y="911"/>
                  </a:cubicBezTo>
                  <a:cubicBezTo>
                    <a:pt x="3635" y="916"/>
                    <a:pt x="3653" y="923"/>
                    <a:pt x="3653" y="916"/>
                  </a:cubicBezTo>
                  <a:cubicBezTo>
                    <a:pt x="3653" y="910"/>
                    <a:pt x="3658" y="898"/>
                    <a:pt x="3646" y="890"/>
                  </a:cubicBezTo>
                  <a:cubicBezTo>
                    <a:pt x="3634" y="882"/>
                    <a:pt x="3628" y="864"/>
                    <a:pt x="3619" y="860"/>
                  </a:cubicBezTo>
                  <a:cubicBezTo>
                    <a:pt x="3610" y="857"/>
                    <a:pt x="3603" y="850"/>
                    <a:pt x="3594" y="850"/>
                  </a:cubicBezTo>
                  <a:cubicBezTo>
                    <a:pt x="3585" y="850"/>
                    <a:pt x="3572" y="841"/>
                    <a:pt x="3580" y="836"/>
                  </a:cubicBezTo>
                  <a:cubicBezTo>
                    <a:pt x="3588" y="831"/>
                    <a:pt x="3605" y="828"/>
                    <a:pt x="3614" y="841"/>
                  </a:cubicBezTo>
                  <a:cubicBezTo>
                    <a:pt x="3623" y="854"/>
                    <a:pt x="3635" y="867"/>
                    <a:pt x="3648" y="870"/>
                  </a:cubicBezTo>
                  <a:cubicBezTo>
                    <a:pt x="3661" y="874"/>
                    <a:pt x="3661" y="893"/>
                    <a:pt x="3670" y="897"/>
                  </a:cubicBezTo>
                  <a:cubicBezTo>
                    <a:pt x="3679" y="901"/>
                    <a:pt x="3684" y="904"/>
                    <a:pt x="3691" y="896"/>
                  </a:cubicBezTo>
                  <a:cubicBezTo>
                    <a:pt x="3698" y="888"/>
                    <a:pt x="3717" y="883"/>
                    <a:pt x="3724" y="881"/>
                  </a:cubicBezTo>
                  <a:cubicBezTo>
                    <a:pt x="3731" y="880"/>
                    <a:pt x="3735" y="866"/>
                    <a:pt x="3748" y="865"/>
                  </a:cubicBezTo>
                  <a:cubicBezTo>
                    <a:pt x="3761" y="863"/>
                    <a:pt x="3761" y="864"/>
                    <a:pt x="3766" y="850"/>
                  </a:cubicBezTo>
                  <a:cubicBezTo>
                    <a:pt x="3771" y="837"/>
                    <a:pt x="3784" y="835"/>
                    <a:pt x="3794" y="832"/>
                  </a:cubicBezTo>
                  <a:cubicBezTo>
                    <a:pt x="3804" y="830"/>
                    <a:pt x="3810" y="820"/>
                    <a:pt x="3810" y="810"/>
                  </a:cubicBezTo>
                  <a:cubicBezTo>
                    <a:pt x="3811" y="799"/>
                    <a:pt x="3814" y="770"/>
                    <a:pt x="3805" y="765"/>
                  </a:cubicBezTo>
                  <a:cubicBezTo>
                    <a:pt x="3795" y="760"/>
                    <a:pt x="3785" y="757"/>
                    <a:pt x="3780" y="746"/>
                  </a:cubicBezTo>
                  <a:cubicBezTo>
                    <a:pt x="3774" y="734"/>
                    <a:pt x="3760" y="741"/>
                    <a:pt x="3759" y="725"/>
                  </a:cubicBezTo>
                  <a:cubicBezTo>
                    <a:pt x="3758" y="709"/>
                    <a:pt x="3762" y="708"/>
                    <a:pt x="3752" y="701"/>
                  </a:cubicBezTo>
                  <a:cubicBezTo>
                    <a:pt x="3743" y="693"/>
                    <a:pt x="3734" y="692"/>
                    <a:pt x="3734" y="681"/>
                  </a:cubicBezTo>
                  <a:cubicBezTo>
                    <a:pt x="3734" y="670"/>
                    <a:pt x="3736" y="669"/>
                    <a:pt x="3746" y="671"/>
                  </a:cubicBezTo>
                  <a:cubicBezTo>
                    <a:pt x="3756" y="673"/>
                    <a:pt x="3765" y="691"/>
                    <a:pt x="3771" y="681"/>
                  </a:cubicBezTo>
                  <a:cubicBezTo>
                    <a:pt x="3777" y="671"/>
                    <a:pt x="3775" y="668"/>
                    <a:pt x="3786" y="667"/>
                  </a:cubicBezTo>
                  <a:cubicBezTo>
                    <a:pt x="3797" y="666"/>
                    <a:pt x="3805" y="667"/>
                    <a:pt x="3807" y="658"/>
                  </a:cubicBezTo>
                  <a:cubicBezTo>
                    <a:pt x="3808" y="648"/>
                    <a:pt x="3814" y="632"/>
                    <a:pt x="3808" y="631"/>
                  </a:cubicBezTo>
                  <a:cubicBezTo>
                    <a:pt x="3803" y="630"/>
                    <a:pt x="3790" y="634"/>
                    <a:pt x="3790" y="622"/>
                  </a:cubicBezTo>
                  <a:cubicBezTo>
                    <a:pt x="3790" y="610"/>
                    <a:pt x="3795" y="615"/>
                    <a:pt x="3803" y="608"/>
                  </a:cubicBezTo>
                  <a:cubicBezTo>
                    <a:pt x="3812" y="602"/>
                    <a:pt x="3816" y="591"/>
                    <a:pt x="3805" y="588"/>
                  </a:cubicBezTo>
                  <a:cubicBezTo>
                    <a:pt x="3795" y="585"/>
                    <a:pt x="3796" y="579"/>
                    <a:pt x="3785" y="580"/>
                  </a:cubicBezTo>
                  <a:cubicBezTo>
                    <a:pt x="3773" y="581"/>
                    <a:pt x="3756" y="588"/>
                    <a:pt x="3752" y="579"/>
                  </a:cubicBezTo>
                  <a:cubicBezTo>
                    <a:pt x="3747" y="571"/>
                    <a:pt x="3738" y="559"/>
                    <a:pt x="3725" y="552"/>
                  </a:cubicBezTo>
                  <a:cubicBezTo>
                    <a:pt x="3712" y="545"/>
                    <a:pt x="3733" y="543"/>
                    <a:pt x="3743" y="543"/>
                  </a:cubicBezTo>
                  <a:cubicBezTo>
                    <a:pt x="3753" y="543"/>
                    <a:pt x="3747" y="537"/>
                    <a:pt x="3740" y="536"/>
                  </a:cubicBezTo>
                  <a:cubicBezTo>
                    <a:pt x="3733" y="534"/>
                    <a:pt x="3734" y="527"/>
                    <a:pt x="3719" y="529"/>
                  </a:cubicBezTo>
                  <a:cubicBezTo>
                    <a:pt x="3704" y="530"/>
                    <a:pt x="3674" y="532"/>
                    <a:pt x="3662" y="527"/>
                  </a:cubicBezTo>
                  <a:cubicBezTo>
                    <a:pt x="3650" y="522"/>
                    <a:pt x="3641" y="531"/>
                    <a:pt x="3628" y="521"/>
                  </a:cubicBezTo>
                  <a:cubicBezTo>
                    <a:pt x="3615" y="512"/>
                    <a:pt x="3601" y="514"/>
                    <a:pt x="3590" y="514"/>
                  </a:cubicBezTo>
                  <a:cubicBezTo>
                    <a:pt x="3580" y="514"/>
                    <a:pt x="3575" y="520"/>
                    <a:pt x="3565" y="520"/>
                  </a:cubicBezTo>
                  <a:cubicBezTo>
                    <a:pt x="3555" y="520"/>
                    <a:pt x="3541" y="511"/>
                    <a:pt x="3539" y="516"/>
                  </a:cubicBezTo>
                  <a:cubicBezTo>
                    <a:pt x="3537" y="521"/>
                    <a:pt x="3544" y="521"/>
                    <a:pt x="3542" y="530"/>
                  </a:cubicBezTo>
                  <a:cubicBezTo>
                    <a:pt x="3541" y="539"/>
                    <a:pt x="3537" y="579"/>
                    <a:pt x="3547" y="584"/>
                  </a:cubicBezTo>
                  <a:cubicBezTo>
                    <a:pt x="3558" y="590"/>
                    <a:pt x="3551" y="595"/>
                    <a:pt x="3562" y="595"/>
                  </a:cubicBezTo>
                  <a:cubicBezTo>
                    <a:pt x="3574" y="596"/>
                    <a:pt x="3578" y="599"/>
                    <a:pt x="3578" y="607"/>
                  </a:cubicBezTo>
                  <a:cubicBezTo>
                    <a:pt x="3578" y="616"/>
                    <a:pt x="3576" y="622"/>
                    <a:pt x="3569" y="621"/>
                  </a:cubicBezTo>
                  <a:cubicBezTo>
                    <a:pt x="3562" y="620"/>
                    <a:pt x="3555" y="623"/>
                    <a:pt x="3560" y="626"/>
                  </a:cubicBezTo>
                  <a:cubicBezTo>
                    <a:pt x="3564" y="629"/>
                    <a:pt x="3568" y="631"/>
                    <a:pt x="3557" y="633"/>
                  </a:cubicBezTo>
                  <a:cubicBezTo>
                    <a:pt x="3547" y="634"/>
                    <a:pt x="3532" y="638"/>
                    <a:pt x="3529" y="649"/>
                  </a:cubicBezTo>
                  <a:cubicBezTo>
                    <a:pt x="3527" y="660"/>
                    <a:pt x="3523" y="667"/>
                    <a:pt x="3523" y="678"/>
                  </a:cubicBezTo>
                  <a:cubicBezTo>
                    <a:pt x="3523" y="690"/>
                    <a:pt x="3521" y="699"/>
                    <a:pt x="3517" y="703"/>
                  </a:cubicBezTo>
                  <a:cubicBezTo>
                    <a:pt x="3512" y="708"/>
                    <a:pt x="3514" y="724"/>
                    <a:pt x="3504" y="726"/>
                  </a:cubicBezTo>
                  <a:cubicBezTo>
                    <a:pt x="3493" y="727"/>
                    <a:pt x="3495" y="727"/>
                    <a:pt x="3491" y="713"/>
                  </a:cubicBezTo>
                  <a:cubicBezTo>
                    <a:pt x="3486" y="700"/>
                    <a:pt x="3479" y="704"/>
                    <a:pt x="3477" y="695"/>
                  </a:cubicBezTo>
                  <a:cubicBezTo>
                    <a:pt x="3476" y="686"/>
                    <a:pt x="3466" y="686"/>
                    <a:pt x="3464" y="688"/>
                  </a:cubicBezTo>
                  <a:cubicBezTo>
                    <a:pt x="3461" y="689"/>
                    <a:pt x="3458" y="695"/>
                    <a:pt x="3451" y="700"/>
                  </a:cubicBezTo>
                  <a:cubicBezTo>
                    <a:pt x="3445" y="705"/>
                    <a:pt x="3451" y="719"/>
                    <a:pt x="3449" y="732"/>
                  </a:cubicBezTo>
                  <a:cubicBezTo>
                    <a:pt x="3447" y="745"/>
                    <a:pt x="3453" y="752"/>
                    <a:pt x="3464" y="755"/>
                  </a:cubicBezTo>
                  <a:cubicBezTo>
                    <a:pt x="3474" y="758"/>
                    <a:pt x="3484" y="759"/>
                    <a:pt x="3482" y="769"/>
                  </a:cubicBezTo>
                  <a:cubicBezTo>
                    <a:pt x="3481" y="779"/>
                    <a:pt x="3476" y="791"/>
                    <a:pt x="3465" y="789"/>
                  </a:cubicBezTo>
                  <a:cubicBezTo>
                    <a:pt x="3453" y="787"/>
                    <a:pt x="3449" y="784"/>
                    <a:pt x="3446" y="794"/>
                  </a:cubicBezTo>
                  <a:cubicBezTo>
                    <a:pt x="3443" y="803"/>
                    <a:pt x="3431" y="800"/>
                    <a:pt x="3431" y="807"/>
                  </a:cubicBezTo>
                  <a:cubicBezTo>
                    <a:pt x="3431" y="813"/>
                    <a:pt x="3421" y="810"/>
                    <a:pt x="3421" y="802"/>
                  </a:cubicBezTo>
                  <a:cubicBezTo>
                    <a:pt x="3421" y="794"/>
                    <a:pt x="3418" y="794"/>
                    <a:pt x="3412" y="787"/>
                  </a:cubicBezTo>
                  <a:cubicBezTo>
                    <a:pt x="3405" y="779"/>
                    <a:pt x="3375" y="758"/>
                    <a:pt x="3369" y="739"/>
                  </a:cubicBezTo>
                  <a:cubicBezTo>
                    <a:pt x="3363" y="719"/>
                    <a:pt x="3357" y="697"/>
                    <a:pt x="3364" y="695"/>
                  </a:cubicBezTo>
                  <a:cubicBezTo>
                    <a:pt x="3370" y="693"/>
                    <a:pt x="3367" y="696"/>
                    <a:pt x="3375" y="698"/>
                  </a:cubicBezTo>
                  <a:cubicBezTo>
                    <a:pt x="3384" y="701"/>
                    <a:pt x="3391" y="704"/>
                    <a:pt x="3393" y="697"/>
                  </a:cubicBezTo>
                  <a:cubicBezTo>
                    <a:pt x="3394" y="690"/>
                    <a:pt x="3399" y="696"/>
                    <a:pt x="3399" y="682"/>
                  </a:cubicBezTo>
                  <a:cubicBezTo>
                    <a:pt x="3399" y="668"/>
                    <a:pt x="3392" y="678"/>
                    <a:pt x="3392" y="663"/>
                  </a:cubicBezTo>
                  <a:cubicBezTo>
                    <a:pt x="3392" y="648"/>
                    <a:pt x="3393" y="638"/>
                    <a:pt x="3385" y="633"/>
                  </a:cubicBezTo>
                  <a:cubicBezTo>
                    <a:pt x="3378" y="627"/>
                    <a:pt x="3363" y="616"/>
                    <a:pt x="3348" y="609"/>
                  </a:cubicBezTo>
                  <a:cubicBezTo>
                    <a:pt x="3333" y="602"/>
                    <a:pt x="3323" y="590"/>
                    <a:pt x="3319" y="584"/>
                  </a:cubicBezTo>
                  <a:cubicBezTo>
                    <a:pt x="3314" y="579"/>
                    <a:pt x="3298" y="582"/>
                    <a:pt x="3291" y="589"/>
                  </a:cubicBezTo>
                  <a:cubicBezTo>
                    <a:pt x="3284" y="595"/>
                    <a:pt x="3280" y="610"/>
                    <a:pt x="3275" y="610"/>
                  </a:cubicBezTo>
                  <a:cubicBezTo>
                    <a:pt x="3270" y="611"/>
                    <a:pt x="3256" y="622"/>
                    <a:pt x="3260" y="632"/>
                  </a:cubicBezTo>
                  <a:cubicBezTo>
                    <a:pt x="3264" y="641"/>
                    <a:pt x="3266" y="652"/>
                    <a:pt x="3258" y="656"/>
                  </a:cubicBezTo>
                  <a:cubicBezTo>
                    <a:pt x="3249" y="660"/>
                    <a:pt x="3245" y="659"/>
                    <a:pt x="3245" y="668"/>
                  </a:cubicBezTo>
                  <a:cubicBezTo>
                    <a:pt x="3245" y="678"/>
                    <a:pt x="3244" y="693"/>
                    <a:pt x="3236" y="686"/>
                  </a:cubicBezTo>
                  <a:cubicBezTo>
                    <a:pt x="3227" y="679"/>
                    <a:pt x="3230" y="682"/>
                    <a:pt x="3225" y="663"/>
                  </a:cubicBezTo>
                  <a:cubicBezTo>
                    <a:pt x="3220" y="645"/>
                    <a:pt x="3227" y="630"/>
                    <a:pt x="3218" y="616"/>
                  </a:cubicBezTo>
                  <a:cubicBezTo>
                    <a:pt x="3210" y="602"/>
                    <a:pt x="3202" y="597"/>
                    <a:pt x="3202" y="587"/>
                  </a:cubicBezTo>
                  <a:cubicBezTo>
                    <a:pt x="3202" y="577"/>
                    <a:pt x="3209" y="577"/>
                    <a:pt x="3215" y="582"/>
                  </a:cubicBezTo>
                  <a:cubicBezTo>
                    <a:pt x="3221" y="587"/>
                    <a:pt x="3250" y="590"/>
                    <a:pt x="3245" y="575"/>
                  </a:cubicBezTo>
                  <a:cubicBezTo>
                    <a:pt x="3240" y="561"/>
                    <a:pt x="3221" y="564"/>
                    <a:pt x="3218" y="556"/>
                  </a:cubicBezTo>
                  <a:cubicBezTo>
                    <a:pt x="3214" y="547"/>
                    <a:pt x="3203" y="547"/>
                    <a:pt x="3198" y="550"/>
                  </a:cubicBezTo>
                  <a:cubicBezTo>
                    <a:pt x="3193" y="554"/>
                    <a:pt x="3187" y="552"/>
                    <a:pt x="3186" y="545"/>
                  </a:cubicBezTo>
                  <a:cubicBezTo>
                    <a:pt x="3185" y="539"/>
                    <a:pt x="3171" y="536"/>
                    <a:pt x="3163" y="536"/>
                  </a:cubicBezTo>
                  <a:cubicBezTo>
                    <a:pt x="3155" y="536"/>
                    <a:pt x="3148" y="541"/>
                    <a:pt x="3143" y="549"/>
                  </a:cubicBezTo>
                  <a:cubicBezTo>
                    <a:pt x="3138" y="558"/>
                    <a:pt x="3130" y="557"/>
                    <a:pt x="3117" y="546"/>
                  </a:cubicBezTo>
                  <a:cubicBezTo>
                    <a:pt x="3105" y="534"/>
                    <a:pt x="3098" y="538"/>
                    <a:pt x="3097" y="529"/>
                  </a:cubicBezTo>
                  <a:cubicBezTo>
                    <a:pt x="3097" y="521"/>
                    <a:pt x="3097" y="523"/>
                    <a:pt x="3107" y="519"/>
                  </a:cubicBezTo>
                  <a:cubicBezTo>
                    <a:pt x="3116" y="516"/>
                    <a:pt x="3124" y="504"/>
                    <a:pt x="3131" y="496"/>
                  </a:cubicBezTo>
                  <a:cubicBezTo>
                    <a:pt x="3138" y="489"/>
                    <a:pt x="3160" y="493"/>
                    <a:pt x="3157" y="479"/>
                  </a:cubicBezTo>
                  <a:cubicBezTo>
                    <a:pt x="3153" y="466"/>
                    <a:pt x="3141" y="450"/>
                    <a:pt x="3132" y="442"/>
                  </a:cubicBezTo>
                  <a:cubicBezTo>
                    <a:pt x="3124" y="434"/>
                    <a:pt x="3125" y="420"/>
                    <a:pt x="3109" y="420"/>
                  </a:cubicBezTo>
                  <a:cubicBezTo>
                    <a:pt x="3094" y="420"/>
                    <a:pt x="3087" y="430"/>
                    <a:pt x="3086" y="418"/>
                  </a:cubicBezTo>
                  <a:cubicBezTo>
                    <a:pt x="3084" y="405"/>
                    <a:pt x="3071" y="410"/>
                    <a:pt x="3071" y="393"/>
                  </a:cubicBezTo>
                  <a:cubicBezTo>
                    <a:pt x="3071" y="377"/>
                    <a:pt x="3085" y="367"/>
                    <a:pt x="3073" y="357"/>
                  </a:cubicBezTo>
                  <a:cubicBezTo>
                    <a:pt x="3061" y="346"/>
                    <a:pt x="3068" y="349"/>
                    <a:pt x="3056" y="340"/>
                  </a:cubicBezTo>
                  <a:cubicBezTo>
                    <a:pt x="3045" y="331"/>
                    <a:pt x="3045" y="326"/>
                    <a:pt x="3036" y="319"/>
                  </a:cubicBezTo>
                  <a:cubicBezTo>
                    <a:pt x="3026" y="311"/>
                    <a:pt x="3019" y="318"/>
                    <a:pt x="3016" y="309"/>
                  </a:cubicBezTo>
                  <a:cubicBezTo>
                    <a:pt x="3013" y="299"/>
                    <a:pt x="3013" y="298"/>
                    <a:pt x="3003" y="297"/>
                  </a:cubicBezTo>
                  <a:cubicBezTo>
                    <a:pt x="2993" y="296"/>
                    <a:pt x="2982" y="302"/>
                    <a:pt x="2980" y="296"/>
                  </a:cubicBezTo>
                  <a:cubicBezTo>
                    <a:pt x="2978" y="289"/>
                    <a:pt x="2968" y="296"/>
                    <a:pt x="2968" y="286"/>
                  </a:cubicBezTo>
                  <a:cubicBezTo>
                    <a:pt x="2967" y="275"/>
                    <a:pt x="2963" y="268"/>
                    <a:pt x="2976" y="268"/>
                  </a:cubicBezTo>
                  <a:cubicBezTo>
                    <a:pt x="2990" y="267"/>
                    <a:pt x="2997" y="268"/>
                    <a:pt x="3002" y="253"/>
                  </a:cubicBezTo>
                  <a:cubicBezTo>
                    <a:pt x="3007" y="237"/>
                    <a:pt x="3015" y="234"/>
                    <a:pt x="3023" y="228"/>
                  </a:cubicBezTo>
                  <a:cubicBezTo>
                    <a:pt x="3032" y="223"/>
                    <a:pt x="3040" y="217"/>
                    <a:pt x="3034" y="205"/>
                  </a:cubicBezTo>
                  <a:cubicBezTo>
                    <a:pt x="3029" y="194"/>
                    <a:pt x="3025" y="193"/>
                    <a:pt x="3016" y="187"/>
                  </a:cubicBezTo>
                  <a:cubicBezTo>
                    <a:pt x="3006" y="182"/>
                    <a:pt x="3008" y="175"/>
                    <a:pt x="3023" y="174"/>
                  </a:cubicBezTo>
                  <a:cubicBezTo>
                    <a:pt x="3038" y="173"/>
                    <a:pt x="3056" y="171"/>
                    <a:pt x="3064" y="179"/>
                  </a:cubicBezTo>
                  <a:cubicBezTo>
                    <a:pt x="3071" y="187"/>
                    <a:pt x="3082" y="183"/>
                    <a:pt x="3096" y="183"/>
                  </a:cubicBezTo>
                  <a:cubicBezTo>
                    <a:pt x="3110" y="183"/>
                    <a:pt x="3132" y="182"/>
                    <a:pt x="3138" y="170"/>
                  </a:cubicBezTo>
                  <a:cubicBezTo>
                    <a:pt x="3145" y="157"/>
                    <a:pt x="3159" y="127"/>
                    <a:pt x="3172" y="117"/>
                  </a:cubicBezTo>
                  <a:cubicBezTo>
                    <a:pt x="3185" y="107"/>
                    <a:pt x="3190" y="94"/>
                    <a:pt x="3206" y="85"/>
                  </a:cubicBezTo>
                  <a:cubicBezTo>
                    <a:pt x="3222" y="76"/>
                    <a:pt x="3217" y="72"/>
                    <a:pt x="3225" y="58"/>
                  </a:cubicBezTo>
                  <a:cubicBezTo>
                    <a:pt x="3233" y="43"/>
                    <a:pt x="3242" y="44"/>
                    <a:pt x="3231" y="38"/>
                  </a:cubicBezTo>
                  <a:cubicBezTo>
                    <a:pt x="3219" y="31"/>
                    <a:pt x="3219" y="26"/>
                    <a:pt x="3209" y="25"/>
                  </a:cubicBezTo>
                  <a:cubicBezTo>
                    <a:pt x="3199" y="25"/>
                    <a:pt x="3193" y="25"/>
                    <a:pt x="3185" y="20"/>
                  </a:cubicBezTo>
                  <a:cubicBezTo>
                    <a:pt x="3177" y="16"/>
                    <a:pt x="3174" y="15"/>
                    <a:pt x="3163" y="15"/>
                  </a:cubicBezTo>
                  <a:cubicBezTo>
                    <a:pt x="3151" y="15"/>
                    <a:pt x="3132" y="16"/>
                    <a:pt x="3129" y="20"/>
                  </a:cubicBezTo>
                  <a:cubicBezTo>
                    <a:pt x="3125" y="23"/>
                    <a:pt x="3117" y="30"/>
                    <a:pt x="3108" y="24"/>
                  </a:cubicBezTo>
                  <a:cubicBezTo>
                    <a:pt x="3099" y="18"/>
                    <a:pt x="3093" y="10"/>
                    <a:pt x="3084" y="10"/>
                  </a:cubicBezTo>
                  <a:cubicBezTo>
                    <a:pt x="3074" y="10"/>
                    <a:pt x="3077" y="0"/>
                    <a:pt x="3057" y="1"/>
                  </a:cubicBezTo>
                  <a:cubicBezTo>
                    <a:pt x="3037" y="2"/>
                    <a:pt x="2979" y="2"/>
                    <a:pt x="2968" y="5"/>
                  </a:cubicBezTo>
                  <a:cubicBezTo>
                    <a:pt x="2956" y="8"/>
                    <a:pt x="2954" y="8"/>
                    <a:pt x="2943" y="13"/>
                  </a:cubicBezTo>
                  <a:cubicBezTo>
                    <a:pt x="2931" y="19"/>
                    <a:pt x="2930" y="18"/>
                    <a:pt x="2921" y="18"/>
                  </a:cubicBezTo>
                  <a:cubicBezTo>
                    <a:pt x="2912" y="17"/>
                    <a:pt x="2909" y="30"/>
                    <a:pt x="2915" y="37"/>
                  </a:cubicBezTo>
                  <a:cubicBezTo>
                    <a:pt x="2920" y="44"/>
                    <a:pt x="2936" y="51"/>
                    <a:pt x="2919" y="51"/>
                  </a:cubicBezTo>
                  <a:cubicBezTo>
                    <a:pt x="2902" y="51"/>
                    <a:pt x="2889" y="56"/>
                    <a:pt x="2887" y="64"/>
                  </a:cubicBezTo>
                  <a:cubicBezTo>
                    <a:pt x="2886" y="72"/>
                    <a:pt x="2887" y="72"/>
                    <a:pt x="2889" y="76"/>
                  </a:cubicBezTo>
                  <a:cubicBezTo>
                    <a:pt x="2891" y="81"/>
                    <a:pt x="2896" y="84"/>
                    <a:pt x="2892" y="91"/>
                  </a:cubicBezTo>
                  <a:cubicBezTo>
                    <a:pt x="2889" y="99"/>
                    <a:pt x="2888" y="106"/>
                    <a:pt x="2891" y="108"/>
                  </a:cubicBezTo>
                  <a:cubicBezTo>
                    <a:pt x="2894" y="110"/>
                    <a:pt x="2894" y="112"/>
                    <a:pt x="2894" y="127"/>
                  </a:cubicBezTo>
                  <a:cubicBezTo>
                    <a:pt x="2894" y="141"/>
                    <a:pt x="2897" y="143"/>
                    <a:pt x="2890" y="147"/>
                  </a:cubicBezTo>
                  <a:cubicBezTo>
                    <a:pt x="2884" y="150"/>
                    <a:pt x="2884" y="162"/>
                    <a:pt x="2891" y="172"/>
                  </a:cubicBezTo>
                  <a:cubicBezTo>
                    <a:pt x="2898" y="182"/>
                    <a:pt x="2920" y="188"/>
                    <a:pt x="2921" y="210"/>
                  </a:cubicBezTo>
                  <a:cubicBezTo>
                    <a:pt x="2922" y="231"/>
                    <a:pt x="2920" y="263"/>
                    <a:pt x="2923" y="268"/>
                  </a:cubicBezTo>
                  <a:cubicBezTo>
                    <a:pt x="2927" y="274"/>
                    <a:pt x="2926" y="283"/>
                    <a:pt x="2912" y="291"/>
                  </a:cubicBezTo>
                  <a:cubicBezTo>
                    <a:pt x="2899" y="299"/>
                    <a:pt x="2904" y="301"/>
                    <a:pt x="2893" y="304"/>
                  </a:cubicBezTo>
                  <a:cubicBezTo>
                    <a:pt x="2882" y="308"/>
                    <a:pt x="2876" y="319"/>
                    <a:pt x="2882" y="324"/>
                  </a:cubicBezTo>
                  <a:cubicBezTo>
                    <a:pt x="2889" y="329"/>
                    <a:pt x="2901" y="330"/>
                    <a:pt x="2905" y="330"/>
                  </a:cubicBezTo>
                  <a:cubicBezTo>
                    <a:pt x="2910" y="330"/>
                    <a:pt x="2907" y="338"/>
                    <a:pt x="2906" y="344"/>
                  </a:cubicBezTo>
                  <a:cubicBezTo>
                    <a:pt x="2905" y="351"/>
                    <a:pt x="2898" y="354"/>
                    <a:pt x="2888" y="348"/>
                  </a:cubicBezTo>
                  <a:cubicBezTo>
                    <a:pt x="2878" y="342"/>
                    <a:pt x="2870" y="332"/>
                    <a:pt x="2864" y="332"/>
                  </a:cubicBezTo>
                  <a:cubicBezTo>
                    <a:pt x="2857" y="332"/>
                    <a:pt x="2860" y="344"/>
                    <a:pt x="2851" y="352"/>
                  </a:cubicBezTo>
                  <a:cubicBezTo>
                    <a:pt x="2841" y="359"/>
                    <a:pt x="2839" y="368"/>
                    <a:pt x="2838" y="374"/>
                  </a:cubicBezTo>
                  <a:cubicBezTo>
                    <a:pt x="2837" y="380"/>
                    <a:pt x="2842" y="385"/>
                    <a:pt x="2836" y="390"/>
                  </a:cubicBezTo>
                  <a:cubicBezTo>
                    <a:pt x="2831" y="394"/>
                    <a:pt x="2826" y="402"/>
                    <a:pt x="2833" y="407"/>
                  </a:cubicBezTo>
                  <a:cubicBezTo>
                    <a:pt x="2840" y="411"/>
                    <a:pt x="2841" y="424"/>
                    <a:pt x="2855" y="425"/>
                  </a:cubicBezTo>
                  <a:cubicBezTo>
                    <a:pt x="2869" y="425"/>
                    <a:pt x="2875" y="425"/>
                    <a:pt x="2874" y="430"/>
                  </a:cubicBezTo>
                  <a:cubicBezTo>
                    <a:pt x="2872" y="434"/>
                    <a:pt x="2872" y="439"/>
                    <a:pt x="2861" y="439"/>
                  </a:cubicBezTo>
                  <a:cubicBezTo>
                    <a:pt x="2850" y="439"/>
                    <a:pt x="2846" y="441"/>
                    <a:pt x="2843" y="451"/>
                  </a:cubicBezTo>
                  <a:cubicBezTo>
                    <a:pt x="2840" y="461"/>
                    <a:pt x="2836" y="461"/>
                    <a:pt x="2837" y="473"/>
                  </a:cubicBezTo>
                  <a:cubicBezTo>
                    <a:pt x="2839" y="486"/>
                    <a:pt x="2834" y="493"/>
                    <a:pt x="2844" y="498"/>
                  </a:cubicBezTo>
                  <a:cubicBezTo>
                    <a:pt x="2853" y="502"/>
                    <a:pt x="2859" y="516"/>
                    <a:pt x="2866" y="519"/>
                  </a:cubicBezTo>
                  <a:cubicBezTo>
                    <a:pt x="2873" y="522"/>
                    <a:pt x="2889" y="531"/>
                    <a:pt x="2900" y="533"/>
                  </a:cubicBezTo>
                  <a:cubicBezTo>
                    <a:pt x="2910" y="534"/>
                    <a:pt x="2913" y="544"/>
                    <a:pt x="2923" y="544"/>
                  </a:cubicBezTo>
                  <a:cubicBezTo>
                    <a:pt x="2933" y="543"/>
                    <a:pt x="2962" y="545"/>
                    <a:pt x="2966" y="554"/>
                  </a:cubicBezTo>
                  <a:cubicBezTo>
                    <a:pt x="2970" y="564"/>
                    <a:pt x="2986" y="559"/>
                    <a:pt x="2986" y="570"/>
                  </a:cubicBezTo>
                  <a:cubicBezTo>
                    <a:pt x="2986" y="582"/>
                    <a:pt x="2975" y="577"/>
                    <a:pt x="2981" y="585"/>
                  </a:cubicBezTo>
                  <a:cubicBezTo>
                    <a:pt x="2987" y="594"/>
                    <a:pt x="2994" y="601"/>
                    <a:pt x="2987" y="607"/>
                  </a:cubicBezTo>
                  <a:cubicBezTo>
                    <a:pt x="2980" y="614"/>
                    <a:pt x="2972" y="614"/>
                    <a:pt x="2968" y="620"/>
                  </a:cubicBezTo>
                  <a:cubicBezTo>
                    <a:pt x="2965" y="627"/>
                    <a:pt x="2959" y="620"/>
                    <a:pt x="2959" y="628"/>
                  </a:cubicBezTo>
                  <a:cubicBezTo>
                    <a:pt x="2959" y="636"/>
                    <a:pt x="2959" y="643"/>
                    <a:pt x="2970" y="643"/>
                  </a:cubicBezTo>
                  <a:cubicBezTo>
                    <a:pt x="2980" y="643"/>
                    <a:pt x="2996" y="652"/>
                    <a:pt x="2998" y="641"/>
                  </a:cubicBezTo>
                  <a:cubicBezTo>
                    <a:pt x="3000" y="630"/>
                    <a:pt x="3008" y="633"/>
                    <a:pt x="3008" y="622"/>
                  </a:cubicBezTo>
                  <a:cubicBezTo>
                    <a:pt x="3008" y="611"/>
                    <a:pt x="3009" y="608"/>
                    <a:pt x="3016" y="608"/>
                  </a:cubicBezTo>
                  <a:cubicBezTo>
                    <a:pt x="3022" y="608"/>
                    <a:pt x="3018" y="617"/>
                    <a:pt x="3018" y="627"/>
                  </a:cubicBezTo>
                  <a:cubicBezTo>
                    <a:pt x="3018" y="637"/>
                    <a:pt x="3026" y="655"/>
                    <a:pt x="3017" y="662"/>
                  </a:cubicBezTo>
                  <a:cubicBezTo>
                    <a:pt x="3008" y="668"/>
                    <a:pt x="2996" y="670"/>
                    <a:pt x="2990" y="681"/>
                  </a:cubicBezTo>
                  <a:cubicBezTo>
                    <a:pt x="2983" y="692"/>
                    <a:pt x="2982" y="696"/>
                    <a:pt x="2972" y="698"/>
                  </a:cubicBezTo>
                  <a:cubicBezTo>
                    <a:pt x="2962" y="700"/>
                    <a:pt x="2958" y="704"/>
                    <a:pt x="2955" y="711"/>
                  </a:cubicBezTo>
                  <a:cubicBezTo>
                    <a:pt x="2953" y="717"/>
                    <a:pt x="2946" y="721"/>
                    <a:pt x="2940" y="717"/>
                  </a:cubicBezTo>
                  <a:cubicBezTo>
                    <a:pt x="2935" y="713"/>
                    <a:pt x="2935" y="709"/>
                    <a:pt x="2922" y="712"/>
                  </a:cubicBezTo>
                  <a:cubicBezTo>
                    <a:pt x="2910" y="715"/>
                    <a:pt x="2910" y="714"/>
                    <a:pt x="2905" y="724"/>
                  </a:cubicBezTo>
                  <a:cubicBezTo>
                    <a:pt x="2900" y="733"/>
                    <a:pt x="2889" y="743"/>
                    <a:pt x="2893" y="751"/>
                  </a:cubicBezTo>
                  <a:cubicBezTo>
                    <a:pt x="2897" y="760"/>
                    <a:pt x="2901" y="759"/>
                    <a:pt x="2907" y="769"/>
                  </a:cubicBezTo>
                  <a:cubicBezTo>
                    <a:pt x="2914" y="780"/>
                    <a:pt x="2912" y="792"/>
                    <a:pt x="2916" y="794"/>
                  </a:cubicBezTo>
                  <a:cubicBezTo>
                    <a:pt x="2920" y="795"/>
                    <a:pt x="2931" y="801"/>
                    <a:pt x="2921" y="807"/>
                  </a:cubicBezTo>
                  <a:cubicBezTo>
                    <a:pt x="2911" y="814"/>
                    <a:pt x="2910" y="822"/>
                    <a:pt x="2902" y="810"/>
                  </a:cubicBezTo>
                  <a:cubicBezTo>
                    <a:pt x="2895" y="799"/>
                    <a:pt x="2899" y="794"/>
                    <a:pt x="2890" y="793"/>
                  </a:cubicBezTo>
                  <a:cubicBezTo>
                    <a:pt x="2882" y="792"/>
                    <a:pt x="2879" y="797"/>
                    <a:pt x="2879" y="802"/>
                  </a:cubicBezTo>
                  <a:cubicBezTo>
                    <a:pt x="2878" y="807"/>
                    <a:pt x="2869" y="814"/>
                    <a:pt x="2867" y="803"/>
                  </a:cubicBezTo>
                  <a:cubicBezTo>
                    <a:pt x="2864" y="792"/>
                    <a:pt x="2869" y="788"/>
                    <a:pt x="2860" y="784"/>
                  </a:cubicBezTo>
                  <a:cubicBezTo>
                    <a:pt x="2851" y="781"/>
                    <a:pt x="2844" y="772"/>
                    <a:pt x="2850" y="763"/>
                  </a:cubicBezTo>
                  <a:cubicBezTo>
                    <a:pt x="2857" y="754"/>
                    <a:pt x="2859" y="749"/>
                    <a:pt x="2860" y="736"/>
                  </a:cubicBezTo>
                  <a:cubicBezTo>
                    <a:pt x="2861" y="724"/>
                    <a:pt x="2867" y="730"/>
                    <a:pt x="2868" y="718"/>
                  </a:cubicBezTo>
                  <a:cubicBezTo>
                    <a:pt x="2869" y="706"/>
                    <a:pt x="2890" y="704"/>
                    <a:pt x="2876" y="698"/>
                  </a:cubicBezTo>
                  <a:cubicBezTo>
                    <a:pt x="2862" y="691"/>
                    <a:pt x="2857" y="696"/>
                    <a:pt x="2852" y="703"/>
                  </a:cubicBezTo>
                  <a:cubicBezTo>
                    <a:pt x="2847" y="710"/>
                    <a:pt x="2842" y="725"/>
                    <a:pt x="2839" y="718"/>
                  </a:cubicBezTo>
                  <a:cubicBezTo>
                    <a:pt x="2835" y="711"/>
                    <a:pt x="2840" y="700"/>
                    <a:pt x="2830" y="699"/>
                  </a:cubicBezTo>
                  <a:cubicBezTo>
                    <a:pt x="2820" y="698"/>
                    <a:pt x="2808" y="700"/>
                    <a:pt x="2802" y="691"/>
                  </a:cubicBezTo>
                  <a:cubicBezTo>
                    <a:pt x="2796" y="683"/>
                    <a:pt x="2788" y="665"/>
                    <a:pt x="2801" y="666"/>
                  </a:cubicBezTo>
                  <a:cubicBezTo>
                    <a:pt x="2814" y="668"/>
                    <a:pt x="2829" y="681"/>
                    <a:pt x="2836" y="676"/>
                  </a:cubicBezTo>
                  <a:cubicBezTo>
                    <a:pt x="2843" y="670"/>
                    <a:pt x="2856" y="670"/>
                    <a:pt x="2864" y="670"/>
                  </a:cubicBezTo>
                  <a:cubicBezTo>
                    <a:pt x="2873" y="670"/>
                    <a:pt x="2883" y="678"/>
                    <a:pt x="2892" y="674"/>
                  </a:cubicBezTo>
                  <a:cubicBezTo>
                    <a:pt x="2900" y="670"/>
                    <a:pt x="2923" y="678"/>
                    <a:pt x="2928" y="665"/>
                  </a:cubicBezTo>
                  <a:cubicBezTo>
                    <a:pt x="2933" y="652"/>
                    <a:pt x="2943" y="643"/>
                    <a:pt x="2935" y="635"/>
                  </a:cubicBezTo>
                  <a:cubicBezTo>
                    <a:pt x="2927" y="627"/>
                    <a:pt x="2930" y="625"/>
                    <a:pt x="2925" y="618"/>
                  </a:cubicBezTo>
                  <a:cubicBezTo>
                    <a:pt x="2920" y="611"/>
                    <a:pt x="2909" y="602"/>
                    <a:pt x="2900" y="602"/>
                  </a:cubicBezTo>
                  <a:cubicBezTo>
                    <a:pt x="2892" y="602"/>
                    <a:pt x="2875" y="602"/>
                    <a:pt x="2876" y="595"/>
                  </a:cubicBezTo>
                  <a:cubicBezTo>
                    <a:pt x="2877" y="587"/>
                    <a:pt x="2870" y="587"/>
                    <a:pt x="2865" y="587"/>
                  </a:cubicBezTo>
                  <a:cubicBezTo>
                    <a:pt x="2860" y="587"/>
                    <a:pt x="2851" y="582"/>
                    <a:pt x="2859" y="574"/>
                  </a:cubicBezTo>
                  <a:cubicBezTo>
                    <a:pt x="2866" y="565"/>
                    <a:pt x="2876" y="558"/>
                    <a:pt x="2881" y="567"/>
                  </a:cubicBezTo>
                  <a:cubicBezTo>
                    <a:pt x="2886" y="577"/>
                    <a:pt x="2889" y="579"/>
                    <a:pt x="2896" y="578"/>
                  </a:cubicBezTo>
                  <a:cubicBezTo>
                    <a:pt x="2903" y="577"/>
                    <a:pt x="2917" y="583"/>
                    <a:pt x="2920" y="578"/>
                  </a:cubicBezTo>
                  <a:cubicBezTo>
                    <a:pt x="2922" y="573"/>
                    <a:pt x="2924" y="562"/>
                    <a:pt x="2917" y="562"/>
                  </a:cubicBezTo>
                  <a:cubicBezTo>
                    <a:pt x="2910" y="562"/>
                    <a:pt x="2912" y="548"/>
                    <a:pt x="2902" y="548"/>
                  </a:cubicBezTo>
                  <a:cubicBezTo>
                    <a:pt x="2891" y="548"/>
                    <a:pt x="2887" y="543"/>
                    <a:pt x="2879" y="548"/>
                  </a:cubicBezTo>
                  <a:cubicBezTo>
                    <a:pt x="2872" y="553"/>
                    <a:pt x="2868" y="554"/>
                    <a:pt x="2857" y="551"/>
                  </a:cubicBezTo>
                  <a:cubicBezTo>
                    <a:pt x="2845" y="547"/>
                    <a:pt x="2828" y="544"/>
                    <a:pt x="2823" y="549"/>
                  </a:cubicBezTo>
                  <a:cubicBezTo>
                    <a:pt x="2818" y="555"/>
                    <a:pt x="2815" y="554"/>
                    <a:pt x="2804" y="547"/>
                  </a:cubicBezTo>
                  <a:cubicBezTo>
                    <a:pt x="2793" y="539"/>
                    <a:pt x="2791" y="536"/>
                    <a:pt x="2780" y="527"/>
                  </a:cubicBezTo>
                  <a:cubicBezTo>
                    <a:pt x="2768" y="518"/>
                    <a:pt x="2757" y="510"/>
                    <a:pt x="2746" y="514"/>
                  </a:cubicBezTo>
                  <a:cubicBezTo>
                    <a:pt x="2735" y="517"/>
                    <a:pt x="2730" y="523"/>
                    <a:pt x="2724" y="534"/>
                  </a:cubicBezTo>
                  <a:cubicBezTo>
                    <a:pt x="2717" y="544"/>
                    <a:pt x="2712" y="574"/>
                    <a:pt x="2702" y="579"/>
                  </a:cubicBezTo>
                  <a:cubicBezTo>
                    <a:pt x="2692" y="585"/>
                    <a:pt x="2692" y="595"/>
                    <a:pt x="2674" y="595"/>
                  </a:cubicBezTo>
                  <a:cubicBezTo>
                    <a:pt x="2657" y="595"/>
                    <a:pt x="2648" y="597"/>
                    <a:pt x="2648" y="607"/>
                  </a:cubicBezTo>
                  <a:cubicBezTo>
                    <a:pt x="2648" y="616"/>
                    <a:pt x="2654" y="637"/>
                    <a:pt x="2664" y="634"/>
                  </a:cubicBezTo>
                  <a:cubicBezTo>
                    <a:pt x="2675" y="631"/>
                    <a:pt x="2685" y="622"/>
                    <a:pt x="2692" y="632"/>
                  </a:cubicBezTo>
                  <a:cubicBezTo>
                    <a:pt x="2699" y="642"/>
                    <a:pt x="2703" y="643"/>
                    <a:pt x="2714" y="643"/>
                  </a:cubicBezTo>
                  <a:cubicBezTo>
                    <a:pt x="2725" y="643"/>
                    <a:pt x="2730" y="650"/>
                    <a:pt x="2743" y="651"/>
                  </a:cubicBezTo>
                  <a:cubicBezTo>
                    <a:pt x="2755" y="652"/>
                    <a:pt x="2770" y="650"/>
                    <a:pt x="2770" y="656"/>
                  </a:cubicBezTo>
                  <a:cubicBezTo>
                    <a:pt x="2770" y="662"/>
                    <a:pt x="2748" y="658"/>
                    <a:pt x="2748" y="667"/>
                  </a:cubicBezTo>
                  <a:cubicBezTo>
                    <a:pt x="2748" y="676"/>
                    <a:pt x="2748" y="682"/>
                    <a:pt x="2738" y="681"/>
                  </a:cubicBezTo>
                  <a:cubicBezTo>
                    <a:pt x="2728" y="681"/>
                    <a:pt x="2722" y="681"/>
                    <a:pt x="2713" y="678"/>
                  </a:cubicBezTo>
                  <a:cubicBezTo>
                    <a:pt x="2705" y="676"/>
                    <a:pt x="2697" y="678"/>
                    <a:pt x="2702" y="690"/>
                  </a:cubicBezTo>
                  <a:cubicBezTo>
                    <a:pt x="2707" y="702"/>
                    <a:pt x="2715" y="696"/>
                    <a:pt x="2715" y="705"/>
                  </a:cubicBezTo>
                  <a:cubicBezTo>
                    <a:pt x="2715" y="714"/>
                    <a:pt x="2700" y="713"/>
                    <a:pt x="2700" y="723"/>
                  </a:cubicBezTo>
                  <a:cubicBezTo>
                    <a:pt x="2700" y="732"/>
                    <a:pt x="2697" y="736"/>
                    <a:pt x="2702" y="736"/>
                  </a:cubicBezTo>
                  <a:cubicBezTo>
                    <a:pt x="2707" y="736"/>
                    <a:pt x="2712" y="746"/>
                    <a:pt x="2703" y="748"/>
                  </a:cubicBezTo>
                  <a:cubicBezTo>
                    <a:pt x="2695" y="750"/>
                    <a:pt x="2698" y="759"/>
                    <a:pt x="2676" y="753"/>
                  </a:cubicBezTo>
                  <a:cubicBezTo>
                    <a:pt x="2654" y="747"/>
                    <a:pt x="2659" y="744"/>
                    <a:pt x="2643" y="746"/>
                  </a:cubicBezTo>
                  <a:cubicBezTo>
                    <a:pt x="2626" y="747"/>
                    <a:pt x="2624" y="749"/>
                    <a:pt x="2619" y="743"/>
                  </a:cubicBezTo>
                  <a:cubicBezTo>
                    <a:pt x="2614" y="736"/>
                    <a:pt x="2606" y="734"/>
                    <a:pt x="2599" y="734"/>
                  </a:cubicBezTo>
                  <a:cubicBezTo>
                    <a:pt x="2593" y="734"/>
                    <a:pt x="2599" y="744"/>
                    <a:pt x="2581" y="744"/>
                  </a:cubicBezTo>
                  <a:cubicBezTo>
                    <a:pt x="2563" y="745"/>
                    <a:pt x="2552" y="741"/>
                    <a:pt x="2543" y="746"/>
                  </a:cubicBezTo>
                  <a:cubicBezTo>
                    <a:pt x="2533" y="751"/>
                    <a:pt x="2532" y="752"/>
                    <a:pt x="2506" y="754"/>
                  </a:cubicBezTo>
                  <a:cubicBezTo>
                    <a:pt x="2480" y="755"/>
                    <a:pt x="2474" y="755"/>
                    <a:pt x="2464" y="749"/>
                  </a:cubicBezTo>
                  <a:cubicBezTo>
                    <a:pt x="2455" y="744"/>
                    <a:pt x="2452" y="745"/>
                    <a:pt x="2443" y="739"/>
                  </a:cubicBezTo>
                  <a:cubicBezTo>
                    <a:pt x="2434" y="734"/>
                    <a:pt x="2424" y="734"/>
                    <a:pt x="2419" y="726"/>
                  </a:cubicBezTo>
                  <a:cubicBezTo>
                    <a:pt x="2414" y="717"/>
                    <a:pt x="2412" y="710"/>
                    <a:pt x="2403" y="711"/>
                  </a:cubicBezTo>
                  <a:cubicBezTo>
                    <a:pt x="2394" y="713"/>
                    <a:pt x="2403" y="713"/>
                    <a:pt x="2389" y="716"/>
                  </a:cubicBezTo>
                  <a:cubicBezTo>
                    <a:pt x="2374" y="719"/>
                    <a:pt x="2346" y="723"/>
                    <a:pt x="2343" y="716"/>
                  </a:cubicBezTo>
                  <a:cubicBezTo>
                    <a:pt x="2339" y="710"/>
                    <a:pt x="2333" y="695"/>
                    <a:pt x="2318" y="695"/>
                  </a:cubicBezTo>
                  <a:cubicBezTo>
                    <a:pt x="2304" y="695"/>
                    <a:pt x="2304" y="685"/>
                    <a:pt x="2293" y="684"/>
                  </a:cubicBezTo>
                  <a:cubicBezTo>
                    <a:pt x="2282" y="683"/>
                    <a:pt x="2280" y="684"/>
                    <a:pt x="2276" y="672"/>
                  </a:cubicBezTo>
                  <a:cubicBezTo>
                    <a:pt x="2272" y="660"/>
                    <a:pt x="2271" y="634"/>
                    <a:pt x="2259" y="629"/>
                  </a:cubicBezTo>
                  <a:cubicBezTo>
                    <a:pt x="2247" y="624"/>
                    <a:pt x="2249" y="628"/>
                    <a:pt x="2242" y="622"/>
                  </a:cubicBezTo>
                  <a:cubicBezTo>
                    <a:pt x="2236" y="615"/>
                    <a:pt x="2232" y="620"/>
                    <a:pt x="2216" y="620"/>
                  </a:cubicBezTo>
                  <a:cubicBezTo>
                    <a:pt x="2200" y="620"/>
                    <a:pt x="2203" y="633"/>
                    <a:pt x="2185" y="631"/>
                  </a:cubicBezTo>
                  <a:cubicBezTo>
                    <a:pt x="2167" y="630"/>
                    <a:pt x="2171" y="640"/>
                    <a:pt x="2157" y="643"/>
                  </a:cubicBezTo>
                  <a:cubicBezTo>
                    <a:pt x="2143" y="645"/>
                    <a:pt x="2125" y="651"/>
                    <a:pt x="2109" y="651"/>
                  </a:cubicBezTo>
                  <a:cubicBezTo>
                    <a:pt x="2093" y="651"/>
                    <a:pt x="2082" y="653"/>
                    <a:pt x="2079" y="661"/>
                  </a:cubicBezTo>
                  <a:cubicBezTo>
                    <a:pt x="2076" y="669"/>
                    <a:pt x="2077" y="674"/>
                    <a:pt x="2068" y="681"/>
                  </a:cubicBezTo>
                  <a:cubicBezTo>
                    <a:pt x="2059" y="688"/>
                    <a:pt x="2046" y="701"/>
                    <a:pt x="2058" y="701"/>
                  </a:cubicBezTo>
                  <a:cubicBezTo>
                    <a:pt x="2070" y="701"/>
                    <a:pt x="2085" y="697"/>
                    <a:pt x="2089" y="702"/>
                  </a:cubicBezTo>
                  <a:cubicBezTo>
                    <a:pt x="2093" y="707"/>
                    <a:pt x="2100" y="712"/>
                    <a:pt x="2108" y="710"/>
                  </a:cubicBezTo>
                  <a:cubicBezTo>
                    <a:pt x="2116" y="708"/>
                    <a:pt x="2118" y="710"/>
                    <a:pt x="2120" y="701"/>
                  </a:cubicBezTo>
                  <a:cubicBezTo>
                    <a:pt x="2122" y="691"/>
                    <a:pt x="2128" y="691"/>
                    <a:pt x="2137" y="692"/>
                  </a:cubicBezTo>
                  <a:cubicBezTo>
                    <a:pt x="2146" y="693"/>
                    <a:pt x="2146" y="704"/>
                    <a:pt x="2156" y="701"/>
                  </a:cubicBezTo>
                  <a:cubicBezTo>
                    <a:pt x="2165" y="697"/>
                    <a:pt x="2161" y="694"/>
                    <a:pt x="2172" y="691"/>
                  </a:cubicBezTo>
                  <a:cubicBezTo>
                    <a:pt x="2183" y="687"/>
                    <a:pt x="2195" y="688"/>
                    <a:pt x="2197" y="681"/>
                  </a:cubicBezTo>
                  <a:cubicBezTo>
                    <a:pt x="2199" y="674"/>
                    <a:pt x="2203" y="670"/>
                    <a:pt x="2209" y="669"/>
                  </a:cubicBezTo>
                  <a:cubicBezTo>
                    <a:pt x="2216" y="668"/>
                    <a:pt x="2219" y="659"/>
                    <a:pt x="2227" y="659"/>
                  </a:cubicBezTo>
                  <a:cubicBezTo>
                    <a:pt x="2234" y="659"/>
                    <a:pt x="2250" y="661"/>
                    <a:pt x="2249" y="667"/>
                  </a:cubicBezTo>
                  <a:cubicBezTo>
                    <a:pt x="2247" y="673"/>
                    <a:pt x="2239" y="680"/>
                    <a:pt x="2226" y="678"/>
                  </a:cubicBezTo>
                  <a:cubicBezTo>
                    <a:pt x="2213" y="677"/>
                    <a:pt x="2223" y="691"/>
                    <a:pt x="2203" y="697"/>
                  </a:cubicBezTo>
                  <a:cubicBezTo>
                    <a:pt x="2183" y="703"/>
                    <a:pt x="2179" y="713"/>
                    <a:pt x="2163" y="713"/>
                  </a:cubicBezTo>
                  <a:cubicBezTo>
                    <a:pt x="2147" y="713"/>
                    <a:pt x="2146" y="721"/>
                    <a:pt x="2135" y="721"/>
                  </a:cubicBezTo>
                  <a:cubicBezTo>
                    <a:pt x="2123" y="721"/>
                    <a:pt x="2109" y="718"/>
                    <a:pt x="2113" y="724"/>
                  </a:cubicBezTo>
                  <a:cubicBezTo>
                    <a:pt x="2116" y="731"/>
                    <a:pt x="2120" y="737"/>
                    <a:pt x="2117" y="743"/>
                  </a:cubicBezTo>
                  <a:cubicBezTo>
                    <a:pt x="2113" y="749"/>
                    <a:pt x="2093" y="767"/>
                    <a:pt x="2106" y="769"/>
                  </a:cubicBezTo>
                  <a:cubicBezTo>
                    <a:pt x="2119" y="772"/>
                    <a:pt x="2123" y="762"/>
                    <a:pt x="2128" y="778"/>
                  </a:cubicBezTo>
                  <a:cubicBezTo>
                    <a:pt x="2132" y="794"/>
                    <a:pt x="2133" y="819"/>
                    <a:pt x="2143" y="822"/>
                  </a:cubicBezTo>
                  <a:cubicBezTo>
                    <a:pt x="2153" y="825"/>
                    <a:pt x="2156" y="832"/>
                    <a:pt x="2154" y="836"/>
                  </a:cubicBezTo>
                  <a:cubicBezTo>
                    <a:pt x="2153" y="840"/>
                    <a:pt x="2145" y="848"/>
                    <a:pt x="2140" y="842"/>
                  </a:cubicBezTo>
                  <a:cubicBezTo>
                    <a:pt x="2135" y="837"/>
                    <a:pt x="2138" y="836"/>
                    <a:pt x="2129" y="836"/>
                  </a:cubicBezTo>
                  <a:cubicBezTo>
                    <a:pt x="2120" y="836"/>
                    <a:pt x="2113" y="835"/>
                    <a:pt x="2113" y="843"/>
                  </a:cubicBezTo>
                  <a:cubicBezTo>
                    <a:pt x="2113" y="852"/>
                    <a:pt x="2110" y="856"/>
                    <a:pt x="2103" y="853"/>
                  </a:cubicBezTo>
                  <a:cubicBezTo>
                    <a:pt x="2095" y="850"/>
                    <a:pt x="2098" y="837"/>
                    <a:pt x="2105" y="836"/>
                  </a:cubicBezTo>
                  <a:cubicBezTo>
                    <a:pt x="2113" y="835"/>
                    <a:pt x="2105" y="825"/>
                    <a:pt x="2110" y="823"/>
                  </a:cubicBezTo>
                  <a:cubicBezTo>
                    <a:pt x="2116" y="822"/>
                    <a:pt x="2123" y="822"/>
                    <a:pt x="2118" y="814"/>
                  </a:cubicBezTo>
                  <a:cubicBezTo>
                    <a:pt x="2114" y="806"/>
                    <a:pt x="2105" y="807"/>
                    <a:pt x="2109" y="797"/>
                  </a:cubicBezTo>
                  <a:cubicBezTo>
                    <a:pt x="2113" y="787"/>
                    <a:pt x="2130" y="787"/>
                    <a:pt x="2118" y="782"/>
                  </a:cubicBezTo>
                  <a:cubicBezTo>
                    <a:pt x="2107" y="777"/>
                    <a:pt x="2098" y="779"/>
                    <a:pt x="2094" y="774"/>
                  </a:cubicBezTo>
                  <a:cubicBezTo>
                    <a:pt x="2090" y="769"/>
                    <a:pt x="2096" y="784"/>
                    <a:pt x="2093" y="788"/>
                  </a:cubicBezTo>
                  <a:cubicBezTo>
                    <a:pt x="2090" y="792"/>
                    <a:pt x="2086" y="792"/>
                    <a:pt x="2085" y="783"/>
                  </a:cubicBezTo>
                  <a:cubicBezTo>
                    <a:pt x="2083" y="774"/>
                    <a:pt x="2081" y="773"/>
                    <a:pt x="2072" y="771"/>
                  </a:cubicBezTo>
                  <a:cubicBezTo>
                    <a:pt x="2062" y="769"/>
                    <a:pt x="2058" y="787"/>
                    <a:pt x="2053" y="782"/>
                  </a:cubicBezTo>
                  <a:cubicBezTo>
                    <a:pt x="2048" y="776"/>
                    <a:pt x="2045" y="779"/>
                    <a:pt x="2044" y="769"/>
                  </a:cubicBezTo>
                  <a:cubicBezTo>
                    <a:pt x="2042" y="758"/>
                    <a:pt x="2042" y="754"/>
                    <a:pt x="2031" y="753"/>
                  </a:cubicBezTo>
                  <a:cubicBezTo>
                    <a:pt x="2020" y="752"/>
                    <a:pt x="2007" y="756"/>
                    <a:pt x="2002" y="746"/>
                  </a:cubicBezTo>
                  <a:cubicBezTo>
                    <a:pt x="1997" y="737"/>
                    <a:pt x="1993" y="736"/>
                    <a:pt x="1988" y="734"/>
                  </a:cubicBezTo>
                  <a:cubicBezTo>
                    <a:pt x="1983" y="732"/>
                    <a:pt x="1981" y="724"/>
                    <a:pt x="1981" y="717"/>
                  </a:cubicBezTo>
                  <a:cubicBezTo>
                    <a:pt x="1982" y="710"/>
                    <a:pt x="1971" y="707"/>
                    <a:pt x="1970" y="713"/>
                  </a:cubicBezTo>
                  <a:cubicBezTo>
                    <a:pt x="1969" y="720"/>
                    <a:pt x="1973" y="728"/>
                    <a:pt x="1956" y="727"/>
                  </a:cubicBezTo>
                  <a:cubicBezTo>
                    <a:pt x="1938" y="726"/>
                    <a:pt x="1921" y="729"/>
                    <a:pt x="1919" y="737"/>
                  </a:cubicBezTo>
                  <a:cubicBezTo>
                    <a:pt x="1918" y="745"/>
                    <a:pt x="1921" y="752"/>
                    <a:pt x="1900" y="751"/>
                  </a:cubicBezTo>
                  <a:cubicBezTo>
                    <a:pt x="1880" y="751"/>
                    <a:pt x="1880" y="753"/>
                    <a:pt x="1862" y="751"/>
                  </a:cubicBezTo>
                  <a:cubicBezTo>
                    <a:pt x="1845" y="749"/>
                    <a:pt x="1832" y="746"/>
                    <a:pt x="1824" y="751"/>
                  </a:cubicBezTo>
                  <a:cubicBezTo>
                    <a:pt x="1815" y="757"/>
                    <a:pt x="1815" y="759"/>
                    <a:pt x="1794" y="761"/>
                  </a:cubicBezTo>
                  <a:cubicBezTo>
                    <a:pt x="1774" y="762"/>
                    <a:pt x="1752" y="759"/>
                    <a:pt x="1739" y="757"/>
                  </a:cubicBezTo>
                  <a:cubicBezTo>
                    <a:pt x="1726" y="756"/>
                    <a:pt x="1703" y="756"/>
                    <a:pt x="1699" y="750"/>
                  </a:cubicBezTo>
                  <a:cubicBezTo>
                    <a:pt x="1696" y="744"/>
                    <a:pt x="1695" y="744"/>
                    <a:pt x="1685" y="744"/>
                  </a:cubicBezTo>
                  <a:cubicBezTo>
                    <a:pt x="1675" y="744"/>
                    <a:pt x="1647" y="747"/>
                    <a:pt x="1647" y="739"/>
                  </a:cubicBezTo>
                  <a:cubicBezTo>
                    <a:pt x="1647" y="730"/>
                    <a:pt x="1658" y="729"/>
                    <a:pt x="1657" y="723"/>
                  </a:cubicBezTo>
                  <a:cubicBezTo>
                    <a:pt x="1656" y="716"/>
                    <a:pt x="1661" y="709"/>
                    <a:pt x="1670" y="709"/>
                  </a:cubicBezTo>
                  <a:cubicBezTo>
                    <a:pt x="1680" y="709"/>
                    <a:pt x="1678" y="700"/>
                    <a:pt x="1692" y="701"/>
                  </a:cubicBezTo>
                  <a:cubicBezTo>
                    <a:pt x="1706" y="701"/>
                    <a:pt x="1726" y="699"/>
                    <a:pt x="1726" y="694"/>
                  </a:cubicBezTo>
                  <a:cubicBezTo>
                    <a:pt x="1726" y="689"/>
                    <a:pt x="1738" y="683"/>
                    <a:pt x="1721" y="673"/>
                  </a:cubicBezTo>
                  <a:cubicBezTo>
                    <a:pt x="1703" y="663"/>
                    <a:pt x="1692" y="645"/>
                    <a:pt x="1685" y="640"/>
                  </a:cubicBezTo>
                  <a:cubicBezTo>
                    <a:pt x="1679" y="634"/>
                    <a:pt x="1672" y="630"/>
                    <a:pt x="1663" y="628"/>
                  </a:cubicBezTo>
                  <a:cubicBezTo>
                    <a:pt x="1653" y="627"/>
                    <a:pt x="1633" y="620"/>
                    <a:pt x="1629" y="619"/>
                  </a:cubicBezTo>
                  <a:cubicBezTo>
                    <a:pt x="1625" y="618"/>
                    <a:pt x="1621" y="610"/>
                    <a:pt x="1610" y="610"/>
                  </a:cubicBezTo>
                  <a:cubicBezTo>
                    <a:pt x="1598" y="610"/>
                    <a:pt x="1582" y="615"/>
                    <a:pt x="1582" y="620"/>
                  </a:cubicBezTo>
                  <a:cubicBezTo>
                    <a:pt x="1582" y="626"/>
                    <a:pt x="1576" y="630"/>
                    <a:pt x="1565" y="630"/>
                  </a:cubicBezTo>
                  <a:cubicBezTo>
                    <a:pt x="1554" y="630"/>
                    <a:pt x="1551" y="633"/>
                    <a:pt x="1549" y="626"/>
                  </a:cubicBezTo>
                  <a:cubicBezTo>
                    <a:pt x="1548" y="619"/>
                    <a:pt x="1549" y="620"/>
                    <a:pt x="1535" y="620"/>
                  </a:cubicBezTo>
                  <a:cubicBezTo>
                    <a:pt x="1521" y="620"/>
                    <a:pt x="1509" y="622"/>
                    <a:pt x="1497" y="618"/>
                  </a:cubicBezTo>
                  <a:cubicBezTo>
                    <a:pt x="1485" y="614"/>
                    <a:pt x="1481" y="618"/>
                    <a:pt x="1468" y="610"/>
                  </a:cubicBezTo>
                  <a:cubicBezTo>
                    <a:pt x="1455" y="602"/>
                    <a:pt x="1447" y="600"/>
                    <a:pt x="1438" y="594"/>
                  </a:cubicBezTo>
                  <a:cubicBezTo>
                    <a:pt x="1428" y="587"/>
                    <a:pt x="1422" y="581"/>
                    <a:pt x="1403" y="581"/>
                  </a:cubicBezTo>
                  <a:cubicBezTo>
                    <a:pt x="1384" y="581"/>
                    <a:pt x="1357" y="581"/>
                    <a:pt x="1342" y="574"/>
                  </a:cubicBezTo>
                  <a:cubicBezTo>
                    <a:pt x="1327" y="568"/>
                    <a:pt x="1326" y="566"/>
                    <a:pt x="1309" y="559"/>
                  </a:cubicBezTo>
                  <a:cubicBezTo>
                    <a:pt x="1293" y="552"/>
                    <a:pt x="1279" y="539"/>
                    <a:pt x="1269" y="534"/>
                  </a:cubicBezTo>
                  <a:cubicBezTo>
                    <a:pt x="1259" y="528"/>
                    <a:pt x="1247" y="521"/>
                    <a:pt x="1228" y="521"/>
                  </a:cubicBezTo>
                  <a:cubicBezTo>
                    <a:pt x="1208" y="521"/>
                    <a:pt x="1152" y="519"/>
                    <a:pt x="1147" y="524"/>
                  </a:cubicBezTo>
                  <a:cubicBezTo>
                    <a:pt x="1143" y="529"/>
                    <a:pt x="1136" y="547"/>
                    <a:pt x="1129" y="557"/>
                  </a:cubicBezTo>
                  <a:cubicBezTo>
                    <a:pt x="1123" y="567"/>
                    <a:pt x="1122" y="573"/>
                    <a:pt x="1105" y="571"/>
                  </a:cubicBezTo>
                  <a:cubicBezTo>
                    <a:pt x="1088" y="569"/>
                    <a:pt x="1050" y="574"/>
                    <a:pt x="1063" y="563"/>
                  </a:cubicBezTo>
                  <a:cubicBezTo>
                    <a:pt x="1076" y="552"/>
                    <a:pt x="1086" y="554"/>
                    <a:pt x="1084" y="545"/>
                  </a:cubicBezTo>
                  <a:cubicBezTo>
                    <a:pt x="1082" y="536"/>
                    <a:pt x="1077" y="530"/>
                    <a:pt x="1069" y="534"/>
                  </a:cubicBezTo>
                  <a:cubicBezTo>
                    <a:pt x="1061" y="539"/>
                    <a:pt x="1058" y="527"/>
                    <a:pt x="1060" y="519"/>
                  </a:cubicBezTo>
                  <a:cubicBezTo>
                    <a:pt x="1062" y="511"/>
                    <a:pt x="1071" y="506"/>
                    <a:pt x="1067" y="498"/>
                  </a:cubicBezTo>
                  <a:cubicBezTo>
                    <a:pt x="1063" y="489"/>
                    <a:pt x="1057" y="485"/>
                    <a:pt x="1049" y="488"/>
                  </a:cubicBezTo>
                  <a:cubicBezTo>
                    <a:pt x="1041" y="491"/>
                    <a:pt x="1036" y="496"/>
                    <a:pt x="1023" y="495"/>
                  </a:cubicBezTo>
                  <a:cubicBezTo>
                    <a:pt x="1010" y="494"/>
                    <a:pt x="1008" y="493"/>
                    <a:pt x="1008" y="499"/>
                  </a:cubicBezTo>
                  <a:cubicBezTo>
                    <a:pt x="1008" y="506"/>
                    <a:pt x="1005" y="508"/>
                    <a:pt x="1013" y="509"/>
                  </a:cubicBezTo>
                  <a:cubicBezTo>
                    <a:pt x="1020" y="511"/>
                    <a:pt x="1024" y="516"/>
                    <a:pt x="1021" y="524"/>
                  </a:cubicBezTo>
                  <a:cubicBezTo>
                    <a:pt x="1018" y="531"/>
                    <a:pt x="1004" y="520"/>
                    <a:pt x="1003" y="531"/>
                  </a:cubicBezTo>
                  <a:cubicBezTo>
                    <a:pt x="1002" y="543"/>
                    <a:pt x="1002" y="572"/>
                    <a:pt x="989" y="571"/>
                  </a:cubicBezTo>
                  <a:cubicBezTo>
                    <a:pt x="975" y="569"/>
                    <a:pt x="944" y="562"/>
                    <a:pt x="933" y="541"/>
                  </a:cubicBezTo>
                  <a:cubicBezTo>
                    <a:pt x="922" y="521"/>
                    <a:pt x="911" y="521"/>
                    <a:pt x="906" y="506"/>
                  </a:cubicBezTo>
                  <a:cubicBezTo>
                    <a:pt x="901" y="490"/>
                    <a:pt x="899" y="478"/>
                    <a:pt x="887" y="468"/>
                  </a:cubicBezTo>
                  <a:cubicBezTo>
                    <a:pt x="876" y="458"/>
                    <a:pt x="864" y="449"/>
                    <a:pt x="856" y="446"/>
                  </a:cubicBezTo>
                  <a:cubicBezTo>
                    <a:pt x="847" y="443"/>
                    <a:pt x="843" y="440"/>
                    <a:pt x="836" y="435"/>
                  </a:cubicBezTo>
                  <a:cubicBezTo>
                    <a:pt x="829" y="430"/>
                    <a:pt x="821" y="420"/>
                    <a:pt x="815" y="429"/>
                  </a:cubicBezTo>
                  <a:cubicBezTo>
                    <a:pt x="810" y="438"/>
                    <a:pt x="807" y="442"/>
                    <a:pt x="813" y="443"/>
                  </a:cubicBezTo>
                  <a:cubicBezTo>
                    <a:pt x="820" y="443"/>
                    <a:pt x="820" y="444"/>
                    <a:pt x="820" y="453"/>
                  </a:cubicBezTo>
                  <a:cubicBezTo>
                    <a:pt x="820" y="463"/>
                    <a:pt x="835" y="463"/>
                    <a:pt x="833" y="472"/>
                  </a:cubicBezTo>
                  <a:cubicBezTo>
                    <a:pt x="832" y="481"/>
                    <a:pt x="825" y="478"/>
                    <a:pt x="816" y="478"/>
                  </a:cubicBezTo>
                  <a:cubicBezTo>
                    <a:pt x="808" y="478"/>
                    <a:pt x="809" y="478"/>
                    <a:pt x="807" y="489"/>
                  </a:cubicBezTo>
                  <a:cubicBezTo>
                    <a:pt x="805" y="500"/>
                    <a:pt x="803" y="513"/>
                    <a:pt x="795" y="516"/>
                  </a:cubicBezTo>
                  <a:cubicBezTo>
                    <a:pt x="786" y="519"/>
                    <a:pt x="778" y="529"/>
                    <a:pt x="773" y="535"/>
                  </a:cubicBezTo>
                  <a:cubicBezTo>
                    <a:pt x="768" y="541"/>
                    <a:pt x="762" y="536"/>
                    <a:pt x="762" y="528"/>
                  </a:cubicBezTo>
                  <a:cubicBezTo>
                    <a:pt x="762" y="519"/>
                    <a:pt x="771" y="512"/>
                    <a:pt x="762" y="512"/>
                  </a:cubicBezTo>
                  <a:cubicBezTo>
                    <a:pt x="752" y="512"/>
                    <a:pt x="753" y="524"/>
                    <a:pt x="739" y="523"/>
                  </a:cubicBezTo>
                  <a:cubicBezTo>
                    <a:pt x="724" y="521"/>
                    <a:pt x="721" y="531"/>
                    <a:pt x="709" y="530"/>
                  </a:cubicBezTo>
                  <a:cubicBezTo>
                    <a:pt x="698" y="529"/>
                    <a:pt x="695" y="531"/>
                    <a:pt x="688" y="539"/>
                  </a:cubicBezTo>
                  <a:cubicBezTo>
                    <a:pt x="681" y="547"/>
                    <a:pt x="675" y="553"/>
                    <a:pt x="670" y="559"/>
                  </a:cubicBezTo>
                  <a:cubicBezTo>
                    <a:pt x="665" y="566"/>
                    <a:pt x="666" y="569"/>
                    <a:pt x="652" y="570"/>
                  </a:cubicBezTo>
                  <a:cubicBezTo>
                    <a:pt x="638" y="572"/>
                    <a:pt x="628" y="574"/>
                    <a:pt x="623" y="571"/>
                  </a:cubicBezTo>
                  <a:cubicBezTo>
                    <a:pt x="618" y="568"/>
                    <a:pt x="608" y="564"/>
                    <a:pt x="601" y="564"/>
                  </a:cubicBezTo>
                  <a:cubicBezTo>
                    <a:pt x="594" y="564"/>
                    <a:pt x="587" y="565"/>
                    <a:pt x="586" y="574"/>
                  </a:cubicBezTo>
                  <a:cubicBezTo>
                    <a:pt x="585" y="582"/>
                    <a:pt x="585" y="592"/>
                    <a:pt x="574" y="592"/>
                  </a:cubicBezTo>
                  <a:cubicBezTo>
                    <a:pt x="562" y="592"/>
                    <a:pt x="553" y="597"/>
                    <a:pt x="546" y="599"/>
                  </a:cubicBezTo>
                  <a:cubicBezTo>
                    <a:pt x="539" y="601"/>
                    <a:pt x="537" y="603"/>
                    <a:pt x="533" y="607"/>
                  </a:cubicBezTo>
                  <a:cubicBezTo>
                    <a:pt x="529" y="612"/>
                    <a:pt x="520" y="620"/>
                    <a:pt x="527" y="625"/>
                  </a:cubicBezTo>
                  <a:cubicBezTo>
                    <a:pt x="535" y="629"/>
                    <a:pt x="537" y="634"/>
                    <a:pt x="527" y="635"/>
                  </a:cubicBezTo>
                  <a:cubicBezTo>
                    <a:pt x="517" y="635"/>
                    <a:pt x="494" y="645"/>
                    <a:pt x="494" y="633"/>
                  </a:cubicBezTo>
                  <a:cubicBezTo>
                    <a:pt x="495" y="622"/>
                    <a:pt x="509" y="622"/>
                    <a:pt x="511" y="613"/>
                  </a:cubicBezTo>
                  <a:cubicBezTo>
                    <a:pt x="512" y="604"/>
                    <a:pt x="526" y="605"/>
                    <a:pt x="528" y="597"/>
                  </a:cubicBezTo>
                  <a:cubicBezTo>
                    <a:pt x="530" y="588"/>
                    <a:pt x="557" y="591"/>
                    <a:pt x="560" y="582"/>
                  </a:cubicBezTo>
                  <a:cubicBezTo>
                    <a:pt x="564" y="572"/>
                    <a:pt x="575" y="572"/>
                    <a:pt x="579" y="564"/>
                  </a:cubicBezTo>
                  <a:cubicBezTo>
                    <a:pt x="583" y="555"/>
                    <a:pt x="600" y="554"/>
                    <a:pt x="612" y="554"/>
                  </a:cubicBezTo>
                  <a:cubicBezTo>
                    <a:pt x="623" y="554"/>
                    <a:pt x="647" y="559"/>
                    <a:pt x="653" y="549"/>
                  </a:cubicBezTo>
                  <a:cubicBezTo>
                    <a:pt x="660" y="539"/>
                    <a:pt x="674" y="524"/>
                    <a:pt x="689" y="522"/>
                  </a:cubicBezTo>
                  <a:cubicBezTo>
                    <a:pt x="704" y="520"/>
                    <a:pt x="715" y="512"/>
                    <a:pt x="724" y="509"/>
                  </a:cubicBezTo>
                  <a:cubicBezTo>
                    <a:pt x="734" y="506"/>
                    <a:pt x="739" y="498"/>
                    <a:pt x="738" y="491"/>
                  </a:cubicBezTo>
                  <a:cubicBezTo>
                    <a:pt x="737" y="483"/>
                    <a:pt x="739" y="482"/>
                    <a:pt x="728" y="478"/>
                  </a:cubicBezTo>
                  <a:cubicBezTo>
                    <a:pt x="717" y="473"/>
                    <a:pt x="724" y="485"/>
                    <a:pt x="711" y="487"/>
                  </a:cubicBezTo>
                  <a:cubicBezTo>
                    <a:pt x="697" y="489"/>
                    <a:pt x="685" y="488"/>
                    <a:pt x="670" y="488"/>
                  </a:cubicBezTo>
                  <a:cubicBezTo>
                    <a:pt x="655" y="487"/>
                    <a:pt x="643" y="493"/>
                    <a:pt x="642" y="501"/>
                  </a:cubicBezTo>
                  <a:cubicBezTo>
                    <a:pt x="641" y="509"/>
                    <a:pt x="643" y="512"/>
                    <a:pt x="629" y="511"/>
                  </a:cubicBezTo>
                  <a:cubicBezTo>
                    <a:pt x="615" y="511"/>
                    <a:pt x="613" y="506"/>
                    <a:pt x="602" y="514"/>
                  </a:cubicBezTo>
                  <a:cubicBezTo>
                    <a:pt x="590" y="523"/>
                    <a:pt x="590" y="528"/>
                    <a:pt x="574" y="528"/>
                  </a:cubicBezTo>
                  <a:cubicBezTo>
                    <a:pt x="557" y="528"/>
                    <a:pt x="547" y="533"/>
                    <a:pt x="538" y="536"/>
                  </a:cubicBezTo>
                  <a:cubicBezTo>
                    <a:pt x="529" y="540"/>
                    <a:pt x="516" y="534"/>
                    <a:pt x="514" y="546"/>
                  </a:cubicBezTo>
                  <a:cubicBezTo>
                    <a:pt x="513" y="557"/>
                    <a:pt x="510" y="565"/>
                    <a:pt x="495" y="568"/>
                  </a:cubicBezTo>
                  <a:cubicBezTo>
                    <a:pt x="480" y="571"/>
                    <a:pt x="472" y="571"/>
                    <a:pt x="471" y="577"/>
                  </a:cubicBezTo>
                  <a:cubicBezTo>
                    <a:pt x="469" y="584"/>
                    <a:pt x="462" y="585"/>
                    <a:pt x="457" y="580"/>
                  </a:cubicBezTo>
                  <a:cubicBezTo>
                    <a:pt x="452" y="575"/>
                    <a:pt x="454" y="569"/>
                    <a:pt x="462" y="562"/>
                  </a:cubicBezTo>
                  <a:cubicBezTo>
                    <a:pt x="470" y="555"/>
                    <a:pt x="474" y="547"/>
                    <a:pt x="462" y="548"/>
                  </a:cubicBezTo>
                  <a:cubicBezTo>
                    <a:pt x="450" y="549"/>
                    <a:pt x="448" y="552"/>
                    <a:pt x="443" y="545"/>
                  </a:cubicBezTo>
                  <a:cubicBezTo>
                    <a:pt x="438" y="538"/>
                    <a:pt x="426" y="525"/>
                    <a:pt x="424" y="534"/>
                  </a:cubicBezTo>
                  <a:cubicBezTo>
                    <a:pt x="422" y="542"/>
                    <a:pt x="426" y="558"/>
                    <a:pt x="410" y="560"/>
                  </a:cubicBezTo>
                  <a:cubicBezTo>
                    <a:pt x="393" y="562"/>
                    <a:pt x="373" y="559"/>
                    <a:pt x="365" y="566"/>
                  </a:cubicBezTo>
                  <a:cubicBezTo>
                    <a:pt x="358" y="572"/>
                    <a:pt x="353" y="582"/>
                    <a:pt x="342" y="582"/>
                  </a:cubicBezTo>
                  <a:cubicBezTo>
                    <a:pt x="330" y="582"/>
                    <a:pt x="322" y="595"/>
                    <a:pt x="328" y="600"/>
                  </a:cubicBezTo>
                  <a:cubicBezTo>
                    <a:pt x="335" y="605"/>
                    <a:pt x="333" y="620"/>
                    <a:pt x="344" y="622"/>
                  </a:cubicBezTo>
                  <a:cubicBezTo>
                    <a:pt x="355" y="625"/>
                    <a:pt x="361" y="626"/>
                    <a:pt x="361" y="633"/>
                  </a:cubicBezTo>
                  <a:cubicBezTo>
                    <a:pt x="361" y="640"/>
                    <a:pt x="365" y="650"/>
                    <a:pt x="347" y="643"/>
                  </a:cubicBezTo>
                  <a:cubicBezTo>
                    <a:pt x="330" y="636"/>
                    <a:pt x="334" y="630"/>
                    <a:pt x="325" y="629"/>
                  </a:cubicBezTo>
                  <a:cubicBezTo>
                    <a:pt x="317" y="628"/>
                    <a:pt x="312" y="634"/>
                    <a:pt x="292" y="633"/>
                  </a:cubicBezTo>
                  <a:cubicBezTo>
                    <a:pt x="292" y="633"/>
                    <a:pt x="268" y="626"/>
                    <a:pt x="251" y="622"/>
                  </a:cubicBezTo>
                  <a:cubicBezTo>
                    <a:pt x="235" y="617"/>
                    <a:pt x="222" y="617"/>
                    <a:pt x="208" y="608"/>
                  </a:cubicBezTo>
                  <a:cubicBezTo>
                    <a:pt x="193" y="598"/>
                    <a:pt x="160" y="585"/>
                    <a:pt x="146" y="578"/>
                  </a:cubicBezTo>
                  <a:cubicBezTo>
                    <a:pt x="131" y="571"/>
                    <a:pt x="121" y="563"/>
                    <a:pt x="127" y="558"/>
                  </a:cubicBezTo>
                  <a:cubicBezTo>
                    <a:pt x="134" y="554"/>
                    <a:pt x="139" y="547"/>
                    <a:pt x="133" y="544"/>
                  </a:cubicBezTo>
                  <a:cubicBezTo>
                    <a:pt x="128" y="541"/>
                    <a:pt x="119" y="537"/>
                    <a:pt x="115" y="544"/>
                  </a:cubicBezTo>
                  <a:cubicBezTo>
                    <a:pt x="112" y="551"/>
                    <a:pt x="106" y="558"/>
                    <a:pt x="94" y="554"/>
                  </a:cubicBezTo>
                  <a:cubicBezTo>
                    <a:pt x="80" y="549"/>
                    <a:pt x="81" y="550"/>
                    <a:pt x="57" y="548"/>
                  </a:cubicBezTo>
                  <a:cubicBezTo>
                    <a:pt x="34" y="546"/>
                    <a:pt x="17" y="544"/>
                    <a:pt x="4" y="542"/>
                  </a:cubicBezTo>
                  <a:cubicBezTo>
                    <a:pt x="2" y="541"/>
                    <a:pt x="1" y="541"/>
                    <a:pt x="0" y="541"/>
                  </a:cubicBezTo>
                  <a:cubicBezTo>
                    <a:pt x="2" y="1505"/>
                    <a:pt x="2" y="1505"/>
                    <a:pt x="2" y="1505"/>
                  </a:cubicBezTo>
                  <a:cubicBezTo>
                    <a:pt x="2" y="1505"/>
                    <a:pt x="8" y="1511"/>
                    <a:pt x="11" y="1517"/>
                  </a:cubicBezTo>
                  <a:cubicBezTo>
                    <a:pt x="14" y="1523"/>
                    <a:pt x="21" y="1526"/>
                    <a:pt x="26" y="1526"/>
                  </a:cubicBezTo>
                  <a:cubicBezTo>
                    <a:pt x="32" y="1526"/>
                    <a:pt x="41" y="1512"/>
                    <a:pt x="49" y="1519"/>
                  </a:cubicBezTo>
                  <a:cubicBezTo>
                    <a:pt x="57" y="1526"/>
                    <a:pt x="64" y="1529"/>
                    <a:pt x="72" y="1526"/>
                  </a:cubicBezTo>
                  <a:cubicBezTo>
                    <a:pt x="79" y="1523"/>
                    <a:pt x="80" y="1512"/>
                    <a:pt x="97" y="1514"/>
                  </a:cubicBezTo>
                  <a:cubicBezTo>
                    <a:pt x="114" y="1515"/>
                    <a:pt x="122" y="1512"/>
                    <a:pt x="122" y="1526"/>
                  </a:cubicBezTo>
                  <a:cubicBezTo>
                    <a:pt x="122" y="1540"/>
                    <a:pt x="127" y="1553"/>
                    <a:pt x="139" y="1554"/>
                  </a:cubicBezTo>
                  <a:cubicBezTo>
                    <a:pt x="151" y="1554"/>
                    <a:pt x="162" y="1572"/>
                    <a:pt x="173" y="1580"/>
                  </a:cubicBezTo>
                  <a:cubicBezTo>
                    <a:pt x="185" y="1588"/>
                    <a:pt x="210" y="1600"/>
                    <a:pt x="218" y="1615"/>
                  </a:cubicBezTo>
                  <a:cubicBezTo>
                    <a:pt x="226" y="1631"/>
                    <a:pt x="232" y="1646"/>
                    <a:pt x="238" y="1647"/>
                  </a:cubicBezTo>
                  <a:cubicBezTo>
                    <a:pt x="244" y="1649"/>
                    <a:pt x="246" y="1646"/>
                    <a:pt x="250" y="1640"/>
                  </a:cubicBezTo>
                  <a:cubicBezTo>
                    <a:pt x="253" y="1634"/>
                    <a:pt x="258" y="1629"/>
                    <a:pt x="269" y="1628"/>
                  </a:cubicBezTo>
                  <a:cubicBezTo>
                    <a:pt x="280" y="1627"/>
                    <a:pt x="298" y="1620"/>
                    <a:pt x="298" y="1612"/>
                  </a:cubicBezTo>
                  <a:cubicBezTo>
                    <a:pt x="298" y="1604"/>
                    <a:pt x="298" y="1582"/>
                    <a:pt x="314" y="1581"/>
                  </a:cubicBezTo>
                  <a:cubicBezTo>
                    <a:pt x="330" y="1579"/>
                    <a:pt x="337" y="1576"/>
                    <a:pt x="343" y="1571"/>
                  </a:cubicBezTo>
                  <a:cubicBezTo>
                    <a:pt x="349" y="1567"/>
                    <a:pt x="374" y="1566"/>
                    <a:pt x="380" y="1581"/>
                  </a:cubicBezTo>
                  <a:cubicBezTo>
                    <a:pt x="386" y="1597"/>
                    <a:pt x="387" y="1611"/>
                    <a:pt x="396" y="1615"/>
                  </a:cubicBezTo>
                  <a:cubicBezTo>
                    <a:pt x="404" y="1619"/>
                    <a:pt x="423" y="1625"/>
                    <a:pt x="424" y="1639"/>
                  </a:cubicBezTo>
                  <a:cubicBezTo>
                    <a:pt x="426" y="1653"/>
                    <a:pt x="443" y="1661"/>
                    <a:pt x="458" y="1665"/>
                  </a:cubicBezTo>
                  <a:cubicBezTo>
                    <a:pt x="474" y="1669"/>
                    <a:pt x="491" y="1691"/>
                    <a:pt x="500" y="1709"/>
                  </a:cubicBezTo>
                  <a:cubicBezTo>
                    <a:pt x="510" y="1726"/>
                    <a:pt x="532" y="1767"/>
                    <a:pt x="544" y="1777"/>
                  </a:cubicBezTo>
                  <a:cubicBezTo>
                    <a:pt x="556" y="1788"/>
                    <a:pt x="564" y="1798"/>
                    <a:pt x="566" y="1814"/>
                  </a:cubicBezTo>
                  <a:cubicBezTo>
                    <a:pt x="568" y="1830"/>
                    <a:pt x="588" y="1857"/>
                    <a:pt x="602" y="1865"/>
                  </a:cubicBezTo>
                  <a:cubicBezTo>
                    <a:pt x="615" y="1873"/>
                    <a:pt x="642" y="1881"/>
                    <a:pt x="660" y="1889"/>
                  </a:cubicBezTo>
                  <a:cubicBezTo>
                    <a:pt x="678" y="1897"/>
                    <a:pt x="706" y="1904"/>
                    <a:pt x="705" y="1933"/>
                  </a:cubicBezTo>
                  <a:cubicBezTo>
                    <a:pt x="704" y="1947"/>
                    <a:pt x="703" y="1953"/>
                    <a:pt x="703" y="1957"/>
                  </a:cubicBezTo>
                  <a:cubicBezTo>
                    <a:pt x="707" y="1958"/>
                    <a:pt x="713" y="1962"/>
                    <a:pt x="713" y="1972"/>
                  </a:cubicBezTo>
                  <a:cubicBezTo>
                    <a:pt x="713" y="1985"/>
                    <a:pt x="711" y="2001"/>
                    <a:pt x="701" y="2007"/>
                  </a:cubicBezTo>
                  <a:cubicBezTo>
                    <a:pt x="692" y="2013"/>
                    <a:pt x="682" y="2034"/>
                    <a:pt x="678" y="2038"/>
                  </a:cubicBezTo>
                  <a:cubicBezTo>
                    <a:pt x="675" y="2043"/>
                    <a:pt x="676" y="2045"/>
                    <a:pt x="684" y="2056"/>
                  </a:cubicBezTo>
                  <a:cubicBezTo>
                    <a:pt x="693" y="2066"/>
                    <a:pt x="697" y="2070"/>
                    <a:pt x="697" y="2079"/>
                  </a:cubicBezTo>
                  <a:cubicBezTo>
                    <a:pt x="698" y="2088"/>
                    <a:pt x="707" y="2101"/>
                    <a:pt x="699" y="2097"/>
                  </a:cubicBezTo>
                  <a:cubicBezTo>
                    <a:pt x="690" y="2093"/>
                    <a:pt x="691" y="2084"/>
                    <a:pt x="684" y="2084"/>
                  </a:cubicBezTo>
                  <a:cubicBezTo>
                    <a:pt x="677" y="2084"/>
                    <a:pt x="660" y="2093"/>
                    <a:pt x="671" y="2100"/>
                  </a:cubicBezTo>
                  <a:cubicBezTo>
                    <a:pt x="683" y="2106"/>
                    <a:pt x="691" y="2108"/>
                    <a:pt x="689" y="2116"/>
                  </a:cubicBezTo>
                  <a:cubicBezTo>
                    <a:pt x="687" y="2123"/>
                    <a:pt x="667" y="2116"/>
                    <a:pt x="675" y="2130"/>
                  </a:cubicBezTo>
                  <a:cubicBezTo>
                    <a:pt x="683" y="2144"/>
                    <a:pt x="690" y="2139"/>
                    <a:pt x="698" y="2153"/>
                  </a:cubicBezTo>
                  <a:cubicBezTo>
                    <a:pt x="706" y="2167"/>
                    <a:pt x="727" y="2172"/>
                    <a:pt x="728" y="2164"/>
                  </a:cubicBezTo>
                  <a:cubicBezTo>
                    <a:pt x="729" y="2156"/>
                    <a:pt x="741" y="2157"/>
                    <a:pt x="744" y="2149"/>
                  </a:cubicBezTo>
                  <a:cubicBezTo>
                    <a:pt x="747" y="2142"/>
                    <a:pt x="756" y="2136"/>
                    <a:pt x="757" y="2144"/>
                  </a:cubicBezTo>
                  <a:cubicBezTo>
                    <a:pt x="757" y="2151"/>
                    <a:pt x="754" y="2159"/>
                    <a:pt x="762" y="2161"/>
                  </a:cubicBezTo>
                  <a:cubicBezTo>
                    <a:pt x="770" y="2163"/>
                    <a:pt x="769" y="2168"/>
                    <a:pt x="765" y="2180"/>
                  </a:cubicBezTo>
                  <a:cubicBezTo>
                    <a:pt x="761" y="2192"/>
                    <a:pt x="751" y="2201"/>
                    <a:pt x="757" y="2208"/>
                  </a:cubicBezTo>
                  <a:cubicBezTo>
                    <a:pt x="763" y="2214"/>
                    <a:pt x="776" y="2228"/>
                    <a:pt x="777" y="2219"/>
                  </a:cubicBezTo>
                  <a:cubicBezTo>
                    <a:pt x="778" y="2210"/>
                    <a:pt x="781" y="2205"/>
                    <a:pt x="787" y="2205"/>
                  </a:cubicBezTo>
                  <a:cubicBezTo>
                    <a:pt x="794" y="2206"/>
                    <a:pt x="797" y="2203"/>
                    <a:pt x="800" y="2200"/>
                  </a:cubicBezTo>
                  <a:cubicBezTo>
                    <a:pt x="803" y="2196"/>
                    <a:pt x="811" y="2194"/>
                    <a:pt x="806" y="2203"/>
                  </a:cubicBezTo>
                  <a:cubicBezTo>
                    <a:pt x="800" y="2212"/>
                    <a:pt x="800" y="2220"/>
                    <a:pt x="793" y="2222"/>
                  </a:cubicBezTo>
                  <a:cubicBezTo>
                    <a:pt x="786" y="2224"/>
                    <a:pt x="786" y="2228"/>
                    <a:pt x="790" y="2235"/>
                  </a:cubicBezTo>
                  <a:cubicBezTo>
                    <a:pt x="793" y="2242"/>
                    <a:pt x="799" y="2237"/>
                    <a:pt x="804" y="2230"/>
                  </a:cubicBezTo>
                  <a:cubicBezTo>
                    <a:pt x="809" y="2223"/>
                    <a:pt x="815" y="2215"/>
                    <a:pt x="820" y="2221"/>
                  </a:cubicBezTo>
                  <a:cubicBezTo>
                    <a:pt x="826" y="2228"/>
                    <a:pt x="820" y="2235"/>
                    <a:pt x="828" y="2236"/>
                  </a:cubicBezTo>
                  <a:cubicBezTo>
                    <a:pt x="837" y="2237"/>
                    <a:pt x="842" y="2246"/>
                    <a:pt x="850" y="2241"/>
                  </a:cubicBezTo>
                  <a:cubicBezTo>
                    <a:pt x="859" y="2236"/>
                    <a:pt x="866" y="2234"/>
                    <a:pt x="866" y="2240"/>
                  </a:cubicBezTo>
                  <a:cubicBezTo>
                    <a:pt x="866" y="2246"/>
                    <a:pt x="855" y="2254"/>
                    <a:pt x="847" y="2254"/>
                  </a:cubicBezTo>
                  <a:cubicBezTo>
                    <a:pt x="839" y="2254"/>
                    <a:pt x="845" y="2259"/>
                    <a:pt x="836" y="2261"/>
                  </a:cubicBezTo>
                  <a:cubicBezTo>
                    <a:pt x="827" y="2264"/>
                    <a:pt x="816" y="2272"/>
                    <a:pt x="823" y="2279"/>
                  </a:cubicBezTo>
                  <a:cubicBezTo>
                    <a:pt x="830" y="2285"/>
                    <a:pt x="828" y="2287"/>
                    <a:pt x="830" y="2299"/>
                  </a:cubicBezTo>
                  <a:cubicBezTo>
                    <a:pt x="833" y="2311"/>
                    <a:pt x="840" y="2321"/>
                    <a:pt x="844" y="2316"/>
                  </a:cubicBezTo>
                  <a:cubicBezTo>
                    <a:pt x="849" y="2311"/>
                    <a:pt x="862" y="2298"/>
                    <a:pt x="859" y="2315"/>
                  </a:cubicBezTo>
                  <a:cubicBezTo>
                    <a:pt x="856" y="2333"/>
                    <a:pt x="852" y="2346"/>
                    <a:pt x="864" y="2346"/>
                  </a:cubicBezTo>
                  <a:cubicBezTo>
                    <a:pt x="877" y="2346"/>
                    <a:pt x="871" y="2360"/>
                    <a:pt x="883" y="2360"/>
                  </a:cubicBezTo>
                  <a:cubicBezTo>
                    <a:pt x="894" y="2360"/>
                    <a:pt x="910" y="2359"/>
                    <a:pt x="920" y="2363"/>
                  </a:cubicBezTo>
                  <a:cubicBezTo>
                    <a:pt x="930" y="2366"/>
                    <a:pt x="940" y="2365"/>
                    <a:pt x="942" y="2371"/>
                  </a:cubicBezTo>
                  <a:cubicBezTo>
                    <a:pt x="944" y="2377"/>
                    <a:pt x="958" y="2388"/>
                    <a:pt x="934" y="2387"/>
                  </a:cubicBezTo>
                  <a:cubicBezTo>
                    <a:pt x="911" y="2386"/>
                    <a:pt x="900" y="2385"/>
                    <a:pt x="890" y="2380"/>
                  </a:cubicBezTo>
                  <a:cubicBezTo>
                    <a:pt x="879" y="2375"/>
                    <a:pt x="868" y="2364"/>
                    <a:pt x="860" y="2363"/>
                  </a:cubicBezTo>
                  <a:cubicBezTo>
                    <a:pt x="851" y="2362"/>
                    <a:pt x="843" y="2361"/>
                    <a:pt x="830" y="2361"/>
                  </a:cubicBezTo>
                  <a:cubicBezTo>
                    <a:pt x="817" y="2361"/>
                    <a:pt x="815" y="2371"/>
                    <a:pt x="817" y="2378"/>
                  </a:cubicBezTo>
                  <a:cubicBezTo>
                    <a:pt x="818" y="2385"/>
                    <a:pt x="818" y="2388"/>
                    <a:pt x="826" y="2390"/>
                  </a:cubicBezTo>
                  <a:cubicBezTo>
                    <a:pt x="834" y="2393"/>
                    <a:pt x="835" y="2396"/>
                    <a:pt x="840" y="2406"/>
                  </a:cubicBezTo>
                  <a:cubicBezTo>
                    <a:pt x="846" y="2415"/>
                    <a:pt x="850" y="2411"/>
                    <a:pt x="849" y="2420"/>
                  </a:cubicBezTo>
                  <a:cubicBezTo>
                    <a:pt x="849" y="2429"/>
                    <a:pt x="857" y="2430"/>
                    <a:pt x="863" y="2430"/>
                  </a:cubicBezTo>
                  <a:cubicBezTo>
                    <a:pt x="868" y="2430"/>
                    <a:pt x="871" y="2429"/>
                    <a:pt x="877" y="2435"/>
                  </a:cubicBezTo>
                  <a:cubicBezTo>
                    <a:pt x="882" y="2440"/>
                    <a:pt x="887" y="2437"/>
                    <a:pt x="892" y="2445"/>
                  </a:cubicBezTo>
                  <a:cubicBezTo>
                    <a:pt x="897" y="2452"/>
                    <a:pt x="904" y="2450"/>
                    <a:pt x="906" y="2457"/>
                  </a:cubicBezTo>
                  <a:cubicBezTo>
                    <a:pt x="909" y="2464"/>
                    <a:pt x="914" y="2468"/>
                    <a:pt x="920" y="2468"/>
                  </a:cubicBezTo>
                  <a:cubicBezTo>
                    <a:pt x="927" y="2468"/>
                    <a:pt x="929" y="2472"/>
                    <a:pt x="929" y="2476"/>
                  </a:cubicBezTo>
                  <a:cubicBezTo>
                    <a:pt x="929" y="2481"/>
                    <a:pt x="928" y="2486"/>
                    <a:pt x="940" y="2487"/>
                  </a:cubicBezTo>
                  <a:cubicBezTo>
                    <a:pt x="952" y="2489"/>
                    <a:pt x="957" y="2482"/>
                    <a:pt x="965" y="2489"/>
                  </a:cubicBezTo>
                  <a:cubicBezTo>
                    <a:pt x="974" y="2496"/>
                    <a:pt x="984" y="2495"/>
                    <a:pt x="978" y="2503"/>
                  </a:cubicBezTo>
                  <a:cubicBezTo>
                    <a:pt x="972" y="2512"/>
                    <a:pt x="976" y="2518"/>
                    <a:pt x="989" y="2522"/>
                  </a:cubicBezTo>
                  <a:cubicBezTo>
                    <a:pt x="1002" y="2525"/>
                    <a:pt x="1020" y="2528"/>
                    <a:pt x="1022" y="2534"/>
                  </a:cubicBezTo>
                  <a:cubicBezTo>
                    <a:pt x="1025" y="2540"/>
                    <a:pt x="1033" y="2550"/>
                    <a:pt x="1039" y="2552"/>
                  </a:cubicBezTo>
                  <a:cubicBezTo>
                    <a:pt x="1043" y="2553"/>
                    <a:pt x="1043" y="2557"/>
                    <a:pt x="1043" y="2562"/>
                  </a:cubicBezTo>
                  <a:cubicBezTo>
                    <a:pt x="1049" y="2563"/>
                    <a:pt x="1056" y="2564"/>
                    <a:pt x="1062" y="2568"/>
                  </a:cubicBezTo>
                  <a:cubicBezTo>
                    <a:pt x="1075" y="2576"/>
                    <a:pt x="1090" y="2581"/>
                    <a:pt x="1100" y="2582"/>
                  </a:cubicBezTo>
                  <a:cubicBezTo>
                    <a:pt x="1110" y="2583"/>
                    <a:pt x="1135" y="2586"/>
                    <a:pt x="1140" y="2576"/>
                  </a:cubicBezTo>
                  <a:cubicBezTo>
                    <a:pt x="1145" y="2566"/>
                    <a:pt x="1145" y="2561"/>
                    <a:pt x="1138" y="2555"/>
                  </a:cubicBezTo>
                  <a:cubicBezTo>
                    <a:pt x="1134" y="2552"/>
                    <a:pt x="1135" y="2550"/>
                    <a:pt x="1137" y="2549"/>
                  </a:cubicBezTo>
                  <a:cubicBezTo>
                    <a:pt x="1135" y="2547"/>
                    <a:pt x="1132" y="2546"/>
                    <a:pt x="1130" y="2545"/>
                  </a:cubicBezTo>
                  <a:cubicBezTo>
                    <a:pt x="1125" y="2543"/>
                    <a:pt x="1123" y="2535"/>
                    <a:pt x="1120" y="2532"/>
                  </a:cubicBezTo>
                  <a:cubicBezTo>
                    <a:pt x="1119" y="2530"/>
                    <a:pt x="1118" y="2529"/>
                    <a:pt x="1118" y="2527"/>
                  </a:cubicBezTo>
                  <a:cubicBezTo>
                    <a:pt x="1118" y="2525"/>
                    <a:pt x="1118" y="2523"/>
                    <a:pt x="1117" y="2522"/>
                  </a:cubicBezTo>
                  <a:cubicBezTo>
                    <a:pt x="1117" y="2522"/>
                    <a:pt x="1116" y="2522"/>
                    <a:pt x="1115" y="2521"/>
                  </a:cubicBezTo>
                  <a:cubicBezTo>
                    <a:pt x="1113" y="2521"/>
                    <a:pt x="1112" y="2521"/>
                    <a:pt x="1110" y="2521"/>
                  </a:cubicBezTo>
                  <a:cubicBezTo>
                    <a:pt x="1101" y="2520"/>
                    <a:pt x="1104" y="2518"/>
                    <a:pt x="1103" y="2511"/>
                  </a:cubicBezTo>
                  <a:cubicBezTo>
                    <a:pt x="1102" y="2504"/>
                    <a:pt x="1095" y="2502"/>
                    <a:pt x="1090" y="2495"/>
                  </a:cubicBezTo>
                  <a:cubicBezTo>
                    <a:pt x="1086" y="2488"/>
                    <a:pt x="1075" y="2485"/>
                    <a:pt x="1063" y="2482"/>
                  </a:cubicBezTo>
                  <a:cubicBezTo>
                    <a:pt x="1051" y="2480"/>
                    <a:pt x="1058" y="2483"/>
                    <a:pt x="1048" y="2474"/>
                  </a:cubicBezTo>
                  <a:cubicBezTo>
                    <a:pt x="1038" y="2465"/>
                    <a:pt x="1039" y="2470"/>
                    <a:pt x="1037" y="2459"/>
                  </a:cubicBezTo>
                  <a:cubicBezTo>
                    <a:pt x="1036" y="2448"/>
                    <a:pt x="1029" y="2451"/>
                    <a:pt x="1027" y="2442"/>
                  </a:cubicBezTo>
                  <a:cubicBezTo>
                    <a:pt x="1026" y="2434"/>
                    <a:pt x="1018" y="2434"/>
                    <a:pt x="1018" y="2427"/>
                  </a:cubicBezTo>
                  <a:cubicBezTo>
                    <a:pt x="1018" y="2420"/>
                    <a:pt x="1014" y="2420"/>
                    <a:pt x="1008" y="2421"/>
                  </a:cubicBezTo>
                  <a:cubicBezTo>
                    <a:pt x="1001" y="2422"/>
                    <a:pt x="996" y="2410"/>
                    <a:pt x="1001" y="2403"/>
                  </a:cubicBezTo>
                  <a:cubicBezTo>
                    <a:pt x="1005" y="2396"/>
                    <a:pt x="1011" y="2404"/>
                    <a:pt x="1018" y="2406"/>
                  </a:cubicBezTo>
                  <a:cubicBezTo>
                    <a:pt x="1024" y="2408"/>
                    <a:pt x="1027" y="2413"/>
                    <a:pt x="1027" y="2418"/>
                  </a:cubicBezTo>
                  <a:cubicBezTo>
                    <a:pt x="1027" y="2423"/>
                    <a:pt x="1026" y="2426"/>
                    <a:pt x="1035" y="2429"/>
                  </a:cubicBezTo>
                  <a:cubicBezTo>
                    <a:pt x="1044" y="2432"/>
                    <a:pt x="1045" y="2439"/>
                    <a:pt x="1045" y="2439"/>
                  </a:cubicBezTo>
                  <a:cubicBezTo>
                    <a:pt x="1049" y="2451"/>
                    <a:pt x="1055" y="2455"/>
                    <a:pt x="1062" y="2463"/>
                  </a:cubicBezTo>
                  <a:cubicBezTo>
                    <a:pt x="1069" y="2472"/>
                    <a:pt x="1069" y="2472"/>
                    <a:pt x="1083" y="2474"/>
                  </a:cubicBezTo>
                  <a:cubicBezTo>
                    <a:pt x="1097" y="2476"/>
                    <a:pt x="1094" y="2480"/>
                    <a:pt x="1107" y="2485"/>
                  </a:cubicBezTo>
                  <a:cubicBezTo>
                    <a:pt x="1119" y="2489"/>
                    <a:pt x="1127" y="2485"/>
                    <a:pt x="1129" y="2479"/>
                  </a:cubicBezTo>
                  <a:cubicBezTo>
                    <a:pt x="1131" y="2473"/>
                    <a:pt x="1138" y="2477"/>
                    <a:pt x="1140" y="2480"/>
                  </a:cubicBezTo>
                  <a:cubicBezTo>
                    <a:pt x="1143" y="2484"/>
                    <a:pt x="1145" y="2486"/>
                    <a:pt x="1144" y="2491"/>
                  </a:cubicBezTo>
                  <a:cubicBezTo>
                    <a:pt x="1144" y="2492"/>
                    <a:pt x="1144" y="2494"/>
                    <a:pt x="1145" y="2495"/>
                  </a:cubicBezTo>
                  <a:cubicBezTo>
                    <a:pt x="1146" y="2497"/>
                    <a:pt x="1148" y="2499"/>
                    <a:pt x="1150" y="2501"/>
                  </a:cubicBezTo>
                  <a:cubicBezTo>
                    <a:pt x="1152" y="2505"/>
                    <a:pt x="1152" y="2509"/>
                    <a:pt x="1154" y="2512"/>
                  </a:cubicBezTo>
                  <a:cubicBezTo>
                    <a:pt x="1155" y="2513"/>
                    <a:pt x="1156" y="2515"/>
                    <a:pt x="1157" y="2516"/>
                  </a:cubicBezTo>
                  <a:cubicBezTo>
                    <a:pt x="1157" y="2517"/>
                    <a:pt x="1158" y="2519"/>
                    <a:pt x="1159" y="2520"/>
                  </a:cubicBezTo>
                  <a:cubicBezTo>
                    <a:pt x="1159" y="2521"/>
                    <a:pt x="1160" y="2522"/>
                    <a:pt x="1161" y="2523"/>
                  </a:cubicBezTo>
                  <a:cubicBezTo>
                    <a:pt x="1189" y="2522"/>
                    <a:pt x="2910" y="2520"/>
                    <a:pt x="2910" y="2520"/>
                  </a:cubicBezTo>
                  <a:cubicBezTo>
                    <a:pt x="2910" y="2520"/>
                    <a:pt x="2928" y="2513"/>
                    <a:pt x="2928" y="2505"/>
                  </a:cubicBezTo>
                  <a:cubicBezTo>
                    <a:pt x="2928" y="2497"/>
                    <a:pt x="2927" y="2486"/>
                    <a:pt x="2935" y="2487"/>
                  </a:cubicBezTo>
                  <a:cubicBezTo>
                    <a:pt x="2942" y="2487"/>
                    <a:pt x="2952" y="2497"/>
                    <a:pt x="2952" y="2504"/>
                  </a:cubicBezTo>
                  <a:cubicBezTo>
                    <a:pt x="2952" y="2511"/>
                    <a:pt x="2958" y="2517"/>
                    <a:pt x="2960" y="2525"/>
                  </a:cubicBezTo>
                  <a:cubicBezTo>
                    <a:pt x="2963" y="2534"/>
                    <a:pt x="2965" y="2539"/>
                    <a:pt x="2973" y="2542"/>
                  </a:cubicBezTo>
                  <a:cubicBezTo>
                    <a:pt x="2982" y="2545"/>
                    <a:pt x="3006" y="2541"/>
                    <a:pt x="3011" y="2551"/>
                  </a:cubicBezTo>
                  <a:cubicBezTo>
                    <a:pt x="3016" y="2561"/>
                    <a:pt x="3030" y="2562"/>
                    <a:pt x="3040" y="2554"/>
                  </a:cubicBezTo>
                  <a:cubicBezTo>
                    <a:pt x="3050" y="2546"/>
                    <a:pt x="3061" y="2547"/>
                    <a:pt x="3070" y="2550"/>
                  </a:cubicBezTo>
                  <a:cubicBezTo>
                    <a:pt x="3080" y="2553"/>
                    <a:pt x="3088" y="2557"/>
                    <a:pt x="3092" y="2566"/>
                  </a:cubicBezTo>
                  <a:cubicBezTo>
                    <a:pt x="3096" y="2574"/>
                    <a:pt x="3116" y="2581"/>
                    <a:pt x="3120" y="2575"/>
                  </a:cubicBezTo>
                  <a:cubicBezTo>
                    <a:pt x="3124" y="2570"/>
                    <a:pt x="3135" y="2571"/>
                    <a:pt x="3138" y="2580"/>
                  </a:cubicBezTo>
                  <a:cubicBezTo>
                    <a:pt x="3142" y="2588"/>
                    <a:pt x="3153" y="2590"/>
                    <a:pt x="3162" y="2595"/>
                  </a:cubicBezTo>
                  <a:cubicBezTo>
                    <a:pt x="3170" y="2600"/>
                    <a:pt x="3178" y="2597"/>
                    <a:pt x="3182" y="2592"/>
                  </a:cubicBezTo>
                  <a:cubicBezTo>
                    <a:pt x="3186" y="2587"/>
                    <a:pt x="3194" y="2579"/>
                    <a:pt x="3201" y="2581"/>
                  </a:cubicBezTo>
                  <a:cubicBezTo>
                    <a:pt x="3209" y="2583"/>
                    <a:pt x="3213" y="2588"/>
                    <a:pt x="3219" y="2588"/>
                  </a:cubicBezTo>
                  <a:cubicBezTo>
                    <a:pt x="3225" y="2588"/>
                    <a:pt x="3238" y="2583"/>
                    <a:pt x="3249" y="2591"/>
                  </a:cubicBezTo>
                  <a:cubicBezTo>
                    <a:pt x="3261" y="2598"/>
                    <a:pt x="3264" y="2595"/>
                    <a:pt x="3275" y="2597"/>
                  </a:cubicBezTo>
                  <a:cubicBezTo>
                    <a:pt x="3285" y="2598"/>
                    <a:pt x="3294" y="2602"/>
                    <a:pt x="3304" y="2599"/>
                  </a:cubicBezTo>
                  <a:cubicBezTo>
                    <a:pt x="3305" y="2595"/>
                    <a:pt x="3304" y="2592"/>
                    <a:pt x="3305" y="2588"/>
                  </a:cubicBezTo>
                  <a:cubicBezTo>
                    <a:pt x="3309" y="2581"/>
                    <a:pt x="3311" y="2575"/>
                    <a:pt x="3313" y="2566"/>
                  </a:cubicBezTo>
                  <a:cubicBezTo>
                    <a:pt x="3316" y="2557"/>
                    <a:pt x="3326" y="2559"/>
                    <a:pt x="3335" y="2560"/>
                  </a:cubicBezTo>
                  <a:cubicBezTo>
                    <a:pt x="3344" y="2560"/>
                    <a:pt x="3356" y="2561"/>
                    <a:pt x="3360" y="2554"/>
                  </a:cubicBezTo>
                  <a:cubicBezTo>
                    <a:pt x="3365" y="2547"/>
                    <a:pt x="3371" y="2545"/>
                    <a:pt x="3378" y="2543"/>
                  </a:cubicBezTo>
                  <a:cubicBezTo>
                    <a:pt x="3386" y="2540"/>
                    <a:pt x="3381" y="2520"/>
                    <a:pt x="3385" y="2520"/>
                  </a:cubicBezTo>
                  <a:cubicBezTo>
                    <a:pt x="3389" y="2520"/>
                    <a:pt x="3393" y="2527"/>
                    <a:pt x="3393" y="2532"/>
                  </a:cubicBezTo>
                  <a:cubicBezTo>
                    <a:pt x="3394" y="2537"/>
                    <a:pt x="3406" y="2534"/>
                    <a:pt x="3412" y="2534"/>
                  </a:cubicBezTo>
                  <a:cubicBezTo>
                    <a:pt x="3419" y="2534"/>
                    <a:pt x="3441" y="2534"/>
                    <a:pt x="3451" y="2534"/>
                  </a:cubicBezTo>
                  <a:cubicBezTo>
                    <a:pt x="3461" y="2534"/>
                    <a:pt x="3470" y="2535"/>
                    <a:pt x="3477" y="2540"/>
                  </a:cubicBezTo>
                  <a:cubicBezTo>
                    <a:pt x="3485" y="2545"/>
                    <a:pt x="3484" y="2548"/>
                    <a:pt x="3494" y="2550"/>
                  </a:cubicBezTo>
                  <a:cubicBezTo>
                    <a:pt x="3503" y="2552"/>
                    <a:pt x="3492" y="2557"/>
                    <a:pt x="3492" y="2564"/>
                  </a:cubicBezTo>
                  <a:cubicBezTo>
                    <a:pt x="3491" y="2572"/>
                    <a:pt x="3504" y="2580"/>
                    <a:pt x="3512" y="2587"/>
                  </a:cubicBezTo>
                  <a:cubicBezTo>
                    <a:pt x="3520" y="2593"/>
                    <a:pt x="3520" y="2599"/>
                    <a:pt x="3526" y="2602"/>
                  </a:cubicBezTo>
                  <a:cubicBezTo>
                    <a:pt x="3533" y="2606"/>
                    <a:pt x="3527" y="2607"/>
                    <a:pt x="3524" y="2610"/>
                  </a:cubicBezTo>
                  <a:cubicBezTo>
                    <a:pt x="3521" y="2612"/>
                    <a:pt x="3525" y="2618"/>
                    <a:pt x="3529" y="2618"/>
                  </a:cubicBezTo>
                  <a:cubicBezTo>
                    <a:pt x="3532" y="2618"/>
                    <a:pt x="3539" y="2617"/>
                    <a:pt x="3542" y="2611"/>
                  </a:cubicBezTo>
                  <a:cubicBezTo>
                    <a:pt x="3544" y="2604"/>
                    <a:pt x="3558" y="2605"/>
                    <a:pt x="3566" y="2603"/>
                  </a:cubicBezTo>
                  <a:cubicBezTo>
                    <a:pt x="3573" y="2602"/>
                    <a:pt x="3579" y="2607"/>
                    <a:pt x="3579" y="2612"/>
                  </a:cubicBezTo>
                  <a:cubicBezTo>
                    <a:pt x="3579" y="2618"/>
                    <a:pt x="3578" y="2617"/>
                    <a:pt x="3573" y="2619"/>
                  </a:cubicBezTo>
                  <a:cubicBezTo>
                    <a:pt x="3568" y="2620"/>
                    <a:pt x="3579" y="2625"/>
                    <a:pt x="3580" y="2632"/>
                  </a:cubicBezTo>
                  <a:cubicBezTo>
                    <a:pt x="3581" y="2638"/>
                    <a:pt x="3585" y="2641"/>
                    <a:pt x="3594" y="2642"/>
                  </a:cubicBezTo>
                  <a:cubicBezTo>
                    <a:pt x="3602" y="2643"/>
                    <a:pt x="3600" y="2648"/>
                    <a:pt x="3599" y="2660"/>
                  </a:cubicBezTo>
                  <a:cubicBezTo>
                    <a:pt x="3599" y="2672"/>
                    <a:pt x="3592" y="2669"/>
                    <a:pt x="3593" y="2676"/>
                  </a:cubicBezTo>
                  <a:cubicBezTo>
                    <a:pt x="3594" y="2683"/>
                    <a:pt x="3608" y="2683"/>
                    <a:pt x="3608" y="2690"/>
                  </a:cubicBezTo>
                  <a:cubicBezTo>
                    <a:pt x="3608" y="2697"/>
                    <a:pt x="3613" y="2700"/>
                    <a:pt x="3614" y="2709"/>
                  </a:cubicBezTo>
                  <a:cubicBezTo>
                    <a:pt x="3614" y="2712"/>
                    <a:pt x="3614" y="2714"/>
                    <a:pt x="3613" y="2715"/>
                  </a:cubicBezTo>
                  <a:cubicBezTo>
                    <a:pt x="3622" y="2715"/>
                    <a:pt x="3629" y="2716"/>
                    <a:pt x="3630" y="2724"/>
                  </a:cubicBezTo>
                  <a:cubicBezTo>
                    <a:pt x="3632" y="2735"/>
                    <a:pt x="3638" y="2743"/>
                    <a:pt x="3650" y="2744"/>
                  </a:cubicBezTo>
                  <a:cubicBezTo>
                    <a:pt x="3655" y="2745"/>
                    <a:pt x="3662" y="2746"/>
                    <a:pt x="3667" y="2748"/>
                  </a:cubicBezTo>
                  <a:cubicBezTo>
                    <a:pt x="3669" y="2746"/>
                    <a:pt x="3672" y="2743"/>
                    <a:pt x="3675" y="2741"/>
                  </a:cubicBezTo>
                  <a:cubicBezTo>
                    <a:pt x="3681" y="2736"/>
                    <a:pt x="3693" y="2743"/>
                    <a:pt x="3702" y="2745"/>
                  </a:cubicBezTo>
                  <a:cubicBezTo>
                    <a:pt x="3710" y="2747"/>
                    <a:pt x="3721" y="2747"/>
                    <a:pt x="3726" y="2747"/>
                  </a:cubicBezTo>
                  <a:cubicBezTo>
                    <a:pt x="3732" y="2747"/>
                    <a:pt x="3750" y="2749"/>
                    <a:pt x="3775" y="2749"/>
                  </a:cubicBezTo>
                  <a:cubicBezTo>
                    <a:pt x="3800" y="2749"/>
                    <a:pt x="3803" y="2757"/>
                    <a:pt x="3808" y="2761"/>
                  </a:cubicBezTo>
                  <a:cubicBezTo>
                    <a:pt x="3812" y="2765"/>
                    <a:pt x="3829" y="2765"/>
                    <a:pt x="3838" y="2765"/>
                  </a:cubicBezTo>
                  <a:cubicBezTo>
                    <a:pt x="3848" y="2765"/>
                    <a:pt x="3852" y="2766"/>
                    <a:pt x="3854" y="2774"/>
                  </a:cubicBezTo>
                  <a:cubicBezTo>
                    <a:pt x="3857" y="2782"/>
                    <a:pt x="3863" y="2787"/>
                    <a:pt x="3868" y="2796"/>
                  </a:cubicBezTo>
                  <a:cubicBezTo>
                    <a:pt x="3872" y="2805"/>
                    <a:pt x="3880" y="2810"/>
                    <a:pt x="3892" y="2815"/>
                  </a:cubicBezTo>
                  <a:cubicBezTo>
                    <a:pt x="3905" y="2819"/>
                    <a:pt x="3898" y="2837"/>
                    <a:pt x="3900" y="2849"/>
                  </a:cubicBezTo>
                  <a:cubicBezTo>
                    <a:pt x="3902" y="2862"/>
                    <a:pt x="3900" y="2871"/>
                    <a:pt x="3892" y="2873"/>
                  </a:cubicBezTo>
                  <a:cubicBezTo>
                    <a:pt x="3884" y="2876"/>
                    <a:pt x="3872" y="2869"/>
                    <a:pt x="3867" y="2864"/>
                  </a:cubicBezTo>
                  <a:cubicBezTo>
                    <a:pt x="3862" y="2859"/>
                    <a:pt x="3852" y="2857"/>
                    <a:pt x="3846" y="2848"/>
                  </a:cubicBezTo>
                  <a:cubicBezTo>
                    <a:pt x="3841" y="2839"/>
                    <a:pt x="3829" y="2835"/>
                    <a:pt x="3823" y="2829"/>
                  </a:cubicBezTo>
                  <a:cubicBezTo>
                    <a:pt x="3817" y="2823"/>
                    <a:pt x="3814" y="2816"/>
                    <a:pt x="3804" y="2816"/>
                  </a:cubicBezTo>
                  <a:cubicBezTo>
                    <a:pt x="3793" y="2816"/>
                    <a:pt x="3786" y="2811"/>
                    <a:pt x="3786" y="2816"/>
                  </a:cubicBezTo>
                  <a:cubicBezTo>
                    <a:pt x="3786" y="2821"/>
                    <a:pt x="3786" y="2821"/>
                    <a:pt x="3796" y="2822"/>
                  </a:cubicBezTo>
                  <a:cubicBezTo>
                    <a:pt x="3805" y="2823"/>
                    <a:pt x="3800" y="2834"/>
                    <a:pt x="3807" y="2838"/>
                  </a:cubicBezTo>
                  <a:cubicBezTo>
                    <a:pt x="3814" y="2842"/>
                    <a:pt x="3815" y="2851"/>
                    <a:pt x="3815" y="2861"/>
                  </a:cubicBezTo>
                  <a:cubicBezTo>
                    <a:pt x="3815" y="2872"/>
                    <a:pt x="3811" y="2879"/>
                    <a:pt x="3798" y="2888"/>
                  </a:cubicBezTo>
                  <a:cubicBezTo>
                    <a:pt x="3784" y="2897"/>
                    <a:pt x="3791" y="2926"/>
                    <a:pt x="3792" y="2938"/>
                  </a:cubicBezTo>
                  <a:cubicBezTo>
                    <a:pt x="3794" y="2950"/>
                    <a:pt x="3794" y="2963"/>
                    <a:pt x="3782" y="2966"/>
                  </a:cubicBezTo>
                  <a:cubicBezTo>
                    <a:pt x="3770" y="2969"/>
                    <a:pt x="3770" y="2986"/>
                    <a:pt x="3762" y="2987"/>
                  </a:cubicBezTo>
                  <a:cubicBezTo>
                    <a:pt x="3755" y="2989"/>
                    <a:pt x="3753" y="2982"/>
                    <a:pt x="3752" y="2971"/>
                  </a:cubicBezTo>
                  <a:cubicBezTo>
                    <a:pt x="3752" y="2970"/>
                    <a:pt x="3751" y="2969"/>
                    <a:pt x="3751" y="2969"/>
                  </a:cubicBezTo>
                  <a:cubicBezTo>
                    <a:pt x="3749" y="2973"/>
                    <a:pt x="3748" y="2977"/>
                    <a:pt x="3748" y="2980"/>
                  </a:cubicBezTo>
                  <a:cubicBezTo>
                    <a:pt x="3748" y="2989"/>
                    <a:pt x="3747" y="3016"/>
                    <a:pt x="3732" y="3025"/>
                  </a:cubicBezTo>
                  <a:cubicBezTo>
                    <a:pt x="3717" y="3034"/>
                    <a:pt x="3710" y="3046"/>
                    <a:pt x="3704" y="3051"/>
                  </a:cubicBezTo>
                  <a:cubicBezTo>
                    <a:pt x="3698" y="3056"/>
                    <a:pt x="3693" y="3069"/>
                    <a:pt x="3699" y="3078"/>
                  </a:cubicBezTo>
                  <a:cubicBezTo>
                    <a:pt x="3700" y="3076"/>
                    <a:pt x="3702" y="3076"/>
                    <a:pt x="3704" y="3075"/>
                  </a:cubicBezTo>
                  <a:cubicBezTo>
                    <a:pt x="3714" y="3071"/>
                    <a:pt x="3712" y="3075"/>
                    <a:pt x="3732" y="3075"/>
                  </a:cubicBezTo>
                  <a:cubicBezTo>
                    <a:pt x="3751" y="3074"/>
                    <a:pt x="3758" y="3051"/>
                    <a:pt x="3758" y="3051"/>
                  </a:cubicBezTo>
                  <a:cubicBezTo>
                    <a:pt x="3759" y="3047"/>
                    <a:pt x="3762" y="3055"/>
                    <a:pt x="3770" y="3055"/>
                  </a:cubicBezTo>
                  <a:cubicBezTo>
                    <a:pt x="3778" y="3055"/>
                    <a:pt x="3780" y="3047"/>
                    <a:pt x="3784" y="3043"/>
                  </a:cubicBezTo>
                  <a:cubicBezTo>
                    <a:pt x="3788" y="3038"/>
                    <a:pt x="3802" y="3031"/>
                    <a:pt x="3810" y="3025"/>
                  </a:cubicBezTo>
                  <a:cubicBezTo>
                    <a:pt x="3818" y="3019"/>
                    <a:pt x="3830" y="3021"/>
                    <a:pt x="3846" y="3021"/>
                  </a:cubicBezTo>
                  <a:cubicBezTo>
                    <a:pt x="3863" y="3022"/>
                    <a:pt x="3852" y="3027"/>
                    <a:pt x="3864" y="3029"/>
                  </a:cubicBezTo>
                  <a:cubicBezTo>
                    <a:pt x="3876" y="3032"/>
                    <a:pt x="3879" y="3025"/>
                    <a:pt x="3884" y="3017"/>
                  </a:cubicBezTo>
                  <a:cubicBezTo>
                    <a:pt x="3888" y="3010"/>
                    <a:pt x="3896" y="3013"/>
                    <a:pt x="3905" y="3007"/>
                  </a:cubicBezTo>
                  <a:cubicBezTo>
                    <a:pt x="3914" y="3002"/>
                    <a:pt x="3933" y="3004"/>
                    <a:pt x="3946" y="3004"/>
                  </a:cubicBezTo>
                  <a:cubicBezTo>
                    <a:pt x="3952" y="3004"/>
                    <a:pt x="3957" y="3006"/>
                    <a:pt x="3959" y="3010"/>
                  </a:cubicBezTo>
                  <a:cubicBezTo>
                    <a:pt x="3962" y="3006"/>
                    <a:pt x="3963" y="3001"/>
                    <a:pt x="3961" y="2994"/>
                  </a:cubicBezTo>
                  <a:cubicBezTo>
                    <a:pt x="3959" y="2988"/>
                    <a:pt x="3956" y="2983"/>
                    <a:pt x="3954" y="2977"/>
                  </a:cubicBezTo>
                  <a:cubicBezTo>
                    <a:pt x="3948" y="2979"/>
                    <a:pt x="3940" y="2977"/>
                    <a:pt x="3932" y="2977"/>
                  </a:cubicBezTo>
                  <a:cubicBezTo>
                    <a:pt x="3922" y="2977"/>
                    <a:pt x="3920" y="2975"/>
                    <a:pt x="3920" y="2968"/>
                  </a:cubicBezTo>
                  <a:cubicBezTo>
                    <a:pt x="3920" y="2961"/>
                    <a:pt x="3924" y="2954"/>
                    <a:pt x="3931" y="2954"/>
                  </a:cubicBezTo>
                  <a:cubicBezTo>
                    <a:pt x="3938" y="2954"/>
                    <a:pt x="3944" y="2943"/>
                    <a:pt x="3950" y="2939"/>
                  </a:cubicBezTo>
                  <a:cubicBezTo>
                    <a:pt x="3956" y="2935"/>
                    <a:pt x="3958" y="2930"/>
                    <a:pt x="3970" y="2930"/>
                  </a:cubicBezTo>
                  <a:cubicBezTo>
                    <a:pt x="3982" y="2930"/>
                    <a:pt x="3990" y="2920"/>
                    <a:pt x="3990" y="2920"/>
                  </a:cubicBezTo>
                  <a:cubicBezTo>
                    <a:pt x="4006" y="2920"/>
                    <a:pt x="4003" y="2922"/>
                    <a:pt x="4018" y="2922"/>
                  </a:cubicBezTo>
                  <a:cubicBezTo>
                    <a:pt x="4032" y="2922"/>
                    <a:pt x="4030" y="2915"/>
                    <a:pt x="4035" y="2914"/>
                  </a:cubicBezTo>
                  <a:cubicBezTo>
                    <a:pt x="4040" y="2913"/>
                    <a:pt x="4051" y="2911"/>
                    <a:pt x="4055" y="2917"/>
                  </a:cubicBezTo>
                  <a:cubicBezTo>
                    <a:pt x="4059" y="2923"/>
                    <a:pt x="4064" y="2922"/>
                    <a:pt x="4076" y="2922"/>
                  </a:cubicBezTo>
                  <a:cubicBezTo>
                    <a:pt x="4089" y="2922"/>
                    <a:pt x="4097" y="2916"/>
                    <a:pt x="4102" y="2909"/>
                  </a:cubicBezTo>
                  <a:cubicBezTo>
                    <a:pt x="4106" y="2901"/>
                    <a:pt x="4111" y="2898"/>
                    <a:pt x="4119" y="2897"/>
                  </a:cubicBezTo>
                  <a:cubicBezTo>
                    <a:pt x="4124" y="2897"/>
                    <a:pt x="4132" y="2896"/>
                    <a:pt x="4138" y="2897"/>
                  </a:cubicBezTo>
                  <a:cubicBezTo>
                    <a:pt x="4145" y="2889"/>
                    <a:pt x="4154" y="2882"/>
                    <a:pt x="4166" y="2878"/>
                  </a:cubicBezTo>
                  <a:cubicBezTo>
                    <a:pt x="4196" y="2870"/>
                    <a:pt x="4182" y="2838"/>
                    <a:pt x="4238" y="2838"/>
                  </a:cubicBezTo>
                  <a:cubicBezTo>
                    <a:pt x="4295" y="2838"/>
                    <a:pt x="4427" y="2837"/>
                    <a:pt x="4429" y="2837"/>
                  </a:cubicBezTo>
                  <a:cubicBezTo>
                    <a:pt x="4432" y="2837"/>
                    <a:pt x="4441" y="2818"/>
                    <a:pt x="4458" y="2818"/>
                  </a:cubicBezTo>
                  <a:cubicBezTo>
                    <a:pt x="4475" y="2817"/>
                    <a:pt x="4482" y="2808"/>
                    <a:pt x="4496" y="2787"/>
                  </a:cubicBezTo>
                  <a:cubicBezTo>
                    <a:pt x="4511" y="2767"/>
                    <a:pt x="4515" y="2755"/>
                    <a:pt x="4516" y="2741"/>
                  </a:cubicBezTo>
                  <a:cubicBezTo>
                    <a:pt x="4517" y="2727"/>
                    <a:pt x="4526" y="2714"/>
                    <a:pt x="4536" y="2701"/>
                  </a:cubicBezTo>
                  <a:cubicBezTo>
                    <a:pt x="4546" y="2688"/>
                    <a:pt x="4557" y="2670"/>
                    <a:pt x="4568" y="2659"/>
                  </a:cubicBezTo>
                  <a:cubicBezTo>
                    <a:pt x="4580" y="2649"/>
                    <a:pt x="4588" y="2639"/>
                    <a:pt x="4596" y="2654"/>
                  </a:cubicBezTo>
                  <a:cubicBezTo>
                    <a:pt x="4605" y="2669"/>
                    <a:pt x="4610" y="2671"/>
                    <a:pt x="4618" y="2660"/>
                  </a:cubicBezTo>
                  <a:cubicBezTo>
                    <a:pt x="4625" y="2649"/>
                    <a:pt x="4639" y="2640"/>
                    <a:pt x="4654" y="2651"/>
                  </a:cubicBezTo>
                  <a:cubicBezTo>
                    <a:pt x="4669" y="2662"/>
                    <a:pt x="4665" y="2669"/>
                    <a:pt x="4670" y="2676"/>
                  </a:cubicBezTo>
                  <a:cubicBezTo>
                    <a:pt x="4675" y="2682"/>
                    <a:pt x="4674" y="2693"/>
                    <a:pt x="4674" y="2708"/>
                  </a:cubicBezTo>
                  <a:cubicBezTo>
                    <a:pt x="4674" y="2724"/>
                    <a:pt x="4672" y="2789"/>
                    <a:pt x="4681" y="2789"/>
                  </a:cubicBezTo>
                  <a:cubicBezTo>
                    <a:pt x="4690" y="2790"/>
                    <a:pt x="4697" y="2800"/>
                    <a:pt x="4697" y="2807"/>
                  </a:cubicBezTo>
                  <a:cubicBezTo>
                    <a:pt x="4697" y="2814"/>
                    <a:pt x="4700" y="2818"/>
                    <a:pt x="4707" y="2820"/>
                  </a:cubicBezTo>
                  <a:cubicBezTo>
                    <a:pt x="4713" y="2823"/>
                    <a:pt x="4720" y="2829"/>
                    <a:pt x="4721" y="2836"/>
                  </a:cubicBezTo>
                  <a:cubicBezTo>
                    <a:pt x="4723" y="2842"/>
                    <a:pt x="4729" y="2854"/>
                    <a:pt x="4729" y="2871"/>
                  </a:cubicBezTo>
                  <a:cubicBezTo>
                    <a:pt x="4734" y="2870"/>
                    <a:pt x="4736" y="2868"/>
                    <a:pt x="4738" y="2864"/>
                  </a:cubicBezTo>
                  <a:cubicBezTo>
                    <a:pt x="4741" y="2856"/>
                    <a:pt x="4743" y="2851"/>
                    <a:pt x="4739" y="2848"/>
                  </a:cubicBezTo>
                  <a:cubicBezTo>
                    <a:pt x="4735" y="2845"/>
                    <a:pt x="4733" y="2837"/>
                    <a:pt x="4743" y="2835"/>
                  </a:cubicBezTo>
                  <a:cubicBezTo>
                    <a:pt x="4754" y="2833"/>
                    <a:pt x="4766" y="2834"/>
                    <a:pt x="4769" y="2828"/>
                  </a:cubicBezTo>
                  <a:cubicBezTo>
                    <a:pt x="4773" y="2821"/>
                    <a:pt x="4780" y="2820"/>
                    <a:pt x="4788" y="2820"/>
                  </a:cubicBezTo>
                  <a:cubicBezTo>
                    <a:pt x="4796" y="2820"/>
                    <a:pt x="4815" y="2819"/>
                    <a:pt x="4817" y="2816"/>
                  </a:cubicBezTo>
                  <a:cubicBezTo>
                    <a:pt x="4819" y="2813"/>
                    <a:pt x="4827" y="2814"/>
                    <a:pt x="4832" y="2807"/>
                  </a:cubicBezTo>
                  <a:cubicBezTo>
                    <a:pt x="4837" y="2800"/>
                    <a:pt x="4847" y="2794"/>
                    <a:pt x="4855" y="2793"/>
                  </a:cubicBezTo>
                  <a:cubicBezTo>
                    <a:pt x="4862" y="2791"/>
                    <a:pt x="4857" y="2802"/>
                    <a:pt x="4862" y="2805"/>
                  </a:cubicBezTo>
                  <a:cubicBezTo>
                    <a:pt x="4868" y="2808"/>
                    <a:pt x="4870" y="2822"/>
                    <a:pt x="4860" y="2823"/>
                  </a:cubicBezTo>
                  <a:cubicBezTo>
                    <a:pt x="4849" y="2825"/>
                    <a:pt x="4855" y="2834"/>
                    <a:pt x="4839" y="2836"/>
                  </a:cubicBezTo>
                  <a:cubicBezTo>
                    <a:pt x="4822" y="2838"/>
                    <a:pt x="4833" y="2846"/>
                    <a:pt x="4820" y="2851"/>
                  </a:cubicBezTo>
                  <a:cubicBezTo>
                    <a:pt x="4807" y="2855"/>
                    <a:pt x="4801" y="2857"/>
                    <a:pt x="4794" y="2864"/>
                  </a:cubicBezTo>
                  <a:cubicBezTo>
                    <a:pt x="4788" y="2871"/>
                    <a:pt x="4774" y="2880"/>
                    <a:pt x="4776" y="2891"/>
                  </a:cubicBezTo>
                  <a:cubicBezTo>
                    <a:pt x="4779" y="2903"/>
                    <a:pt x="4775" y="2934"/>
                    <a:pt x="4787" y="2935"/>
                  </a:cubicBezTo>
                  <a:cubicBezTo>
                    <a:pt x="4799" y="2937"/>
                    <a:pt x="4806" y="2942"/>
                    <a:pt x="4809" y="2947"/>
                  </a:cubicBezTo>
                  <a:cubicBezTo>
                    <a:pt x="4813" y="2952"/>
                    <a:pt x="4825" y="2955"/>
                    <a:pt x="4832" y="2952"/>
                  </a:cubicBezTo>
                  <a:cubicBezTo>
                    <a:pt x="4840" y="2948"/>
                    <a:pt x="4834" y="2939"/>
                    <a:pt x="4847" y="2938"/>
                  </a:cubicBezTo>
                  <a:cubicBezTo>
                    <a:pt x="4861" y="2937"/>
                    <a:pt x="4862" y="2937"/>
                    <a:pt x="4869" y="2923"/>
                  </a:cubicBezTo>
                  <a:cubicBezTo>
                    <a:pt x="4875" y="2909"/>
                    <a:pt x="4896" y="2904"/>
                    <a:pt x="4898" y="2891"/>
                  </a:cubicBezTo>
                  <a:cubicBezTo>
                    <a:pt x="4900" y="2878"/>
                    <a:pt x="4907" y="2874"/>
                    <a:pt x="4915" y="2876"/>
                  </a:cubicBezTo>
                  <a:cubicBezTo>
                    <a:pt x="4923" y="2878"/>
                    <a:pt x="4924" y="2884"/>
                    <a:pt x="4933" y="2883"/>
                  </a:cubicBezTo>
                  <a:cubicBezTo>
                    <a:pt x="4943" y="2881"/>
                    <a:pt x="4952" y="2874"/>
                    <a:pt x="4954" y="2871"/>
                  </a:cubicBezTo>
                  <a:cubicBezTo>
                    <a:pt x="4956" y="2868"/>
                    <a:pt x="4967" y="2863"/>
                    <a:pt x="4974" y="2863"/>
                  </a:cubicBezTo>
                  <a:cubicBezTo>
                    <a:pt x="4980" y="2863"/>
                    <a:pt x="4993" y="2864"/>
                    <a:pt x="4995" y="2857"/>
                  </a:cubicBezTo>
                  <a:cubicBezTo>
                    <a:pt x="4997" y="2850"/>
                    <a:pt x="5009" y="2853"/>
                    <a:pt x="5021" y="2851"/>
                  </a:cubicBezTo>
                  <a:cubicBezTo>
                    <a:pt x="5032" y="2848"/>
                    <a:pt x="5031" y="2838"/>
                    <a:pt x="5041" y="2838"/>
                  </a:cubicBezTo>
                  <a:cubicBezTo>
                    <a:pt x="5051" y="2838"/>
                    <a:pt x="5085" y="2837"/>
                    <a:pt x="5092" y="2827"/>
                  </a:cubicBezTo>
                  <a:cubicBezTo>
                    <a:pt x="5098" y="2817"/>
                    <a:pt x="5104" y="2811"/>
                    <a:pt x="5098" y="2806"/>
                  </a:cubicBezTo>
                  <a:cubicBezTo>
                    <a:pt x="5091" y="2801"/>
                    <a:pt x="5091" y="2793"/>
                    <a:pt x="5107" y="2793"/>
                  </a:cubicBezTo>
                  <a:cubicBezTo>
                    <a:pt x="5123" y="2793"/>
                    <a:pt x="5153" y="2794"/>
                    <a:pt x="5153" y="2788"/>
                  </a:cubicBezTo>
                  <a:cubicBezTo>
                    <a:pt x="5154" y="2781"/>
                    <a:pt x="5177" y="2784"/>
                    <a:pt x="5177" y="2775"/>
                  </a:cubicBezTo>
                  <a:cubicBezTo>
                    <a:pt x="5177" y="2767"/>
                    <a:pt x="5180" y="2767"/>
                    <a:pt x="5185" y="2765"/>
                  </a:cubicBezTo>
                  <a:cubicBezTo>
                    <a:pt x="5190" y="2764"/>
                    <a:pt x="5194" y="2759"/>
                    <a:pt x="5191" y="2752"/>
                  </a:cubicBezTo>
                  <a:cubicBezTo>
                    <a:pt x="5187" y="2745"/>
                    <a:pt x="5182" y="2745"/>
                    <a:pt x="5171" y="2742"/>
                  </a:cubicBezTo>
                  <a:cubicBezTo>
                    <a:pt x="5161" y="2738"/>
                    <a:pt x="5163" y="2732"/>
                    <a:pt x="5156" y="2728"/>
                  </a:cubicBezTo>
                  <a:cubicBezTo>
                    <a:pt x="5149" y="2724"/>
                    <a:pt x="5145" y="2721"/>
                    <a:pt x="5148" y="2710"/>
                  </a:cubicBezTo>
                  <a:cubicBezTo>
                    <a:pt x="5151" y="2699"/>
                    <a:pt x="5158" y="2700"/>
                    <a:pt x="5157" y="2691"/>
                  </a:cubicBezTo>
                  <a:cubicBezTo>
                    <a:pt x="5156" y="2683"/>
                    <a:pt x="5146" y="2680"/>
                    <a:pt x="5136" y="2678"/>
                  </a:cubicBezTo>
                  <a:cubicBezTo>
                    <a:pt x="5126" y="2676"/>
                    <a:pt x="5117" y="2684"/>
                    <a:pt x="5114" y="2694"/>
                  </a:cubicBezTo>
                  <a:cubicBezTo>
                    <a:pt x="5111" y="2703"/>
                    <a:pt x="5099" y="2721"/>
                    <a:pt x="5091" y="2729"/>
                  </a:cubicBezTo>
                  <a:cubicBezTo>
                    <a:pt x="5083" y="2738"/>
                    <a:pt x="5068" y="2752"/>
                    <a:pt x="5073" y="2759"/>
                  </a:cubicBezTo>
                  <a:cubicBezTo>
                    <a:pt x="5078" y="2766"/>
                    <a:pt x="5078" y="2780"/>
                    <a:pt x="5070" y="2783"/>
                  </a:cubicBezTo>
                  <a:cubicBezTo>
                    <a:pt x="5062" y="2785"/>
                    <a:pt x="5062" y="2781"/>
                    <a:pt x="5059" y="2774"/>
                  </a:cubicBezTo>
                  <a:cubicBezTo>
                    <a:pt x="5055" y="2767"/>
                    <a:pt x="5047" y="2759"/>
                    <a:pt x="5042" y="2765"/>
                  </a:cubicBezTo>
                  <a:cubicBezTo>
                    <a:pt x="5036" y="2772"/>
                    <a:pt x="5029" y="2780"/>
                    <a:pt x="5017" y="2780"/>
                  </a:cubicBezTo>
                  <a:cubicBezTo>
                    <a:pt x="5004" y="2780"/>
                    <a:pt x="4989" y="2767"/>
                    <a:pt x="4979" y="2767"/>
                  </a:cubicBezTo>
                  <a:cubicBezTo>
                    <a:pt x="4969" y="2767"/>
                    <a:pt x="4934" y="2769"/>
                    <a:pt x="4930" y="2761"/>
                  </a:cubicBezTo>
                  <a:cubicBezTo>
                    <a:pt x="4926" y="2753"/>
                    <a:pt x="4923" y="2752"/>
                    <a:pt x="4926" y="2747"/>
                  </a:cubicBezTo>
                  <a:cubicBezTo>
                    <a:pt x="4928" y="2741"/>
                    <a:pt x="4922" y="2736"/>
                    <a:pt x="4912" y="2733"/>
                  </a:cubicBezTo>
                  <a:cubicBezTo>
                    <a:pt x="4902" y="2730"/>
                    <a:pt x="4887" y="2737"/>
                    <a:pt x="4883" y="2730"/>
                  </a:cubicBezTo>
                  <a:cubicBezTo>
                    <a:pt x="4880" y="2724"/>
                    <a:pt x="4879" y="2705"/>
                    <a:pt x="4873" y="2701"/>
                  </a:cubicBezTo>
                  <a:cubicBezTo>
                    <a:pt x="4867" y="2697"/>
                    <a:pt x="4870" y="2685"/>
                    <a:pt x="4865" y="2674"/>
                  </a:cubicBezTo>
                  <a:cubicBezTo>
                    <a:pt x="4861" y="2664"/>
                    <a:pt x="4853" y="2660"/>
                    <a:pt x="4860" y="2649"/>
                  </a:cubicBezTo>
                  <a:cubicBezTo>
                    <a:pt x="4867" y="2638"/>
                    <a:pt x="4869" y="2634"/>
                    <a:pt x="4867" y="2626"/>
                  </a:cubicBezTo>
                  <a:cubicBezTo>
                    <a:pt x="4866" y="2617"/>
                    <a:pt x="4867" y="2605"/>
                    <a:pt x="4858" y="2603"/>
                  </a:cubicBezTo>
                  <a:cubicBezTo>
                    <a:pt x="4850" y="2600"/>
                    <a:pt x="4840" y="2590"/>
                    <a:pt x="4835" y="2598"/>
                  </a:cubicBezTo>
                  <a:cubicBezTo>
                    <a:pt x="4829" y="2607"/>
                    <a:pt x="4822" y="2624"/>
                    <a:pt x="4816" y="2620"/>
                  </a:cubicBezTo>
                  <a:cubicBezTo>
                    <a:pt x="4809" y="2616"/>
                    <a:pt x="4812" y="2611"/>
                    <a:pt x="4806" y="2605"/>
                  </a:cubicBezTo>
                  <a:cubicBezTo>
                    <a:pt x="4799" y="2599"/>
                    <a:pt x="4793" y="2598"/>
                    <a:pt x="4794" y="2590"/>
                  </a:cubicBezTo>
                  <a:cubicBezTo>
                    <a:pt x="4796" y="2581"/>
                    <a:pt x="4808" y="2583"/>
                    <a:pt x="4814" y="2587"/>
                  </a:cubicBezTo>
                  <a:cubicBezTo>
                    <a:pt x="4821" y="2590"/>
                    <a:pt x="4845" y="2590"/>
                    <a:pt x="4852" y="2584"/>
                  </a:cubicBezTo>
                  <a:cubicBezTo>
                    <a:pt x="4859" y="2578"/>
                    <a:pt x="4866" y="2575"/>
                    <a:pt x="4879" y="2569"/>
                  </a:cubicBezTo>
                  <a:cubicBezTo>
                    <a:pt x="4892" y="2562"/>
                    <a:pt x="4906" y="2561"/>
                    <a:pt x="4908" y="2550"/>
                  </a:cubicBezTo>
                  <a:cubicBezTo>
                    <a:pt x="4910" y="2540"/>
                    <a:pt x="4898" y="2537"/>
                    <a:pt x="4899" y="2529"/>
                  </a:cubicBezTo>
                  <a:cubicBezTo>
                    <a:pt x="4900" y="2520"/>
                    <a:pt x="4907" y="2518"/>
                    <a:pt x="4895" y="2509"/>
                  </a:cubicBezTo>
                  <a:cubicBezTo>
                    <a:pt x="4883" y="2501"/>
                    <a:pt x="4874" y="2494"/>
                    <a:pt x="4865" y="2493"/>
                  </a:cubicBezTo>
                  <a:cubicBezTo>
                    <a:pt x="4855" y="2492"/>
                    <a:pt x="4840" y="2487"/>
                    <a:pt x="4826" y="2487"/>
                  </a:cubicBezTo>
                  <a:cubicBezTo>
                    <a:pt x="4812" y="2487"/>
                    <a:pt x="4789" y="2492"/>
                    <a:pt x="4774" y="2492"/>
                  </a:cubicBezTo>
                  <a:cubicBezTo>
                    <a:pt x="4759" y="2492"/>
                    <a:pt x="4759" y="2499"/>
                    <a:pt x="4737" y="2504"/>
                  </a:cubicBezTo>
                  <a:cubicBezTo>
                    <a:pt x="4715" y="2510"/>
                    <a:pt x="4708" y="2518"/>
                    <a:pt x="4684" y="2525"/>
                  </a:cubicBezTo>
                  <a:cubicBezTo>
                    <a:pt x="4660" y="2532"/>
                    <a:pt x="4641" y="2552"/>
                    <a:pt x="4624" y="2557"/>
                  </a:cubicBezTo>
                  <a:cubicBezTo>
                    <a:pt x="4607" y="2563"/>
                    <a:pt x="4602" y="2568"/>
                    <a:pt x="4589" y="2580"/>
                  </a:cubicBezTo>
                  <a:cubicBezTo>
                    <a:pt x="4577" y="2593"/>
                    <a:pt x="4552" y="2621"/>
                    <a:pt x="4539" y="2633"/>
                  </a:cubicBezTo>
                  <a:cubicBezTo>
                    <a:pt x="4525" y="2646"/>
                    <a:pt x="4515" y="2671"/>
                    <a:pt x="4505" y="2675"/>
                  </a:cubicBezTo>
                  <a:cubicBezTo>
                    <a:pt x="4495" y="2679"/>
                    <a:pt x="4468" y="2684"/>
                    <a:pt x="4480" y="2671"/>
                  </a:cubicBezTo>
                  <a:cubicBezTo>
                    <a:pt x="4491" y="2659"/>
                    <a:pt x="4510" y="2654"/>
                    <a:pt x="4518" y="2639"/>
                  </a:cubicBezTo>
                  <a:cubicBezTo>
                    <a:pt x="4526" y="2624"/>
                    <a:pt x="4543" y="2625"/>
                    <a:pt x="4549" y="2605"/>
                  </a:cubicBezTo>
                  <a:cubicBezTo>
                    <a:pt x="4554" y="2585"/>
                    <a:pt x="4561" y="2575"/>
                    <a:pt x="4571" y="2568"/>
                  </a:cubicBezTo>
                  <a:cubicBezTo>
                    <a:pt x="4582" y="2561"/>
                    <a:pt x="4598" y="2552"/>
                    <a:pt x="4603" y="2540"/>
                  </a:cubicBezTo>
                  <a:cubicBezTo>
                    <a:pt x="4608" y="2527"/>
                    <a:pt x="4621" y="2520"/>
                    <a:pt x="4635" y="2508"/>
                  </a:cubicBezTo>
                  <a:cubicBezTo>
                    <a:pt x="4648" y="2496"/>
                    <a:pt x="4649" y="2494"/>
                    <a:pt x="4670" y="2492"/>
                  </a:cubicBezTo>
                  <a:cubicBezTo>
                    <a:pt x="4692" y="2491"/>
                    <a:pt x="4708" y="2490"/>
                    <a:pt x="4713" y="2474"/>
                  </a:cubicBezTo>
                  <a:cubicBezTo>
                    <a:pt x="4718" y="2457"/>
                    <a:pt x="4726" y="2433"/>
                    <a:pt x="4745" y="2426"/>
                  </a:cubicBezTo>
                  <a:cubicBezTo>
                    <a:pt x="4764" y="2418"/>
                    <a:pt x="4778" y="2423"/>
                    <a:pt x="4786" y="2416"/>
                  </a:cubicBezTo>
                  <a:cubicBezTo>
                    <a:pt x="4795" y="2410"/>
                    <a:pt x="4798" y="2410"/>
                    <a:pt x="4827" y="2406"/>
                  </a:cubicBezTo>
                  <a:cubicBezTo>
                    <a:pt x="4857" y="2403"/>
                    <a:pt x="4872" y="2407"/>
                    <a:pt x="4902" y="2407"/>
                  </a:cubicBezTo>
                  <a:cubicBezTo>
                    <a:pt x="4932" y="2407"/>
                    <a:pt x="4949" y="2406"/>
                    <a:pt x="4966" y="2407"/>
                  </a:cubicBezTo>
                  <a:cubicBezTo>
                    <a:pt x="4982" y="2408"/>
                    <a:pt x="5022" y="2403"/>
                    <a:pt x="5035" y="2414"/>
                  </a:cubicBezTo>
                  <a:cubicBezTo>
                    <a:pt x="5049" y="2425"/>
                    <a:pt x="5057" y="2421"/>
                    <a:pt x="5085" y="2420"/>
                  </a:cubicBezTo>
                  <a:cubicBezTo>
                    <a:pt x="5113" y="2418"/>
                    <a:pt x="5166" y="2420"/>
                    <a:pt x="5179" y="2406"/>
                  </a:cubicBezTo>
                  <a:cubicBezTo>
                    <a:pt x="5192" y="2391"/>
                    <a:pt x="5194" y="2376"/>
                    <a:pt x="5217" y="2370"/>
                  </a:cubicBezTo>
                  <a:close/>
                  <a:moveTo>
                    <a:pt x="1481" y="921"/>
                  </a:moveTo>
                  <a:cubicBezTo>
                    <a:pt x="1470" y="925"/>
                    <a:pt x="1466" y="953"/>
                    <a:pt x="1452" y="957"/>
                  </a:cubicBezTo>
                  <a:cubicBezTo>
                    <a:pt x="1439" y="961"/>
                    <a:pt x="1444" y="973"/>
                    <a:pt x="1433" y="975"/>
                  </a:cubicBezTo>
                  <a:cubicBezTo>
                    <a:pt x="1422" y="976"/>
                    <a:pt x="1422" y="967"/>
                    <a:pt x="1420" y="963"/>
                  </a:cubicBezTo>
                  <a:cubicBezTo>
                    <a:pt x="1418" y="958"/>
                    <a:pt x="1382" y="957"/>
                    <a:pt x="1369" y="958"/>
                  </a:cubicBezTo>
                  <a:cubicBezTo>
                    <a:pt x="1356" y="959"/>
                    <a:pt x="1359" y="974"/>
                    <a:pt x="1352" y="974"/>
                  </a:cubicBezTo>
                  <a:cubicBezTo>
                    <a:pt x="1346" y="974"/>
                    <a:pt x="1345" y="981"/>
                    <a:pt x="1345" y="987"/>
                  </a:cubicBezTo>
                  <a:cubicBezTo>
                    <a:pt x="1345" y="993"/>
                    <a:pt x="1350" y="992"/>
                    <a:pt x="1360" y="994"/>
                  </a:cubicBezTo>
                  <a:cubicBezTo>
                    <a:pt x="1370" y="996"/>
                    <a:pt x="1378" y="1002"/>
                    <a:pt x="1377" y="1007"/>
                  </a:cubicBezTo>
                  <a:cubicBezTo>
                    <a:pt x="1376" y="1011"/>
                    <a:pt x="1360" y="1009"/>
                    <a:pt x="1347" y="1009"/>
                  </a:cubicBezTo>
                  <a:cubicBezTo>
                    <a:pt x="1334" y="1010"/>
                    <a:pt x="1332" y="1027"/>
                    <a:pt x="1324" y="1032"/>
                  </a:cubicBezTo>
                  <a:cubicBezTo>
                    <a:pt x="1316" y="1037"/>
                    <a:pt x="1304" y="1045"/>
                    <a:pt x="1290" y="1049"/>
                  </a:cubicBezTo>
                  <a:cubicBezTo>
                    <a:pt x="1276" y="1052"/>
                    <a:pt x="1276" y="1065"/>
                    <a:pt x="1266" y="1065"/>
                  </a:cubicBezTo>
                  <a:cubicBezTo>
                    <a:pt x="1257" y="1065"/>
                    <a:pt x="1246" y="1062"/>
                    <a:pt x="1250" y="1055"/>
                  </a:cubicBezTo>
                  <a:cubicBezTo>
                    <a:pt x="1253" y="1047"/>
                    <a:pt x="1274" y="1047"/>
                    <a:pt x="1278" y="1041"/>
                  </a:cubicBezTo>
                  <a:cubicBezTo>
                    <a:pt x="1281" y="1036"/>
                    <a:pt x="1289" y="1026"/>
                    <a:pt x="1304" y="1019"/>
                  </a:cubicBezTo>
                  <a:cubicBezTo>
                    <a:pt x="1320" y="1011"/>
                    <a:pt x="1322" y="1003"/>
                    <a:pt x="1322" y="997"/>
                  </a:cubicBezTo>
                  <a:cubicBezTo>
                    <a:pt x="1322" y="990"/>
                    <a:pt x="1313" y="978"/>
                    <a:pt x="1303" y="978"/>
                  </a:cubicBezTo>
                  <a:cubicBezTo>
                    <a:pt x="1293" y="978"/>
                    <a:pt x="1286" y="979"/>
                    <a:pt x="1278" y="985"/>
                  </a:cubicBezTo>
                  <a:cubicBezTo>
                    <a:pt x="1269" y="991"/>
                    <a:pt x="1261" y="995"/>
                    <a:pt x="1251" y="997"/>
                  </a:cubicBezTo>
                  <a:cubicBezTo>
                    <a:pt x="1241" y="999"/>
                    <a:pt x="1244" y="1006"/>
                    <a:pt x="1240" y="1020"/>
                  </a:cubicBezTo>
                  <a:cubicBezTo>
                    <a:pt x="1236" y="1034"/>
                    <a:pt x="1229" y="1027"/>
                    <a:pt x="1227" y="1038"/>
                  </a:cubicBezTo>
                  <a:cubicBezTo>
                    <a:pt x="1225" y="1049"/>
                    <a:pt x="1192" y="1042"/>
                    <a:pt x="1176" y="1042"/>
                  </a:cubicBezTo>
                  <a:cubicBezTo>
                    <a:pt x="1161" y="1042"/>
                    <a:pt x="1148" y="1041"/>
                    <a:pt x="1138" y="1041"/>
                  </a:cubicBezTo>
                  <a:cubicBezTo>
                    <a:pt x="1128" y="1040"/>
                    <a:pt x="1134" y="1025"/>
                    <a:pt x="1146" y="1025"/>
                  </a:cubicBezTo>
                  <a:cubicBezTo>
                    <a:pt x="1159" y="1025"/>
                    <a:pt x="1168" y="1021"/>
                    <a:pt x="1172" y="1012"/>
                  </a:cubicBezTo>
                  <a:cubicBezTo>
                    <a:pt x="1175" y="1003"/>
                    <a:pt x="1168" y="990"/>
                    <a:pt x="1178" y="987"/>
                  </a:cubicBezTo>
                  <a:cubicBezTo>
                    <a:pt x="1189" y="983"/>
                    <a:pt x="1193" y="983"/>
                    <a:pt x="1202" y="973"/>
                  </a:cubicBezTo>
                  <a:cubicBezTo>
                    <a:pt x="1212" y="963"/>
                    <a:pt x="1204" y="953"/>
                    <a:pt x="1189" y="949"/>
                  </a:cubicBezTo>
                  <a:cubicBezTo>
                    <a:pt x="1174" y="944"/>
                    <a:pt x="1190" y="939"/>
                    <a:pt x="1195" y="939"/>
                  </a:cubicBezTo>
                  <a:cubicBezTo>
                    <a:pt x="1200" y="939"/>
                    <a:pt x="1210" y="941"/>
                    <a:pt x="1214" y="947"/>
                  </a:cubicBezTo>
                  <a:cubicBezTo>
                    <a:pt x="1217" y="954"/>
                    <a:pt x="1224" y="949"/>
                    <a:pt x="1232" y="950"/>
                  </a:cubicBezTo>
                  <a:cubicBezTo>
                    <a:pt x="1240" y="951"/>
                    <a:pt x="1248" y="951"/>
                    <a:pt x="1258" y="950"/>
                  </a:cubicBezTo>
                  <a:cubicBezTo>
                    <a:pt x="1268" y="949"/>
                    <a:pt x="1268" y="934"/>
                    <a:pt x="1264" y="933"/>
                  </a:cubicBezTo>
                  <a:cubicBezTo>
                    <a:pt x="1260" y="933"/>
                    <a:pt x="1245" y="927"/>
                    <a:pt x="1238" y="921"/>
                  </a:cubicBezTo>
                  <a:cubicBezTo>
                    <a:pt x="1232" y="914"/>
                    <a:pt x="1224" y="911"/>
                    <a:pt x="1214" y="910"/>
                  </a:cubicBezTo>
                  <a:cubicBezTo>
                    <a:pt x="1204" y="909"/>
                    <a:pt x="1196" y="907"/>
                    <a:pt x="1195" y="902"/>
                  </a:cubicBezTo>
                  <a:cubicBezTo>
                    <a:pt x="1194" y="897"/>
                    <a:pt x="1187" y="902"/>
                    <a:pt x="1185" y="906"/>
                  </a:cubicBezTo>
                  <a:cubicBezTo>
                    <a:pt x="1183" y="910"/>
                    <a:pt x="1179" y="909"/>
                    <a:pt x="1168" y="911"/>
                  </a:cubicBezTo>
                  <a:cubicBezTo>
                    <a:pt x="1156" y="912"/>
                    <a:pt x="1156" y="914"/>
                    <a:pt x="1154" y="921"/>
                  </a:cubicBezTo>
                  <a:cubicBezTo>
                    <a:pt x="1152" y="927"/>
                    <a:pt x="1147" y="927"/>
                    <a:pt x="1139" y="927"/>
                  </a:cubicBezTo>
                  <a:cubicBezTo>
                    <a:pt x="1131" y="927"/>
                    <a:pt x="1132" y="923"/>
                    <a:pt x="1129" y="919"/>
                  </a:cubicBezTo>
                  <a:cubicBezTo>
                    <a:pt x="1126" y="915"/>
                    <a:pt x="1119" y="921"/>
                    <a:pt x="1116" y="925"/>
                  </a:cubicBezTo>
                  <a:cubicBezTo>
                    <a:pt x="1112" y="930"/>
                    <a:pt x="1094" y="928"/>
                    <a:pt x="1083" y="927"/>
                  </a:cubicBezTo>
                  <a:cubicBezTo>
                    <a:pt x="1072" y="927"/>
                    <a:pt x="1074" y="923"/>
                    <a:pt x="1068" y="919"/>
                  </a:cubicBezTo>
                  <a:cubicBezTo>
                    <a:pt x="1063" y="915"/>
                    <a:pt x="1054" y="923"/>
                    <a:pt x="1051" y="927"/>
                  </a:cubicBezTo>
                  <a:cubicBezTo>
                    <a:pt x="1048" y="932"/>
                    <a:pt x="1046" y="933"/>
                    <a:pt x="1040" y="933"/>
                  </a:cubicBezTo>
                  <a:cubicBezTo>
                    <a:pt x="1034" y="933"/>
                    <a:pt x="1038" y="944"/>
                    <a:pt x="1030" y="943"/>
                  </a:cubicBezTo>
                  <a:cubicBezTo>
                    <a:pt x="1023" y="941"/>
                    <a:pt x="1026" y="935"/>
                    <a:pt x="1022" y="935"/>
                  </a:cubicBezTo>
                  <a:cubicBezTo>
                    <a:pt x="1017" y="935"/>
                    <a:pt x="1018" y="930"/>
                    <a:pt x="1017" y="923"/>
                  </a:cubicBezTo>
                  <a:cubicBezTo>
                    <a:pt x="1016" y="915"/>
                    <a:pt x="1028" y="915"/>
                    <a:pt x="1039" y="915"/>
                  </a:cubicBezTo>
                  <a:cubicBezTo>
                    <a:pt x="1050" y="915"/>
                    <a:pt x="1054" y="915"/>
                    <a:pt x="1059" y="910"/>
                  </a:cubicBezTo>
                  <a:cubicBezTo>
                    <a:pt x="1064" y="905"/>
                    <a:pt x="1068" y="906"/>
                    <a:pt x="1083" y="907"/>
                  </a:cubicBezTo>
                  <a:cubicBezTo>
                    <a:pt x="1098" y="909"/>
                    <a:pt x="1100" y="910"/>
                    <a:pt x="1106" y="905"/>
                  </a:cubicBezTo>
                  <a:cubicBezTo>
                    <a:pt x="1112" y="899"/>
                    <a:pt x="1116" y="895"/>
                    <a:pt x="1127" y="895"/>
                  </a:cubicBezTo>
                  <a:cubicBezTo>
                    <a:pt x="1138" y="895"/>
                    <a:pt x="1138" y="895"/>
                    <a:pt x="1146" y="889"/>
                  </a:cubicBezTo>
                  <a:cubicBezTo>
                    <a:pt x="1153" y="882"/>
                    <a:pt x="1164" y="881"/>
                    <a:pt x="1164" y="881"/>
                  </a:cubicBezTo>
                  <a:cubicBezTo>
                    <a:pt x="1181" y="882"/>
                    <a:pt x="1182" y="884"/>
                    <a:pt x="1208" y="881"/>
                  </a:cubicBezTo>
                  <a:cubicBezTo>
                    <a:pt x="1233" y="879"/>
                    <a:pt x="1236" y="871"/>
                    <a:pt x="1244" y="869"/>
                  </a:cubicBezTo>
                  <a:cubicBezTo>
                    <a:pt x="1252" y="866"/>
                    <a:pt x="1266" y="858"/>
                    <a:pt x="1272" y="853"/>
                  </a:cubicBezTo>
                  <a:cubicBezTo>
                    <a:pt x="1277" y="847"/>
                    <a:pt x="1302" y="852"/>
                    <a:pt x="1306" y="847"/>
                  </a:cubicBezTo>
                  <a:cubicBezTo>
                    <a:pt x="1310" y="843"/>
                    <a:pt x="1318" y="843"/>
                    <a:pt x="1330" y="844"/>
                  </a:cubicBezTo>
                  <a:cubicBezTo>
                    <a:pt x="1343" y="845"/>
                    <a:pt x="1340" y="834"/>
                    <a:pt x="1352" y="835"/>
                  </a:cubicBezTo>
                  <a:cubicBezTo>
                    <a:pt x="1363" y="835"/>
                    <a:pt x="1358" y="842"/>
                    <a:pt x="1365" y="843"/>
                  </a:cubicBezTo>
                  <a:cubicBezTo>
                    <a:pt x="1372" y="843"/>
                    <a:pt x="1382" y="851"/>
                    <a:pt x="1380" y="857"/>
                  </a:cubicBezTo>
                  <a:cubicBezTo>
                    <a:pt x="1378" y="863"/>
                    <a:pt x="1371" y="864"/>
                    <a:pt x="1359" y="865"/>
                  </a:cubicBezTo>
                  <a:cubicBezTo>
                    <a:pt x="1347" y="867"/>
                    <a:pt x="1341" y="876"/>
                    <a:pt x="1336" y="880"/>
                  </a:cubicBezTo>
                  <a:cubicBezTo>
                    <a:pt x="1330" y="884"/>
                    <a:pt x="1318" y="879"/>
                    <a:pt x="1316" y="887"/>
                  </a:cubicBezTo>
                  <a:cubicBezTo>
                    <a:pt x="1315" y="895"/>
                    <a:pt x="1317" y="900"/>
                    <a:pt x="1326" y="901"/>
                  </a:cubicBezTo>
                  <a:cubicBezTo>
                    <a:pt x="1334" y="903"/>
                    <a:pt x="1336" y="903"/>
                    <a:pt x="1340" y="907"/>
                  </a:cubicBezTo>
                  <a:cubicBezTo>
                    <a:pt x="1344" y="910"/>
                    <a:pt x="1355" y="907"/>
                    <a:pt x="1366" y="909"/>
                  </a:cubicBezTo>
                  <a:cubicBezTo>
                    <a:pt x="1378" y="911"/>
                    <a:pt x="1404" y="908"/>
                    <a:pt x="1416" y="908"/>
                  </a:cubicBezTo>
                  <a:cubicBezTo>
                    <a:pt x="1429" y="908"/>
                    <a:pt x="1440" y="906"/>
                    <a:pt x="1449" y="903"/>
                  </a:cubicBezTo>
                  <a:cubicBezTo>
                    <a:pt x="1458" y="901"/>
                    <a:pt x="1460" y="887"/>
                    <a:pt x="1466" y="877"/>
                  </a:cubicBezTo>
                  <a:cubicBezTo>
                    <a:pt x="1472" y="868"/>
                    <a:pt x="1486" y="874"/>
                    <a:pt x="1487" y="880"/>
                  </a:cubicBezTo>
                  <a:cubicBezTo>
                    <a:pt x="1488" y="886"/>
                    <a:pt x="1491" y="887"/>
                    <a:pt x="1483" y="892"/>
                  </a:cubicBezTo>
                  <a:cubicBezTo>
                    <a:pt x="1475" y="897"/>
                    <a:pt x="1481" y="902"/>
                    <a:pt x="1486" y="901"/>
                  </a:cubicBezTo>
                  <a:cubicBezTo>
                    <a:pt x="1490" y="901"/>
                    <a:pt x="1495" y="901"/>
                    <a:pt x="1495" y="907"/>
                  </a:cubicBezTo>
                  <a:cubicBezTo>
                    <a:pt x="1495" y="913"/>
                    <a:pt x="1492" y="917"/>
                    <a:pt x="1481" y="921"/>
                  </a:cubicBezTo>
                  <a:close/>
                  <a:moveTo>
                    <a:pt x="2024" y="1281"/>
                  </a:moveTo>
                  <a:cubicBezTo>
                    <a:pt x="2016" y="1280"/>
                    <a:pt x="2008" y="1282"/>
                    <a:pt x="1997" y="1283"/>
                  </a:cubicBezTo>
                  <a:cubicBezTo>
                    <a:pt x="1985" y="1285"/>
                    <a:pt x="1985" y="1293"/>
                    <a:pt x="1977" y="1293"/>
                  </a:cubicBezTo>
                  <a:cubicBezTo>
                    <a:pt x="1970" y="1293"/>
                    <a:pt x="1968" y="1299"/>
                    <a:pt x="1967" y="1306"/>
                  </a:cubicBezTo>
                  <a:cubicBezTo>
                    <a:pt x="1965" y="1312"/>
                    <a:pt x="1955" y="1305"/>
                    <a:pt x="1952" y="1300"/>
                  </a:cubicBezTo>
                  <a:cubicBezTo>
                    <a:pt x="1949" y="1295"/>
                    <a:pt x="1939" y="1294"/>
                    <a:pt x="1934" y="1300"/>
                  </a:cubicBezTo>
                  <a:cubicBezTo>
                    <a:pt x="1929" y="1306"/>
                    <a:pt x="1922" y="1302"/>
                    <a:pt x="1914" y="1302"/>
                  </a:cubicBezTo>
                  <a:cubicBezTo>
                    <a:pt x="1905" y="1302"/>
                    <a:pt x="1906" y="1321"/>
                    <a:pt x="1897" y="1323"/>
                  </a:cubicBezTo>
                  <a:cubicBezTo>
                    <a:pt x="1887" y="1324"/>
                    <a:pt x="1884" y="1332"/>
                    <a:pt x="1879" y="1340"/>
                  </a:cubicBezTo>
                  <a:cubicBezTo>
                    <a:pt x="1875" y="1348"/>
                    <a:pt x="1860" y="1346"/>
                    <a:pt x="1852" y="1346"/>
                  </a:cubicBezTo>
                  <a:cubicBezTo>
                    <a:pt x="1844" y="1346"/>
                    <a:pt x="1835" y="1349"/>
                    <a:pt x="1828" y="1349"/>
                  </a:cubicBezTo>
                  <a:cubicBezTo>
                    <a:pt x="1822" y="1349"/>
                    <a:pt x="1812" y="1360"/>
                    <a:pt x="1806" y="1360"/>
                  </a:cubicBezTo>
                  <a:cubicBezTo>
                    <a:pt x="1799" y="1360"/>
                    <a:pt x="1779" y="1356"/>
                    <a:pt x="1776" y="1365"/>
                  </a:cubicBezTo>
                  <a:cubicBezTo>
                    <a:pt x="1773" y="1374"/>
                    <a:pt x="1796" y="1363"/>
                    <a:pt x="1811" y="1369"/>
                  </a:cubicBezTo>
                  <a:cubicBezTo>
                    <a:pt x="1825" y="1375"/>
                    <a:pt x="1811" y="1385"/>
                    <a:pt x="1818" y="1385"/>
                  </a:cubicBezTo>
                  <a:cubicBezTo>
                    <a:pt x="1826" y="1385"/>
                    <a:pt x="1823" y="1394"/>
                    <a:pt x="1816" y="1396"/>
                  </a:cubicBezTo>
                  <a:cubicBezTo>
                    <a:pt x="1809" y="1399"/>
                    <a:pt x="1792" y="1397"/>
                    <a:pt x="1781" y="1395"/>
                  </a:cubicBezTo>
                  <a:cubicBezTo>
                    <a:pt x="1769" y="1393"/>
                    <a:pt x="1760" y="1404"/>
                    <a:pt x="1753" y="1408"/>
                  </a:cubicBezTo>
                  <a:cubicBezTo>
                    <a:pt x="1746" y="1412"/>
                    <a:pt x="1745" y="1432"/>
                    <a:pt x="1745" y="1440"/>
                  </a:cubicBezTo>
                  <a:cubicBezTo>
                    <a:pt x="1744" y="1448"/>
                    <a:pt x="1716" y="1444"/>
                    <a:pt x="1699" y="1445"/>
                  </a:cubicBezTo>
                  <a:cubicBezTo>
                    <a:pt x="1682" y="1447"/>
                    <a:pt x="1690" y="1452"/>
                    <a:pt x="1680" y="1452"/>
                  </a:cubicBezTo>
                  <a:cubicBezTo>
                    <a:pt x="1670" y="1452"/>
                    <a:pt x="1656" y="1459"/>
                    <a:pt x="1634" y="1459"/>
                  </a:cubicBezTo>
                  <a:cubicBezTo>
                    <a:pt x="1613" y="1459"/>
                    <a:pt x="1610" y="1459"/>
                    <a:pt x="1602" y="1457"/>
                  </a:cubicBezTo>
                  <a:cubicBezTo>
                    <a:pt x="1594" y="1456"/>
                    <a:pt x="1584" y="1453"/>
                    <a:pt x="1582" y="1449"/>
                  </a:cubicBezTo>
                  <a:cubicBezTo>
                    <a:pt x="1581" y="1444"/>
                    <a:pt x="1579" y="1442"/>
                    <a:pt x="1571" y="1441"/>
                  </a:cubicBezTo>
                  <a:cubicBezTo>
                    <a:pt x="1564" y="1440"/>
                    <a:pt x="1566" y="1437"/>
                    <a:pt x="1566" y="1433"/>
                  </a:cubicBezTo>
                  <a:cubicBezTo>
                    <a:pt x="1566" y="1429"/>
                    <a:pt x="1560" y="1430"/>
                    <a:pt x="1559" y="1425"/>
                  </a:cubicBezTo>
                  <a:cubicBezTo>
                    <a:pt x="1557" y="1420"/>
                    <a:pt x="1565" y="1419"/>
                    <a:pt x="1580" y="1419"/>
                  </a:cubicBezTo>
                  <a:cubicBezTo>
                    <a:pt x="1595" y="1420"/>
                    <a:pt x="1593" y="1428"/>
                    <a:pt x="1603" y="1428"/>
                  </a:cubicBezTo>
                  <a:cubicBezTo>
                    <a:pt x="1613" y="1428"/>
                    <a:pt x="1611" y="1416"/>
                    <a:pt x="1614" y="1402"/>
                  </a:cubicBezTo>
                  <a:cubicBezTo>
                    <a:pt x="1617" y="1389"/>
                    <a:pt x="1622" y="1384"/>
                    <a:pt x="1632" y="1377"/>
                  </a:cubicBezTo>
                  <a:cubicBezTo>
                    <a:pt x="1641" y="1371"/>
                    <a:pt x="1645" y="1377"/>
                    <a:pt x="1658" y="1379"/>
                  </a:cubicBezTo>
                  <a:cubicBezTo>
                    <a:pt x="1671" y="1380"/>
                    <a:pt x="1663" y="1374"/>
                    <a:pt x="1678" y="1369"/>
                  </a:cubicBezTo>
                  <a:cubicBezTo>
                    <a:pt x="1693" y="1363"/>
                    <a:pt x="1683" y="1351"/>
                    <a:pt x="1674" y="1346"/>
                  </a:cubicBezTo>
                  <a:cubicBezTo>
                    <a:pt x="1665" y="1342"/>
                    <a:pt x="1669" y="1333"/>
                    <a:pt x="1657" y="1329"/>
                  </a:cubicBezTo>
                  <a:cubicBezTo>
                    <a:pt x="1646" y="1326"/>
                    <a:pt x="1652" y="1313"/>
                    <a:pt x="1643" y="1310"/>
                  </a:cubicBezTo>
                  <a:cubicBezTo>
                    <a:pt x="1634" y="1307"/>
                    <a:pt x="1625" y="1289"/>
                    <a:pt x="1625" y="1289"/>
                  </a:cubicBezTo>
                  <a:cubicBezTo>
                    <a:pt x="1622" y="1283"/>
                    <a:pt x="1631" y="1287"/>
                    <a:pt x="1639" y="1288"/>
                  </a:cubicBezTo>
                  <a:cubicBezTo>
                    <a:pt x="1647" y="1288"/>
                    <a:pt x="1651" y="1295"/>
                    <a:pt x="1660" y="1299"/>
                  </a:cubicBezTo>
                  <a:cubicBezTo>
                    <a:pt x="1668" y="1303"/>
                    <a:pt x="1667" y="1309"/>
                    <a:pt x="1677" y="1314"/>
                  </a:cubicBezTo>
                  <a:cubicBezTo>
                    <a:pt x="1687" y="1319"/>
                    <a:pt x="1699" y="1316"/>
                    <a:pt x="1703" y="1313"/>
                  </a:cubicBezTo>
                  <a:cubicBezTo>
                    <a:pt x="1707" y="1310"/>
                    <a:pt x="1713" y="1319"/>
                    <a:pt x="1731" y="1328"/>
                  </a:cubicBezTo>
                  <a:cubicBezTo>
                    <a:pt x="1750" y="1336"/>
                    <a:pt x="1750" y="1350"/>
                    <a:pt x="1755" y="1352"/>
                  </a:cubicBezTo>
                  <a:cubicBezTo>
                    <a:pt x="1761" y="1354"/>
                    <a:pt x="1770" y="1351"/>
                    <a:pt x="1776" y="1347"/>
                  </a:cubicBezTo>
                  <a:cubicBezTo>
                    <a:pt x="1782" y="1343"/>
                    <a:pt x="1801" y="1344"/>
                    <a:pt x="1812" y="1344"/>
                  </a:cubicBezTo>
                  <a:cubicBezTo>
                    <a:pt x="1823" y="1344"/>
                    <a:pt x="1839" y="1341"/>
                    <a:pt x="1842" y="1338"/>
                  </a:cubicBezTo>
                  <a:cubicBezTo>
                    <a:pt x="1845" y="1336"/>
                    <a:pt x="1844" y="1324"/>
                    <a:pt x="1851" y="1320"/>
                  </a:cubicBezTo>
                  <a:cubicBezTo>
                    <a:pt x="1859" y="1316"/>
                    <a:pt x="1864" y="1323"/>
                    <a:pt x="1871" y="1328"/>
                  </a:cubicBezTo>
                  <a:cubicBezTo>
                    <a:pt x="1878" y="1332"/>
                    <a:pt x="1878" y="1321"/>
                    <a:pt x="1876" y="1313"/>
                  </a:cubicBezTo>
                  <a:cubicBezTo>
                    <a:pt x="1875" y="1306"/>
                    <a:pt x="1886" y="1303"/>
                    <a:pt x="1888" y="1295"/>
                  </a:cubicBezTo>
                  <a:cubicBezTo>
                    <a:pt x="1890" y="1288"/>
                    <a:pt x="1906" y="1273"/>
                    <a:pt x="1917" y="1267"/>
                  </a:cubicBezTo>
                  <a:cubicBezTo>
                    <a:pt x="1927" y="1261"/>
                    <a:pt x="1936" y="1261"/>
                    <a:pt x="1935" y="1255"/>
                  </a:cubicBezTo>
                  <a:cubicBezTo>
                    <a:pt x="1934" y="1248"/>
                    <a:pt x="1970" y="1252"/>
                    <a:pt x="1979" y="1254"/>
                  </a:cubicBezTo>
                  <a:cubicBezTo>
                    <a:pt x="1988" y="1256"/>
                    <a:pt x="1997" y="1254"/>
                    <a:pt x="2000" y="1261"/>
                  </a:cubicBezTo>
                  <a:cubicBezTo>
                    <a:pt x="2002" y="1268"/>
                    <a:pt x="2026" y="1263"/>
                    <a:pt x="2033" y="1263"/>
                  </a:cubicBezTo>
                  <a:cubicBezTo>
                    <a:pt x="2040" y="1263"/>
                    <a:pt x="2046" y="1270"/>
                    <a:pt x="2045" y="1276"/>
                  </a:cubicBezTo>
                  <a:cubicBezTo>
                    <a:pt x="2045" y="1283"/>
                    <a:pt x="2032" y="1283"/>
                    <a:pt x="2024" y="1281"/>
                  </a:cubicBezTo>
                  <a:close/>
                  <a:moveTo>
                    <a:pt x="2849" y="2375"/>
                  </a:moveTo>
                  <a:cubicBezTo>
                    <a:pt x="2843" y="2381"/>
                    <a:pt x="2842" y="2388"/>
                    <a:pt x="2842" y="2397"/>
                  </a:cubicBezTo>
                  <a:cubicBezTo>
                    <a:pt x="2843" y="2405"/>
                    <a:pt x="2828" y="2403"/>
                    <a:pt x="2828" y="2397"/>
                  </a:cubicBezTo>
                  <a:cubicBezTo>
                    <a:pt x="2828" y="2392"/>
                    <a:pt x="2824" y="2381"/>
                    <a:pt x="2822" y="2377"/>
                  </a:cubicBezTo>
                  <a:cubicBezTo>
                    <a:pt x="2819" y="2372"/>
                    <a:pt x="2820" y="2363"/>
                    <a:pt x="2821" y="2353"/>
                  </a:cubicBezTo>
                  <a:cubicBezTo>
                    <a:pt x="2822" y="2343"/>
                    <a:pt x="2818" y="2340"/>
                    <a:pt x="2826" y="2336"/>
                  </a:cubicBezTo>
                  <a:cubicBezTo>
                    <a:pt x="2835" y="2332"/>
                    <a:pt x="2830" y="2313"/>
                    <a:pt x="2826" y="2303"/>
                  </a:cubicBezTo>
                  <a:cubicBezTo>
                    <a:pt x="2821" y="2293"/>
                    <a:pt x="2813" y="2303"/>
                    <a:pt x="2804" y="2300"/>
                  </a:cubicBezTo>
                  <a:cubicBezTo>
                    <a:pt x="2796" y="2297"/>
                    <a:pt x="2804" y="2283"/>
                    <a:pt x="2804" y="2273"/>
                  </a:cubicBezTo>
                  <a:cubicBezTo>
                    <a:pt x="2804" y="2264"/>
                    <a:pt x="2792" y="2258"/>
                    <a:pt x="2789" y="2257"/>
                  </a:cubicBezTo>
                  <a:cubicBezTo>
                    <a:pt x="2786" y="2257"/>
                    <a:pt x="2788" y="2247"/>
                    <a:pt x="2781" y="2247"/>
                  </a:cubicBezTo>
                  <a:cubicBezTo>
                    <a:pt x="2774" y="2247"/>
                    <a:pt x="2774" y="2251"/>
                    <a:pt x="2769" y="2254"/>
                  </a:cubicBezTo>
                  <a:cubicBezTo>
                    <a:pt x="2764" y="2257"/>
                    <a:pt x="2765" y="2255"/>
                    <a:pt x="2764" y="2263"/>
                  </a:cubicBezTo>
                  <a:cubicBezTo>
                    <a:pt x="2764" y="2271"/>
                    <a:pt x="2759" y="2270"/>
                    <a:pt x="2755" y="2267"/>
                  </a:cubicBezTo>
                  <a:cubicBezTo>
                    <a:pt x="2751" y="2263"/>
                    <a:pt x="2747" y="2254"/>
                    <a:pt x="2744" y="2246"/>
                  </a:cubicBezTo>
                  <a:cubicBezTo>
                    <a:pt x="2742" y="2238"/>
                    <a:pt x="2732" y="2227"/>
                    <a:pt x="2726" y="2221"/>
                  </a:cubicBezTo>
                  <a:cubicBezTo>
                    <a:pt x="2720" y="2215"/>
                    <a:pt x="2706" y="2205"/>
                    <a:pt x="2697" y="2198"/>
                  </a:cubicBezTo>
                  <a:cubicBezTo>
                    <a:pt x="2688" y="2191"/>
                    <a:pt x="2705" y="2184"/>
                    <a:pt x="2711" y="2181"/>
                  </a:cubicBezTo>
                  <a:cubicBezTo>
                    <a:pt x="2717" y="2179"/>
                    <a:pt x="2714" y="2172"/>
                    <a:pt x="2706" y="2171"/>
                  </a:cubicBezTo>
                  <a:cubicBezTo>
                    <a:pt x="2699" y="2171"/>
                    <a:pt x="2697" y="2171"/>
                    <a:pt x="2687" y="2172"/>
                  </a:cubicBezTo>
                  <a:cubicBezTo>
                    <a:pt x="2677" y="2173"/>
                    <a:pt x="2678" y="2169"/>
                    <a:pt x="2671" y="2165"/>
                  </a:cubicBezTo>
                  <a:cubicBezTo>
                    <a:pt x="2664" y="2162"/>
                    <a:pt x="2670" y="2159"/>
                    <a:pt x="2679" y="2157"/>
                  </a:cubicBezTo>
                  <a:cubicBezTo>
                    <a:pt x="2688" y="2156"/>
                    <a:pt x="2676" y="2139"/>
                    <a:pt x="2683" y="2137"/>
                  </a:cubicBezTo>
                  <a:cubicBezTo>
                    <a:pt x="2690" y="2135"/>
                    <a:pt x="2686" y="2126"/>
                    <a:pt x="2687" y="2120"/>
                  </a:cubicBezTo>
                  <a:cubicBezTo>
                    <a:pt x="2688" y="2114"/>
                    <a:pt x="2688" y="2109"/>
                    <a:pt x="2693" y="2105"/>
                  </a:cubicBezTo>
                  <a:cubicBezTo>
                    <a:pt x="2698" y="2101"/>
                    <a:pt x="2720" y="2103"/>
                    <a:pt x="2734" y="2105"/>
                  </a:cubicBezTo>
                  <a:cubicBezTo>
                    <a:pt x="2748" y="2106"/>
                    <a:pt x="2742" y="2089"/>
                    <a:pt x="2742" y="2078"/>
                  </a:cubicBezTo>
                  <a:cubicBezTo>
                    <a:pt x="2742" y="2067"/>
                    <a:pt x="2748" y="2064"/>
                    <a:pt x="2752" y="2069"/>
                  </a:cubicBezTo>
                  <a:cubicBezTo>
                    <a:pt x="2755" y="2073"/>
                    <a:pt x="2757" y="2084"/>
                    <a:pt x="2758" y="2093"/>
                  </a:cubicBezTo>
                  <a:cubicBezTo>
                    <a:pt x="2760" y="2101"/>
                    <a:pt x="2760" y="2105"/>
                    <a:pt x="2762" y="2119"/>
                  </a:cubicBezTo>
                  <a:cubicBezTo>
                    <a:pt x="2764" y="2134"/>
                    <a:pt x="2784" y="2153"/>
                    <a:pt x="2784" y="2153"/>
                  </a:cubicBezTo>
                  <a:cubicBezTo>
                    <a:pt x="2792" y="2162"/>
                    <a:pt x="2786" y="2168"/>
                    <a:pt x="2786" y="2181"/>
                  </a:cubicBezTo>
                  <a:cubicBezTo>
                    <a:pt x="2786" y="2195"/>
                    <a:pt x="2796" y="2205"/>
                    <a:pt x="2803" y="2214"/>
                  </a:cubicBezTo>
                  <a:cubicBezTo>
                    <a:pt x="2810" y="2223"/>
                    <a:pt x="2809" y="2239"/>
                    <a:pt x="2813" y="2251"/>
                  </a:cubicBezTo>
                  <a:cubicBezTo>
                    <a:pt x="2817" y="2264"/>
                    <a:pt x="2816" y="2263"/>
                    <a:pt x="2825" y="2274"/>
                  </a:cubicBezTo>
                  <a:cubicBezTo>
                    <a:pt x="2834" y="2285"/>
                    <a:pt x="2836" y="2287"/>
                    <a:pt x="2839" y="2297"/>
                  </a:cubicBezTo>
                  <a:cubicBezTo>
                    <a:pt x="2842" y="2307"/>
                    <a:pt x="2846" y="2315"/>
                    <a:pt x="2852" y="2319"/>
                  </a:cubicBezTo>
                  <a:cubicBezTo>
                    <a:pt x="2858" y="2323"/>
                    <a:pt x="2856" y="2328"/>
                    <a:pt x="2852" y="2335"/>
                  </a:cubicBezTo>
                  <a:cubicBezTo>
                    <a:pt x="2848" y="2341"/>
                    <a:pt x="2852" y="2344"/>
                    <a:pt x="2855" y="2353"/>
                  </a:cubicBezTo>
                  <a:cubicBezTo>
                    <a:pt x="2858" y="2363"/>
                    <a:pt x="2855" y="2369"/>
                    <a:pt x="2849" y="237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0" name="Freeform 510">
              <a:extLst>
                <a:ext uri="{FF2B5EF4-FFF2-40B4-BE49-F238E27FC236}">
                  <a16:creationId xmlns:a16="http://schemas.microsoft.com/office/drawing/2014/main" id="{3724F23A-FED7-2E4A-A8C7-7EBED9E07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0" y="1540"/>
              <a:ext cx="5" cy="3"/>
            </a:xfrm>
            <a:custGeom>
              <a:avLst/>
              <a:gdLst>
                <a:gd name="T0" fmla="*/ 7 w 19"/>
                <a:gd name="T1" fmla="*/ 2 h 14"/>
                <a:gd name="T2" fmla="*/ 9 w 19"/>
                <a:gd name="T3" fmla="*/ 12 h 14"/>
                <a:gd name="T4" fmla="*/ 18 w 19"/>
                <a:gd name="T5" fmla="*/ 8 h 14"/>
                <a:gd name="T6" fmla="*/ 7 w 19"/>
                <a:gd name="T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4">
                  <a:moveTo>
                    <a:pt x="7" y="2"/>
                  </a:moveTo>
                  <a:cubicBezTo>
                    <a:pt x="7" y="2"/>
                    <a:pt x="0" y="11"/>
                    <a:pt x="9" y="12"/>
                  </a:cubicBezTo>
                  <a:cubicBezTo>
                    <a:pt x="18" y="14"/>
                    <a:pt x="19" y="11"/>
                    <a:pt x="18" y="8"/>
                  </a:cubicBezTo>
                  <a:cubicBezTo>
                    <a:pt x="16" y="4"/>
                    <a:pt x="13" y="0"/>
                    <a:pt x="7" y="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1" name="Freeform 511">
              <a:extLst>
                <a:ext uri="{FF2B5EF4-FFF2-40B4-BE49-F238E27FC236}">
                  <a16:creationId xmlns:a16="http://schemas.microsoft.com/office/drawing/2014/main" id="{E8609AA4-6B10-004B-8D49-ACA37688A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" y="1544"/>
              <a:ext cx="25" cy="23"/>
            </a:xfrm>
            <a:custGeom>
              <a:avLst/>
              <a:gdLst>
                <a:gd name="T0" fmla="*/ 11 w 98"/>
                <a:gd name="T1" fmla="*/ 71 h 92"/>
                <a:gd name="T2" fmla="*/ 4 w 98"/>
                <a:gd name="T3" fmla="*/ 86 h 92"/>
                <a:gd name="T4" fmla="*/ 11 w 98"/>
                <a:gd name="T5" fmla="*/ 86 h 92"/>
                <a:gd name="T6" fmla="*/ 30 w 98"/>
                <a:gd name="T7" fmla="*/ 81 h 92"/>
                <a:gd name="T8" fmla="*/ 45 w 98"/>
                <a:gd name="T9" fmla="*/ 89 h 92"/>
                <a:gd name="T10" fmla="*/ 66 w 98"/>
                <a:gd name="T11" fmla="*/ 81 h 92"/>
                <a:gd name="T12" fmla="*/ 73 w 98"/>
                <a:gd name="T13" fmla="*/ 58 h 92"/>
                <a:gd name="T14" fmla="*/ 84 w 98"/>
                <a:gd name="T15" fmla="*/ 68 h 92"/>
                <a:gd name="T16" fmla="*/ 92 w 98"/>
                <a:gd name="T17" fmla="*/ 56 h 92"/>
                <a:gd name="T18" fmla="*/ 96 w 98"/>
                <a:gd name="T19" fmla="*/ 37 h 92"/>
                <a:gd name="T20" fmla="*/ 88 w 98"/>
                <a:gd name="T21" fmla="*/ 32 h 92"/>
                <a:gd name="T22" fmla="*/ 76 w 98"/>
                <a:gd name="T23" fmla="*/ 34 h 92"/>
                <a:gd name="T24" fmla="*/ 64 w 98"/>
                <a:gd name="T25" fmla="*/ 21 h 92"/>
                <a:gd name="T26" fmla="*/ 46 w 98"/>
                <a:gd name="T27" fmla="*/ 16 h 92"/>
                <a:gd name="T28" fmla="*/ 37 w 98"/>
                <a:gd name="T29" fmla="*/ 28 h 92"/>
                <a:gd name="T30" fmla="*/ 13 w 98"/>
                <a:gd name="T31" fmla="*/ 38 h 92"/>
                <a:gd name="T32" fmla="*/ 0 w 98"/>
                <a:gd name="T33" fmla="*/ 54 h 92"/>
                <a:gd name="T34" fmla="*/ 9 w 98"/>
                <a:gd name="T35" fmla="*/ 60 h 92"/>
                <a:gd name="T36" fmla="*/ 22 w 98"/>
                <a:gd name="T37" fmla="*/ 61 h 92"/>
                <a:gd name="T38" fmla="*/ 11 w 98"/>
                <a:gd name="T39" fmla="*/ 7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8" h="92">
                  <a:moveTo>
                    <a:pt x="11" y="71"/>
                  </a:moveTo>
                  <a:cubicBezTo>
                    <a:pt x="8" y="77"/>
                    <a:pt x="3" y="81"/>
                    <a:pt x="4" y="86"/>
                  </a:cubicBezTo>
                  <a:cubicBezTo>
                    <a:pt x="6" y="92"/>
                    <a:pt x="5" y="89"/>
                    <a:pt x="11" y="86"/>
                  </a:cubicBezTo>
                  <a:cubicBezTo>
                    <a:pt x="17" y="84"/>
                    <a:pt x="27" y="75"/>
                    <a:pt x="30" y="81"/>
                  </a:cubicBezTo>
                  <a:cubicBezTo>
                    <a:pt x="34" y="86"/>
                    <a:pt x="35" y="89"/>
                    <a:pt x="45" y="89"/>
                  </a:cubicBezTo>
                  <a:cubicBezTo>
                    <a:pt x="55" y="89"/>
                    <a:pt x="64" y="89"/>
                    <a:pt x="66" y="81"/>
                  </a:cubicBezTo>
                  <a:cubicBezTo>
                    <a:pt x="69" y="73"/>
                    <a:pt x="67" y="60"/>
                    <a:pt x="73" y="58"/>
                  </a:cubicBezTo>
                  <a:cubicBezTo>
                    <a:pt x="80" y="56"/>
                    <a:pt x="78" y="69"/>
                    <a:pt x="84" y="68"/>
                  </a:cubicBezTo>
                  <a:cubicBezTo>
                    <a:pt x="90" y="67"/>
                    <a:pt x="86" y="57"/>
                    <a:pt x="92" y="56"/>
                  </a:cubicBezTo>
                  <a:cubicBezTo>
                    <a:pt x="98" y="54"/>
                    <a:pt x="96" y="43"/>
                    <a:pt x="96" y="37"/>
                  </a:cubicBezTo>
                  <a:cubicBezTo>
                    <a:pt x="96" y="30"/>
                    <a:pt x="90" y="27"/>
                    <a:pt x="88" y="32"/>
                  </a:cubicBezTo>
                  <a:cubicBezTo>
                    <a:pt x="86" y="37"/>
                    <a:pt x="80" y="37"/>
                    <a:pt x="76" y="34"/>
                  </a:cubicBezTo>
                  <a:cubicBezTo>
                    <a:pt x="72" y="30"/>
                    <a:pt x="65" y="26"/>
                    <a:pt x="64" y="21"/>
                  </a:cubicBezTo>
                  <a:cubicBezTo>
                    <a:pt x="63" y="15"/>
                    <a:pt x="41" y="0"/>
                    <a:pt x="46" y="16"/>
                  </a:cubicBezTo>
                  <a:cubicBezTo>
                    <a:pt x="46" y="16"/>
                    <a:pt x="52" y="23"/>
                    <a:pt x="37" y="28"/>
                  </a:cubicBezTo>
                  <a:cubicBezTo>
                    <a:pt x="22" y="33"/>
                    <a:pt x="17" y="31"/>
                    <a:pt x="13" y="38"/>
                  </a:cubicBezTo>
                  <a:cubicBezTo>
                    <a:pt x="9" y="44"/>
                    <a:pt x="0" y="47"/>
                    <a:pt x="0" y="54"/>
                  </a:cubicBezTo>
                  <a:cubicBezTo>
                    <a:pt x="0" y="60"/>
                    <a:pt x="4" y="64"/>
                    <a:pt x="9" y="60"/>
                  </a:cubicBezTo>
                  <a:cubicBezTo>
                    <a:pt x="14" y="56"/>
                    <a:pt x="24" y="56"/>
                    <a:pt x="22" y="61"/>
                  </a:cubicBezTo>
                  <a:cubicBezTo>
                    <a:pt x="21" y="67"/>
                    <a:pt x="14" y="65"/>
                    <a:pt x="11" y="7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2" name="Freeform 512">
              <a:extLst>
                <a:ext uri="{FF2B5EF4-FFF2-40B4-BE49-F238E27FC236}">
                  <a16:creationId xmlns:a16="http://schemas.microsoft.com/office/drawing/2014/main" id="{8A4EB830-2F5A-4345-92DB-3572BB7C8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" y="1453"/>
              <a:ext cx="11" cy="10"/>
            </a:xfrm>
            <a:custGeom>
              <a:avLst/>
              <a:gdLst>
                <a:gd name="T0" fmla="*/ 22 w 44"/>
                <a:gd name="T1" fmla="*/ 12 h 42"/>
                <a:gd name="T2" fmla="*/ 5 w 44"/>
                <a:gd name="T3" fmla="*/ 23 h 42"/>
                <a:gd name="T4" fmla="*/ 16 w 44"/>
                <a:gd name="T5" fmla="*/ 42 h 42"/>
                <a:gd name="T6" fmla="*/ 36 w 44"/>
                <a:gd name="T7" fmla="*/ 28 h 42"/>
                <a:gd name="T8" fmla="*/ 22 w 44"/>
                <a:gd name="T9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2">
                  <a:moveTo>
                    <a:pt x="22" y="12"/>
                  </a:moveTo>
                  <a:cubicBezTo>
                    <a:pt x="22" y="12"/>
                    <a:pt x="9" y="12"/>
                    <a:pt x="5" y="23"/>
                  </a:cubicBezTo>
                  <a:cubicBezTo>
                    <a:pt x="0" y="35"/>
                    <a:pt x="7" y="42"/>
                    <a:pt x="16" y="42"/>
                  </a:cubicBezTo>
                  <a:cubicBezTo>
                    <a:pt x="25" y="42"/>
                    <a:pt x="28" y="34"/>
                    <a:pt x="36" y="28"/>
                  </a:cubicBezTo>
                  <a:cubicBezTo>
                    <a:pt x="44" y="22"/>
                    <a:pt x="40" y="0"/>
                    <a:pt x="22" y="1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3" name="Freeform 513">
              <a:extLst>
                <a:ext uri="{FF2B5EF4-FFF2-40B4-BE49-F238E27FC236}">
                  <a16:creationId xmlns:a16="http://schemas.microsoft.com/office/drawing/2014/main" id="{AD5FC2EE-171C-324D-A2C2-7C7B842A4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" y="1419"/>
              <a:ext cx="16" cy="19"/>
            </a:xfrm>
            <a:custGeom>
              <a:avLst/>
              <a:gdLst>
                <a:gd name="T0" fmla="*/ 16 w 65"/>
                <a:gd name="T1" fmla="*/ 28 h 73"/>
                <a:gd name="T2" fmla="*/ 6 w 65"/>
                <a:gd name="T3" fmla="*/ 41 h 73"/>
                <a:gd name="T4" fmla="*/ 24 w 65"/>
                <a:gd name="T5" fmla="*/ 57 h 73"/>
                <a:gd name="T6" fmla="*/ 52 w 65"/>
                <a:gd name="T7" fmla="*/ 62 h 73"/>
                <a:gd name="T8" fmla="*/ 60 w 65"/>
                <a:gd name="T9" fmla="*/ 44 h 73"/>
                <a:gd name="T10" fmla="*/ 47 w 65"/>
                <a:gd name="T11" fmla="*/ 24 h 73"/>
                <a:gd name="T12" fmla="*/ 23 w 65"/>
                <a:gd name="T13" fmla="*/ 5 h 73"/>
                <a:gd name="T14" fmla="*/ 17 w 65"/>
                <a:gd name="T15" fmla="*/ 15 h 73"/>
                <a:gd name="T16" fmla="*/ 31 w 65"/>
                <a:gd name="T17" fmla="*/ 20 h 73"/>
                <a:gd name="T18" fmla="*/ 16 w 65"/>
                <a:gd name="T19" fmla="*/ 2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73">
                  <a:moveTo>
                    <a:pt x="16" y="28"/>
                  </a:moveTo>
                  <a:cubicBezTo>
                    <a:pt x="9" y="28"/>
                    <a:pt x="0" y="36"/>
                    <a:pt x="6" y="41"/>
                  </a:cubicBezTo>
                  <a:cubicBezTo>
                    <a:pt x="12" y="45"/>
                    <a:pt x="18" y="48"/>
                    <a:pt x="24" y="57"/>
                  </a:cubicBezTo>
                  <a:cubicBezTo>
                    <a:pt x="29" y="65"/>
                    <a:pt x="47" y="73"/>
                    <a:pt x="52" y="62"/>
                  </a:cubicBezTo>
                  <a:cubicBezTo>
                    <a:pt x="57" y="51"/>
                    <a:pt x="65" y="53"/>
                    <a:pt x="60" y="44"/>
                  </a:cubicBezTo>
                  <a:cubicBezTo>
                    <a:pt x="56" y="34"/>
                    <a:pt x="50" y="35"/>
                    <a:pt x="47" y="24"/>
                  </a:cubicBezTo>
                  <a:cubicBezTo>
                    <a:pt x="44" y="12"/>
                    <a:pt x="36" y="0"/>
                    <a:pt x="23" y="5"/>
                  </a:cubicBezTo>
                  <a:cubicBezTo>
                    <a:pt x="23" y="5"/>
                    <a:pt x="9" y="11"/>
                    <a:pt x="17" y="15"/>
                  </a:cubicBezTo>
                  <a:cubicBezTo>
                    <a:pt x="24" y="20"/>
                    <a:pt x="33" y="11"/>
                    <a:pt x="31" y="20"/>
                  </a:cubicBezTo>
                  <a:cubicBezTo>
                    <a:pt x="28" y="29"/>
                    <a:pt x="23" y="28"/>
                    <a:pt x="16" y="2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4" name="Freeform 514">
              <a:extLst>
                <a:ext uri="{FF2B5EF4-FFF2-40B4-BE49-F238E27FC236}">
                  <a16:creationId xmlns:a16="http://schemas.microsoft.com/office/drawing/2014/main" id="{76490548-09B8-D940-8106-9870B863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1" y="1407"/>
              <a:ext cx="20" cy="24"/>
            </a:xfrm>
            <a:custGeom>
              <a:avLst/>
              <a:gdLst>
                <a:gd name="T0" fmla="*/ 11 w 79"/>
                <a:gd name="T1" fmla="*/ 66 h 95"/>
                <a:gd name="T2" fmla="*/ 26 w 79"/>
                <a:gd name="T3" fmla="*/ 83 h 95"/>
                <a:gd name="T4" fmla="*/ 52 w 79"/>
                <a:gd name="T5" fmla="*/ 87 h 95"/>
                <a:gd name="T6" fmla="*/ 65 w 79"/>
                <a:gd name="T7" fmla="*/ 67 h 95"/>
                <a:gd name="T8" fmla="*/ 73 w 79"/>
                <a:gd name="T9" fmla="*/ 48 h 95"/>
                <a:gd name="T10" fmla="*/ 78 w 79"/>
                <a:gd name="T11" fmla="*/ 31 h 95"/>
                <a:gd name="T12" fmla="*/ 67 w 79"/>
                <a:gd name="T13" fmla="*/ 15 h 95"/>
                <a:gd name="T14" fmla="*/ 32 w 79"/>
                <a:gd name="T15" fmla="*/ 15 h 95"/>
                <a:gd name="T16" fmla="*/ 21 w 79"/>
                <a:gd name="T17" fmla="*/ 33 h 95"/>
                <a:gd name="T18" fmla="*/ 9 w 79"/>
                <a:gd name="T19" fmla="*/ 47 h 95"/>
                <a:gd name="T20" fmla="*/ 11 w 79"/>
                <a:gd name="T21" fmla="*/ 6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95">
                  <a:moveTo>
                    <a:pt x="11" y="66"/>
                  </a:moveTo>
                  <a:cubicBezTo>
                    <a:pt x="18" y="73"/>
                    <a:pt x="23" y="76"/>
                    <a:pt x="26" y="83"/>
                  </a:cubicBezTo>
                  <a:cubicBezTo>
                    <a:pt x="30" y="90"/>
                    <a:pt x="53" y="95"/>
                    <a:pt x="52" y="87"/>
                  </a:cubicBezTo>
                  <a:cubicBezTo>
                    <a:pt x="50" y="78"/>
                    <a:pt x="59" y="79"/>
                    <a:pt x="65" y="67"/>
                  </a:cubicBezTo>
                  <a:cubicBezTo>
                    <a:pt x="72" y="56"/>
                    <a:pt x="67" y="52"/>
                    <a:pt x="73" y="48"/>
                  </a:cubicBezTo>
                  <a:cubicBezTo>
                    <a:pt x="78" y="43"/>
                    <a:pt x="79" y="39"/>
                    <a:pt x="78" y="31"/>
                  </a:cubicBezTo>
                  <a:cubicBezTo>
                    <a:pt x="77" y="23"/>
                    <a:pt x="74" y="19"/>
                    <a:pt x="67" y="15"/>
                  </a:cubicBezTo>
                  <a:cubicBezTo>
                    <a:pt x="60" y="11"/>
                    <a:pt x="33" y="0"/>
                    <a:pt x="32" y="15"/>
                  </a:cubicBezTo>
                  <a:cubicBezTo>
                    <a:pt x="32" y="15"/>
                    <a:pt x="31" y="28"/>
                    <a:pt x="21" y="33"/>
                  </a:cubicBezTo>
                  <a:cubicBezTo>
                    <a:pt x="11" y="37"/>
                    <a:pt x="17" y="45"/>
                    <a:pt x="9" y="47"/>
                  </a:cubicBezTo>
                  <a:cubicBezTo>
                    <a:pt x="0" y="48"/>
                    <a:pt x="3" y="60"/>
                    <a:pt x="11" y="6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5" name="Freeform 515">
              <a:extLst>
                <a:ext uri="{FF2B5EF4-FFF2-40B4-BE49-F238E27FC236}">
                  <a16:creationId xmlns:a16="http://schemas.microsoft.com/office/drawing/2014/main" id="{B3EB56C6-5378-2442-8EDA-2BB5CCBE1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" y="1380"/>
              <a:ext cx="15" cy="12"/>
            </a:xfrm>
            <a:custGeom>
              <a:avLst/>
              <a:gdLst>
                <a:gd name="T0" fmla="*/ 6 w 60"/>
                <a:gd name="T1" fmla="*/ 20 h 47"/>
                <a:gd name="T2" fmla="*/ 21 w 60"/>
                <a:gd name="T3" fmla="*/ 36 h 47"/>
                <a:gd name="T4" fmla="*/ 37 w 60"/>
                <a:gd name="T5" fmla="*/ 46 h 47"/>
                <a:gd name="T6" fmla="*/ 50 w 60"/>
                <a:gd name="T7" fmla="*/ 42 h 47"/>
                <a:gd name="T8" fmla="*/ 57 w 60"/>
                <a:gd name="T9" fmla="*/ 29 h 47"/>
                <a:gd name="T10" fmla="*/ 44 w 60"/>
                <a:gd name="T11" fmla="*/ 11 h 47"/>
                <a:gd name="T12" fmla="*/ 24 w 60"/>
                <a:gd name="T13" fmla="*/ 7 h 47"/>
                <a:gd name="T14" fmla="*/ 12 w 60"/>
                <a:gd name="T15" fmla="*/ 4 h 47"/>
                <a:gd name="T16" fmla="*/ 6 w 60"/>
                <a:gd name="T17" fmla="*/ 2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47">
                  <a:moveTo>
                    <a:pt x="6" y="20"/>
                  </a:moveTo>
                  <a:cubicBezTo>
                    <a:pt x="11" y="23"/>
                    <a:pt x="19" y="30"/>
                    <a:pt x="21" y="36"/>
                  </a:cubicBezTo>
                  <a:cubicBezTo>
                    <a:pt x="24" y="41"/>
                    <a:pt x="30" y="45"/>
                    <a:pt x="37" y="46"/>
                  </a:cubicBezTo>
                  <a:cubicBezTo>
                    <a:pt x="45" y="46"/>
                    <a:pt x="49" y="47"/>
                    <a:pt x="50" y="42"/>
                  </a:cubicBezTo>
                  <a:cubicBezTo>
                    <a:pt x="51" y="37"/>
                    <a:pt x="60" y="45"/>
                    <a:pt x="57" y="29"/>
                  </a:cubicBezTo>
                  <a:cubicBezTo>
                    <a:pt x="55" y="14"/>
                    <a:pt x="57" y="5"/>
                    <a:pt x="44" y="11"/>
                  </a:cubicBezTo>
                  <a:cubicBezTo>
                    <a:pt x="44" y="11"/>
                    <a:pt x="30" y="15"/>
                    <a:pt x="24" y="7"/>
                  </a:cubicBezTo>
                  <a:cubicBezTo>
                    <a:pt x="19" y="0"/>
                    <a:pt x="15" y="0"/>
                    <a:pt x="12" y="4"/>
                  </a:cubicBezTo>
                  <a:cubicBezTo>
                    <a:pt x="9" y="8"/>
                    <a:pt x="0" y="16"/>
                    <a:pt x="6" y="2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6" name="Freeform 516">
              <a:extLst>
                <a:ext uri="{FF2B5EF4-FFF2-40B4-BE49-F238E27FC236}">
                  <a16:creationId xmlns:a16="http://schemas.microsoft.com/office/drawing/2014/main" id="{DEC9D782-16F5-5844-A198-326A48CA6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" y="1376"/>
              <a:ext cx="14" cy="10"/>
            </a:xfrm>
            <a:custGeom>
              <a:avLst/>
              <a:gdLst>
                <a:gd name="T0" fmla="*/ 34 w 55"/>
                <a:gd name="T1" fmla="*/ 10 h 40"/>
                <a:gd name="T2" fmla="*/ 16 w 55"/>
                <a:gd name="T3" fmla="*/ 4 h 40"/>
                <a:gd name="T4" fmla="*/ 7 w 55"/>
                <a:gd name="T5" fmla="*/ 15 h 40"/>
                <a:gd name="T6" fmla="*/ 26 w 55"/>
                <a:gd name="T7" fmla="*/ 29 h 40"/>
                <a:gd name="T8" fmla="*/ 43 w 55"/>
                <a:gd name="T9" fmla="*/ 38 h 40"/>
                <a:gd name="T10" fmla="*/ 51 w 55"/>
                <a:gd name="T11" fmla="*/ 25 h 40"/>
                <a:gd name="T12" fmla="*/ 34 w 55"/>
                <a:gd name="T13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40">
                  <a:moveTo>
                    <a:pt x="34" y="10"/>
                  </a:moveTo>
                  <a:cubicBezTo>
                    <a:pt x="31" y="6"/>
                    <a:pt x="24" y="0"/>
                    <a:pt x="16" y="4"/>
                  </a:cubicBezTo>
                  <a:cubicBezTo>
                    <a:pt x="16" y="4"/>
                    <a:pt x="0" y="10"/>
                    <a:pt x="7" y="15"/>
                  </a:cubicBezTo>
                  <a:cubicBezTo>
                    <a:pt x="14" y="21"/>
                    <a:pt x="21" y="24"/>
                    <a:pt x="26" y="29"/>
                  </a:cubicBezTo>
                  <a:cubicBezTo>
                    <a:pt x="30" y="35"/>
                    <a:pt x="37" y="40"/>
                    <a:pt x="43" y="38"/>
                  </a:cubicBezTo>
                  <a:cubicBezTo>
                    <a:pt x="50" y="36"/>
                    <a:pt x="55" y="34"/>
                    <a:pt x="51" y="25"/>
                  </a:cubicBezTo>
                  <a:cubicBezTo>
                    <a:pt x="47" y="16"/>
                    <a:pt x="36" y="14"/>
                    <a:pt x="34" y="1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7" name="Freeform 517">
              <a:extLst>
                <a:ext uri="{FF2B5EF4-FFF2-40B4-BE49-F238E27FC236}">
                  <a16:creationId xmlns:a16="http://schemas.microsoft.com/office/drawing/2014/main" id="{CB0647E1-3199-1C45-AF40-F0F68CC9E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" y="1367"/>
              <a:ext cx="4" cy="4"/>
            </a:xfrm>
            <a:custGeom>
              <a:avLst/>
              <a:gdLst>
                <a:gd name="T0" fmla="*/ 8 w 18"/>
                <a:gd name="T1" fmla="*/ 0 h 14"/>
                <a:gd name="T2" fmla="*/ 1 w 18"/>
                <a:gd name="T3" fmla="*/ 5 h 14"/>
                <a:gd name="T4" fmla="*/ 13 w 18"/>
                <a:gd name="T5" fmla="*/ 8 h 14"/>
                <a:gd name="T6" fmla="*/ 8 w 18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4">
                  <a:moveTo>
                    <a:pt x="8" y="0"/>
                  </a:moveTo>
                  <a:cubicBezTo>
                    <a:pt x="8" y="0"/>
                    <a:pt x="0" y="1"/>
                    <a:pt x="1" y="5"/>
                  </a:cubicBezTo>
                  <a:cubicBezTo>
                    <a:pt x="2" y="10"/>
                    <a:pt x="13" y="14"/>
                    <a:pt x="13" y="8"/>
                  </a:cubicBezTo>
                  <a:cubicBezTo>
                    <a:pt x="14" y="2"/>
                    <a:pt x="18" y="0"/>
                    <a:pt x="8" y="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8" name="Freeform 518">
              <a:extLst>
                <a:ext uri="{FF2B5EF4-FFF2-40B4-BE49-F238E27FC236}">
                  <a16:creationId xmlns:a16="http://schemas.microsoft.com/office/drawing/2014/main" id="{BF5C8082-1C98-C249-BD68-ED5829773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5" y="1401"/>
              <a:ext cx="9" cy="6"/>
            </a:xfrm>
            <a:custGeom>
              <a:avLst/>
              <a:gdLst>
                <a:gd name="T0" fmla="*/ 8 w 35"/>
                <a:gd name="T1" fmla="*/ 2 h 25"/>
                <a:gd name="T2" fmla="*/ 2 w 35"/>
                <a:gd name="T3" fmla="*/ 11 h 25"/>
                <a:gd name="T4" fmla="*/ 19 w 35"/>
                <a:gd name="T5" fmla="*/ 17 h 25"/>
                <a:gd name="T6" fmla="*/ 35 w 35"/>
                <a:gd name="T7" fmla="*/ 14 h 25"/>
                <a:gd name="T8" fmla="*/ 22 w 35"/>
                <a:gd name="T9" fmla="*/ 0 h 25"/>
                <a:gd name="T10" fmla="*/ 8 w 35"/>
                <a:gd name="T11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25">
                  <a:moveTo>
                    <a:pt x="8" y="2"/>
                  </a:moveTo>
                  <a:cubicBezTo>
                    <a:pt x="8" y="2"/>
                    <a:pt x="0" y="5"/>
                    <a:pt x="2" y="11"/>
                  </a:cubicBezTo>
                  <a:cubicBezTo>
                    <a:pt x="5" y="17"/>
                    <a:pt x="10" y="17"/>
                    <a:pt x="19" y="17"/>
                  </a:cubicBezTo>
                  <a:cubicBezTo>
                    <a:pt x="28" y="17"/>
                    <a:pt x="35" y="25"/>
                    <a:pt x="35" y="14"/>
                  </a:cubicBezTo>
                  <a:cubicBezTo>
                    <a:pt x="35" y="4"/>
                    <a:pt x="28" y="0"/>
                    <a:pt x="22" y="0"/>
                  </a:cubicBezTo>
                  <a:cubicBezTo>
                    <a:pt x="17" y="0"/>
                    <a:pt x="13" y="0"/>
                    <a:pt x="8" y="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89" name="Freeform 519">
              <a:extLst>
                <a:ext uri="{FF2B5EF4-FFF2-40B4-BE49-F238E27FC236}">
                  <a16:creationId xmlns:a16="http://schemas.microsoft.com/office/drawing/2014/main" id="{535E7009-2FC7-6245-9AA0-AE6C66E05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625"/>
              <a:ext cx="21" cy="12"/>
            </a:xfrm>
            <a:custGeom>
              <a:avLst/>
              <a:gdLst>
                <a:gd name="T0" fmla="*/ 7 w 84"/>
                <a:gd name="T1" fmla="*/ 18 h 47"/>
                <a:gd name="T2" fmla="*/ 25 w 84"/>
                <a:gd name="T3" fmla="*/ 27 h 47"/>
                <a:gd name="T4" fmla="*/ 46 w 84"/>
                <a:gd name="T5" fmla="*/ 35 h 47"/>
                <a:gd name="T6" fmla="*/ 64 w 84"/>
                <a:gd name="T7" fmla="*/ 43 h 47"/>
                <a:gd name="T8" fmla="*/ 78 w 84"/>
                <a:gd name="T9" fmla="*/ 45 h 47"/>
                <a:gd name="T10" fmla="*/ 81 w 84"/>
                <a:gd name="T11" fmla="*/ 30 h 47"/>
                <a:gd name="T12" fmla="*/ 68 w 84"/>
                <a:gd name="T13" fmla="*/ 14 h 47"/>
                <a:gd name="T14" fmla="*/ 52 w 84"/>
                <a:gd name="T15" fmla="*/ 1 h 47"/>
                <a:gd name="T16" fmla="*/ 21 w 84"/>
                <a:gd name="T17" fmla="*/ 2 h 47"/>
                <a:gd name="T18" fmla="*/ 6 w 84"/>
                <a:gd name="T19" fmla="*/ 6 h 47"/>
                <a:gd name="T20" fmla="*/ 7 w 84"/>
                <a:gd name="T21" fmla="*/ 1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47">
                  <a:moveTo>
                    <a:pt x="7" y="18"/>
                  </a:moveTo>
                  <a:cubicBezTo>
                    <a:pt x="14" y="20"/>
                    <a:pt x="17" y="26"/>
                    <a:pt x="25" y="27"/>
                  </a:cubicBezTo>
                  <a:cubicBezTo>
                    <a:pt x="34" y="28"/>
                    <a:pt x="38" y="35"/>
                    <a:pt x="46" y="35"/>
                  </a:cubicBezTo>
                  <a:cubicBezTo>
                    <a:pt x="53" y="34"/>
                    <a:pt x="61" y="40"/>
                    <a:pt x="64" y="43"/>
                  </a:cubicBezTo>
                  <a:cubicBezTo>
                    <a:pt x="67" y="47"/>
                    <a:pt x="74" y="45"/>
                    <a:pt x="78" y="45"/>
                  </a:cubicBezTo>
                  <a:cubicBezTo>
                    <a:pt x="83" y="45"/>
                    <a:pt x="84" y="37"/>
                    <a:pt x="81" y="30"/>
                  </a:cubicBezTo>
                  <a:cubicBezTo>
                    <a:pt x="78" y="22"/>
                    <a:pt x="75" y="21"/>
                    <a:pt x="68" y="14"/>
                  </a:cubicBezTo>
                  <a:cubicBezTo>
                    <a:pt x="62" y="8"/>
                    <a:pt x="65" y="0"/>
                    <a:pt x="52" y="1"/>
                  </a:cubicBezTo>
                  <a:cubicBezTo>
                    <a:pt x="52" y="1"/>
                    <a:pt x="30" y="2"/>
                    <a:pt x="21" y="2"/>
                  </a:cubicBezTo>
                  <a:cubicBezTo>
                    <a:pt x="12" y="2"/>
                    <a:pt x="12" y="2"/>
                    <a:pt x="6" y="6"/>
                  </a:cubicBezTo>
                  <a:cubicBezTo>
                    <a:pt x="1" y="9"/>
                    <a:pt x="0" y="16"/>
                    <a:pt x="7" y="1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0" name="Freeform 520">
              <a:extLst>
                <a:ext uri="{FF2B5EF4-FFF2-40B4-BE49-F238E27FC236}">
                  <a16:creationId xmlns:a16="http://schemas.microsoft.com/office/drawing/2014/main" id="{F049D42D-5AC1-7542-A65D-BA542B2EB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1649"/>
              <a:ext cx="7" cy="5"/>
            </a:xfrm>
            <a:custGeom>
              <a:avLst/>
              <a:gdLst>
                <a:gd name="T0" fmla="*/ 26 w 26"/>
                <a:gd name="T1" fmla="*/ 10 h 19"/>
                <a:gd name="T2" fmla="*/ 17 w 26"/>
                <a:gd name="T3" fmla="*/ 2 h 19"/>
                <a:gd name="T4" fmla="*/ 6 w 26"/>
                <a:gd name="T5" fmla="*/ 5 h 19"/>
                <a:gd name="T6" fmla="*/ 10 w 26"/>
                <a:gd name="T7" fmla="*/ 17 h 19"/>
                <a:gd name="T8" fmla="*/ 26 w 26"/>
                <a:gd name="T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9">
                  <a:moveTo>
                    <a:pt x="26" y="10"/>
                  </a:moveTo>
                  <a:cubicBezTo>
                    <a:pt x="26" y="2"/>
                    <a:pt x="26" y="2"/>
                    <a:pt x="17" y="2"/>
                  </a:cubicBezTo>
                  <a:cubicBezTo>
                    <a:pt x="17" y="2"/>
                    <a:pt x="8" y="0"/>
                    <a:pt x="6" y="5"/>
                  </a:cubicBezTo>
                  <a:cubicBezTo>
                    <a:pt x="5" y="11"/>
                    <a:pt x="0" y="17"/>
                    <a:pt x="10" y="17"/>
                  </a:cubicBezTo>
                  <a:cubicBezTo>
                    <a:pt x="20" y="17"/>
                    <a:pt x="26" y="19"/>
                    <a:pt x="26" y="1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1" name="Freeform 521">
              <a:extLst>
                <a:ext uri="{FF2B5EF4-FFF2-40B4-BE49-F238E27FC236}">
                  <a16:creationId xmlns:a16="http://schemas.microsoft.com/office/drawing/2014/main" id="{68991C55-096B-9445-A33D-9BD46CEC3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8" y="1212"/>
              <a:ext cx="23" cy="28"/>
            </a:xfrm>
            <a:custGeom>
              <a:avLst/>
              <a:gdLst>
                <a:gd name="T0" fmla="*/ 73 w 91"/>
                <a:gd name="T1" fmla="*/ 56 h 109"/>
                <a:gd name="T2" fmla="*/ 67 w 91"/>
                <a:gd name="T3" fmla="*/ 41 h 109"/>
                <a:gd name="T4" fmla="*/ 72 w 91"/>
                <a:gd name="T5" fmla="*/ 26 h 109"/>
                <a:gd name="T6" fmla="*/ 91 w 91"/>
                <a:gd name="T7" fmla="*/ 15 h 109"/>
                <a:gd name="T8" fmla="*/ 64 w 91"/>
                <a:gd name="T9" fmla="*/ 6 h 109"/>
                <a:gd name="T10" fmla="*/ 45 w 91"/>
                <a:gd name="T11" fmla="*/ 19 h 109"/>
                <a:gd name="T12" fmla="*/ 48 w 91"/>
                <a:gd name="T13" fmla="*/ 35 h 109"/>
                <a:gd name="T14" fmla="*/ 41 w 91"/>
                <a:gd name="T15" fmla="*/ 50 h 109"/>
                <a:gd name="T16" fmla="*/ 17 w 91"/>
                <a:gd name="T17" fmla="*/ 70 h 109"/>
                <a:gd name="T18" fmla="*/ 2 w 91"/>
                <a:gd name="T19" fmla="*/ 91 h 109"/>
                <a:gd name="T20" fmla="*/ 10 w 91"/>
                <a:gd name="T21" fmla="*/ 109 h 109"/>
                <a:gd name="T22" fmla="*/ 42 w 91"/>
                <a:gd name="T23" fmla="*/ 90 h 109"/>
                <a:gd name="T24" fmla="*/ 73 w 91"/>
                <a:gd name="T25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09">
                  <a:moveTo>
                    <a:pt x="73" y="56"/>
                  </a:moveTo>
                  <a:cubicBezTo>
                    <a:pt x="74" y="47"/>
                    <a:pt x="72" y="49"/>
                    <a:pt x="67" y="41"/>
                  </a:cubicBezTo>
                  <a:cubicBezTo>
                    <a:pt x="62" y="32"/>
                    <a:pt x="58" y="28"/>
                    <a:pt x="72" y="26"/>
                  </a:cubicBezTo>
                  <a:cubicBezTo>
                    <a:pt x="86" y="23"/>
                    <a:pt x="91" y="21"/>
                    <a:pt x="91" y="15"/>
                  </a:cubicBezTo>
                  <a:cubicBezTo>
                    <a:pt x="91" y="8"/>
                    <a:pt x="85" y="0"/>
                    <a:pt x="64" y="6"/>
                  </a:cubicBezTo>
                  <a:cubicBezTo>
                    <a:pt x="64" y="6"/>
                    <a:pt x="50" y="10"/>
                    <a:pt x="45" y="19"/>
                  </a:cubicBezTo>
                  <a:cubicBezTo>
                    <a:pt x="39" y="28"/>
                    <a:pt x="43" y="31"/>
                    <a:pt x="48" y="35"/>
                  </a:cubicBezTo>
                  <a:cubicBezTo>
                    <a:pt x="53" y="38"/>
                    <a:pt x="50" y="48"/>
                    <a:pt x="41" y="50"/>
                  </a:cubicBezTo>
                  <a:cubicBezTo>
                    <a:pt x="32" y="52"/>
                    <a:pt x="30" y="67"/>
                    <a:pt x="17" y="70"/>
                  </a:cubicBezTo>
                  <a:cubicBezTo>
                    <a:pt x="5" y="73"/>
                    <a:pt x="2" y="84"/>
                    <a:pt x="2" y="91"/>
                  </a:cubicBezTo>
                  <a:cubicBezTo>
                    <a:pt x="2" y="98"/>
                    <a:pt x="0" y="109"/>
                    <a:pt x="10" y="109"/>
                  </a:cubicBezTo>
                  <a:cubicBezTo>
                    <a:pt x="20" y="109"/>
                    <a:pt x="30" y="96"/>
                    <a:pt x="42" y="90"/>
                  </a:cubicBezTo>
                  <a:cubicBezTo>
                    <a:pt x="54" y="84"/>
                    <a:pt x="73" y="64"/>
                    <a:pt x="73" y="5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2" name="Freeform 522">
              <a:extLst>
                <a:ext uri="{FF2B5EF4-FFF2-40B4-BE49-F238E27FC236}">
                  <a16:creationId xmlns:a16="http://schemas.microsoft.com/office/drawing/2014/main" id="{76C58918-D8B6-C54A-B5A2-183DAFB32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1" y="1222"/>
              <a:ext cx="11" cy="10"/>
            </a:xfrm>
            <a:custGeom>
              <a:avLst/>
              <a:gdLst>
                <a:gd name="T0" fmla="*/ 28 w 45"/>
                <a:gd name="T1" fmla="*/ 31 h 39"/>
                <a:gd name="T2" fmla="*/ 37 w 45"/>
                <a:gd name="T3" fmla="*/ 16 h 39"/>
                <a:gd name="T4" fmla="*/ 32 w 45"/>
                <a:gd name="T5" fmla="*/ 2 h 39"/>
                <a:gd name="T6" fmla="*/ 12 w 45"/>
                <a:gd name="T7" fmla="*/ 1 h 39"/>
                <a:gd name="T8" fmla="*/ 0 w 45"/>
                <a:gd name="T9" fmla="*/ 13 h 39"/>
                <a:gd name="T10" fmla="*/ 6 w 45"/>
                <a:gd name="T11" fmla="*/ 32 h 39"/>
                <a:gd name="T12" fmla="*/ 28 w 45"/>
                <a:gd name="T13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39">
                  <a:moveTo>
                    <a:pt x="28" y="31"/>
                  </a:moveTo>
                  <a:cubicBezTo>
                    <a:pt x="30" y="22"/>
                    <a:pt x="34" y="21"/>
                    <a:pt x="37" y="16"/>
                  </a:cubicBezTo>
                  <a:cubicBezTo>
                    <a:pt x="41" y="10"/>
                    <a:pt x="45" y="4"/>
                    <a:pt x="32" y="2"/>
                  </a:cubicBezTo>
                  <a:cubicBezTo>
                    <a:pt x="19" y="0"/>
                    <a:pt x="24" y="1"/>
                    <a:pt x="12" y="1"/>
                  </a:cubicBezTo>
                  <a:cubicBezTo>
                    <a:pt x="12" y="1"/>
                    <a:pt x="0" y="2"/>
                    <a:pt x="0" y="13"/>
                  </a:cubicBezTo>
                  <a:cubicBezTo>
                    <a:pt x="0" y="24"/>
                    <a:pt x="2" y="26"/>
                    <a:pt x="6" y="32"/>
                  </a:cubicBezTo>
                  <a:cubicBezTo>
                    <a:pt x="9" y="39"/>
                    <a:pt x="26" y="39"/>
                    <a:pt x="28" y="3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3" name="Freeform 523">
              <a:extLst>
                <a:ext uri="{FF2B5EF4-FFF2-40B4-BE49-F238E27FC236}">
                  <a16:creationId xmlns:a16="http://schemas.microsoft.com/office/drawing/2014/main" id="{AD9C8D49-E4C4-E042-BD52-CB01DEDC3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1250"/>
              <a:ext cx="40" cy="36"/>
            </a:xfrm>
            <a:custGeom>
              <a:avLst/>
              <a:gdLst>
                <a:gd name="T0" fmla="*/ 1 w 155"/>
                <a:gd name="T1" fmla="*/ 86 h 141"/>
                <a:gd name="T2" fmla="*/ 10 w 155"/>
                <a:gd name="T3" fmla="*/ 100 h 141"/>
                <a:gd name="T4" fmla="*/ 26 w 155"/>
                <a:gd name="T5" fmla="*/ 128 h 141"/>
                <a:gd name="T6" fmla="*/ 98 w 155"/>
                <a:gd name="T7" fmla="*/ 129 h 141"/>
                <a:gd name="T8" fmla="*/ 127 w 155"/>
                <a:gd name="T9" fmla="*/ 112 h 141"/>
                <a:gd name="T10" fmla="*/ 155 w 155"/>
                <a:gd name="T11" fmla="*/ 86 h 141"/>
                <a:gd name="T12" fmla="*/ 144 w 155"/>
                <a:gd name="T13" fmla="*/ 56 h 141"/>
                <a:gd name="T14" fmla="*/ 151 w 155"/>
                <a:gd name="T15" fmla="*/ 33 h 141"/>
                <a:gd name="T16" fmla="*/ 140 w 155"/>
                <a:gd name="T17" fmla="*/ 22 h 141"/>
                <a:gd name="T18" fmla="*/ 121 w 155"/>
                <a:gd name="T19" fmla="*/ 11 h 141"/>
                <a:gd name="T20" fmla="*/ 92 w 155"/>
                <a:gd name="T21" fmla="*/ 6 h 141"/>
                <a:gd name="T22" fmla="*/ 72 w 155"/>
                <a:gd name="T23" fmla="*/ 10 h 141"/>
                <a:gd name="T24" fmla="*/ 42 w 155"/>
                <a:gd name="T25" fmla="*/ 20 h 141"/>
                <a:gd name="T26" fmla="*/ 17 w 155"/>
                <a:gd name="T27" fmla="*/ 50 h 141"/>
                <a:gd name="T28" fmla="*/ 1 w 155"/>
                <a:gd name="T29" fmla="*/ 8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5" h="141">
                  <a:moveTo>
                    <a:pt x="1" y="86"/>
                  </a:moveTo>
                  <a:cubicBezTo>
                    <a:pt x="1" y="92"/>
                    <a:pt x="5" y="90"/>
                    <a:pt x="10" y="100"/>
                  </a:cubicBezTo>
                  <a:cubicBezTo>
                    <a:pt x="15" y="110"/>
                    <a:pt x="15" y="125"/>
                    <a:pt x="26" y="128"/>
                  </a:cubicBezTo>
                  <a:cubicBezTo>
                    <a:pt x="37" y="131"/>
                    <a:pt x="89" y="141"/>
                    <a:pt x="98" y="129"/>
                  </a:cubicBezTo>
                  <a:cubicBezTo>
                    <a:pt x="106" y="118"/>
                    <a:pt x="113" y="118"/>
                    <a:pt x="127" y="112"/>
                  </a:cubicBezTo>
                  <a:cubicBezTo>
                    <a:pt x="141" y="106"/>
                    <a:pt x="155" y="101"/>
                    <a:pt x="155" y="86"/>
                  </a:cubicBezTo>
                  <a:cubicBezTo>
                    <a:pt x="155" y="72"/>
                    <a:pt x="141" y="65"/>
                    <a:pt x="144" y="56"/>
                  </a:cubicBezTo>
                  <a:cubicBezTo>
                    <a:pt x="147" y="48"/>
                    <a:pt x="154" y="39"/>
                    <a:pt x="151" y="33"/>
                  </a:cubicBezTo>
                  <a:cubicBezTo>
                    <a:pt x="149" y="27"/>
                    <a:pt x="152" y="27"/>
                    <a:pt x="140" y="22"/>
                  </a:cubicBezTo>
                  <a:cubicBezTo>
                    <a:pt x="128" y="18"/>
                    <a:pt x="131" y="15"/>
                    <a:pt x="121" y="11"/>
                  </a:cubicBezTo>
                  <a:cubicBezTo>
                    <a:pt x="110" y="7"/>
                    <a:pt x="98" y="0"/>
                    <a:pt x="92" y="6"/>
                  </a:cubicBezTo>
                  <a:cubicBezTo>
                    <a:pt x="86" y="12"/>
                    <a:pt x="91" y="14"/>
                    <a:pt x="72" y="10"/>
                  </a:cubicBezTo>
                  <a:cubicBezTo>
                    <a:pt x="72" y="10"/>
                    <a:pt x="46" y="8"/>
                    <a:pt x="42" y="20"/>
                  </a:cubicBezTo>
                  <a:cubicBezTo>
                    <a:pt x="37" y="31"/>
                    <a:pt x="35" y="41"/>
                    <a:pt x="17" y="50"/>
                  </a:cubicBezTo>
                  <a:cubicBezTo>
                    <a:pt x="0" y="60"/>
                    <a:pt x="1" y="79"/>
                    <a:pt x="1" y="8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4" name="Freeform 524">
              <a:extLst>
                <a:ext uri="{FF2B5EF4-FFF2-40B4-BE49-F238E27FC236}">
                  <a16:creationId xmlns:a16="http://schemas.microsoft.com/office/drawing/2014/main" id="{F10EDB64-6724-EB49-9A81-2EB230D0B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2" y="1256"/>
              <a:ext cx="22" cy="13"/>
            </a:xfrm>
            <a:custGeom>
              <a:avLst/>
              <a:gdLst>
                <a:gd name="T0" fmla="*/ 13 w 88"/>
                <a:gd name="T1" fmla="*/ 40 h 52"/>
                <a:gd name="T2" fmla="*/ 35 w 88"/>
                <a:gd name="T3" fmla="*/ 52 h 52"/>
                <a:gd name="T4" fmla="*/ 85 w 88"/>
                <a:gd name="T5" fmla="*/ 34 h 52"/>
                <a:gd name="T6" fmla="*/ 67 w 88"/>
                <a:gd name="T7" fmla="*/ 23 h 52"/>
                <a:gd name="T8" fmla="*/ 40 w 88"/>
                <a:gd name="T9" fmla="*/ 17 h 52"/>
                <a:gd name="T10" fmla="*/ 21 w 88"/>
                <a:gd name="T11" fmla="*/ 8 h 52"/>
                <a:gd name="T12" fmla="*/ 1 w 88"/>
                <a:gd name="T13" fmla="*/ 22 h 52"/>
                <a:gd name="T14" fmla="*/ 13 w 88"/>
                <a:gd name="T15" fmla="*/ 4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52">
                  <a:moveTo>
                    <a:pt x="13" y="40"/>
                  </a:moveTo>
                  <a:cubicBezTo>
                    <a:pt x="17" y="49"/>
                    <a:pt x="26" y="52"/>
                    <a:pt x="35" y="52"/>
                  </a:cubicBezTo>
                  <a:cubicBezTo>
                    <a:pt x="45" y="52"/>
                    <a:pt x="86" y="45"/>
                    <a:pt x="85" y="34"/>
                  </a:cubicBezTo>
                  <a:cubicBezTo>
                    <a:pt x="83" y="23"/>
                    <a:pt x="88" y="23"/>
                    <a:pt x="67" y="23"/>
                  </a:cubicBezTo>
                  <a:cubicBezTo>
                    <a:pt x="46" y="23"/>
                    <a:pt x="51" y="26"/>
                    <a:pt x="40" y="17"/>
                  </a:cubicBezTo>
                  <a:cubicBezTo>
                    <a:pt x="40" y="17"/>
                    <a:pt x="28" y="0"/>
                    <a:pt x="21" y="8"/>
                  </a:cubicBezTo>
                  <a:cubicBezTo>
                    <a:pt x="15" y="16"/>
                    <a:pt x="0" y="13"/>
                    <a:pt x="1" y="22"/>
                  </a:cubicBezTo>
                  <a:cubicBezTo>
                    <a:pt x="2" y="31"/>
                    <a:pt x="8" y="31"/>
                    <a:pt x="13" y="4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5" name="Freeform 525">
              <a:extLst>
                <a:ext uri="{FF2B5EF4-FFF2-40B4-BE49-F238E27FC236}">
                  <a16:creationId xmlns:a16="http://schemas.microsoft.com/office/drawing/2014/main" id="{EF717D90-3C1F-3B4D-844B-BE01A67BF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1241"/>
              <a:ext cx="5" cy="11"/>
            </a:xfrm>
            <a:custGeom>
              <a:avLst/>
              <a:gdLst>
                <a:gd name="T0" fmla="*/ 13 w 19"/>
                <a:gd name="T1" fmla="*/ 8 h 43"/>
                <a:gd name="T2" fmla="*/ 1 w 19"/>
                <a:gd name="T3" fmla="*/ 20 h 43"/>
                <a:gd name="T4" fmla="*/ 13 w 19"/>
                <a:gd name="T5" fmla="*/ 33 h 43"/>
                <a:gd name="T6" fmla="*/ 13 w 19"/>
                <a:gd name="T7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43">
                  <a:moveTo>
                    <a:pt x="13" y="8"/>
                  </a:moveTo>
                  <a:cubicBezTo>
                    <a:pt x="13" y="8"/>
                    <a:pt x="3" y="13"/>
                    <a:pt x="1" y="20"/>
                  </a:cubicBezTo>
                  <a:cubicBezTo>
                    <a:pt x="0" y="26"/>
                    <a:pt x="9" y="43"/>
                    <a:pt x="13" y="33"/>
                  </a:cubicBezTo>
                  <a:cubicBezTo>
                    <a:pt x="17" y="23"/>
                    <a:pt x="19" y="0"/>
                    <a:pt x="13" y="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6" name="Freeform 526">
              <a:extLst>
                <a:ext uri="{FF2B5EF4-FFF2-40B4-BE49-F238E27FC236}">
                  <a16:creationId xmlns:a16="http://schemas.microsoft.com/office/drawing/2014/main" id="{C9A86D4C-CA03-424E-9F5E-DCC120AE6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" y="1249"/>
              <a:ext cx="8" cy="8"/>
            </a:xfrm>
            <a:custGeom>
              <a:avLst/>
              <a:gdLst>
                <a:gd name="T0" fmla="*/ 13 w 31"/>
                <a:gd name="T1" fmla="*/ 31 h 31"/>
                <a:gd name="T2" fmla="*/ 29 w 31"/>
                <a:gd name="T3" fmla="*/ 22 h 31"/>
                <a:gd name="T4" fmla="*/ 8 w 31"/>
                <a:gd name="T5" fmla="*/ 13 h 31"/>
                <a:gd name="T6" fmla="*/ 13 w 31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13" y="31"/>
                  </a:moveTo>
                  <a:cubicBezTo>
                    <a:pt x="26" y="31"/>
                    <a:pt x="31" y="28"/>
                    <a:pt x="29" y="22"/>
                  </a:cubicBezTo>
                  <a:cubicBezTo>
                    <a:pt x="27" y="16"/>
                    <a:pt x="9" y="0"/>
                    <a:pt x="8" y="13"/>
                  </a:cubicBezTo>
                  <a:cubicBezTo>
                    <a:pt x="8" y="13"/>
                    <a:pt x="0" y="30"/>
                    <a:pt x="13" y="3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7" name="Freeform 527">
              <a:extLst>
                <a:ext uri="{FF2B5EF4-FFF2-40B4-BE49-F238E27FC236}">
                  <a16:creationId xmlns:a16="http://schemas.microsoft.com/office/drawing/2014/main" id="{7D2F98C9-88EF-8840-8ED1-46B0BFE56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6" y="1421"/>
              <a:ext cx="5" cy="6"/>
            </a:xfrm>
            <a:custGeom>
              <a:avLst/>
              <a:gdLst>
                <a:gd name="T0" fmla="*/ 10 w 22"/>
                <a:gd name="T1" fmla="*/ 3 h 21"/>
                <a:gd name="T2" fmla="*/ 0 w 22"/>
                <a:gd name="T3" fmla="*/ 10 h 21"/>
                <a:gd name="T4" fmla="*/ 9 w 22"/>
                <a:gd name="T5" fmla="*/ 15 h 21"/>
                <a:gd name="T6" fmla="*/ 10 w 22"/>
                <a:gd name="T7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1">
                  <a:moveTo>
                    <a:pt x="10" y="3"/>
                  </a:moveTo>
                  <a:cubicBezTo>
                    <a:pt x="10" y="3"/>
                    <a:pt x="0" y="0"/>
                    <a:pt x="0" y="10"/>
                  </a:cubicBezTo>
                  <a:cubicBezTo>
                    <a:pt x="1" y="19"/>
                    <a:pt x="8" y="21"/>
                    <a:pt x="9" y="15"/>
                  </a:cubicBezTo>
                  <a:cubicBezTo>
                    <a:pt x="11" y="9"/>
                    <a:pt x="22" y="1"/>
                    <a:pt x="10" y="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8" name="Freeform 528">
              <a:extLst>
                <a:ext uri="{FF2B5EF4-FFF2-40B4-BE49-F238E27FC236}">
                  <a16:creationId xmlns:a16="http://schemas.microsoft.com/office/drawing/2014/main" id="{7D26AC75-CD2F-B643-B138-F78EF369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" y="1658"/>
              <a:ext cx="113" cy="105"/>
            </a:xfrm>
            <a:custGeom>
              <a:avLst/>
              <a:gdLst>
                <a:gd name="T0" fmla="*/ 433 w 447"/>
                <a:gd name="T1" fmla="*/ 297 h 415"/>
                <a:gd name="T2" fmla="*/ 420 w 447"/>
                <a:gd name="T3" fmla="*/ 251 h 415"/>
                <a:gd name="T4" fmla="*/ 383 w 447"/>
                <a:gd name="T5" fmla="*/ 259 h 415"/>
                <a:gd name="T6" fmla="*/ 375 w 447"/>
                <a:gd name="T7" fmla="*/ 226 h 415"/>
                <a:gd name="T8" fmla="*/ 388 w 447"/>
                <a:gd name="T9" fmla="*/ 193 h 415"/>
                <a:gd name="T10" fmla="*/ 353 w 447"/>
                <a:gd name="T11" fmla="*/ 170 h 415"/>
                <a:gd name="T12" fmla="*/ 331 w 447"/>
                <a:gd name="T13" fmla="*/ 173 h 415"/>
                <a:gd name="T14" fmla="*/ 300 w 447"/>
                <a:gd name="T15" fmla="*/ 188 h 415"/>
                <a:gd name="T16" fmla="*/ 278 w 447"/>
                <a:gd name="T17" fmla="*/ 177 h 415"/>
                <a:gd name="T18" fmla="*/ 248 w 447"/>
                <a:gd name="T19" fmla="*/ 182 h 415"/>
                <a:gd name="T20" fmla="*/ 263 w 447"/>
                <a:gd name="T21" fmla="*/ 145 h 415"/>
                <a:gd name="T22" fmla="*/ 230 w 447"/>
                <a:gd name="T23" fmla="*/ 135 h 415"/>
                <a:gd name="T24" fmla="*/ 214 w 447"/>
                <a:gd name="T25" fmla="*/ 104 h 415"/>
                <a:gd name="T26" fmla="*/ 250 w 447"/>
                <a:gd name="T27" fmla="*/ 53 h 415"/>
                <a:gd name="T28" fmla="*/ 267 w 447"/>
                <a:gd name="T29" fmla="*/ 16 h 415"/>
                <a:gd name="T30" fmla="*/ 235 w 447"/>
                <a:gd name="T31" fmla="*/ 4 h 415"/>
                <a:gd name="T32" fmla="*/ 182 w 447"/>
                <a:gd name="T33" fmla="*/ 66 h 415"/>
                <a:gd name="T34" fmla="*/ 112 w 447"/>
                <a:gd name="T35" fmla="*/ 149 h 415"/>
                <a:gd name="T36" fmla="*/ 87 w 447"/>
                <a:gd name="T37" fmla="*/ 196 h 415"/>
                <a:gd name="T38" fmla="*/ 69 w 447"/>
                <a:gd name="T39" fmla="*/ 224 h 415"/>
                <a:gd name="T40" fmla="*/ 35 w 447"/>
                <a:gd name="T41" fmla="*/ 253 h 415"/>
                <a:gd name="T42" fmla="*/ 8 w 447"/>
                <a:gd name="T43" fmla="*/ 324 h 415"/>
                <a:gd name="T44" fmla="*/ 38 w 447"/>
                <a:gd name="T45" fmla="*/ 349 h 415"/>
                <a:gd name="T46" fmla="*/ 92 w 447"/>
                <a:gd name="T47" fmla="*/ 340 h 415"/>
                <a:gd name="T48" fmla="*/ 154 w 447"/>
                <a:gd name="T49" fmla="*/ 347 h 415"/>
                <a:gd name="T50" fmla="*/ 214 w 447"/>
                <a:gd name="T51" fmla="*/ 341 h 415"/>
                <a:gd name="T52" fmla="*/ 239 w 447"/>
                <a:gd name="T53" fmla="*/ 349 h 415"/>
                <a:gd name="T54" fmla="*/ 281 w 447"/>
                <a:gd name="T55" fmla="*/ 349 h 415"/>
                <a:gd name="T56" fmla="*/ 240 w 447"/>
                <a:gd name="T57" fmla="*/ 388 h 415"/>
                <a:gd name="T58" fmla="*/ 297 w 447"/>
                <a:gd name="T59" fmla="*/ 375 h 415"/>
                <a:gd name="T60" fmla="*/ 332 w 447"/>
                <a:gd name="T61" fmla="*/ 361 h 415"/>
                <a:gd name="T62" fmla="*/ 355 w 447"/>
                <a:gd name="T63" fmla="*/ 365 h 415"/>
                <a:gd name="T64" fmla="*/ 357 w 447"/>
                <a:gd name="T65" fmla="*/ 401 h 415"/>
                <a:gd name="T66" fmla="*/ 377 w 447"/>
                <a:gd name="T67" fmla="*/ 404 h 415"/>
                <a:gd name="T68" fmla="*/ 413 w 447"/>
                <a:gd name="T69" fmla="*/ 414 h 415"/>
                <a:gd name="T70" fmla="*/ 436 w 447"/>
                <a:gd name="T71" fmla="*/ 373 h 415"/>
                <a:gd name="T72" fmla="*/ 441 w 447"/>
                <a:gd name="T73" fmla="*/ 32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7" h="415">
                  <a:moveTo>
                    <a:pt x="441" y="323"/>
                  </a:moveTo>
                  <a:cubicBezTo>
                    <a:pt x="435" y="317"/>
                    <a:pt x="440" y="301"/>
                    <a:pt x="433" y="297"/>
                  </a:cubicBezTo>
                  <a:cubicBezTo>
                    <a:pt x="426" y="293"/>
                    <a:pt x="427" y="283"/>
                    <a:pt x="427" y="272"/>
                  </a:cubicBezTo>
                  <a:cubicBezTo>
                    <a:pt x="427" y="262"/>
                    <a:pt x="429" y="251"/>
                    <a:pt x="420" y="251"/>
                  </a:cubicBezTo>
                  <a:cubicBezTo>
                    <a:pt x="411" y="250"/>
                    <a:pt x="411" y="255"/>
                    <a:pt x="404" y="257"/>
                  </a:cubicBezTo>
                  <a:cubicBezTo>
                    <a:pt x="398" y="259"/>
                    <a:pt x="392" y="256"/>
                    <a:pt x="383" y="259"/>
                  </a:cubicBezTo>
                  <a:cubicBezTo>
                    <a:pt x="375" y="262"/>
                    <a:pt x="366" y="255"/>
                    <a:pt x="367" y="245"/>
                  </a:cubicBezTo>
                  <a:cubicBezTo>
                    <a:pt x="368" y="234"/>
                    <a:pt x="368" y="232"/>
                    <a:pt x="375" y="226"/>
                  </a:cubicBezTo>
                  <a:cubicBezTo>
                    <a:pt x="383" y="221"/>
                    <a:pt x="389" y="215"/>
                    <a:pt x="393" y="210"/>
                  </a:cubicBezTo>
                  <a:cubicBezTo>
                    <a:pt x="397" y="205"/>
                    <a:pt x="397" y="198"/>
                    <a:pt x="388" y="193"/>
                  </a:cubicBezTo>
                  <a:cubicBezTo>
                    <a:pt x="379" y="187"/>
                    <a:pt x="374" y="189"/>
                    <a:pt x="367" y="185"/>
                  </a:cubicBezTo>
                  <a:cubicBezTo>
                    <a:pt x="360" y="182"/>
                    <a:pt x="352" y="180"/>
                    <a:pt x="353" y="170"/>
                  </a:cubicBezTo>
                  <a:cubicBezTo>
                    <a:pt x="354" y="159"/>
                    <a:pt x="344" y="148"/>
                    <a:pt x="341" y="157"/>
                  </a:cubicBezTo>
                  <a:cubicBezTo>
                    <a:pt x="339" y="167"/>
                    <a:pt x="338" y="179"/>
                    <a:pt x="331" y="173"/>
                  </a:cubicBezTo>
                  <a:cubicBezTo>
                    <a:pt x="324" y="166"/>
                    <a:pt x="315" y="168"/>
                    <a:pt x="312" y="175"/>
                  </a:cubicBezTo>
                  <a:cubicBezTo>
                    <a:pt x="309" y="182"/>
                    <a:pt x="303" y="179"/>
                    <a:pt x="300" y="188"/>
                  </a:cubicBezTo>
                  <a:cubicBezTo>
                    <a:pt x="298" y="198"/>
                    <a:pt x="288" y="207"/>
                    <a:pt x="284" y="197"/>
                  </a:cubicBezTo>
                  <a:cubicBezTo>
                    <a:pt x="280" y="187"/>
                    <a:pt x="285" y="179"/>
                    <a:pt x="278" y="177"/>
                  </a:cubicBezTo>
                  <a:cubicBezTo>
                    <a:pt x="271" y="174"/>
                    <a:pt x="267" y="175"/>
                    <a:pt x="265" y="180"/>
                  </a:cubicBezTo>
                  <a:cubicBezTo>
                    <a:pt x="262" y="185"/>
                    <a:pt x="253" y="186"/>
                    <a:pt x="248" y="182"/>
                  </a:cubicBezTo>
                  <a:cubicBezTo>
                    <a:pt x="243" y="177"/>
                    <a:pt x="234" y="168"/>
                    <a:pt x="246" y="163"/>
                  </a:cubicBezTo>
                  <a:cubicBezTo>
                    <a:pt x="259" y="158"/>
                    <a:pt x="261" y="152"/>
                    <a:pt x="263" y="145"/>
                  </a:cubicBezTo>
                  <a:cubicBezTo>
                    <a:pt x="265" y="139"/>
                    <a:pt x="262" y="135"/>
                    <a:pt x="248" y="137"/>
                  </a:cubicBezTo>
                  <a:cubicBezTo>
                    <a:pt x="235" y="140"/>
                    <a:pt x="231" y="142"/>
                    <a:pt x="230" y="135"/>
                  </a:cubicBezTo>
                  <a:cubicBezTo>
                    <a:pt x="229" y="128"/>
                    <a:pt x="227" y="132"/>
                    <a:pt x="222" y="127"/>
                  </a:cubicBezTo>
                  <a:cubicBezTo>
                    <a:pt x="218" y="121"/>
                    <a:pt x="205" y="113"/>
                    <a:pt x="214" y="104"/>
                  </a:cubicBezTo>
                  <a:cubicBezTo>
                    <a:pt x="223" y="95"/>
                    <a:pt x="234" y="86"/>
                    <a:pt x="241" y="74"/>
                  </a:cubicBezTo>
                  <a:cubicBezTo>
                    <a:pt x="248" y="62"/>
                    <a:pt x="248" y="68"/>
                    <a:pt x="250" y="53"/>
                  </a:cubicBezTo>
                  <a:cubicBezTo>
                    <a:pt x="252" y="39"/>
                    <a:pt x="251" y="33"/>
                    <a:pt x="255" y="32"/>
                  </a:cubicBezTo>
                  <a:cubicBezTo>
                    <a:pt x="259" y="30"/>
                    <a:pt x="265" y="26"/>
                    <a:pt x="267" y="16"/>
                  </a:cubicBezTo>
                  <a:cubicBezTo>
                    <a:pt x="269" y="7"/>
                    <a:pt x="270" y="0"/>
                    <a:pt x="261" y="3"/>
                  </a:cubicBezTo>
                  <a:cubicBezTo>
                    <a:pt x="252" y="6"/>
                    <a:pt x="246" y="4"/>
                    <a:pt x="235" y="4"/>
                  </a:cubicBezTo>
                  <a:cubicBezTo>
                    <a:pt x="224" y="4"/>
                    <a:pt x="211" y="15"/>
                    <a:pt x="205" y="22"/>
                  </a:cubicBezTo>
                  <a:cubicBezTo>
                    <a:pt x="198" y="29"/>
                    <a:pt x="200" y="47"/>
                    <a:pt x="182" y="66"/>
                  </a:cubicBezTo>
                  <a:cubicBezTo>
                    <a:pt x="165" y="85"/>
                    <a:pt x="138" y="97"/>
                    <a:pt x="132" y="107"/>
                  </a:cubicBezTo>
                  <a:cubicBezTo>
                    <a:pt x="125" y="118"/>
                    <a:pt x="115" y="134"/>
                    <a:pt x="112" y="149"/>
                  </a:cubicBezTo>
                  <a:cubicBezTo>
                    <a:pt x="112" y="149"/>
                    <a:pt x="107" y="167"/>
                    <a:pt x="100" y="172"/>
                  </a:cubicBezTo>
                  <a:cubicBezTo>
                    <a:pt x="93" y="177"/>
                    <a:pt x="87" y="188"/>
                    <a:pt x="87" y="196"/>
                  </a:cubicBezTo>
                  <a:cubicBezTo>
                    <a:pt x="88" y="205"/>
                    <a:pt x="99" y="213"/>
                    <a:pt x="89" y="214"/>
                  </a:cubicBezTo>
                  <a:cubicBezTo>
                    <a:pt x="78" y="216"/>
                    <a:pt x="70" y="215"/>
                    <a:pt x="69" y="224"/>
                  </a:cubicBezTo>
                  <a:cubicBezTo>
                    <a:pt x="68" y="233"/>
                    <a:pt x="61" y="239"/>
                    <a:pt x="60" y="246"/>
                  </a:cubicBezTo>
                  <a:cubicBezTo>
                    <a:pt x="58" y="252"/>
                    <a:pt x="46" y="246"/>
                    <a:pt x="35" y="253"/>
                  </a:cubicBezTo>
                  <a:cubicBezTo>
                    <a:pt x="23" y="260"/>
                    <a:pt x="23" y="255"/>
                    <a:pt x="20" y="273"/>
                  </a:cubicBezTo>
                  <a:cubicBezTo>
                    <a:pt x="17" y="291"/>
                    <a:pt x="0" y="315"/>
                    <a:pt x="8" y="324"/>
                  </a:cubicBezTo>
                  <a:cubicBezTo>
                    <a:pt x="17" y="333"/>
                    <a:pt x="23" y="332"/>
                    <a:pt x="23" y="340"/>
                  </a:cubicBezTo>
                  <a:cubicBezTo>
                    <a:pt x="23" y="347"/>
                    <a:pt x="29" y="349"/>
                    <a:pt x="38" y="349"/>
                  </a:cubicBezTo>
                  <a:cubicBezTo>
                    <a:pt x="46" y="349"/>
                    <a:pt x="58" y="356"/>
                    <a:pt x="64" y="348"/>
                  </a:cubicBezTo>
                  <a:cubicBezTo>
                    <a:pt x="69" y="340"/>
                    <a:pt x="77" y="340"/>
                    <a:pt x="92" y="340"/>
                  </a:cubicBezTo>
                  <a:cubicBezTo>
                    <a:pt x="106" y="340"/>
                    <a:pt x="122" y="335"/>
                    <a:pt x="125" y="340"/>
                  </a:cubicBezTo>
                  <a:cubicBezTo>
                    <a:pt x="129" y="345"/>
                    <a:pt x="145" y="347"/>
                    <a:pt x="154" y="347"/>
                  </a:cubicBezTo>
                  <a:cubicBezTo>
                    <a:pt x="162" y="347"/>
                    <a:pt x="179" y="355"/>
                    <a:pt x="189" y="352"/>
                  </a:cubicBezTo>
                  <a:cubicBezTo>
                    <a:pt x="199" y="350"/>
                    <a:pt x="211" y="345"/>
                    <a:pt x="214" y="341"/>
                  </a:cubicBezTo>
                  <a:cubicBezTo>
                    <a:pt x="216" y="338"/>
                    <a:pt x="227" y="334"/>
                    <a:pt x="233" y="335"/>
                  </a:cubicBezTo>
                  <a:cubicBezTo>
                    <a:pt x="238" y="335"/>
                    <a:pt x="227" y="347"/>
                    <a:pt x="239" y="349"/>
                  </a:cubicBezTo>
                  <a:cubicBezTo>
                    <a:pt x="250" y="352"/>
                    <a:pt x="250" y="360"/>
                    <a:pt x="260" y="355"/>
                  </a:cubicBezTo>
                  <a:cubicBezTo>
                    <a:pt x="271" y="349"/>
                    <a:pt x="281" y="342"/>
                    <a:pt x="281" y="349"/>
                  </a:cubicBezTo>
                  <a:cubicBezTo>
                    <a:pt x="281" y="355"/>
                    <a:pt x="274" y="363"/>
                    <a:pt x="262" y="369"/>
                  </a:cubicBezTo>
                  <a:cubicBezTo>
                    <a:pt x="250" y="375"/>
                    <a:pt x="230" y="374"/>
                    <a:pt x="240" y="388"/>
                  </a:cubicBezTo>
                  <a:cubicBezTo>
                    <a:pt x="251" y="402"/>
                    <a:pt x="253" y="404"/>
                    <a:pt x="266" y="402"/>
                  </a:cubicBezTo>
                  <a:cubicBezTo>
                    <a:pt x="279" y="400"/>
                    <a:pt x="288" y="386"/>
                    <a:pt x="297" y="375"/>
                  </a:cubicBezTo>
                  <a:cubicBezTo>
                    <a:pt x="306" y="364"/>
                    <a:pt x="309" y="360"/>
                    <a:pt x="317" y="362"/>
                  </a:cubicBezTo>
                  <a:cubicBezTo>
                    <a:pt x="326" y="364"/>
                    <a:pt x="328" y="370"/>
                    <a:pt x="332" y="361"/>
                  </a:cubicBezTo>
                  <a:cubicBezTo>
                    <a:pt x="337" y="352"/>
                    <a:pt x="340" y="350"/>
                    <a:pt x="346" y="350"/>
                  </a:cubicBezTo>
                  <a:cubicBezTo>
                    <a:pt x="352" y="351"/>
                    <a:pt x="361" y="355"/>
                    <a:pt x="355" y="365"/>
                  </a:cubicBezTo>
                  <a:cubicBezTo>
                    <a:pt x="349" y="375"/>
                    <a:pt x="331" y="386"/>
                    <a:pt x="336" y="396"/>
                  </a:cubicBezTo>
                  <a:cubicBezTo>
                    <a:pt x="341" y="406"/>
                    <a:pt x="345" y="408"/>
                    <a:pt x="357" y="401"/>
                  </a:cubicBezTo>
                  <a:cubicBezTo>
                    <a:pt x="368" y="395"/>
                    <a:pt x="369" y="389"/>
                    <a:pt x="377" y="390"/>
                  </a:cubicBezTo>
                  <a:cubicBezTo>
                    <a:pt x="384" y="392"/>
                    <a:pt x="380" y="398"/>
                    <a:pt x="377" y="404"/>
                  </a:cubicBezTo>
                  <a:cubicBezTo>
                    <a:pt x="374" y="409"/>
                    <a:pt x="377" y="413"/>
                    <a:pt x="383" y="414"/>
                  </a:cubicBezTo>
                  <a:cubicBezTo>
                    <a:pt x="389" y="415"/>
                    <a:pt x="408" y="413"/>
                    <a:pt x="413" y="414"/>
                  </a:cubicBezTo>
                  <a:cubicBezTo>
                    <a:pt x="419" y="415"/>
                    <a:pt x="427" y="410"/>
                    <a:pt x="428" y="401"/>
                  </a:cubicBezTo>
                  <a:cubicBezTo>
                    <a:pt x="429" y="391"/>
                    <a:pt x="432" y="377"/>
                    <a:pt x="436" y="373"/>
                  </a:cubicBezTo>
                  <a:cubicBezTo>
                    <a:pt x="441" y="370"/>
                    <a:pt x="442" y="367"/>
                    <a:pt x="444" y="351"/>
                  </a:cubicBezTo>
                  <a:cubicBezTo>
                    <a:pt x="446" y="335"/>
                    <a:pt x="447" y="328"/>
                    <a:pt x="441" y="32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399" name="Freeform 529">
              <a:extLst>
                <a:ext uri="{FF2B5EF4-FFF2-40B4-BE49-F238E27FC236}">
                  <a16:creationId xmlns:a16="http://schemas.microsoft.com/office/drawing/2014/main" id="{4579CD0B-4729-FD40-9768-339A1CF79A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7" y="1579"/>
              <a:ext cx="655" cy="311"/>
            </a:xfrm>
            <a:custGeom>
              <a:avLst/>
              <a:gdLst>
                <a:gd name="T0" fmla="*/ 2588 w 2590"/>
                <a:gd name="T1" fmla="*/ 526 h 1229"/>
                <a:gd name="T2" fmla="*/ 2551 w 2590"/>
                <a:gd name="T3" fmla="*/ 496 h 1229"/>
                <a:gd name="T4" fmla="*/ 2326 w 2590"/>
                <a:gd name="T5" fmla="*/ 397 h 1229"/>
                <a:gd name="T6" fmla="*/ 2192 w 2590"/>
                <a:gd name="T7" fmla="*/ 360 h 1229"/>
                <a:gd name="T8" fmla="*/ 1943 w 2590"/>
                <a:gd name="T9" fmla="*/ 98 h 1229"/>
                <a:gd name="T10" fmla="*/ 1805 w 2590"/>
                <a:gd name="T11" fmla="*/ 143 h 1229"/>
                <a:gd name="T12" fmla="*/ 1715 w 2590"/>
                <a:gd name="T13" fmla="*/ 154 h 1229"/>
                <a:gd name="T14" fmla="*/ 1663 w 2590"/>
                <a:gd name="T15" fmla="*/ 129 h 1229"/>
                <a:gd name="T16" fmla="*/ 1578 w 2590"/>
                <a:gd name="T17" fmla="*/ 83 h 1229"/>
                <a:gd name="T18" fmla="*/ 1473 w 2590"/>
                <a:gd name="T19" fmla="*/ 7 h 1229"/>
                <a:gd name="T20" fmla="*/ 1161 w 2590"/>
                <a:gd name="T21" fmla="*/ 97 h 1229"/>
                <a:gd name="T22" fmla="*/ 947 w 2590"/>
                <a:gd name="T23" fmla="*/ 126 h 1229"/>
                <a:gd name="T24" fmla="*/ 995 w 2590"/>
                <a:gd name="T25" fmla="*/ 204 h 1229"/>
                <a:gd name="T26" fmla="*/ 898 w 2590"/>
                <a:gd name="T27" fmla="*/ 291 h 1229"/>
                <a:gd name="T28" fmla="*/ 972 w 2590"/>
                <a:gd name="T29" fmla="*/ 365 h 1229"/>
                <a:gd name="T30" fmla="*/ 836 w 2590"/>
                <a:gd name="T31" fmla="*/ 430 h 1229"/>
                <a:gd name="T32" fmla="*/ 671 w 2590"/>
                <a:gd name="T33" fmla="*/ 380 h 1229"/>
                <a:gd name="T34" fmla="*/ 522 w 2590"/>
                <a:gd name="T35" fmla="*/ 426 h 1229"/>
                <a:gd name="T36" fmla="*/ 347 w 2590"/>
                <a:gd name="T37" fmla="*/ 331 h 1229"/>
                <a:gd name="T38" fmla="*/ 171 w 2590"/>
                <a:gd name="T39" fmla="*/ 410 h 1229"/>
                <a:gd name="T40" fmla="*/ 68 w 2590"/>
                <a:gd name="T41" fmla="*/ 439 h 1229"/>
                <a:gd name="T42" fmla="*/ 12 w 2590"/>
                <a:gd name="T43" fmla="*/ 598 h 1229"/>
                <a:gd name="T44" fmla="*/ 163 w 2590"/>
                <a:gd name="T45" fmla="*/ 728 h 1229"/>
                <a:gd name="T46" fmla="*/ 190 w 2590"/>
                <a:gd name="T47" fmla="*/ 770 h 1229"/>
                <a:gd name="T48" fmla="*/ 353 w 2590"/>
                <a:gd name="T49" fmla="*/ 726 h 1229"/>
                <a:gd name="T50" fmla="*/ 432 w 2590"/>
                <a:gd name="T51" fmla="*/ 795 h 1229"/>
                <a:gd name="T52" fmla="*/ 316 w 2590"/>
                <a:gd name="T53" fmla="*/ 852 h 1229"/>
                <a:gd name="T54" fmla="*/ 247 w 2590"/>
                <a:gd name="T55" fmla="*/ 926 h 1229"/>
                <a:gd name="T56" fmla="*/ 388 w 2590"/>
                <a:gd name="T57" fmla="*/ 1044 h 1229"/>
                <a:gd name="T58" fmla="*/ 376 w 2590"/>
                <a:gd name="T59" fmla="*/ 1123 h 1229"/>
                <a:gd name="T60" fmla="*/ 381 w 2590"/>
                <a:gd name="T61" fmla="*/ 1134 h 1229"/>
                <a:gd name="T62" fmla="*/ 564 w 2590"/>
                <a:gd name="T63" fmla="*/ 1155 h 1229"/>
                <a:gd name="T64" fmla="*/ 782 w 2590"/>
                <a:gd name="T65" fmla="*/ 835 h 1229"/>
                <a:gd name="T66" fmla="*/ 869 w 2590"/>
                <a:gd name="T67" fmla="*/ 782 h 1229"/>
                <a:gd name="T68" fmla="*/ 940 w 2590"/>
                <a:gd name="T69" fmla="*/ 777 h 1229"/>
                <a:gd name="T70" fmla="*/ 918 w 2590"/>
                <a:gd name="T71" fmla="*/ 903 h 1229"/>
                <a:gd name="T72" fmla="*/ 1159 w 2590"/>
                <a:gd name="T73" fmla="*/ 989 h 1229"/>
                <a:gd name="T74" fmla="*/ 1319 w 2590"/>
                <a:gd name="T75" fmla="*/ 1178 h 1229"/>
                <a:gd name="T76" fmla="*/ 1483 w 2590"/>
                <a:gd name="T77" fmla="*/ 1137 h 1229"/>
                <a:gd name="T78" fmla="*/ 1599 w 2590"/>
                <a:gd name="T79" fmla="*/ 1050 h 1229"/>
                <a:gd name="T80" fmla="*/ 1609 w 2590"/>
                <a:gd name="T81" fmla="*/ 1047 h 1229"/>
                <a:gd name="T82" fmla="*/ 1732 w 2590"/>
                <a:gd name="T83" fmla="*/ 1055 h 1229"/>
                <a:gd name="T84" fmla="*/ 1969 w 2590"/>
                <a:gd name="T85" fmla="*/ 1034 h 1229"/>
                <a:gd name="T86" fmla="*/ 2153 w 2590"/>
                <a:gd name="T87" fmla="*/ 1079 h 1229"/>
                <a:gd name="T88" fmla="*/ 2153 w 2590"/>
                <a:gd name="T89" fmla="*/ 1068 h 1229"/>
                <a:gd name="T90" fmla="*/ 2154 w 2590"/>
                <a:gd name="T91" fmla="*/ 1059 h 1229"/>
                <a:gd name="T92" fmla="*/ 2166 w 2590"/>
                <a:gd name="T93" fmla="*/ 940 h 1229"/>
                <a:gd name="T94" fmla="*/ 2273 w 2590"/>
                <a:gd name="T95" fmla="*/ 866 h 1229"/>
                <a:gd name="T96" fmla="*/ 2333 w 2590"/>
                <a:gd name="T97" fmla="*/ 719 h 1229"/>
                <a:gd name="T98" fmla="*/ 2502 w 2590"/>
                <a:gd name="T99" fmla="*/ 693 h 1229"/>
                <a:gd name="T100" fmla="*/ 2582 w 2590"/>
                <a:gd name="T101" fmla="*/ 544 h 1229"/>
                <a:gd name="T102" fmla="*/ 2589 w 2590"/>
                <a:gd name="T103" fmla="*/ 536 h 1229"/>
                <a:gd name="T104" fmla="*/ 2087 w 2590"/>
                <a:gd name="T105" fmla="*/ 752 h 1229"/>
                <a:gd name="T106" fmla="*/ 1949 w 2590"/>
                <a:gd name="T107" fmla="*/ 764 h 1229"/>
                <a:gd name="T108" fmla="*/ 1777 w 2590"/>
                <a:gd name="T109" fmla="*/ 797 h 1229"/>
                <a:gd name="T110" fmla="*/ 1735 w 2590"/>
                <a:gd name="T111" fmla="*/ 836 h 1229"/>
                <a:gd name="T112" fmla="*/ 1837 w 2590"/>
                <a:gd name="T113" fmla="*/ 741 h 1229"/>
                <a:gd name="T114" fmla="*/ 1978 w 2590"/>
                <a:gd name="T115" fmla="*/ 748 h 1229"/>
                <a:gd name="T116" fmla="*/ 2076 w 2590"/>
                <a:gd name="T117" fmla="*/ 738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0" h="1229">
                  <a:moveTo>
                    <a:pt x="2590" y="530"/>
                  </a:moveTo>
                  <a:cubicBezTo>
                    <a:pt x="2590" y="530"/>
                    <a:pt x="2590" y="529"/>
                    <a:pt x="2590" y="529"/>
                  </a:cubicBezTo>
                  <a:cubicBezTo>
                    <a:pt x="2590" y="529"/>
                    <a:pt x="2590" y="529"/>
                    <a:pt x="2590" y="528"/>
                  </a:cubicBezTo>
                  <a:cubicBezTo>
                    <a:pt x="2590" y="528"/>
                    <a:pt x="2590" y="528"/>
                    <a:pt x="2589" y="527"/>
                  </a:cubicBezTo>
                  <a:cubicBezTo>
                    <a:pt x="2589" y="527"/>
                    <a:pt x="2589" y="527"/>
                    <a:pt x="2589" y="527"/>
                  </a:cubicBezTo>
                  <a:cubicBezTo>
                    <a:pt x="2589" y="527"/>
                    <a:pt x="2589" y="526"/>
                    <a:pt x="2588" y="526"/>
                  </a:cubicBezTo>
                  <a:cubicBezTo>
                    <a:pt x="2588" y="526"/>
                    <a:pt x="2588" y="526"/>
                    <a:pt x="2588" y="526"/>
                  </a:cubicBezTo>
                  <a:cubicBezTo>
                    <a:pt x="2588" y="525"/>
                    <a:pt x="2587" y="525"/>
                    <a:pt x="2587" y="525"/>
                  </a:cubicBezTo>
                  <a:cubicBezTo>
                    <a:pt x="2587" y="525"/>
                    <a:pt x="2587" y="524"/>
                    <a:pt x="2587" y="524"/>
                  </a:cubicBezTo>
                  <a:cubicBezTo>
                    <a:pt x="2586" y="524"/>
                    <a:pt x="2585" y="523"/>
                    <a:pt x="2585" y="523"/>
                  </a:cubicBezTo>
                  <a:cubicBezTo>
                    <a:pt x="2575" y="518"/>
                    <a:pt x="2571" y="515"/>
                    <a:pt x="2571" y="506"/>
                  </a:cubicBezTo>
                  <a:cubicBezTo>
                    <a:pt x="2571" y="496"/>
                    <a:pt x="2561" y="484"/>
                    <a:pt x="2551" y="496"/>
                  </a:cubicBezTo>
                  <a:cubicBezTo>
                    <a:pt x="2541" y="509"/>
                    <a:pt x="2515" y="516"/>
                    <a:pt x="2499" y="509"/>
                  </a:cubicBezTo>
                  <a:cubicBezTo>
                    <a:pt x="2483" y="502"/>
                    <a:pt x="2473" y="502"/>
                    <a:pt x="2465" y="487"/>
                  </a:cubicBezTo>
                  <a:cubicBezTo>
                    <a:pt x="2458" y="472"/>
                    <a:pt x="2467" y="458"/>
                    <a:pt x="2447" y="456"/>
                  </a:cubicBezTo>
                  <a:cubicBezTo>
                    <a:pt x="2426" y="454"/>
                    <a:pt x="2413" y="456"/>
                    <a:pt x="2406" y="438"/>
                  </a:cubicBezTo>
                  <a:cubicBezTo>
                    <a:pt x="2399" y="420"/>
                    <a:pt x="2386" y="396"/>
                    <a:pt x="2371" y="392"/>
                  </a:cubicBezTo>
                  <a:cubicBezTo>
                    <a:pt x="2355" y="388"/>
                    <a:pt x="2339" y="388"/>
                    <a:pt x="2326" y="397"/>
                  </a:cubicBezTo>
                  <a:cubicBezTo>
                    <a:pt x="2313" y="406"/>
                    <a:pt x="2299" y="403"/>
                    <a:pt x="2293" y="411"/>
                  </a:cubicBezTo>
                  <a:cubicBezTo>
                    <a:pt x="2288" y="419"/>
                    <a:pt x="2281" y="417"/>
                    <a:pt x="2271" y="410"/>
                  </a:cubicBezTo>
                  <a:cubicBezTo>
                    <a:pt x="2262" y="402"/>
                    <a:pt x="2251" y="403"/>
                    <a:pt x="2245" y="404"/>
                  </a:cubicBezTo>
                  <a:cubicBezTo>
                    <a:pt x="2240" y="404"/>
                    <a:pt x="2235" y="402"/>
                    <a:pt x="2231" y="394"/>
                  </a:cubicBezTo>
                  <a:cubicBezTo>
                    <a:pt x="2226" y="386"/>
                    <a:pt x="2213" y="403"/>
                    <a:pt x="2213" y="385"/>
                  </a:cubicBezTo>
                  <a:cubicBezTo>
                    <a:pt x="2213" y="367"/>
                    <a:pt x="2200" y="362"/>
                    <a:pt x="2192" y="360"/>
                  </a:cubicBezTo>
                  <a:cubicBezTo>
                    <a:pt x="2184" y="358"/>
                    <a:pt x="2172" y="369"/>
                    <a:pt x="2171" y="379"/>
                  </a:cubicBezTo>
                  <a:cubicBezTo>
                    <a:pt x="2171" y="389"/>
                    <a:pt x="2153" y="423"/>
                    <a:pt x="2135" y="399"/>
                  </a:cubicBezTo>
                  <a:cubicBezTo>
                    <a:pt x="2118" y="375"/>
                    <a:pt x="2070" y="273"/>
                    <a:pt x="2046" y="249"/>
                  </a:cubicBezTo>
                  <a:cubicBezTo>
                    <a:pt x="2022" y="225"/>
                    <a:pt x="1995" y="180"/>
                    <a:pt x="1967" y="163"/>
                  </a:cubicBezTo>
                  <a:cubicBezTo>
                    <a:pt x="1940" y="146"/>
                    <a:pt x="1912" y="136"/>
                    <a:pt x="1920" y="124"/>
                  </a:cubicBezTo>
                  <a:cubicBezTo>
                    <a:pt x="1928" y="112"/>
                    <a:pt x="1943" y="108"/>
                    <a:pt x="1943" y="98"/>
                  </a:cubicBezTo>
                  <a:cubicBezTo>
                    <a:pt x="1943" y="87"/>
                    <a:pt x="1931" y="93"/>
                    <a:pt x="1917" y="95"/>
                  </a:cubicBezTo>
                  <a:cubicBezTo>
                    <a:pt x="1903" y="97"/>
                    <a:pt x="1890" y="102"/>
                    <a:pt x="1885" y="109"/>
                  </a:cubicBezTo>
                  <a:cubicBezTo>
                    <a:pt x="1879" y="116"/>
                    <a:pt x="1878" y="117"/>
                    <a:pt x="1866" y="117"/>
                  </a:cubicBezTo>
                  <a:cubicBezTo>
                    <a:pt x="1854" y="117"/>
                    <a:pt x="1846" y="115"/>
                    <a:pt x="1846" y="123"/>
                  </a:cubicBezTo>
                  <a:cubicBezTo>
                    <a:pt x="1846" y="130"/>
                    <a:pt x="1843" y="140"/>
                    <a:pt x="1830" y="141"/>
                  </a:cubicBezTo>
                  <a:cubicBezTo>
                    <a:pt x="1817" y="142"/>
                    <a:pt x="1808" y="139"/>
                    <a:pt x="1805" y="143"/>
                  </a:cubicBezTo>
                  <a:cubicBezTo>
                    <a:pt x="1803" y="148"/>
                    <a:pt x="1795" y="151"/>
                    <a:pt x="1794" y="157"/>
                  </a:cubicBezTo>
                  <a:cubicBezTo>
                    <a:pt x="1793" y="162"/>
                    <a:pt x="1796" y="181"/>
                    <a:pt x="1787" y="174"/>
                  </a:cubicBezTo>
                  <a:cubicBezTo>
                    <a:pt x="1778" y="167"/>
                    <a:pt x="1771" y="165"/>
                    <a:pt x="1765" y="162"/>
                  </a:cubicBezTo>
                  <a:cubicBezTo>
                    <a:pt x="1759" y="159"/>
                    <a:pt x="1748" y="161"/>
                    <a:pt x="1744" y="162"/>
                  </a:cubicBezTo>
                  <a:cubicBezTo>
                    <a:pt x="1739" y="164"/>
                    <a:pt x="1731" y="187"/>
                    <a:pt x="1721" y="178"/>
                  </a:cubicBezTo>
                  <a:cubicBezTo>
                    <a:pt x="1710" y="169"/>
                    <a:pt x="1704" y="158"/>
                    <a:pt x="1715" y="154"/>
                  </a:cubicBezTo>
                  <a:cubicBezTo>
                    <a:pt x="1726" y="150"/>
                    <a:pt x="1727" y="148"/>
                    <a:pt x="1730" y="141"/>
                  </a:cubicBezTo>
                  <a:cubicBezTo>
                    <a:pt x="1734" y="134"/>
                    <a:pt x="1744" y="131"/>
                    <a:pt x="1738" y="124"/>
                  </a:cubicBezTo>
                  <a:cubicBezTo>
                    <a:pt x="1732" y="118"/>
                    <a:pt x="1726" y="120"/>
                    <a:pt x="1720" y="128"/>
                  </a:cubicBezTo>
                  <a:cubicBezTo>
                    <a:pt x="1714" y="137"/>
                    <a:pt x="1703" y="136"/>
                    <a:pt x="1696" y="130"/>
                  </a:cubicBezTo>
                  <a:cubicBezTo>
                    <a:pt x="1689" y="123"/>
                    <a:pt x="1683" y="110"/>
                    <a:pt x="1679" y="119"/>
                  </a:cubicBezTo>
                  <a:cubicBezTo>
                    <a:pt x="1675" y="128"/>
                    <a:pt x="1666" y="139"/>
                    <a:pt x="1663" y="129"/>
                  </a:cubicBezTo>
                  <a:cubicBezTo>
                    <a:pt x="1660" y="118"/>
                    <a:pt x="1655" y="112"/>
                    <a:pt x="1650" y="109"/>
                  </a:cubicBezTo>
                  <a:cubicBezTo>
                    <a:pt x="1646" y="105"/>
                    <a:pt x="1647" y="89"/>
                    <a:pt x="1638" y="98"/>
                  </a:cubicBezTo>
                  <a:cubicBezTo>
                    <a:pt x="1629" y="107"/>
                    <a:pt x="1622" y="107"/>
                    <a:pt x="1617" y="107"/>
                  </a:cubicBezTo>
                  <a:cubicBezTo>
                    <a:pt x="1612" y="107"/>
                    <a:pt x="1611" y="125"/>
                    <a:pt x="1600" y="118"/>
                  </a:cubicBezTo>
                  <a:cubicBezTo>
                    <a:pt x="1588" y="111"/>
                    <a:pt x="1560" y="106"/>
                    <a:pt x="1567" y="102"/>
                  </a:cubicBezTo>
                  <a:cubicBezTo>
                    <a:pt x="1575" y="98"/>
                    <a:pt x="1579" y="92"/>
                    <a:pt x="1578" y="83"/>
                  </a:cubicBezTo>
                  <a:cubicBezTo>
                    <a:pt x="1578" y="74"/>
                    <a:pt x="1577" y="77"/>
                    <a:pt x="1571" y="68"/>
                  </a:cubicBezTo>
                  <a:cubicBezTo>
                    <a:pt x="1566" y="58"/>
                    <a:pt x="1564" y="54"/>
                    <a:pt x="1562" y="40"/>
                  </a:cubicBezTo>
                  <a:cubicBezTo>
                    <a:pt x="1559" y="26"/>
                    <a:pt x="1555" y="18"/>
                    <a:pt x="1547" y="15"/>
                  </a:cubicBezTo>
                  <a:cubicBezTo>
                    <a:pt x="1540" y="12"/>
                    <a:pt x="1531" y="11"/>
                    <a:pt x="1529" y="17"/>
                  </a:cubicBezTo>
                  <a:cubicBezTo>
                    <a:pt x="1527" y="24"/>
                    <a:pt x="1524" y="33"/>
                    <a:pt x="1509" y="26"/>
                  </a:cubicBezTo>
                  <a:cubicBezTo>
                    <a:pt x="1495" y="19"/>
                    <a:pt x="1495" y="14"/>
                    <a:pt x="1473" y="7"/>
                  </a:cubicBezTo>
                  <a:cubicBezTo>
                    <a:pt x="1452" y="0"/>
                    <a:pt x="1440" y="6"/>
                    <a:pt x="1429" y="14"/>
                  </a:cubicBezTo>
                  <a:cubicBezTo>
                    <a:pt x="1418" y="22"/>
                    <a:pt x="1400" y="10"/>
                    <a:pt x="1393" y="30"/>
                  </a:cubicBezTo>
                  <a:cubicBezTo>
                    <a:pt x="1386" y="50"/>
                    <a:pt x="1372" y="48"/>
                    <a:pt x="1351" y="50"/>
                  </a:cubicBezTo>
                  <a:cubicBezTo>
                    <a:pt x="1330" y="52"/>
                    <a:pt x="1260" y="69"/>
                    <a:pt x="1244" y="71"/>
                  </a:cubicBezTo>
                  <a:cubicBezTo>
                    <a:pt x="1228" y="73"/>
                    <a:pt x="1213" y="74"/>
                    <a:pt x="1205" y="85"/>
                  </a:cubicBezTo>
                  <a:cubicBezTo>
                    <a:pt x="1197" y="96"/>
                    <a:pt x="1180" y="97"/>
                    <a:pt x="1161" y="97"/>
                  </a:cubicBezTo>
                  <a:cubicBezTo>
                    <a:pt x="1142" y="97"/>
                    <a:pt x="1123" y="95"/>
                    <a:pt x="1116" y="103"/>
                  </a:cubicBezTo>
                  <a:cubicBezTo>
                    <a:pt x="1109" y="111"/>
                    <a:pt x="1088" y="105"/>
                    <a:pt x="1075" y="114"/>
                  </a:cubicBezTo>
                  <a:cubicBezTo>
                    <a:pt x="1062" y="123"/>
                    <a:pt x="1054" y="123"/>
                    <a:pt x="1036" y="126"/>
                  </a:cubicBezTo>
                  <a:cubicBezTo>
                    <a:pt x="1018" y="129"/>
                    <a:pt x="1006" y="116"/>
                    <a:pt x="997" y="125"/>
                  </a:cubicBezTo>
                  <a:cubicBezTo>
                    <a:pt x="988" y="134"/>
                    <a:pt x="976" y="133"/>
                    <a:pt x="969" y="128"/>
                  </a:cubicBezTo>
                  <a:cubicBezTo>
                    <a:pt x="962" y="123"/>
                    <a:pt x="951" y="124"/>
                    <a:pt x="947" y="126"/>
                  </a:cubicBezTo>
                  <a:cubicBezTo>
                    <a:pt x="942" y="129"/>
                    <a:pt x="926" y="127"/>
                    <a:pt x="930" y="137"/>
                  </a:cubicBezTo>
                  <a:cubicBezTo>
                    <a:pt x="934" y="146"/>
                    <a:pt x="935" y="156"/>
                    <a:pt x="933" y="160"/>
                  </a:cubicBezTo>
                  <a:cubicBezTo>
                    <a:pt x="931" y="165"/>
                    <a:pt x="932" y="169"/>
                    <a:pt x="938" y="172"/>
                  </a:cubicBezTo>
                  <a:cubicBezTo>
                    <a:pt x="945" y="175"/>
                    <a:pt x="954" y="174"/>
                    <a:pt x="954" y="183"/>
                  </a:cubicBezTo>
                  <a:cubicBezTo>
                    <a:pt x="953" y="192"/>
                    <a:pt x="952" y="197"/>
                    <a:pt x="966" y="199"/>
                  </a:cubicBezTo>
                  <a:cubicBezTo>
                    <a:pt x="980" y="201"/>
                    <a:pt x="993" y="200"/>
                    <a:pt x="995" y="204"/>
                  </a:cubicBezTo>
                  <a:cubicBezTo>
                    <a:pt x="997" y="209"/>
                    <a:pt x="994" y="225"/>
                    <a:pt x="980" y="222"/>
                  </a:cubicBezTo>
                  <a:cubicBezTo>
                    <a:pt x="966" y="219"/>
                    <a:pt x="936" y="210"/>
                    <a:pt x="930" y="216"/>
                  </a:cubicBezTo>
                  <a:cubicBezTo>
                    <a:pt x="925" y="221"/>
                    <a:pt x="926" y="231"/>
                    <a:pt x="919" y="233"/>
                  </a:cubicBezTo>
                  <a:cubicBezTo>
                    <a:pt x="912" y="236"/>
                    <a:pt x="911" y="244"/>
                    <a:pt x="921" y="251"/>
                  </a:cubicBezTo>
                  <a:cubicBezTo>
                    <a:pt x="931" y="258"/>
                    <a:pt x="935" y="272"/>
                    <a:pt x="924" y="279"/>
                  </a:cubicBezTo>
                  <a:cubicBezTo>
                    <a:pt x="912" y="286"/>
                    <a:pt x="907" y="289"/>
                    <a:pt x="898" y="291"/>
                  </a:cubicBezTo>
                  <a:cubicBezTo>
                    <a:pt x="889" y="294"/>
                    <a:pt x="882" y="297"/>
                    <a:pt x="878" y="298"/>
                  </a:cubicBezTo>
                  <a:cubicBezTo>
                    <a:pt x="874" y="299"/>
                    <a:pt x="871" y="308"/>
                    <a:pt x="883" y="313"/>
                  </a:cubicBezTo>
                  <a:cubicBezTo>
                    <a:pt x="895" y="317"/>
                    <a:pt x="896" y="333"/>
                    <a:pt x="906" y="334"/>
                  </a:cubicBezTo>
                  <a:cubicBezTo>
                    <a:pt x="916" y="334"/>
                    <a:pt x="925" y="333"/>
                    <a:pt x="929" y="337"/>
                  </a:cubicBezTo>
                  <a:cubicBezTo>
                    <a:pt x="934" y="341"/>
                    <a:pt x="934" y="345"/>
                    <a:pt x="945" y="347"/>
                  </a:cubicBezTo>
                  <a:cubicBezTo>
                    <a:pt x="957" y="350"/>
                    <a:pt x="968" y="362"/>
                    <a:pt x="972" y="365"/>
                  </a:cubicBezTo>
                  <a:cubicBezTo>
                    <a:pt x="976" y="368"/>
                    <a:pt x="977" y="377"/>
                    <a:pt x="966" y="384"/>
                  </a:cubicBezTo>
                  <a:cubicBezTo>
                    <a:pt x="955" y="392"/>
                    <a:pt x="952" y="407"/>
                    <a:pt x="945" y="407"/>
                  </a:cubicBezTo>
                  <a:cubicBezTo>
                    <a:pt x="937" y="407"/>
                    <a:pt x="932" y="417"/>
                    <a:pt x="922" y="417"/>
                  </a:cubicBezTo>
                  <a:cubicBezTo>
                    <a:pt x="912" y="417"/>
                    <a:pt x="891" y="417"/>
                    <a:pt x="886" y="410"/>
                  </a:cubicBezTo>
                  <a:cubicBezTo>
                    <a:pt x="881" y="403"/>
                    <a:pt x="874" y="394"/>
                    <a:pt x="866" y="407"/>
                  </a:cubicBezTo>
                  <a:cubicBezTo>
                    <a:pt x="858" y="421"/>
                    <a:pt x="845" y="442"/>
                    <a:pt x="836" y="430"/>
                  </a:cubicBezTo>
                  <a:cubicBezTo>
                    <a:pt x="827" y="417"/>
                    <a:pt x="823" y="414"/>
                    <a:pt x="811" y="414"/>
                  </a:cubicBezTo>
                  <a:cubicBezTo>
                    <a:pt x="799" y="414"/>
                    <a:pt x="791" y="412"/>
                    <a:pt x="785" y="404"/>
                  </a:cubicBezTo>
                  <a:cubicBezTo>
                    <a:pt x="779" y="396"/>
                    <a:pt x="769" y="377"/>
                    <a:pt x="760" y="378"/>
                  </a:cubicBezTo>
                  <a:cubicBezTo>
                    <a:pt x="751" y="378"/>
                    <a:pt x="725" y="375"/>
                    <a:pt x="724" y="381"/>
                  </a:cubicBezTo>
                  <a:cubicBezTo>
                    <a:pt x="723" y="387"/>
                    <a:pt x="714" y="402"/>
                    <a:pt x="705" y="397"/>
                  </a:cubicBezTo>
                  <a:cubicBezTo>
                    <a:pt x="696" y="392"/>
                    <a:pt x="680" y="379"/>
                    <a:pt x="671" y="380"/>
                  </a:cubicBezTo>
                  <a:cubicBezTo>
                    <a:pt x="662" y="380"/>
                    <a:pt x="653" y="389"/>
                    <a:pt x="643" y="387"/>
                  </a:cubicBezTo>
                  <a:cubicBezTo>
                    <a:pt x="634" y="384"/>
                    <a:pt x="631" y="390"/>
                    <a:pt x="623" y="399"/>
                  </a:cubicBezTo>
                  <a:cubicBezTo>
                    <a:pt x="616" y="409"/>
                    <a:pt x="608" y="420"/>
                    <a:pt x="597" y="421"/>
                  </a:cubicBezTo>
                  <a:cubicBezTo>
                    <a:pt x="586" y="422"/>
                    <a:pt x="578" y="420"/>
                    <a:pt x="559" y="404"/>
                  </a:cubicBezTo>
                  <a:cubicBezTo>
                    <a:pt x="541" y="389"/>
                    <a:pt x="531" y="388"/>
                    <a:pt x="531" y="396"/>
                  </a:cubicBezTo>
                  <a:cubicBezTo>
                    <a:pt x="531" y="404"/>
                    <a:pt x="534" y="428"/>
                    <a:pt x="522" y="426"/>
                  </a:cubicBezTo>
                  <a:cubicBezTo>
                    <a:pt x="510" y="425"/>
                    <a:pt x="529" y="408"/>
                    <a:pt x="509" y="396"/>
                  </a:cubicBezTo>
                  <a:cubicBezTo>
                    <a:pt x="488" y="384"/>
                    <a:pt x="483" y="372"/>
                    <a:pt x="471" y="369"/>
                  </a:cubicBezTo>
                  <a:cubicBezTo>
                    <a:pt x="459" y="366"/>
                    <a:pt x="461" y="344"/>
                    <a:pt x="443" y="344"/>
                  </a:cubicBezTo>
                  <a:cubicBezTo>
                    <a:pt x="425" y="345"/>
                    <a:pt x="393" y="352"/>
                    <a:pt x="390" y="340"/>
                  </a:cubicBezTo>
                  <a:cubicBezTo>
                    <a:pt x="387" y="329"/>
                    <a:pt x="380" y="324"/>
                    <a:pt x="369" y="324"/>
                  </a:cubicBezTo>
                  <a:cubicBezTo>
                    <a:pt x="359" y="324"/>
                    <a:pt x="347" y="320"/>
                    <a:pt x="347" y="331"/>
                  </a:cubicBezTo>
                  <a:cubicBezTo>
                    <a:pt x="346" y="342"/>
                    <a:pt x="336" y="351"/>
                    <a:pt x="321" y="344"/>
                  </a:cubicBezTo>
                  <a:cubicBezTo>
                    <a:pt x="305" y="336"/>
                    <a:pt x="308" y="324"/>
                    <a:pt x="293" y="324"/>
                  </a:cubicBezTo>
                  <a:cubicBezTo>
                    <a:pt x="279" y="323"/>
                    <a:pt x="275" y="330"/>
                    <a:pt x="269" y="342"/>
                  </a:cubicBezTo>
                  <a:cubicBezTo>
                    <a:pt x="263" y="354"/>
                    <a:pt x="251" y="365"/>
                    <a:pt x="235" y="366"/>
                  </a:cubicBezTo>
                  <a:cubicBezTo>
                    <a:pt x="219" y="368"/>
                    <a:pt x="206" y="370"/>
                    <a:pt x="202" y="380"/>
                  </a:cubicBezTo>
                  <a:cubicBezTo>
                    <a:pt x="198" y="390"/>
                    <a:pt x="191" y="407"/>
                    <a:pt x="171" y="410"/>
                  </a:cubicBezTo>
                  <a:cubicBezTo>
                    <a:pt x="151" y="414"/>
                    <a:pt x="148" y="410"/>
                    <a:pt x="148" y="422"/>
                  </a:cubicBezTo>
                  <a:cubicBezTo>
                    <a:pt x="148" y="435"/>
                    <a:pt x="139" y="448"/>
                    <a:pt x="150" y="454"/>
                  </a:cubicBezTo>
                  <a:cubicBezTo>
                    <a:pt x="161" y="460"/>
                    <a:pt x="165" y="465"/>
                    <a:pt x="154" y="473"/>
                  </a:cubicBezTo>
                  <a:cubicBezTo>
                    <a:pt x="143" y="481"/>
                    <a:pt x="131" y="493"/>
                    <a:pt x="119" y="474"/>
                  </a:cubicBezTo>
                  <a:cubicBezTo>
                    <a:pt x="107" y="454"/>
                    <a:pt x="96" y="450"/>
                    <a:pt x="90" y="442"/>
                  </a:cubicBezTo>
                  <a:cubicBezTo>
                    <a:pt x="84" y="435"/>
                    <a:pt x="77" y="430"/>
                    <a:pt x="68" y="439"/>
                  </a:cubicBezTo>
                  <a:cubicBezTo>
                    <a:pt x="59" y="448"/>
                    <a:pt x="67" y="462"/>
                    <a:pt x="55" y="468"/>
                  </a:cubicBezTo>
                  <a:cubicBezTo>
                    <a:pt x="42" y="475"/>
                    <a:pt x="37" y="485"/>
                    <a:pt x="33" y="493"/>
                  </a:cubicBezTo>
                  <a:cubicBezTo>
                    <a:pt x="29" y="501"/>
                    <a:pt x="25" y="514"/>
                    <a:pt x="31" y="522"/>
                  </a:cubicBezTo>
                  <a:cubicBezTo>
                    <a:pt x="37" y="529"/>
                    <a:pt x="50" y="539"/>
                    <a:pt x="39" y="548"/>
                  </a:cubicBezTo>
                  <a:cubicBezTo>
                    <a:pt x="27" y="558"/>
                    <a:pt x="17" y="566"/>
                    <a:pt x="15" y="576"/>
                  </a:cubicBezTo>
                  <a:cubicBezTo>
                    <a:pt x="13" y="585"/>
                    <a:pt x="0" y="587"/>
                    <a:pt x="12" y="598"/>
                  </a:cubicBezTo>
                  <a:cubicBezTo>
                    <a:pt x="24" y="608"/>
                    <a:pt x="43" y="604"/>
                    <a:pt x="44" y="618"/>
                  </a:cubicBezTo>
                  <a:cubicBezTo>
                    <a:pt x="45" y="633"/>
                    <a:pt x="47" y="656"/>
                    <a:pt x="58" y="656"/>
                  </a:cubicBezTo>
                  <a:cubicBezTo>
                    <a:pt x="69" y="656"/>
                    <a:pt x="74" y="648"/>
                    <a:pt x="83" y="651"/>
                  </a:cubicBezTo>
                  <a:cubicBezTo>
                    <a:pt x="93" y="654"/>
                    <a:pt x="114" y="654"/>
                    <a:pt x="121" y="666"/>
                  </a:cubicBezTo>
                  <a:cubicBezTo>
                    <a:pt x="129" y="678"/>
                    <a:pt x="138" y="696"/>
                    <a:pt x="145" y="701"/>
                  </a:cubicBezTo>
                  <a:cubicBezTo>
                    <a:pt x="153" y="706"/>
                    <a:pt x="163" y="721"/>
                    <a:pt x="163" y="728"/>
                  </a:cubicBezTo>
                  <a:cubicBezTo>
                    <a:pt x="162" y="734"/>
                    <a:pt x="131" y="746"/>
                    <a:pt x="149" y="754"/>
                  </a:cubicBezTo>
                  <a:cubicBezTo>
                    <a:pt x="164" y="761"/>
                    <a:pt x="175" y="763"/>
                    <a:pt x="188" y="776"/>
                  </a:cubicBezTo>
                  <a:cubicBezTo>
                    <a:pt x="188" y="776"/>
                    <a:pt x="188" y="776"/>
                    <a:pt x="188" y="776"/>
                  </a:cubicBezTo>
                  <a:cubicBezTo>
                    <a:pt x="188" y="775"/>
                    <a:pt x="189" y="774"/>
                    <a:pt x="189" y="773"/>
                  </a:cubicBezTo>
                  <a:cubicBezTo>
                    <a:pt x="189" y="773"/>
                    <a:pt x="189" y="773"/>
                    <a:pt x="189" y="773"/>
                  </a:cubicBezTo>
                  <a:cubicBezTo>
                    <a:pt x="189" y="772"/>
                    <a:pt x="189" y="771"/>
                    <a:pt x="190" y="770"/>
                  </a:cubicBezTo>
                  <a:cubicBezTo>
                    <a:pt x="192" y="762"/>
                    <a:pt x="202" y="756"/>
                    <a:pt x="218" y="755"/>
                  </a:cubicBezTo>
                  <a:cubicBezTo>
                    <a:pt x="234" y="754"/>
                    <a:pt x="233" y="749"/>
                    <a:pt x="238" y="740"/>
                  </a:cubicBezTo>
                  <a:cubicBezTo>
                    <a:pt x="243" y="731"/>
                    <a:pt x="247" y="729"/>
                    <a:pt x="261" y="729"/>
                  </a:cubicBezTo>
                  <a:cubicBezTo>
                    <a:pt x="275" y="729"/>
                    <a:pt x="280" y="724"/>
                    <a:pt x="287" y="718"/>
                  </a:cubicBezTo>
                  <a:cubicBezTo>
                    <a:pt x="294" y="712"/>
                    <a:pt x="297" y="709"/>
                    <a:pt x="309" y="709"/>
                  </a:cubicBezTo>
                  <a:cubicBezTo>
                    <a:pt x="321" y="709"/>
                    <a:pt x="347" y="721"/>
                    <a:pt x="353" y="726"/>
                  </a:cubicBezTo>
                  <a:cubicBezTo>
                    <a:pt x="359" y="731"/>
                    <a:pt x="376" y="731"/>
                    <a:pt x="380" y="725"/>
                  </a:cubicBezTo>
                  <a:cubicBezTo>
                    <a:pt x="384" y="719"/>
                    <a:pt x="396" y="721"/>
                    <a:pt x="408" y="717"/>
                  </a:cubicBezTo>
                  <a:cubicBezTo>
                    <a:pt x="420" y="713"/>
                    <a:pt x="430" y="730"/>
                    <a:pt x="435" y="736"/>
                  </a:cubicBezTo>
                  <a:cubicBezTo>
                    <a:pt x="440" y="742"/>
                    <a:pt x="436" y="748"/>
                    <a:pt x="428" y="749"/>
                  </a:cubicBezTo>
                  <a:cubicBezTo>
                    <a:pt x="420" y="750"/>
                    <a:pt x="423" y="760"/>
                    <a:pt x="432" y="764"/>
                  </a:cubicBezTo>
                  <a:cubicBezTo>
                    <a:pt x="441" y="768"/>
                    <a:pt x="432" y="780"/>
                    <a:pt x="432" y="795"/>
                  </a:cubicBezTo>
                  <a:cubicBezTo>
                    <a:pt x="432" y="810"/>
                    <a:pt x="411" y="806"/>
                    <a:pt x="408" y="813"/>
                  </a:cubicBezTo>
                  <a:cubicBezTo>
                    <a:pt x="405" y="820"/>
                    <a:pt x="411" y="831"/>
                    <a:pt x="423" y="838"/>
                  </a:cubicBezTo>
                  <a:cubicBezTo>
                    <a:pt x="435" y="845"/>
                    <a:pt x="421" y="846"/>
                    <a:pt x="410" y="844"/>
                  </a:cubicBezTo>
                  <a:cubicBezTo>
                    <a:pt x="399" y="842"/>
                    <a:pt x="402" y="837"/>
                    <a:pt x="396" y="837"/>
                  </a:cubicBezTo>
                  <a:cubicBezTo>
                    <a:pt x="390" y="837"/>
                    <a:pt x="358" y="839"/>
                    <a:pt x="343" y="839"/>
                  </a:cubicBezTo>
                  <a:cubicBezTo>
                    <a:pt x="328" y="839"/>
                    <a:pt x="318" y="842"/>
                    <a:pt x="316" y="852"/>
                  </a:cubicBezTo>
                  <a:cubicBezTo>
                    <a:pt x="314" y="862"/>
                    <a:pt x="308" y="872"/>
                    <a:pt x="296" y="874"/>
                  </a:cubicBezTo>
                  <a:cubicBezTo>
                    <a:pt x="284" y="876"/>
                    <a:pt x="296" y="890"/>
                    <a:pt x="310" y="892"/>
                  </a:cubicBezTo>
                  <a:cubicBezTo>
                    <a:pt x="324" y="894"/>
                    <a:pt x="319" y="906"/>
                    <a:pt x="310" y="908"/>
                  </a:cubicBezTo>
                  <a:cubicBezTo>
                    <a:pt x="301" y="910"/>
                    <a:pt x="293" y="909"/>
                    <a:pt x="282" y="903"/>
                  </a:cubicBezTo>
                  <a:cubicBezTo>
                    <a:pt x="271" y="897"/>
                    <a:pt x="266" y="899"/>
                    <a:pt x="257" y="902"/>
                  </a:cubicBezTo>
                  <a:cubicBezTo>
                    <a:pt x="248" y="905"/>
                    <a:pt x="245" y="919"/>
                    <a:pt x="247" y="926"/>
                  </a:cubicBezTo>
                  <a:cubicBezTo>
                    <a:pt x="249" y="933"/>
                    <a:pt x="256" y="931"/>
                    <a:pt x="272" y="937"/>
                  </a:cubicBezTo>
                  <a:cubicBezTo>
                    <a:pt x="288" y="943"/>
                    <a:pt x="297" y="970"/>
                    <a:pt x="303" y="980"/>
                  </a:cubicBezTo>
                  <a:cubicBezTo>
                    <a:pt x="309" y="990"/>
                    <a:pt x="310" y="995"/>
                    <a:pt x="310" y="1006"/>
                  </a:cubicBezTo>
                  <a:cubicBezTo>
                    <a:pt x="310" y="1017"/>
                    <a:pt x="316" y="1019"/>
                    <a:pt x="330" y="1019"/>
                  </a:cubicBezTo>
                  <a:cubicBezTo>
                    <a:pt x="344" y="1019"/>
                    <a:pt x="342" y="1027"/>
                    <a:pt x="348" y="1037"/>
                  </a:cubicBezTo>
                  <a:cubicBezTo>
                    <a:pt x="354" y="1047"/>
                    <a:pt x="377" y="1043"/>
                    <a:pt x="388" y="1044"/>
                  </a:cubicBezTo>
                  <a:cubicBezTo>
                    <a:pt x="399" y="1045"/>
                    <a:pt x="404" y="1062"/>
                    <a:pt x="403" y="1075"/>
                  </a:cubicBezTo>
                  <a:cubicBezTo>
                    <a:pt x="402" y="1088"/>
                    <a:pt x="399" y="1090"/>
                    <a:pt x="387" y="1092"/>
                  </a:cubicBezTo>
                  <a:cubicBezTo>
                    <a:pt x="375" y="1094"/>
                    <a:pt x="384" y="1111"/>
                    <a:pt x="378" y="1120"/>
                  </a:cubicBezTo>
                  <a:cubicBezTo>
                    <a:pt x="377" y="1120"/>
                    <a:pt x="377" y="1121"/>
                    <a:pt x="377" y="1122"/>
                  </a:cubicBezTo>
                  <a:cubicBezTo>
                    <a:pt x="377" y="1122"/>
                    <a:pt x="377" y="1122"/>
                    <a:pt x="377" y="1122"/>
                  </a:cubicBezTo>
                  <a:cubicBezTo>
                    <a:pt x="376" y="1123"/>
                    <a:pt x="376" y="1123"/>
                    <a:pt x="376" y="1123"/>
                  </a:cubicBezTo>
                  <a:cubicBezTo>
                    <a:pt x="376" y="1124"/>
                    <a:pt x="376" y="1124"/>
                    <a:pt x="376" y="1124"/>
                  </a:cubicBezTo>
                  <a:cubicBezTo>
                    <a:pt x="376" y="1125"/>
                    <a:pt x="376" y="1125"/>
                    <a:pt x="376" y="1125"/>
                  </a:cubicBezTo>
                  <a:cubicBezTo>
                    <a:pt x="376" y="1126"/>
                    <a:pt x="376" y="1126"/>
                    <a:pt x="376" y="1126"/>
                  </a:cubicBezTo>
                  <a:cubicBezTo>
                    <a:pt x="376" y="1126"/>
                    <a:pt x="376" y="1127"/>
                    <a:pt x="376" y="1127"/>
                  </a:cubicBezTo>
                  <a:cubicBezTo>
                    <a:pt x="376" y="1127"/>
                    <a:pt x="376" y="1128"/>
                    <a:pt x="376" y="1128"/>
                  </a:cubicBezTo>
                  <a:cubicBezTo>
                    <a:pt x="377" y="1130"/>
                    <a:pt x="379" y="1132"/>
                    <a:pt x="381" y="1134"/>
                  </a:cubicBezTo>
                  <a:cubicBezTo>
                    <a:pt x="387" y="1131"/>
                    <a:pt x="394" y="1127"/>
                    <a:pt x="399" y="1120"/>
                  </a:cubicBezTo>
                  <a:cubicBezTo>
                    <a:pt x="408" y="1107"/>
                    <a:pt x="415" y="1097"/>
                    <a:pt x="433" y="1097"/>
                  </a:cubicBezTo>
                  <a:cubicBezTo>
                    <a:pt x="451" y="1097"/>
                    <a:pt x="446" y="1085"/>
                    <a:pt x="468" y="1083"/>
                  </a:cubicBezTo>
                  <a:cubicBezTo>
                    <a:pt x="490" y="1081"/>
                    <a:pt x="498" y="1078"/>
                    <a:pt x="508" y="1090"/>
                  </a:cubicBezTo>
                  <a:cubicBezTo>
                    <a:pt x="518" y="1102"/>
                    <a:pt x="537" y="1095"/>
                    <a:pt x="541" y="1108"/>
                  </a:cubicBezTo>
                  <a:cubicBezTo>
                    <a:pt x="545" y="1121"/>
                    <a:pt x="555" y="1143"/>
                    <a:pt x="564" y="1155"/>
                  </a:cubicBezTo>
                  <a:cubicBezTo>
                    <a:pt x="573" y="1167"/>
                    <a:pt x="591" y="1171"/>
                    <a:pt x="603" y="1167"/>
                  </a:cubicBezTo>
                  <a:cubicBezTo>
                    <a:pt x="606" y="1166"/>
                    <a:pt x="609" y="1165"/>
                    <a:pt x="612" y="1164"/>
                  </a:cubicBezTo>
                  <a:cubicBezTo>
                    <a:pt x="611" y="879"/>
                    <a:pt x="611" y="879"/>
                    <a:pt x="611" y="879"/>
                  </a:cubicBezTo>
                  <a:cubicBezTo>
                    <a:pt x="611" y="879"/>
                    <a:pt x="644" y="873"/>
                    <a:pt x="661" y="866"/>
                  </a:cubicBezTo>
                  <a:cubicBezTo>
                    <a:pt x="678" y="859"/>
                    <a:pt x="690" y="852"/>
                    <a:pt x="710" y="848"/>
                  </a:cubicBezTo>
                  <a:cubicBezTo>
                    <a:pt x="728" y="844"/>
                    <a:pt x="764" y="829"/>
                    <a:pt x="782" y="835"/>
                  </a:cubicBezTo>
                  <a:cubicBezTo>
                    <a:pt x="784" y="829"/>
                    <a:pt x="785" y="824"/>
                    <a:pt x="787" y="820"/>
                  </a:cubicBezTo>
                  <a:cubicBezTo>
                    <a:pt x="792" y="810"/>
                    <a:pt x="798" y="799"/>
                    <a:pt x="807" y="799"/>
                  </a:cubicBezTo>
                  <a:cubicBezTo>
                    <a:pt x="816" y="799"/>
                    <a:pt x="820" y="803"/>
                    <a:pt x="824" y="811"/>
                  </a:cubicBezTo>
                  <a:cubicBezTo>
                    <a:pt x="827" y="818"/>
                    <a:pt x="828" y="819"/>
                    <a:pt x="839" y="815"/>
                  </a:cubicBezTo>
                  <a:cubicBezTo>
                    <a:pt x="850" y="812"/>
                    <a:pt x="841" y="792"/>
                    <a:pt x="847" y="780"/>
                  </a:cubicBezTo>
                  <a:cubicBezTo>
                    <a:pt x="854" y="767"/>
                    <a:pt x="869" y="782"/>
                    <a:pt x="869" y="782"/>
                  </a:cubicBezTo>
                  <a:cubicBezTo>
                    <a:pt x="884" y="794"/>
                    <a:pt x="897" y="788"/>
                    <a:pt x="907" y="788"/>
                  </a:cubicBezTo>
                  <a:cubicBezTo>
                    <a:pt x="917" y="788"/>
                    <a:pt x="916" y="778"/>
                    <a:pt x="913" y="774"/>
                  </a:cubicBezTo>
                  <a:cubicBezTo>
                    <a:pt x="911" y="770"/>
                    <a:pt x="897" y="768"/>
                    <a:pt x="880" y="759"/>
                  </a:cubicBezTo>
                  <a:cubicBezTo>
                    <a:pt x="864" y="749"/>
                    <a:pt x="892" y="743"/>
                    <a:pt x="904" y="747"/>
                  </a:cubicBezTo>
                  <a:cubicBezTo>
                    <a:pt x="916" y="750"/>
                    <a:pt x="925" y="754"/>
                    <a:pt x="940" y="759"/>
                  </a:cubicBezTo>
                  <a:cubicBezTo>
                    <a:pt x="955" y="765"/>
                    <a:pt x="949" y="770"/>
                    <a:pt x="940" y="777"/>
                  </a:cubicBezTo>
                  <a:cubicBezTo>
                    <a:pt x="931" y="784"/>
                    <a:pt x="932" y="784"/>
                    <a:pt x="922" y="787"/>
                  </a:cubicBezTo>
                  <a:cubicBezTo>
                    <a:pt x="912" y="790"/>
                    <a:pt x="916" y="805"/>
                    <a:pt x="909" y="816"/>
                  </a:cubicBezTo>
                  <a:cubicBezTo>
                    <a:pt x="902" y="827"/>
                    <a:pt x="905" y="841"/>
                    <a:pt x="914" y="845"/>
                  </a:cubicBezTo>
                  <a:cubicBezTo>
                    <a:pt x="924" y="848"/>
                    <a:pt x="921" y="854"/>
                    <a:pt x="921" y="869"/>
                  </a:cubicBezTo>
                  <a:cubicBezTo>
                    <a:pt x="921" y="883"/>
                    <a:pt x="928" y="880"/>
                    <a:pt x="928" y="891"/>
                  </a:cubicBezTo>
                  <a:cubicBezTo>
                    <a:pt x="928" y="902"/>
                    <a:pt x="927" y="899"/>
                    <a:pt x="918" y="903"/>
                  </a:cubicBezTo>
                  <a:cubicBezTo>
                    <a:pt x="916" y="903"/>
                    <a:pt x="913" y="905"/>
                    <a:pt x="911" y="908"/>
                  </a:cubicBezTo>
                  <a:cubicBezTo>
                    <a:pt x="916" y="911"/>
                    <a:pt x="920" y="915"/>
                    <a:pt x="923" y="919"/>
                  </a:cubicBezTo>
                  <a:cubicBezTo>
                    <a:pt x="938" y="938"/>
                    <a:pt x="967" y="956"/>
                    <a:pt x="978" y="972"/>
                  </a:cubicBezTo>
                  <a:cubicBezTo>
                    <a:pt x="989" y="988"/>
                    <a:pt x="990" y="998"/>
                    <a:pt x="1013" y="995"/>
                  </a:cubicBezTo>
                  <a:cubicBezTo>
                    <a:pt x="1036" y="992"/>
                    <a:pt x="1053" y="980"/>
                    <a:pt x="1082" y="985"/>
                  </a:cubicBezTo>
                  <a:cubicBezTo>
                    <a:pt x="1111" y="990"/>
                    <a:pt x="1146" y="999"/>
                    <a:pt x="1159" y="989"/>
                  </a:cubicBezTo>
                  <a:cubicBezTo>
                    <a:pt x="1172" y="979"/>
                    <a:pt x="1188" y="967"/>
                    <a:pt x="1209" y="997"/>
                  </a:cubicBezTo>
                  <a:cubicBezTo>
                    <a:pt x="1230" y="1027"/>
                    <a:pt x="1232" y="1039"/>
                    <a:pt x="1248" y="1040"/>
                  </a:cubicBezTo>
                  <a:cubicBezTo>
                    <a:pt x="1264" y="1041"/>
                    <a:pt x="1259" y="1055"/>
                    <a:pt x="1258" y="1071"/>
                  </a:cubicBezTo>
                  <a:cubicBezTo>
                    <a:pt x="1257" y="1087"/>
                    <a:pt x="1266" y="1096"/>
                    <a:pt x="1277" y="1110"/>
                  </a:cubicBezTo>
                  <a:cubicBezTo>
                    <a:pt x="1288" y="1124"/>
                    <a:pt x="1293" y="1142"/>
                    <a:pt x="1296" y="1157"/>
                  </a:cubicBezTo>
                  <a:cubicBezTo>
                    <a:pt x="1299" y="1172"/>
                    <a:pt x="1300" y="1178"/>
                    <a:pt x="1319" y="1178"/>
                  </a:cubicBezTo>
                  <a:cubicBezTo>
                    <a:pt x="1338" y="1178"/>
                    <a:pt x="1375" y="1164"/>
                    <a:pt x="1380" y="1183"/>
                  </a:cubicBezTo>
                  <a:cubicBezTo>
                    <a:pt x="1385" y="1202"/>
                    <a:pt x="1379" y="1210"/>
                    <a:pt x="1390" y="1213"/>
                  </a:cubicBezTo>
                  <a:cubicBezTo>
                    <a:pt x="1401" y="1216"/>
                    <a:pt x="1417" y="1229"/>
                    <a:pt x="1416" y="1216"/>
                  </a:cubicBezTo>
                  <a:cubicBezTo>
                    <a:pt x="1415" y="1203"/>
                    <a:pt x="1404" y="1196"/>
                    <a:pt x="1417" y="1190"/>
                  </a:cubicBezTo>
                  <a:cubicBezTo>
                    <a:pt x="1430" y="1184"/>
                    <a:pt x="1432" y="1164"/>
                    <a:pt x="1451" y="1156"/>
                  </a:cubicBezTo>
                  <a:cubicBezTo>
                    <a:pt x="1470" y="1148"/>
                    <a:pt x="1472" y="1143"/>
                    <a:pt x="1483" y="1137"/>
                  </a:cubicBezTo>
                  <a:cubicBezTo>
                    <a:pt x="1494" y="1131"/>
                    <a:pt x="1501" y="1133"/>
                    <a:pt x="1512" y="1122"/>
                  </a:cubicBezTo>
                  <a:cubicBezTo>
                    <a:pt x="1523" y="1111"/>
                    <a:pt x="1530" y="1100"/>
                    <a:pt x="1543" y="1100"/>
                  </a:cubicBezTo>
                  <a:cubicBezTo>
                    <a:pt x="1556" y="1100"/>
                    <a:pt x="1561" y="1093"/>
                    <a:pt x="1569" y="1075"/>
                  </a:cubicBezTo>
                  <a:cubicBezTo>
                    <a:pt x="1574" y="1063"/>
                    <a:pt x="1584" y="1055"/>
                    <a:pt x="1596" y="1051"/>
                  </a:cubicBezTo>
                  <a:cubicBezTo>
                    <a:pt x="1596" y="1051"/>
                    <a:pt x="1596" y="1051"/>
                    <a:pt x="1596" y="1051"/>
                  </a:cubicBezTo>
                  <a:cubicBezTo>
                    <a:pt x="1597" y="1050"/>
                    <a:pt x="1598" y="1050"/>
                    <a:pt x="1599" y="1050"/>
                  </a:cubicBezTo>
                  <a:cubicBezTo>
                    <a:pt x="1599" y="1049"/>
                    <a:pt x="1599" y="1049"/>
                    <a:pt x="1599" y="1049"/>
                  </a:cubicBezTo>
                  <a:cubicBezTo>
                    <a:pt x="1600" y="1049"/>
                    <a:pt x="1601" y="1049"/>
                    <a:pt x="1602" y="1049"/>
                  </a:cubicBezTo>
                  <a:cubicBezTo>
                    <a:pt x="1602" y="1048"/>
                    <a:pt x="1603" y="1048"/>
                    <a:pt x="1603" y="1048"/>
                  </a:cubicBezTo>
                  <a:cubicBezTo>
                    <a:pt x="1604" y="1048"/>
                    <a:pt x="1605" y="1048"/>
                    <a:pt x="1605" y="1048"/>
                  </a:cubicBezTo>
                  <a:cubicBezTo>
                    <a:pt x="1606" y="1048"/>
                    <a:pt x="1606" y="1048"/>
                    <a:pt x="1607" y="1048"/>
                  </a:cubicBezTo>
                  <a:cubicBezTo>
                    <a:pt x="1607" y="1047"/>
                    <a:pt x="1608" y="1047"/>
                    <a:pt x="1609" y="1047"/>
                  </a:cubicBezTo>
                  <a:cubicBezTo>
                    <a:pt x="1609" y="1047"/>
                    <a:pt x="1610" y="1047"/>
                    <a:pt x="1610" y="1047"/>
                  </a:cubicBezTo>
                  <a:cubicBezTo>
                    <a:pt x="1611" y="1047"/>
                    <a:pt x="1611" y="1047"/>
                    <a:pt x="1612" y="1047"/>
                  </a:cubicBezTo>
                  <a:cubicBezTo>
                    <a:pt x="1613" y="1047"/>
                    <a:pt x="1614" y="1047"/>
                    <a:pt x="1615" y="1047"/>
                  </a:cubicBezTo>
                  <a:cubicBezTo>
                    <a:pt x="1631" y="1047"/>
                    <a:pt x="1655" y="1048"/>
                    <a:pt x="1667" y="1056"/>
                  </a:cubicBezTo>
                  <a:cubicBezTo>
                    <a:pt x="1679" y="1064"/>
                    <a:pt x="1696" y="1064"/>
                    <a:pt x="1708" y="1066"/>
                  </a:cubicBezTo>
                  <a:cubicBezTo>
                    <a:pt x="1720" y="1068"/>
                    <a:pt x="1732" y="1069"/>
                    <a:pt x="1732" y="1055"/>
                  </a:cubicBezTo>
                  <a:cubicBezTo>
                    <a:pt x="1732" y="1041"/>
                    <a:pt x="1734" y="1029"/>
                    <a:pt x="1743" y="1025"/>
                  </a:cubicBezTo>
                  <a:cubicBezTo>
                    <a:pt x="1752" y="1021"/>
                    <a:pt x="1759" y="1002"/>
                    <a:pt x="1777" y="1012"/>
                  </a:cubicBezTo>
                  <a:cubicBezTo>
                    <a:pt x="1795" y="1022"/>
                    <a:pt x="1797" y="1037"/>
                    <a:pt x="1816" y="1037"/>
                  </a:cubicBezTo>
                  <a:cubicBezTo>
                    <a:pt x="1835" y="1037"/>
                    <a:pt x="1845" y="1055"/>
                    <a:pt x="1867" y="1046"/>
                  </a:cubicBezTo>
                  <a:cubicBezTo>
                    <a:pt x="1889" y="1037"/>
                    <a:pt x="1898" y="1036"/>
                    <a:pt x="1916" y="1038"/>
                  </a:cubicBezTo>
                  <a:cubicBezTo>
                    <a:pt x="1934" y="1040"/>
                    <a:pt x="1953" y="1030"/>
                    <a:pt x="1969" y="1034"/>
                  </a:cubicBezTo>
                  <a:cubicBezTo>
                    <a:pt x="1985" y="1038"/>
                    <a:pt x="1995" y="1038"/>
                    <a:pt x="2021" y="1040"/>
                  </a:cubicBezTo>
                  <a:cubicBezTo>
                    <a:pt x="2047" y="1042"/>
                    <a:pt x="2062" y="1046"/>
                    <a:pt x="2076" y="1050"/>
                  </a:cubicBezTo>
                  <a:cubicBezTo>
                    <a:pt x="2090" y="1054"/>
                    <a:pt x="2094" y="1052"/>
                    <a:pt x="2101" y="1062"/>
                  </a:cubicBezTo>
                  <a:cubicBezTo>
                    <a:pt x="2108" y="1072"/>
                    <a:pt x="2116" y="1076"/>
                    <a:pt x="2126" y="1078"/>
                  </a:cubicBezTo>
                  <a:cubicBezTo>
                    <a:pt x="2132" y="1079"/>
                    <a:pt x="2143" y="1081"/>
                    <a:pt x="2153" y="1083"/>
                  </a:cubicBezTo>
                  <a:cubicBezTo>
                    <a:pt x="2153" y="1081"/>
                    <a:pt x="2153" y="1080"/>
                    <a:pt x="2153" y="1079"/>
                  </a:cubicBezTo>
                  <a:cubicBezTo>
                    <a:pt x="2153" y="1079"/>
                    <a:pt x="2153" y="1079"/>
                    <a:pt x="2153" y="1078"/>
                  </a:cubicBezTo>
                  <a:cubicBezTo>
                    <a:pt x="2153" y="1077"/>
                    <a:pt x="2153" y="1076"/>
                    <a:pt x="2153" y="1075"/>
                  </a:cubicBezTo>
                  <a:cubicBezTo>
                    <a:pt x="2153" y="1075"/>
                    <a:pt x="2153" y="1075"/>
                    <a:pt x="2153" y="1074"/>
                  </a:cubicBezTo>
                  <a:cubicBezTo>
                    <a:pt x="2153" y="1073"/>
                    <a:pt x="2153" y="1072"/>
                    <a:pt x="2153" y="1072"/>
                  </a:cubicBezTo>
                  <a:cubicBezTo>
                    <a:pt x="2153" y="1071"/>
                    <a:pt x="2153" y="1071"/>
                    <a:pt x="2153" y="1070"/>
                  </a:cubicBezTo>
                  <a:cubicBezTo>
                    <a:pt x="2153" y="1070"/>
                    <a:pt x="2153" y="1069"/>
                    <a:pt x="2153" y="1068"/>
                  </a:cubicBezTo>
                  <a:cubicBezTo>
                    <a:pt x="2153" y="1068"/>
                    <a:pt x="2153" y="1067"/>
                    <a:pt x="2153" y="1067"/>
                  </a:cubicBezTo>
                  <a:cubicBezTo>
                    <a:pt x="2153" y="1066"/>
                    <a:pt x="2153" y="1065"/>
                    <a:pt x="2153" y="1065"/>
                  </a:cubicBezTo>
                  <a:cubicBezTo>
                    <a:pt x="2153" y="1064"/>
                    <a:pt x="2153" y="1064"/>
                    <a:pt x="2153" y="1064"/>
                  </a:cubicBezTo>
                  <a:cubicBezTo>
                    <a:pt x="2153" y="1063"/>
                    <a:pt x="2153" y="1062"/>
                    <a:pt x="2153" y="1062"/>
                  </a:cubicBezTo>
                  <a:cubicBezTo>
                    <a:pt x="2153" y="1061"/>
                    <a:pt x="2153" y="1061"/>
                    <a:pt x="2153" y="1061"/>
                  </a:cubicBezTo>
                  <a:cubicBezTo>
                    <a:pt x="2153" y="1060"/>
                    <a:pt x="2153" y="1059"/>
                    <a:pt x="2154" y="1059"/>
                  </a:cubicBezTo>
                  <a:cubicBezTo>
                    <a:pt x="2154" y="1059"/>
                    <a:pt x="2154" y="1058"/>
                    <a:pt x="2154" y="1058"/>
                  </a:cubicBezTo>
                  <a:cubicBezTo>
                    <a:pt x="2154" y="1057"/>
                    <a:pt x="2154" y="1056"/>
                    <a:pt x="2155" y="1056"/>
                  </a:cubicBezTo>
                  <a:cubicBezTo>
                    <a:pt x="2160" y="1046"/>
                    <a:pt x="2179" y="1046"/>
                    <a:pt x="2182" y="1036"/>
                  </a:cubicBezTo>
                  <a:cubicBezTo>
                    <a:pt x="2185" y="1026"/>
                    <a:pt x="2195" y="1028"/>
                    <a:pt x="2190" y="1010"/>
                  </a:cubicBezTo>
                  <a:cubicBezTo>
                    <a:pt x="2185" y="992"/>
                    <a:pt x="2189" y="980"/>
                    <a:pt x="2177" y="972"/>
                  </a:cubicBezTo>
                  <a:cubicBezTo>
                    <a:pt x="2165" y="963"/>
                    <a:pt x="2167" y="959"/>
                    <a:pt x="2166" y="940"/>
                  </a:cubicBezTo>
                  <a:cubicBezTo>
                    <a:pt x="2165" y="922"/>
                    <a:pt x="2171" y="895"/>
                    <a:pt x="2157" y="895"/>
                  </a:cubicBezTo>
                  <a:cubicBezTo>
                    <a:pt x="2143" y="895"/>
                    <a:pt x="2139" y="890"/>
                    <a:pt x="2141" y="879"/>
                  </a:cubicBezTo>
                  <a:cubicBezTo>
                    <a:pt x="2143" y="868"/>
                    <a:pt x="2167" y="876"/>
                    <a:pt x="2169" y="870"/>
                  </a:cubicBezTo>
                  <a:cubicBezTo>
                    <a:pt x="2170" y="864"/>
                    <a:pt x="2205" y="873"/>
                    <a:pt x="2211" y="864"/>
                  </a:cubicBezTo>
                  <a:cubicBezTo>
                    <a:pt x="2216" y="854"/>
                    <a:pt x="2231" y="849"/>
                    <a:pt x="2244" y="852"/>
                  </a:cubicBezTo>
                  <a:cubicBezTo>
                    <a:pt x="2257" y="854"/>
                    <a:pt x="2254" y="865"/>
                    <a:pt x="2273" y="866"/>
                  </a:cubicBezTo>
                  <a:cubicBezTo>
                    <a:pt x="2293" y="868"/>
                    <a:pt x="2306" y="868"/>
                    <a:pt x="2309" y="859"/>
                  </a:cubicBezTo>
                  <a:cubicBezTo>
                    <a:pt x="2313" y="850"/>
                    <a:pt x="2313" y="843"/>
                    <a:pt x="2303" y="843"/>
                  </a:cubicBezTo>
                  <a:cubicBezTo>
                    <a:pt x="2292" y="843"/>
                    <a:pt x="2289" y="836"/>
                    <a:pt x="2290" y="829"/>
                  </a:cubicBezTo>
                  <a:cubicBezTo>
                    <a:pt x="2291" y="822"/>
                    <a:pt x="2297" y="786"/>
                    <a:pt x="2309" y="778"/>
                  </a:cubicBezTo>
                  <a:cubicBezTo>
                    <a:pt x="2321" y="770"/>
                    <a:pt x="2317" y="770"/>
                    <a:pt x="2321" y="754"/>
                  </a:cubicBezTo>
                  <a:cubicBezTo>
                    <a:pt x="2325" y="738"/>
                    <a:pt x="2329" y="728"/>
                    <a:pt x="2333" y="719"/>
                  </a:cubicBezTo>
                  <a:cubicBezTo>
                    <a:pt x="2337" y="710"/>
                    <a:pt x="2336" y="693"/>
                    <a:pt x="2360" y="704"/>
                  </a:cubicBezTo>
                  <a:cubicBezTo>
                    <a:pt x="2384" y="716"/>
                    <a:pt x="2374" y="724"/>
                    <a:pt x="2397" y="722"/>
                  </a:cubicBezTo>
                  <a:cubicBezTo>
                    <a:pt x="2419" y="720"/>
                    <a:pt x="2432" y="718"/>
                    <a:pt x="2443" y="724"/>
                  </a:cubicBezTo>
                  <a:cubicBezTo>
                    <a:pt x="2453" y="730"/>
                    <a:pt x="2461" y="730"/>
                    <a:pt x="2469" y="722"/>
                  </a:cubicBezTo>
                  <a:cubicBezTo>
                    <a:pt x="2477" y="714"/>
                    <a:pt x="2481" y="711"/>
                    <a:pt x="2489" y="710"/>
                  </a:cubicBezTo>
                  <a:cubicBezTo>
                    <a:pt x="2497" y="708"/>
                    <a:pt x="2503" y="705"/>
                    <a:pt x="2502" y="693"/>
                  </a:cubicBezTo>
                  <a:cubicBezTo>
                    <a:pt x="2501" y="681"/>
                    <a:pt x="2504" y="676"/>
                    <a:pt x="2499" y="668"/>
                  </a:cubicBezTo>
                  <a:cubicBezTo>
                    <a:pt x="2493" y="660"/>
                    <a:pt x="2492" y="648"/>
                    <a:pt x="2493" y="638"/>
                  </a:cubicBezTo>
                  <a:cubicBezTo>
                    <a:pt x="2493" y="628"/>
                    <a:pt x="2501" y="601"/>
                    <a:pt x="2522" y="601"/>
                  </a:cubicBezTo>
                  <a:cubicBezTo>
                    <a:pt x="2543" y="601"/>
                    <a:pt x="2569" y="601"/>
                    <a:pt x="2571" y="578"/>
                  </a:cubicBezTo>
                  <a:cubicBezTo>
                    <a:pt x="2573" y="556"/>
                    <a:pt x="2569" y="552"/>
                    <a:pt x="2579" y="546"/>
                  </a:cubicBezTo>
                  <a:cubicBezTo>
                    <a:pt x="2580" y="545"/>
                    <a:pt x="2581" y="544"/>
                    <a:pt x="2582" y="544"/>
                  </a:cubicBezTo>
                  <a:cubicBezTo>
                    <a:pt x="2582" y="544"/>
                    <a:pt x="2583" y="543"/>
                    <a:pt x="2583" y="543"/>
                  </a:cubicBezTo>
                  <a:cubicBezTo>
                    <a:pt x="2584" y="543"/>
                    <a:pt x="2584" y="542"/>
                    <a:pt x="2585" y="541"/>
                  </a:cubicBezTo>
                  <a:cubicBezTo>
                    <a:pt x="2585" y="541"/>
                    <a:pt x="2585" y="541"/>
                    <a:pt x="2585" y="541"/>
                  </a:cubicBezTo>
                  <a:cubicBezTo>
                    <a:pt x="2586" y="540"/>
                    <a:pt x="2587" y="539"/>
                    <a:pt x="2588" y="538"/>
                  </a:cubicBezTo>
                  <a:cubicBezTo>
                    <a:pt x="2588" y="538"/>
                    <a:pt x="2588" y="538"/>
                    <a:pt x="2588" y="538"/>
                  </a:cubicBezTo>
                  <a:cubicBezTo>
                    <a:pt x="2588" y="537"/>
                    <a:pt x="2589" y="537"/>
                    <a:pt x="2589" y="536"/>
                  </a:cubicBezTo>
                  <a:cubicBezTo>
                    <a:pt x="2589" y="536"/>
                    <a:pt x="2589" y="536"/>
                    <a:pt x="2589" y="536"/>
                  </a:cubicBezTo>
                  <a:cubicBezTo>
                    <a:pt x="2590" y="535"/>
                    <a:pt x="2590" y="533"/>
                    <a:pt x="2590" y="532"/>
                  </a:cubicBezTo>
                  <a:cubicBezTo>
                    <a:pt x="2590" y="532"/>
                    <a:pt x="2590" y="532"/>
                    <a:pt x="2590" y="532"/>
                  </a:cubicBezTo>
                  <a:cubicBezTo>
                    <a:pt x="2590" y="532"/>
                    <a:pt x="2590" y="531"/>
                    <a:pt x="2590" y="531"/>
                  </a:cubicBezTo>
                  <a:cubicBezTo>
                    <a:pt x="2590" y="530"/>
                    <a:pt x="2590" y="530"/>
                    <a:pt x="2590" y="530"/>
                  </a:cubicBezTo>
                  <a:close/>
                  <a:moveTo>
                    <a:pt x="2087" y="752"/>
                  </a:moveTo>
                  <a:cubicBezTo>
                    <a:pt x="2087" y="760"/>
                    <a:pt x="2080" y="757"/>
                    <a:pt x="2078" y="763"/>
                  </a:cubicBezTo>
                  <a:cubicBezTo>
                    <a:pt x="2076" y="769"/>
                    <a:pt x="2061" y="767"/>
                    <a:pt x="2049" y="766"/>
                  </a:cubicBezTo>
                  <a:cubicBezTo>
                    <a:pt x="2038" y="766"/>
                    <a:pt x="2036" y="772"/>
                    <a:pt x="2029" y="769"/>
                  </a:cubicBezTo>
                  <a:cubicBezTo>
                    <a:pt x="2021" y="766"/>
                    <a:pt x="2014" y="769"/>
                    <a:pt x="2003" y="769"/>
                  </a:cubicBezTo>
                  <a:cubicBezTo>
                    <a:pt x="1993" y="769"/>
                    <a:pt x="1993" y="768"/>
                    <a:pt x="1985" y="762"/>
                  </a:cubicBezTo>
                  <a:cubicBezTo>
                    <a:pt x="1977" y="756"/>
                    <a:pt x="1963" y="762"/>
                    <a:pt x="1949" y="764"/>
                  </a:cubicBezTo>
                  <a:cubicBezTo>
                    <a:pt x="1935" y="766"/>
                    <a:pt x="1925" y="753"/>
                    <a:pt x="1915" y="753"/>
                  </a:cubicBezTo>
                  <a:cubicBezTo>
                    <a:pt x="1905" y="753"/>
                    <a:pt x="1896" y="753"/>
                    <a:pt x="1887" y="748"/>
                  </a:cubicBezTo>
                  <a:cubicBezTo>
                    <a:pt x="1879" y="744"/>
                    <a:pt x="1867" y="755"/>
                    <a:pt x="1854" y="754"/>
                  </a:cubicBezTo>
                  <a:cubicBezTo>
                    <a:pt x="1841" y="754"/>
                    <a:pt x="1840" y="760"/>
                    <a:pt x="1826" y="762"/>
                  </a:cubicBezTo>
                  <a:cubicBezTo>
                    <a:pt x="1812" y="764"/>
                    <a:pt x="1805" y="776"/>
                    <a:pt x="1800" y="785"/>
                  </a:cubicBezTo>
                  <a:cubicBezTo>
                    <a:pt x="1795" y="794"/>
                    <a:pt x="1787" y="794"/>
                    <a:pt x="1777" y="797"/>
                  </a:cubicBezTo>
                  <a:cubicBezTo>
                    <a:pt x="1766" y="800"/>
                    <a:pt x="1773" y="826"/>
                    <a:pt x="1767" y="828"/>
                  </a:cubicBezTo>
                  <a:cubicBezTo>
                    <a:pt x="1760" y="829"/>
                    <a:pt x="1762" y="834"/>
                    <a:pt x="1761" y="843"/>
                  </a:cubicBezTo>
                  <a:cubicBezTo>
                    <a:pt x="1761" y="852"/>
                    <a:pt x="1770" y="846"/>
                    <a:pt x="1773" y="855"/>
                  </a:cubicBezTo>
                  <a:cubicBezTo>
                    <a:pt x="1777" y="864"/>
                    <a:pt x="1776" y="870"/>
                    <a:pt x="1770" y="870"/>
                  </a:cubicBezTo>
                  <a:cubicBezTo>
                    <a:pt x="1764" y="870"/>
                    <a:pt x="1758" y="860"/>
                    <a:pt x="1755" y="854"/>
                  </a:cubicBezTo>
                  <a:cubicBezTo>
                    <a:pt x="1751" y="847"/>
                    <a:pt x="1743" y="842"/>
                    <a:pt x="1735" y="836"/>
                  </a:cubicBezTo>
                  <a:cubicBezTo>
                    <a:pt x="1727" y="831"/>
                    <a:pt x="1728" y="807"/>
                    <a:pt x="1734" y="806"/>
                  </a:cubicBezTo>
                  <a:cubicBezTo>
                    <a:pt x="1740" y="806"/>
                    <a:pt x="1745" y="799"/>
                    <a:pt x="1745" y="792"/>
                  </a:cubicBezTo>
                  <a:cubicBezTo>
                    <a:pt x="1744" y="786"/>
                    <a:pt x="1744" y="782"/>
                    <a:pt x="1755" y="782"/>
                  </a:cubicBezTo>
                  <a:cubicBezTo>
                    <a:pt x="1765" y="783"/>
                    <a:pt x="1762" y="770"/>
                    <a:pt x="1774" y="766"/>
                  </a:cubicBezTo>
                  <a:cubicBezTo>
                    <a:pt x="1786" y="762"/>
                    <a:pt x="1793" y="746"/>
                    <a:pt x="1793" y="746"/>
                  </a:cubicBezTo>
                  <a:cubicBezTo>
                    <a:pt x="1799" y="734"/>
                    <a:pt x="1827" y="742"/>
                    <a:pt x="1837" y="741"/>
                  </a:cubicBezTo>
                  <a:cubicBezTo>
                    <a:pt x="1847" y="740"/>
                    <a:pt x="1849" y="748"/>
                    <a:pt x="1853" y="743"/>
                  </a:cubicBezTo>
                  <a:cubicBezTo>
                    <a:pt x="1858" y="738"/>
                    <a:pt x="1861" y="740"/>
                    <a:pt x="1867" y="738"/>
                  </a:cubicBezTo>
                  <a:cubicBezTo>
                    <a:pt x="1873" y="736"/>
                    <a:pt x="1901" y="735"/>
                    <a:pt x="1909" y="740"/>
                  </a:cubicBezTo>
                  <a:cubicBezTo>
                    <a:pt x="1917" y="744"/>
                    <a:pt x="1917" y="747"/>
                    <a:pt x="1925" y="745"/>
                  </a:cubicBezTo>
                  <a:cubicBezTo>
                    <a:pt x="1932" y="743"/>
                    <a:pt x="1944" y="748"/>
                    <a:pt x="1953" y="750"/>
                  </a:cubicBezTo>
                  <a:cubicBezTo>
                    <a:pt x="1963" y="752"/>
                    <a:pt x="1971" y="752"/>
                    <a:pt x="1978" y="748"/>
                  </a:cubicBezTo>
                  <a:cubicBezTo>
                    <a:pt x="1985" y="744"/>
                    <a:pt x="1999" y="747"/>
                    <a:pt x="2012" y="747"/>
                  </a:cubicBezTo>
                  <a:cubicBezTo>
                    <a:pt x="2025" y="747"/>
                    <a:pt x="2028" y="756"/>
                    <a:pt x="2033" y="756"/>
                  </a:cubicBezTo>
                  <a:cubicBezTo>
                    <a:pt x="2037" y="756"/>
                    <a:pt x="2041" y="756"/>
                    <a:pt x="2044" y="750"/>
                  </a:cubicBezTo>
                  <a:cubicBezTo>
                    <a:pt x="2047" y="745"/>
                    <a:pt x="2049" y="742"/>
                    <a:pt x="2055" y="740"/>
                  </a:cubicBezTo>
                  <a:cubicBezTo>
                    <a:pt x="2060" y="738"/>
                    <a:pt x="2062" y="747"/>
                    <a:pt x="2068" y="749"/>
                  </a:cubicBezTo>
                  <a:cubicBezTo>
                    <a:pt x="2074" y="751"/>
                    <a:pt x="2077" y="744"/>
                    <a:pt x="2076" y="738"/>
                  </a:cubicBezTo>
                  <a:cubicBezTo>
                    <a:pt x="2075" y="732"/>
                    <a:pt x="2079" y="732"/>
                    <a:pt x="2085" y="733"/>
                  </a:cubicBezTo>
                  <a:cubicBezTo>
                    <a:pt x="2090" y="734"/>
                    <a:pt x="2087" y="743"/>
                    <a:pt x="2087" y="75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0" name="Freeform 530">
              <a:extLst>
                <a:ext uri="{FF2B5EF4-FFF2-40B4-BE49-F238E27FC236}">
                  <a16:creationId xmlns:a16="http://schemas.microsoft.com/office/drawing/2014/main" id="{0879259F-AD26-7240-B753-25F6B010E7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4" y="1160"/>
              <a:ext cx="63" cy="25"/>
            </a:xfrm>
            <a:custGeom>
              <a:avLst/>
              <a:gdLst>
                <a:gd name="T0" fmla="*/ 12 w 251"/>
                <a:gd name="T1" fmla="*/ 94 h 98"/>
                <a:gd name="T2" fmla="*/ 59 w 251"/>
                <a:gd name="T3" fmla="*/ 92 h 98"/>
                <a:gd name="T4" fmla="*/ 82 w 251"/>
                <a:gd name="T5" fmla="*/ 81 h 98"/>
                <a:gd name="T6" fmla="*/ 114 w 251"/>
                <a:gd name="T7" fmla="*/ 82 h 98"/>
                <a:gd name="T8" fmla="*/ 134 w 251"/>
                <a:gd name="T9" fmla="*/ 92 h 98"/>
                <a:gd name="T10" fmla="*/ 160 w 251"/>
                <a:gd name="T11" fmla="*/ 84 h 98"/>
                <a:gd name="T12" fmla="*/ 198 w 251"/>
                <a:gd name="T13" fmla="*/ 74 h 98"/>
                <a:gd name="T14" fmla="*/ 239 w 251"/>
                <a:gd name="T15" fmla="*/ 61 h 98"/>
                <a:gd name="T16" fmla="*/ 232 w 251"/>
                <a:gd name="T17" fmla="*/ 36 h 98"/>
                <a:gd name="T18" fmla="*/ 204 w 251"/>
                <a:gd name="T19" fmla="*/ 20 h 98"/>
                <a:gd name="T20" fmla="*/ 175 w 251"/>
                <a:gd name="T21" fmla="*/ 10 h 98"/>
                <a:gd name="T22" fmla="*/ 144 w 251"/>
                <a:gd name="T23" fmla="*/ 6 h 98"/>
                <a:gd name="T24" fmla="*/ 108 w 251"/>
                <a:gd name="T25" fmla="*/ 14 h 98"/>
                <a:gd name="T26" fmla="*/ 63 w 251"/>
                <a:gd name="T27" fmla="*/ 22 h 98"/>
                <a:gd name="T28" fmla="*/ 35 w 251"/>
                <a:gd name="T29" fmla="*/ 44 h 98"/>
                <a:gd name="T30" fmla="*/ 2 w 251"/>
                <a:gd name="T31" fmla="*/ 68 h 98"/>
                <a:gd name="T32" fmla="*/ 12 w 251"/>
                <a:gd name="T33" fmla="*/ 9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1" h="98">
                  <a:moveTo>
                    <a:pt x="12" y="94"/>
                  </a:moveTo>
                  <a:cubicBezTo>
                    <a:pt x="22" y="96"/>
                    <a:pt x="52" y="98"/>
                    <a:pt x="59" y="92"/>
                  </a:cubicBezTo>
                  <a:cubicBezTo>
                    <a:pt x="66" y="85"/>
                    <a:pt x="70" y="81"/>
                    <a:pt x="82" y="81"/>
                  </a:cubicBezTo>
                  <a:cubicBezTo>
                    <a:pt x="94" y="81"/>
                    <a:pt x="110" y="73"/>
                    <a:pt x="114" y="82"/>
                  </a:cubicBezTo>
                  <a:cubicBezTo>
                    <a:pt x="118" y="92"/>
                    <a:pt x="127" y="96"/>
                    <a:pt x="134" y="92"/>
                  </a:cubicBezTo>
                  <a:cubicBezTo>
                    <a:pt x="140" y="88"/>
                    <a:pt x="148" y="84"/>
                    <a:pt x="160" y="84"/>
                  </a:cubicBezTo>
                  <a:cubicBezTo>
                    <a:pt x="172" y="84"/>
                    <a:pt x="176" y="74"/>
                    <a:pt x="198" y="74"/>
                  </a:cubicBezTo>
                  <a:cubicBezTo>
                    <a:pt x="219" y="74"/>
                    <a:pt x="236" y="69"/>
                    <a:pt x="239" y="61"/>
                  </a:cubicBezTo>
                  <a:cubicBezTo>
                    <a:pt x="242" y="53"/>
                    <a:pt x="251" y="36"/>
                    <a:pt x="232" y="36"/>
                  </a:cubicBezTo>
                  <a:cubicBezTo>
                    <a:pt x="214" y="36"/>
                    <a:pt x="215" y="26"/>
                    <a:pt x="204" y="20"/>
                  </a:cubicBezTo>
                  <a:cubicBezTo>
                    <a:pt x="194" y="13"/>
                    <a:pt x="178" y="17"/>
                    <a:pt x="175" y="10"/>
                  </a:cubicBezTo>
                  <a:cubicBezTo>
                    <a:pt x="172" y="4"/>
                    <a:pt x="154" y="0"/>
                    <a:pt x="144" y="6"/>
                  </a:cubicBezTo>
                  <a:cubicBezTo>
                    <a:pt x="135" y="13"/>
                    <a:pt x="124" y="16"/>
                    <a:pt x="108" y="14"/>
                  </a:cubicBezTo>
                  <a:cubicBezTo>
                    <a:pt x="108" y="14"/>
                    <a:pt x="78" y="12"/>
                    <a:pt x="63" y="22"/>
                  </a:cubicBezTo>
                  <a:cubicBezTo>
                    <a:pt x="48" y="33"/>
                    <a:pt x="52" y="37"/>
                    <a:pt x="35" y="44"/>
                  </a:cubicBezTo>
                  <a:cubicBezTo>
                    <a:pt x="18" y="50"/>
                    <a:pt x="3" y="58"/>
                    <a:pt x="2" y="68"/>
                  </a:cubicBezTo>
                  <a:cubicBezTo>
                    <a:pt x="0" y="77"/>
                    <a:pt x="3" y="93"/>
                    <a:pt x="12" y="9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1" name="Freeform 531">
              <a:extLst>
                <a:ext uri="{FF2B5EF4-FFF2-40B4-BE49-F238E27FC236}">
                  <a16:creationId xmlns:a16="http://schemas.microsoft.com/office/drawing/2014/main" id="{5EF9B3D3-AD4C-6945-88F5-EE67D9A0F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8" y="1490"/>
              <a:ext cx="21" cy="18"/>
            </a:xfrm>
            <a:custGeom>
              <a:avLst/>
              <a:gdLst>
                <a:gd name="T0" fmla="*/ 64 w 83"/>
                <a:gd name="T1" fmla="*/ 12 h 73"/>
                <a:gd name="T2" fmla="*/ 46 w 83"/>
                <a:gd name="T3" fmla="*/ 19 h 73"/>
                <a:gd name="T4" fmla="*/ 27 w 83"/>
                <a:gd name="T5" fmla="*/ 35 h 73"/>
                <a:gd name="T6" fmla="*/ 14 w 83"/>
                <a:gd name="T7" fmla="*/ 56 h 73"/>
                <a:gd name="T8" fmla="*/ 18 w 83"/>
                <a:gd name="T9" fmla="*/ 67 h 73"/>
                <a:gd name="T10" fmla="*/ 53 w 83"/>
                <a:gd name="T11" fmla="*/ 46 h 73"/>
                <a:gd name="T12" fmla="*/ 83 w 83"/>
                <a:gd name="T13" fmla="*/ 30 h 73"/>
                <a:gd name="T14" fmla="*/ 64 w 83"/>
                <a:gd name="T15" fmla="*/ 1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73">
                  <a:moveTo>
                    <a:pt x="64" y="12"/>
                  </a:moveTo>
                  <a:cubicBezTo>
                    <a:pt x="64" y="12"/>
                    <a:pt x="58" y="19"/>
                    <a:pt x="46" y="19"/>
                  </a:cubicBezTo>
                  <a:cubicBezTo>
                    <a:pt x="33" y="19"/>
                    <a:pt x="27" y="26"/>
                    <a:pt x="27" y="35"/>
                  </a:cubicBezTo>
                  <a:cubicBezTo>
                    <a:pt x="27" y="45"/>
                    <a:pt x="21" y="51"/>
                    <a:pt x="14" y="56"/>
                  </a:cubicBezTo>
                  <a:cubicBezTo>
                    <a:pt x="6" y="60"/>
                    <a:pt x="0" y="73"/>
                    <a:pt x="18" y="67"/>
                  </a:cubicBezTo>
                  <a:cubicBezTo>
                    <a:pt x="36" y="62"/>
                    <a:pt x="34" y="48"/>
                    <a:pt x="53" y="46"/>
                  </a:cubicBezTo>
                  <a:cubicBezTo>
                    <a:pt x="72" y="44"/>
                    <a:pt x="83" y="43"/>
                    <a:pt x="83" y="30"/>
                  </a:cubicBezTo>
                  <a:cubicBezTo>
                    <a:pt x="83" y="17"/>
                    <a:pt x="82" y="0"/>
                    <a:pt x="64" y="1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2" name="Freeform 532">
              <a:extLst>
                <a:ext uri="{FF2B5EF4-FFF2-40B4-BE49-F238E27FC236}">
                  <a16:creationId xmlns:a16="http://schemas.microsoft.com/office/drawing/2014/main" id="{53037F21-43AE-9A44-B97F-04DAC0B20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" y="1677"/>
              <a:ext cx="21" cy="22"/>
            </a:xfrm>
            <a:custGeom>
              <a:avLst/>
              <a:gdLst>
                <a:gd name="T0" fmla="*/ 65 w 83"/>
                <a:gd name="T1" fmla="*/ 9 h 85"/>
                <a:gd name="T2" fmla="*/ 54 w 83"/>
                <a:gd name="T3" fmla="*/ 18 h 85"/>
                <a:gd name="T4" fmla="*/ 34 w 83"/>
                <a:gd name="T5" fmla="*/ 30 h 85"/>
                <a:gd name="T6" fmla="*/ 17 w 83"/>
                <a:gd name="T7" fmla="*/ 45 h 85"/>
                <a:gd name="T8" fmla="*/ 1 w 83"/>
                <a:gd name="T9" fmla="*/ 68 h 85"/>
                <a:gd name="T10" fmla="*/ 21 w 83"/>
                <a:gd name="T11" fmla="*/ 76 h 85"/>
                <a:gd name="T12" fmla="*/ 51 w 83"/>
                <a:gd name="T13" fmla="*/ 52 h 85"/>
                <a:gd name="T14" fmla="*/ 62 w 83"/>
                <a:gd name="T15" fmla="*/ 32 h 85"/>
                <a:gd name="T16" fmla="*/ 78 w 83"/>
                <a:gd name="T17" fmla="*/ 18 h 85"/>
                <a:gd name="T18" fmla="*/ 65 w 83"/>
                <a:gd name="T19" fmla="*/ 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5">
                  <a:moveTo>
                    <a:pt x="65" y="9"/>
                  </a:moveTo>
                  <a:cubicBezTo>
                    <a:pt x="63" y="18"/>
                    <a:pt x="60" y="24"/>
                    <a:pt x="54" y="18"/>
                  </a:cubicBezTo>
                  <a:cubicBezTo>
                    <a:pt x="47" y="11"/>
                    <a:pt x="36" y="21"/>
                    <a:pt x="34" y="30"/>
                  </a:cubicBezTo>
                  <a:cubicBezTo>
                    <a:pt x="32" y="40"/>
                    <a:pt x="27" y="41"/>
                    <a:pt x="17" y="45"/>
                  </a:cubicBezTo>
                  <a:cubicBezTo>
                    <a:pt x="7" y="50"/>
                    <a:pt x="0" y="53"/>
                    <a:pt x="1" y="68"/>
                  </a:cubicBezTo>
                  <a:cubicBezTo>
                    <a:pt x="2" y="83"/>
                    <a:pt x="14" y="85"/>
                    <a:pt x="21" y="76"/>
                  </a:cubicBezTo>
                  <a:cubicBezTo>
                    <a:pt x="29" y="68"/>
                    <a:pt x="50" y="62"/>
                    <a:pt x="51" y="52"/>
                  </a:cubicBezTo>
                  <a:cubicBezTo>
                    <a:pt x="52" y="41"/>
                    <a:pt x="52" y="34"/>
                    <a:pt x="62" y="32"/>
                  </a:cubicBezTo>
                  <a:cubicBezTo>
                    <a:pt x="72" y="31"/>
                    <a:pt x="83" y="25"/>
                    <a:pt x="78" y="18"/>
                  </a:cubicBezTo>
                  <a:cubicBezTo>
                    <a:pt x="78" y="18"/>
                    <a:pt x="67" y="0"/>
                    <a:pt x="65" y="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3" name="Freeform 533">
              <a:extLst>
                <a:ext uri="{FF2B5EF4-FFF2-40B4-BE49-F238E27FC236}">
                  <a16:creationId xmlns:a16="http://schemas.microsoft.com/office/drawing/2014/main" id="{4DFE70DD-FCBA-744C-9113-04ED34554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" y="1675"/>
              <a:ext cx="7" cy="6"/>
            </a:xfrm>
            <a:custGeom>
              <a:avLst/>
              <a:gdLst>
                <a:gd name="T0" fmla="*/ 22 w 27"/>
                <a:gd name="T1" fmla="*/ 14 h 21"/>
                <a:gd name="T2" fmla="*/ 10 w 27"/>
                <a:gd name="T3" fmla="*/ 6 h 21"/>
                <a:gd name="T4" fmla="*/ 11 w 27"/>
                <a:gd name="T5" fmla="*/ 19 h 21"/>
                <a:gd name="T6" fmla="*/ 22 w 27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21">
                  <a:moveTo>
                    <a:pt x="22" y="14"/>
                  </a:moveTo>
                  <a:cubicBezTo>
                    <a:pt x="16" y="10"/>
                    <a:pt x="15" y="0"/>
                    <a:pt x="10" y="6"/>
                  </a:cubicBezTo>
                  <a:cubicBezTo>
                    <a:pt x="10" y="6"/>
                    <a:pt x="0" y="17"/>
                    <a:pt x="11" y="19"/>
                  </a:cubicBezTo>
                  <a:cubicBezTo>
                    <a:pt x="22" y="21"/>
                    <a:pt x="27" y="18"/>
                    <a:pt x="22" y="1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4" name="Freeform 534">
              <a:extLst>
                <a:ext uri="{FF2B5EF4-FFF2-40B4-BE49-F238E27FC236}">
                  <a16:creationId xmlns:a16="http://schemas.microsoft.com/office/drawing/2014/main" id="{25DEE9C8-A45F-634D-9BCA-14C6311B0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7" y="1702"/>
              <a:ext cx="9" cy="12"/>
            </a:xfrm>
            <a:custGeom>
              <a:avLst/>
              <a:gdLst>
                <a:gd name="T0" fmla="*/ 20 w 34"/>
                <a:gd name="T1" fmla="*/ 9 h 47"/>
                <a:gd name="T2" fmla="*/ 3 w 34"/>
                <a:gd name="T3" fmla="*/ 29 h 47"/>
                <a:gd name="T4" fmla="*/ 11 w 34"/>
                <a:gd name="T5" fmla="*/ 47 h 47"/>
                <a:gd name="T6" fmla="*/ 24 w 34"/>
                <a:gd name="T7" fmla="*/ 22 h 47"/>
                <a:gd name="T8" fmla="*/ 20 w 34"/>
                <a:gd name="T9" fmla="*/ 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47">
                  <a:moveTo>
                    <a:pt x="20" y="9"/>
                  </a:moveTo>
                  <a:cubicBezTo>
                    <a:pt x="20" y="9"/>
                    <a:pt x="6" y="22"/>
                    <a:pt x="3" y="29"/>
                  </a:cubicBezTo>
                  <a:cubicBezTo>
                    <a:pt x="0" y="35"/>
                    <a:pt x="2" y="47"/>
                    <a:pt x="11" y="47"/>
                  </a:cubicBezTo>
                  <a:cubicBezTo>
                    <a:pt x="19" y="47"/>
                    <a:pt x="16" y="31"/>
                    <a:pt x="24" y="22"/>
                  </a:cubicBezTo>
                  <a:cubicBezTo>
                    <a:pt x="31" y="14"/>
                    <a:pt x="34" y="0"/>
                    <a:pt x="20" y="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5" name="Freeform 535">
              <a:extLst>
                <a:ext uri="{FF2B5EF4-FFF2-40B4-BE49-F238E27FC236}">
                  <a16:creationId xmlns:a16="http://schemas.microsoft.com/office/drawing/2014/main" id="{E35383FE-5C70-AF4C-96BD-501147AC1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" y="1722"/>
              <a:ext cx="9" cy="3"/>
            </a:xfrm>
            <a:custGeom>
              <a:avLst/>
              <a:gdLst>
                <a:gd name="T0" fmla="*/ 19 w 35"/>
                <a:gd name="T1" fmla="*/ 1 h 12"/>
                <a:gd name="T2" fmla="*/ 15 w 35"/>
                <a:gd name="T3" fmla="*/ 12 h 12"/>
                <a:gd name="T4" fmla="*/ 19 w 35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12">
                  <a:moveTo>
                    <a:pt x="19" y="1"/>
                  </a:moveTo>
                  <a:cubicBezTo>
                    <a:pt x="19" y="1"/>
                    <a:pt x="0" y="12"/>
                    <a:pt x="15" y="12"/>
                  </a:cubicBezTo>
                  <a:cubicBezTo>
                    <a:pt x="30" y="12"/>
                    <a:pt x="35" y="0"/>
                    <a:pt x="19" y="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6" name="Freeform 536">
              <a:extLst>
                <a:ext uri="{FF2B5EF4-FFF2-40B4-BE49-F238E27FC236}">
                  <a16:creationId xmlns:a16="http://schemas.microsoft.com/office/drawing/2014/main" id="{85047D19-04EA-8A41-80DD-D593DFDCF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1754"/>
              <a:ext cx="13" cy="12"/>
            </a:xfrm>
            <a:custGeom>
              <a:avLst/>
              <a:gdLst>
                <a:gd name="T0" fmla="*/ 36 w 51"/>
                <a:gd name="T1" fmla="*/ 12 h 48"/>
                <a:gd name="T2" fmla="*/ 16 w 51"/>
                <a:gd name="T3" fmla="*/ 30 h 48"/>
                <a:gd name="T4" fmla="*/ 21 w 51"/>
                <a:gd name="T5" fmla="*/ 40 h 48"/>
                <a:gd name="T6" fmla="*/ 36 w 51"/>
                <a:gd name="T7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48">
                  <a:moveTo>
                    <a:pt x="36" y="12"/>
                  </a:moveTo>
                  <a:cubicBezTo>
                    <a:pt x="36" y="12"/>
                    <a:pt x="32" y="17"/>
                    <a:pt x="16" y="30"/>
                  </a:cubicBezTo>
                  <a:cubicBezTo>
                    <a:pt x="0" y="43"/>
                    <a:pt x="8" y="48"/>
                    <a:pt x="21" y="40"/>
                  </a:cubicBezTo>
                  <a:cubicBezTo>
                    <a:pt x="34" y="31"/>
                    <a:pt x="51" y="0"/>
                    <a:pt x="36" y="1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7" name="Freeform 537">
              <a:extLst>
                <a:ext uri="{FF2B5EF4-FFF2-40B4-BE49-F238E27FC236}">
                  <a16:creationId xmlns:a16="http://schemas.microsoft.com/office/drawing/2014/main" id="{98E542E8-FFA0-B440-BD6E-857D5AEC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7" y="1601"/>
              <a:ext cx="53" cy="180"/>
            </a:xfrm>
            <a:custGeom>
              <a:avLst/>
              <a:gdLst>
                <a:gd name="T0" fmla="*/ 197 w 209"/>
                <a:gd name="T1" fmla="*/ 466 h 710"/>
                <a:gd name="T2" fmla="*/ 173 w 209"/>
                <a:gd name="T3" fmla="*/ 431 h 710"/>
                <a:gd name="T4" fmla="*/ 159 w 209"/>
                <a:gd name="T5" fmla="*/ 391 h 710"/>
                <a:gd name="T6" fmla="*/ 143 w 209"/>
                <a:gd name="T7" fmla="*/ 349 h 710"/>
                <a:gd name="T8" fmla="*/ 132 w 209"/>
                <a:gd name="T9" fmla="*/ 309 h 710"/>
                <a:gd name="T10" fmla="*/ 128 w 209"/>
                <a:gd name="T11" fmla="*/ 275 h 710"/>
                <a:gd name="T12" fmla="*/ 117 w 209"/>
                <a:gd name="T13" fmla="*/ 255 h 710"/>
                <a:gd name="T14" fmla="*/ 122 w 209"/>
                <a:gd name="T15" fmla="*/ 245 h 710"/>
                <a:gd name="T16" fmla="*/ 100 w 209"/>
                <a:gd name="T17" fmla="*/ 209 h 710"/>
                <a:gd name="T18" fmla="*/ 109 w 209"/>
                <a:gd name="T19" fmla="*/ 179 h 710"/>
                <a:gd name="T20" fmla="*/ 121 w 209"/>
                <a:gd name="T21" fmla="*/ 152 h 710"/>
                <a:gd name="T22" fmla="*/ 110 w 209"/>
                <a:gd name="T23" fmla="*/ 108 h 710"/>
                <a:gd name="T24" fmla="*/ 99 w 209"/>
                <a:gd name="T25" fmla="*/ 82 h 710"/>
                <a:gd name="T26" fmla="*/ 92 w 209"/>
                <a:gd name="T27" fmla="*/ 57 h 710"/>
                <a:gd name="T28" fmla="*/ 87 w 209"/>
                <a:gd name="T29" fmla="*/ 19 h 710"/>
                <a:gd name="T30" fmla="*/ 56 w 209"/>
                <a:gd name="T31" fmla="*/ 18 h 710"/>
                <a:gd name="T32" fmla="*/ 62 w 209"/>
                <a:gd name="T33" fmla="*/ 32 h 710"/>
                <a:gd name="T34" fmla="*/ 72 w 209"/>
                <a:gd name="T35" fmla="*/ 46 h 710"/>
                <a:gd name="T36" fmla="*/ 67 w 209"/>
                <a:gd name="T37" fmla="*/ 59 h 710"/>
                <a:gd name="T38" fmla="*/ 64 w 209"/>
                <a:gd name="T39" fmla="*/ 75 h 710"/>
                <a:gd name="T40" fmla="*/ 56 w 209"/>
                <a:gd name="T41" fmla="*/ 85 h 710"/>
                <a:gd name="T42" fmla="*/ 33 w 209"/>
                <a:gd name="T43" fmla="*/ 79 h 710"/>
                <a:gd name="T44" fmla="*/ 17 w 209"/>
                <a:gd name="T45" fmla="*/ 97 h 710"/>
                <a:gd name="T46" fmla="*/ 20 w 209"/>
                <a:gd name="T47" fmla="*/ 115 h 710"/>
                <a:gd name="T48" fmla="*/ 24 w 209"/>
                <a:gd name="T49" fmla="*/ 137 h 710"/>
                <a:gd name="T50" fmla="*/ 20 w 209"/>
                <a:gd name="T51" fmla="*/ 164 h 710"/>
                <a:gd name="T52" fmla="*/ 7 w 209"/>
                <a:gd name="T53" fmla="*/ 194 h 710"/>
                <a:gd name="T54" fmla="*/ 14 w 209"/>
                <a:gd name="T55" fmla="*/ 230 h 710"/>
                <a:gd name="T56" fmla="*/ 41 w 209"/>
                <a:gd name="T57" fmla="*/ 267 h 710"/>
                <a:gd name="T58" fmla="*/ 39 w 209"/>
                <a:gd name="T59" fmla="*/ 309 h 710"/>
                <a:gd name="T60" fmla="*/ 30 w 209"/>
                <a:gd name="T61" fmla="*/ 329 h 710"/>
                <a:gd name="T62" fmla="*/ 32 w 209"/>
                <a:gd name="T63" fmla="*/ 344 h 710"/>
                <a:gd name="T64" fmla="*/ 41 w 209"/>
                <a:gd name="T65" fmla="*/ 374 h 710"/>
                <a:gd name="T66" fmla="*/ 40 w 209"/>
                <a:gd name="T67" fmla="*/ 427 h 710"/>
                <a:gd name="T68" fmla="*/ 32 w 209"/>
                <a:gd name="T69" fmla="*/ 447 h 710"/>
                <a:gd name="T70" fmla="*/ 29 w 209"/>
                <a:gd name="T71" fmla="*/ 472 h 710"/>
                <a:gd name="T72" fmla="*/ 22 w 209"/>
                <a:gd name="T73" fmla="*/ 492 h 710"/>
                <a:gd name="T74" fmla="*/ 31 w 209"/>
                <a:gd name="T75" fmla="*/ 512 h 710"/>
                <a:gd name="T76" fmla="*/ 42 w 209"/>
                <a:gd name="T77" fmla="*/ 537 h 710"/>
                <a:gd name="T78" fmla="*/ 33 w 209"/>
                <a:gd name="T79" fmla="*/ 568 h 710"/>
                <a:gd name="T80" fmla="*/ 24 w 209"/>
                <a:gd name="T81" fmla="*/ 585 h 710"/>
                <a:gd name="T82" fmla="*/ 32 w 209"/>
                <a:gd name="T83" fmla="*/ 614 h 710"/>
                <a:gd name="T84" fmla="*/ 25 w 209"/>
                <a:gd name="T85" fmla="*/ 641 h 710"/>
                <a:gd name="T86" fmla="*/ 20 w 209"/>
                <a:gd name="T87" fmla="*/ 666 h 710"/>
                <a:gd name="T88" fmla="*/ 29 w 209"/>
                <a:gd name="T89" fmla="*/ 707 h 710"/>
                <a:gd name="T90" fmla="*/ 40 w 209"/>
                <a:gd name="T91" fmla="*/ 694 h 710"/>
                <a:gd name="T92" fmla="*/ 60 w 209"/>
                <a:gd name="T93" fmla="*/ 667 h 710"/>
                <a:gd name="T94" fmla="*/ 75 w 209"/>
                <a:gd name="T95" fmla="*/ 655 h 710"/>
                <a:gd name="T96" fmla="*/ 109 w 209"/>
                <a:gd name="T97" fmla="*/ 665 h 710"/>
                <a:gd name="T98" fmla="*/ 121 w 209"/>
                <a:gd name="T99" fmla="*/ 688 h 710"/>
                <a:gd name="T100" fmla="*/ 124 w 209"/>
                <a:gd name="T101" fmla="*/ 701 h 710"/>
                <a:gd name="T102" fmla="*/ 130 w 209"/>
                <a:gd name="T103" fmla="*/ 694 h 710"/>
                <a:gd name="T104" fmla="*/ 138 w 209"/>
                <a:gd name="T105" fmla="*/ 660 h 710"/>
                <a:gd name="T106" fmla="*/ 116 w 209"/>
                <a:gd name="T107" fmla="*/ 640 h 710"/>
                <a:gd name="T108" fmla="*/ 98 w 209"/>
                <a:gd name="T109" fmla="*/ 621 h 710"/>
                <a:gd name="T110" fmla="*/ 87 w 209"/>
                <a:gd name="T111" fmla="*/ 595 h 710"/>
                <a:gd name="T112" fmla="*/ 66 w 209"/>
                <a:gd name="T113" fmla="*/ 547 h 710"/>
                <a:gd name="T114" fmla="*/ 88 w 209"/>
                <a:gd name="T115" fmla="*/ 489 h 710"/>
                <a:gd name="T116" fmla="*/ 114 w 209"/>
                <a:gd name="T117" fmla="*/ 438 h 710"/>
                <a:gd name="T118" fmla="*/ 146 w 209"/>
                <a:gd name="T119" fmla="*/ 439 h 710"/>
                <a:gd name="T120" fmla="*/ 173 w 209"/>
                <a:gd name="T121" fmla="*/ 457 h 710"/>
                <a:gd name="T122" fmla="*/ 199 w 209"/>
                <a:gd name="T123" fmla="*/ 487 h 710"/>
                <a:gd name="T124" fmla="*/ 197 w 209"/>
                <a:gd name="T125" fmla="*/ 466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9" h="710">
                  <a:moveTo>
                    <a:pt x="197" y="466"/>
                  </a:moveTo>
                  <a:cubicBezTo>
                    <a:pt x="184" y="456"/>
                    <a:pt x="173" y="445"/>
                    <a:pt x="173" y="431"/>
                  </a:cubicBezTo>
                  <a:cubicBezTo>
                    <a:pt x="173" y="417"/>
                    <a:pt x="162" y="410"/>
                    <a:pt x="159" y="391"/>
                  </a:cubicBezTo>
                  <a:cubicBezTo>
                    <a:pt x="156" y="373"/>
                    <a:pt x="143" y="373"/>
                    <a:pt x="143" y="349"/>
                  </a:cubicBezTo>
                  <a:cubicBezTo>
                    <a:pt x="143" y="324"/>
                    <a:pt x="133" y="327"/>
                    <a:pt x="132" y="309"/>
                  </a:cubicBezTo>
                  <a:cubicBezTo>
                    <a:pt x="131" y="291"/>
                    <a:pt x="140" y="286"/>
                    <a:pt x="128" y="275"/>
                  </a:cubicBezTo>
                  <a:cubicBezTo>
                    <a:pt x="116" y="263"/>
                    <a:pt x="113" y="260"/>
                    <a:pt x="117" y="255"/>
                  </a:cubicBezTo>
                  <a:cubicBezTo>
                    <a:pt x="122" y="251"/>
                    <a:pt x="128" y="253"/>
                    <a:pt x="122" y="245"/>
                  </a:cubicBezTo>
                  <a:cubicBezTo>
                    <a:pt x="115" y="236"/>
                    <a:pt x="101" y="224"/>
                    <a:pt x="100" y="209"/>
                  </a:cubicBezTo>
                  <a:cubicBezTo>
                    <a:pt x="99" y="194"/>
                    <a:pt x="107" y="196"/>
                    <a:pt x="109" y="179"/>
                  </a:cubicBezTo>
                  <a:cubicBezTo>
                    <a:pt x="111" y="163"/>
                    <a:pt x="120" y="176"/>
                    <a:pt x="121" y="152"/>
                  </a:cubicBezTo>
                  <a:cubicBezTo>
                    <a:pt x="122" y="127"/>
                    <a:pt x="117" y="122"/>
                    <a:pt x="110" y="108"/>
                  </a:cubicBezTo>
                  <a:cubicBezTo>
                    <a:pt x="102" y="94"/>
                    <a:pt x="106" y="82"/>
                    <a:pt x="99" y="82"/>
                  </a:cubicBezTo>
                  <a:cubicBezTo>
                    <a:pt x="93" y="82"/>
                    <a:pt x="92" y="70"/>
                    <a:pt x="92" y="57"/>
                  </a:cubicBezTo>
                  <a:cubicBezTo>
                    <a:pt x="92" y="45"/>
                    <a:pt x="94" y="24"/>
                    <a:pt x="87" y="19"/>
                  </a:cubicBezTo>
                  <a:cubicBezTo>
                    <a:pt x="81" y="14"/>
                    <a:pt x="57" y="0"/>
                    <a:pt x="56" y="18"/>
                  </a:cubicBezTo>
                  <a:cubicBezTo>
                    <a:pt x="56" y="18"/>
                    <a:pt x="53" y="29"/>
                    <a:pt x="62" y="32"/>
                  </a:cubicBezTo>
                  <a:cubicBezTo>
                    <a:pt x="70" y="35"/>
                    <a:pt x="72" y="35"/>
                    <a:pt x="72" y="46"/>
                  </a:cubicBezTo>
                  <a:cubicBezTo>
                    <a:pt x="72" y="56"/>
                    <a:pt x="74" y="56"/>
                    <a:pt x="67" y="59"/>
                  </a:cubicBezTo>
                  <a:cubicBezTo>
                    <a:pt x="61" y="61"/>
                    <a:pt x="63" y="65"/>
                    <a:pt x="64" y="75"/>
                  </a:cubicBezTo>
                  <a:cubicBezTo>
                    <a:pt x="65" y="84"/>
                    <a:pt x="65" y="87"/>
                    <a:pt x="56" y="85"/>
                  </a:cubicBezTo>
                  <a:cubicBezTo>
                    <a:pt x="48" y="83"/>
                    <a:pt x="36" y="72"/>
                    <a:pt x="33" y="79"/>
                  </a:cubicBezTo>
                  <a:cubicBezTo>
                    <a:pt x="30" y="85"/>
                    <a:pt x="17" y="84"/>
                    <a:pt x="17" y="97"/>
                  </a:cubicBezTo>
                  <a:cubicBezTo>
                    <a:pt x="17" y="110"/>
                    <a:pt x="14" y="110"/>
                    <a:pt x="20" y="115"/>
                  </a:cubicBezTo>
                  <a:cubicBezTo>
                    <a:pt x="26" y="121"/>
                    <a:pt x="24" y="127"/>
                    <a:pt x="24" y="137"/>
                  </a:cubicBezTo>
                  <a:cubicBezTo>
                    <a:pt x="24" y="146"/>
                    <a:pt x="29" y="153"/>
                    <a:pt x="20" y="164"/>
                  </a:cubicBezTo>
                  <a:cubicBezTo>
                    <a:pt x="11" y="176"/>
                    <a:pt x="6" y="182"/>
                    <a:pt x="7" y="194"/>
                  </a:cubicBezTo>
                  <a:cubicBezTo>
                    <a:pt x="8" y="207"/>
                    <a:pt x="0" y="218"/>
                    <a:pt x="14" y="230"/>
                  </a:cubicBezTo>
                  <a:cubicBezTo>
                    <a:pt x="27" y="242"/>
                    <a:pt x="41" y="251"/>
                    <a:pt x="41" y="267"/>
                  </a:cubicBezTo>
                  <a:cubicBezTo>
                    <a:pt x="41" y="283"/>
                    <a:pt x="45" y="297"/>
                    <a:pt x="39" y="309"/>
                  </a:cubicBezTo>
                  <a:cubicBezTo>
                    <a:pt x="34" y="321"/>
                    <a:pt x="30" y="323"/>
                    <a:pt x="30" y="329"/>
                  </a:cubicBezTo>
                  <a:cubicBezTo>
                    <a:pt x="30" y="336"/>
                    <a:pt x="23" y="339"/>
                    <a:pt x="32" y="344"/>
                  </a:cubicBezTo>
                  <a:cubicBezTo>
                    <a:pt x="40" y="350"/>
                    <a:pt x="41" y="358"/>
                    <a:pt x="41" y="374"/>
                  </a:cubicBezTo>
                  <a:cubicBezTo>
                    <a:pt x="41" y="390"/>
                    <a:pt x="47" y="418"/>
                    <a:pt x="40" y="427"/>
                  </a:cubicBezTo>
                  <a:cubicBezTo>
                    <a:pt x="34" y="435"/>
                    <a:pt x="32" y="437"/>
                    <a:pt x="32" y="447"/>
                  </a:cubicBezTo>
                  <a:cubicBezTo>
                    <a:pt x="32" y="457"/>
                    <a:pt x="37" y="465"/>
                    <a:pt x="29" y="472"/>
                  </a:cubicBezTo>
                  <a:cubicBezTo>
                    <a:pt x="20" y="478"/>
                    <a:pt x="22" y="483"/>
                    <a:pt x="22" y="492"/>
                  </a:cubicBezTo>
                  <a:cubicBezTo>
                    <a:pt x="22" y="500"/>
                    <a:pt x="25" y="507"/>
                    <a:pt x="31" y="512"/>
                  </a:cubicBezTo>
                  <a:cubicBezTo>
                    <a:pt x="36" y="518"/>
                    <a:pt x="44" y="520"/>
                    <a:pt x="42" y="537"/>
                  </a:cubicBezTo>
                  <a:cubicBezTo>
                    <a:pt x="41" y="554"/>
                    <a:pt x="35" y="555"/>
                    <a:pt x="33" y="568"/>
                  </a:cubicBezTo>
                  <a:cubicBezTo>
                    <a:pt x="31" y="581"/>
                    <a:pt x="23" y="574"/>
                    <a:pt x="24" y="585"/>
                  </a:cubicBezTo>
                  <a:cubicBezTo>
                    <a:pt x="25" y="596"/>
                    <a:pt x="32" y="599"/>
                    <a:pt x="32" y="614"/>
                  </a:cubicBezTo>
                  <a:cubicBezTo>
                    <a:pt x="32" y="629"/>
                    <a:pt x="30" y="633"/>
                    <a:pt x="25" y="641"/>
                  </a:cubicBezTo>
                  <a:cubicBezTo>
                    <a:pt x="21" y="648"/>
                    <a:pt x="19" y="649"/>
                    <a:pt x="20" y="666"/>
                  </a:cubicBezTo>
                  <a:cubicBezTo>
                    <a:pt x="21" y="683"/>
                    <a:pt x="14" y="704"/>
                    <a:pt x="29" y="707"/>
                  </a:cubicBezTo>
                  <a:cubicBezTo>
                    <a:pt x="44" y="710"/>
                    <a:pt x="37" y="709"/>
                    <a:pt x="40" y="694"/>
                  </a:cubicBezTo>
                  <a:cubicBezTo>
                    <a:pt x="44" y="679"/>
                    <a:pt x="56" y="682"/>
                    <a:pt x="60" y="667"/>
                  </a:cubicBezTo>
                  <a:cubicBezTo>
                    <a:pt x="63" y="652"/>
                    <a:pt x="65" y="655"/>
                    <a:pt x="75" y="655"/>
                  </a:cubicBezTo>
                  <a:cubicBezTo>
                    <a:pt x="84" y="655"/>
                    <a:pt x="109" y="651"/>
                    <a:pt x="109" y="665"/>
                  </a:cubicBezTo>
                  <a:cubicBezTo>
                    <a:pt x="109" y="679"/>
                    <a:pt x="114" y="683"/>
                    <a:pt x="121" y="688"/>
                  </a:cubicBezTo>
                  <a:cubicBezTo>
                    <a:pt x="127" y="692"/>
                    <a:pt x="116" y="701"/>
                    <a:pt x="124" y="701"/>
                  </a:cubicBezTo>
                  <a:cubicBezTo>
                    <a:pt x="131" y="701"/>
                    <a:pt x="129" y="702"/>
                    <a:pt x="130" y="694"/>
                  </a:cubicBezTo>
                  <a:cubicBezTo>
                    <a:pt x="131" y="687"/>
                    <a:pt x="141" y="680"/>
                    <a:pt x="138" y="660"/>
                  </a:cubicBezTo>
                  <a:cubicBezTo>
                    <a:pt x="135" y="640"/>
                    <a:pt x="126" y="643"/>
                    <a:pt x="116" y="640"/>
                  </a:cubicBezTo>
                  <a:cubicBezTo>
                    <a:pt x="107" y="636"/>
                    <a:pt x="97" y="630"/>
                    <a:pt x="98" y="621"/>
                  </a:cubicBezTo>
                  <a:cubicBezTo>
                    <a:pt x="99" y="613"/>
                    <a:pt x="99" y="605"/>
                    <a:pt x="87" y="595"/>
                  </a:cubicBezTo>
                  <a:cubicBezTo>
                    <a:pt x="76" y="584"/>
                    <a:pt x="63" y="564"/>
                    <a:pt x="66" y="547"/>
                  </a:cubicBezTo>
                  <a:cubicBezTo>
                    <a:pt x="69" y="529"/>
                    <a:pt x="82" y="515"/>
                    <a:pt x="88" y="489"/>
                  </a:cubicBezTo>
                  <a:cubicBezTo>
                    <a:pt x="95" y="462"/>
                    <a:pt x="100" y="441"/>
                    <a:pt x="114" y="438"/>
                  </a:cubicBezTo>
                  <a:cubicBezTo>
                    <a:pt x="128" y="436"/>
                    <a:pt x="133" y="430"/>
                    <a:pt x="146" y="439"/>
                  </a:cubicBezTo>
                  <a:cubicBezTo>
                    <a:pt x="159" y="449"/>
                    <a:pt x="162" y="442"/>
                    <a:pt x="173" y="457"/>
                  </a:cubicBezTo>
                  <a:cubicBezTo>
                    <a:pt x="184" y="472"/>
                    <a:pt x="191" y="489"/>
                    <a:pt x="199" y="487"/>
                  </a:cubicBezTo>
                  <a:cubicBezTo>
                    <a:pt x="206" y="484"/>
                    <a:pt x="209" y="477"/>
                    <a:pt x="197" y="46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8" name="Freeform 538">
              <a:extLst>
                <a:ext uri="{FF2B5EF4-FFF2-40B4-BE49-F238E27FC236}">
                  <a16:creationId xmlns:a16="http://schemas.microsoft.com/office/drawing/2014/main" id="{8AA4FAEC-C72D-5848-87F8-ED71181D2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4" y="1774"/>
              <a:ext cx="20" cy="13"/>
            </a:xfrm>
            <a:custGeom>
              <a:avLst/>
              <a:gdLst>
                <a:gd name="T0" fmla="*/ 73 w 80"/>
                <a:gd name="T1" fmla="*/ 7 h 52"/>
                <a:gd name="T2" fmla="*/ 52 w 80"/>
                <a:gd name="T3" fmla="*/ 13 h 52"/>
                <a:gd name="T4" fmla="*/ 31 w 80"/>
                <a:gd name="T5" fmla="*/ 28 h 52"/>
                <a:gd name="T6" fmla="*/ 10 w 80"/>
                <a:gd name="T7" fmla="*/ 51 h 52"/>
                <a:gd name="T8" fmla="*/ 41 w 80"/>
                <a:gd name="T9" fmla="*/ 41 h 52"/>
                <a:gd name="T10" fmla="*/ 65 w 80"/>
                <a:gd name="T11" fmla="*/ 23 h 52"/>
                <a:gd name="T12" fmla="*/ 73 w 80"/>
                <a:gd name="T13" fmla="*/ 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52">
                  <a:moveTo>
                    <a:pt x="73" y="7"/>
                  </a:moveTo>
                  <a:cubicBezTo>
                    <a:pt x="67" y="7"/>
                    <a:pt x="64" y="0"/>
                    <a:pt x="52" y="13"/>
                  </a:cubicBezTo>
                  <a:cubicBezTo>
                    <a:pt x="52" y="13"/>
                    <a:pt x="43" y="19"/>
                    <a:pt x="31" y="28"/>
                  </a:cubicBezTo>
                  <a:cubicBezTo>
                    <a:pt x="20" y="38"/>
                    <a:pt x="0" y="50"/>
                    <a:pt x="10" y="51"/>
                  </a:cubicBezTo>
                  <a:cubicBezTo>
                    <a:pt x="20" y="52"/>
                    <a:pt x="29" y="51"/>
                    <a:pt x="41" y="41"/>
                  </a:cubicBezTo>
                  <a:cubicBezTo>
                    <a:pt x="53" y="31"/>
                    <a:pt x="64" y="30"/>
                    <a:pt x="65" y="23"/>
                  </a:cubicBezTo>
                  <a:cubicBezTo>
                    <a:pt x="66" y="15"/>
                    <a:pt x="80" y="7"/>
                    <a:pt x="73" y="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09" name="Freeform 539">
              <a:extLst>
                <a:ext uri="{FF2B5EF4-FFF2-40B4-BE49-F238E27FC236}">
                  <a16:creationId xmlns:a16="http://schemas.microsoft.com/office/drawing/2014/main" id="{77E69126-F669-9146-B886-21875E679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3" y="1787"/>
              <a:ext cx="34" cy="23"/>
            </a:xfrm>
            <a:custGeom>
              <a:avLst/>
              <a:gdLst>
                <a:gd name="T0" fmla="*/ 122 w 137"/>
                <a:gd name="T1" fmla="*/ 9 h 91"/>
                <a:gd name="T2" fmla="*/ 102 w 137"/>
                <a:gd name="T3" fmla="*/ 22 h 91"/>
                <a:gd name="T4" fmla="*/ 60 w 137"/>
                <a:gd name="T5" fmla="*/ 32 h 91"/>
                <a:gd name="T6" fmla="*/ 25 w 137"/>
                <a:gd name="T7" fmla="*/ 69 h 91"/>
                <a:gd name="T8" fmla="*/ 8 w 137"/>
                <a:gd name="T9" fmla="*/ 89 h 91"/>
                <a:gd name="T10" fmla="*/ 37 w 137"/>
                <a:gd name="T11" fmla="*/ 78 h 91"/>
                <a:gd name="T12" fmla="*/ 66 w 137"/>
                <a:gd name="T13" fmla="*/ 51 h 91"/>
                <a:gd name="T14" fmla="*/ 92 w 137"/>
                <a:gd name="T15" fmla="*/ 40 h 91"/>
                <a:gd name="T16" fmla="*/ 117 w 137"/>
                <a:gd name="T17" fmla="*/ 28 h 91"/>
                <a:gd name="T18" fmla="*/ 122 w 137"/>
                <a:gd name="T19" fmla="*/ 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91">
                  <a:moveTo>
                    <a:pt x="122" y="9"/>
                  </a:moveTo>
                  <a:cubicBezTo>
                    <a:pt x="122" y="9"/>
                    <a:pt x="117" y="20"/>
                    <a:pt x="102" y="22"/>
                  </a:cubicBezTo>
                  <a:cubicBezTo>
                    <a:pt x="87" y="24"/>
                    <a:pt x="66" y="21"/>
                    <a:pt x="60" y="32"/>
                  </a:cubicBezTo>
                  <a:cubicBezTo>
                    <a:pt x="53" y="43"/>
                    <a:pt x="34" y="64"/>
                    <a:pt x="25" y="69"/>
                  </a:cubicBezTo>
                  <a:cubicBezTo>
                    <a:pt x="17" y="75"/>
                    <a:pt x="0" y="89"/>
                    <a:pt x="8" y="89"/>
                  </a:cubicBezTo>
                  <a:cubicBezTo>
                    <a:pt x="17" y="89"/>
                    <a:pt x="26" y="91"/>
                    <a:pt x="37" y="78"/>
                  </a:cubicBezTo>
                  <a:cubicBezTo>
                    <a:pt x="48" y="65"/>
                    <a:pt x="53" y="54"/>
                    <a:pt x="66" y="51"/>
                  </a:cubicBezTo>
                  <a:cubicBezTo>
                    <a:pt x="79" y="48"/>
                    <a:pt x="86" y="49"/>
                    <a:pt x="92" y="40"/>
                  </a:cubicBezTo>
                  <a:cubicBezTo>
                    <a:pt x="97" y="32"/>
                    <a:pt x="106" y="31"/>
                    <a:pt x="117" y="28"/>
                  </a:cubicBezTo>
                  <a:cubicBezTo>
                    <a:pt x="129" y="24"/>
                    <a:pt x="137" y="0"/>
                    <a:pt x="122" y="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0" name="Freeform 540">
              <a:extLst>
                <a:ext uri="{FF2B5EF4-FFF2-40B4-BE49-F238E27FC236}">
                  <a16:creationId xmlns:a16="http://schemas.microsoft.com/office/drawing/2014/main" id="{01CDA3C8-1605-634E-97E2-B57FB0066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" y="1804"/>
              <a:ext cx="20" cy="20"/>
            </a:xfrm>
            <a:custGeom>
              <a:avLst/>
              <a:gdLst>
                <a:gd name="T0" fmla="*/ 44 w 78"/>
                <a:gd name="T1" fmla="*/ 18 h 79"/>
                <a:gd name="T2" fmla="*/ 22 w 78"/>
                <a:gd name="T3" fmla="*/ 56 h 79"/>
                <a:gd name="T4" fmla="*/ 15 w 78"/>
                <a:gd name="T5" fmla="*/ 75 h 79"/>
                <a:gd name="T6" fmla="*/ 42 w 78"/>
                <a:gd name="T7" fmla="*/ 51 h 79"/>
                <a:gd name="T8" fmla="*/ 62 w 78"/>
                <a:gd name="T9" fmla="*/ 46 h 79"/>
                <a:gd name="T10" fmla="*/ 70 w 78"/>
                <a:gd name="T11" fmla="*/ 38 h 79"/>
                <a:gd name="T12" fmla="*/ 44 w 78"/>
                <a:gd name="T13" fmla="*/ 1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79">
                  <a:moveTo>
                    <a:pt x="44" y="18"/>
                  </a:moveTo>
                  <a:cubicBezTo>
                    <a:pt x="44" y="18"/>
                    <a:pt x="32" y="51"/>
                    <a:pt x="22" y="56"/>
                  </a:cubicBezTo>
                  <a:cubicBezTo>
                    <a:pt x="13" y="60"/>
                    <a:pt x="0" y="79"/>
                    <a:pt x="15" y="75"/>
                  </a:cubicBezTo>
                  <a:cubicBezTo>
                    <a:pt x="30" y="71"/>
                    <a:pt x="33" y="58"/>
                    <a:pt x="42" y="51"/>
                  </a:cubicBezTo>
                  <a:cubicBezTo>
                    <a:pt x="50" y="45"/>
                    <a:pt x="56" y="40"/>
                    <a:pt x="62" y="46"/>
                  </a:cubicBezTo>
                  <a:cubicBezTo>
                    <a:pt x="68" y="53"/>
                    <a:pt x="78" y="46"/>
                    <a:pt x="70" y="38"/>
                  </a:cubicBezTo>
                  <a:cubicBezTo>
                    <a:pt x="63" y="29"/>
                    <a:pt x="48" y="0"/>
                    <a:pt x="44" y="1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1" name="Freeform 541">
              <a:extLst>
                <a:ext uri="{FF2B5EF4-FFF2-40B4-BE49-F238E27FC236}">
                  <a16:creationId xmlns:a16="http://schemas.microsoft.com/office/drawing/2014/main" id="{5197FC68-AE4F-2748-A920-A20AD38D6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1" y="964"/>
              <a:ext cx="2622" cy="912"/>
            </a:xfrm>
            <a:custGeom>
              <a:avLst/>
              <a:gdLst>
                <a:gd name="T0" fmla="*/ 9633 w 10369"/>
                <a:gd name="T1" fmla="*/ 1038 h 3605"/>
                <a:gd name="T2" fmla="*/ 8756 w 10369"/>
                <a:gd name="T3" fmla="*/ 1015 h 3605"/>
                <a:gd name="T4" fmla="*/ 7557 w 10369"/>
                <a:gd name="T5" fmla="*/ 692 h 3605"/>
                <a:gd name="T6" fmla="*/ 7101 w 10369"/>
                <a:gd name="T7" fmla="*/ 791 h 3605"/>
                <a:gd name="T8" fmla="*/ 6458 w 10369"/>
                <a:gd name="T9" fmla="*/ 634 h 3605"/>
                <a:gd name="T10" fmla="*/ 5361 w 10369"/>
                <a:gd name="T11" fmla="*/ 520 h 3605"/>
                <a:gd name="T12" fmla="*/ 5379 w 10369"/>
                <a:gd name="T13" fmla="*/ 389 h 3605"/>
                <a:gd name="T14" fmla="*/ 5045 w 10369"/>
                <a:gd name="T15" fmla="*/ 168 h 3605"/>
                <a:gd name="T16" fmla="*/ 4581 w 10369"/>
                <a:gd name="T17" fmla="*/ 204 h 3605"/>
                <a:gd name="T18" fmla="*/ 3977 w 10369"/>
                <a:gd name="T19" fmla="*/ 303 h 3605"/>
                <a:gd name="T20" fmla="*/ 3373 w 10369"/>
                <a:gd name="T21" fmla="*/ 595 h 3605"/>
                <a:gd name="T22" fmla="*/ 3095 w 10369"/>
                <a:gd name="T23" fmla="*/ 748 h 3605"/>
                <a:gd name="T24" fmla="*/ 2963 w 10369"/>
                <a:gd name="T25" fmla="*/ 748 h 3605"/>
                <a:gd name="T26" fmla="*/ 3173 w 10369"/>
                <a:gd name="T27" fmla="*/ 1218 h 3605"/>
                <a:gd name="T28" fmla="*/ 2653 w 10369"/>
                <a:gd name="T29" fmla="*/ 1329 h 3605"/>
                <a:gd name="T30" fmla="*/ 2847 w 10369"/>
                <a:gd name="T31" fmla="*/ 787 h 3605"/>
                <a:gd name="T32" fmla="*/ 2639 w 10369"/>
                <a:gd name="T33" fmla="*/ 1131 h 3605"/>
                <a:gd name="T34" fmla="*/ 2004 w 10369"/>
                <a:gd name="T35" fmla="*/ 1085 h 3605"/>
                <a:gd name="T36" fmla="*/ 1393 w 10369"/>
                <a:gd name="T37" fmla="*/ 1210 h 3605"/>
                <a:gd name="T38" fmla="*/ 1062 w 10369"/>
                <a:gd name="T39" fmla="*/ 1235 h 3605"/>
                <a:gd name="T40" fmla="*/ 707 w 10369"/>
                <a:gd name="T41" fmla="*/ 1534 h 3605"/>
                <a:gd name="T42" fmla="*/ 393 w 10369"/>
                <a:gd name="T43" fmla="*/ 1356 h 3605"/>
                <a:gd name="T44" fmla="*/ 593 w 10369"/>
                <a:gd name="T45" fmla="*/ 1082 h 3605"/>
                <a:gd name="T46" fmla="*/ 169 w 10369"/>
                <a:gd name="T47" fmla="*/ 1032 h 3605"/>
                <a:gd name="T48" fmla="*/ 152 w 10369"/>
                <a:gd name="T49" fmla="*/ 1456 h 3605"/>
                <a:gd name="T50" fmla="*/ 129 w 10369"/>
                <a:gd name="T51" fmla="*/ 2005 h 3605"/>
                <a:gd name="T52" fmla="*/ 218 w 10369"/>
                <a:gd name="T53" fmla="*/ 2414 h 3605"/>
                <a:gd name="T54" fmla="*/ 416 w 10369"/>
                <a:gd name="T55" fmla="*/ 2705 h 3605"/>
                <a:gd name="T56" fmla="*/ 806 w 10369"/>
                <a:gd name="T57" fmla="*/ 2993 h 3605"/>
                <a:gd name="T58" fmla="*/ 626 w 10369"/>
                <a:gd name="T59" fmla="*/ 3311 h 3605"/>
                <a:gd name="T60" fmla="*/ 1181 w 10369"/>
                <a:gd name="T61" fmla="*/ 3537 h 3605"/>
                <a:gd name="T62" fmla="*/ 1280 w 10369"/>
                <a:gd name="T63" fmla="*/ 3281 h 3605"/>
                <a:gd name="T64" fmla="*/ 1399 w 10369"/>
                <a:gd name="T65" fmla="*/ 3209 h 3605"/>
                <a:gd name="T66" fmla="*/ 1446 w 10369"/>
                <a:gd name="T67" fmla="*/ 2799 h 3605"/>
                <a:gd name="T68" fmla="*/ 2047 w 10369"/>
                <a:gd name="T69" fmla="*/ 2863 h 3605"/>
                <a:gd name="T70" fmla="*/ 2144 w 10369"/>
                <a:gd name="T71" fmla="*/ 2593 h 3605"/>
                <a:gd name="T72" fmla="*/ 2811 w 10369"/>
                <a:gd name="T73" fmla="*/ 2551 h 3605"/>
                <a:gd name="T74" fmla="*/ 3154 w 10369"/>
                <a:gd name="T75" fmla="*/ 2531 h 3605"/>
                <a:gd name="T76" fmla="*/ 3798 w 10369"/>
                <a:gd name="T77" fmla="*/ 2958 h 3605"/>
                <a:gd name="T78" fmla="*/ 3845 w 10369"/>
                <a:gd name="T79" fmla="*/ 2979 h 3605"/>
                <a:gd name="T80" fmla="*/ 4260 w 10369"/>
                <a:gd name="T81" fmla="*/ 2861 h 3605"/>
                <a:gd name="T82" fmla="*/ 4586 w 10369"/>
                <a:gd name="T83" fmla="*/ 2741 h 3605"/>
                <a:gd name="T84" fmla="*/ 5141 w 10369"/>
                <a:gd name="T85" fmla="*/ 2943 h 3605"/>
                <a:gd name="T86" fmla="*/ 5682 w 10369"/>
                <a:gd name="T87" fmla="*/ 2915 h 3605"/>
                <a:gd name="T88" fmla="*/ 5700 w 10369"/>
                <a:gd name="T89" fmla="*/ 2929 h 3605"/>
                <a:gd name="T90" fmla="*/ 6048 w 10369"/>
                <a:gd name="T91" fmla="*/ 2605 h 3605"/>
                <a:gd name="T92" fmla="*/ 6511 w 10369"/>
                <a:gd name="T93" fmla="*/ 2963 h 3605"/>
                <a:gd name="T94" fmla="*/ 6758 w 10369"/>
                <a:gd name="T95" fmla="*/ 3236 h 3605"/>
                <a:gd name="T96" fmla="*/ 6564 w 10369"/>
                <a:gd name="T97" fmla="*/ 3499 h 3605"/>
                <a:gd name="T98" fmla="*/ 7205 w 10369"/>
                <a:gd name="T99" fmla="*/ 2594 h 3605"/>
                <a:gd name="T100" fmla="*/ 6972 w 10369"/>
                <a:gd name="T101" fmla="*/ 2403 h 3605"/>
                <a:gd name="T102" fmla="*/ 7779 w 10369"/>
                <a:gd name="T103" fmla="*/ 2034 h 3605"/>
                <a:gd name="T104" fmla="*/ 8131 w 10369"/>
                <a:gd name="T105" fmla="*/ 1969 h 3605"/>
                <a:gd name="T106" fmla="*/ 8634 w 10369"/>
                <a:gd name="T107" fmla="*/ 1813 h 3605"/>
                <a:gd name="T108" fmla="*/ 8304 w 10369"/>
                <a:gd name="T109" fmla="*/ 2196 h 3605"/>
                <a:gd name="T110" fmla="*/ 8446 w 10369"/>
                <a:gd name="T111" fmla="*/ 2634 h 3605"/>
                <a:gd name="T112" fmla="*/ 8601 w 10369"/>
                <a:gd name="T113" fmla="*/ 2208 h 3605"/>
                <a:gd name="T114" fmla="*/ 9287 w 10369"/>
                <a:gd name="T115" fmla="*/ 1860 h 3605"/>
                <a:gd name="T116" fmla="*/ 9498 w 10369"/>
                <a:gd name="T117" fmla="*/ 1554 h 3605"/>
                <a:gd name="T118" fmla="*/ 10160 w 10369"/>
                <a:gd name="T119" fmla="*/ 1580 h 3605"/>
                <a:gd name="T120" fmla="*/ 5014 w 10369"/>
                <a:gd name="T121" fmla="*/ 2718 h 3605"/>
                <a:gd name="T122" fmla="*/ 5230 w 10369"/>
                <a:gd name="T123" fmla="*/ 2402 h 3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369" h="3605">
                  <a:moveTo>
                    <a:pt x="10261" y="1460"/>
                  </a:moveTo>
                  <a:cubicBezTo>
                    <a:pt x="10291" y="1460"/>
                    <a:pt x="10246" y="1440"/>
                    <a:pt x="10266" y="1440"/>
                  </a:cubicBezTo>
                  <a:cubicBezTo>
                    <a:pt x="10285" y="1440"/>
                    <a:pt x="10309" y="1440"/>
                    <a:pt x="10311" y="1430"/>
                  </a:cubicBezTo>
                  <a:cubicBezTo>
                    <a:pt x="10313" y="1419"/>
                    <a:pt x="10326" y="1415"/>
                    <a:pt x="10347" y="1404"/>
                  </a:cubicBezTo>
                  <a:cubicBezTo>
                    <a:pt x="10369" y="1393"/>
                    <a:pt x="10343" y="1384"/>
                    <a:pt x="10326" y="1378"/>
                  </a:cubicBezTo>
                  <a:cubicBezTo>
                    <a:pt x="10309" y="1372"/>
                    <a:pt x="10306" y="1354"/>
                    <a:pt x="10285" y="1348"/>
                  </a:cubicBezTo>
                  <a:cubicBezTo>
                    <a:pt x="10263" y="1341"/>
                    <a:pt x="10255" y="1326"/>
                    <a:pt x="10240" y="1309"/>
                  </a:cubicBezTo>
                  <a:cubicBezTo>
                    <a:pt x="10225" y="1292"/>
                    <a:pt x="10186" y="1292"/>
                    <a:pt x="10169" y="1305"/>
                  </a:cubicBezTo>
                  <a:cubicBezTo>
                    <a:pt x="10152" y="1318"/>
                    <a:pt x="10132" y="1301"/>
                    <a:pt x="10130" y="1290"/>
                  </a:cubicBezTo>
                  <a:cubicBezTo>
                    <a:pt x="10128" y="1279"/>
                    <a:pt x="10106" y="1286"/>
                    <a:pt x="10079" y="1288"/>
                  </a:cubicBezTo>
                  <a:cubicBezTo>
                    <a:pt x="10051" y="1290"/>
                    <a:pt x="10072" y="1311"/>
                    <a:pt x="10085" y="1324"/>
                  </a:cubicBezTo>
                  <a:cubicBezTo>
                    <a:pt x="10098" y="1337"/>
                    <a:pt x="10087" y="1346"/>
                    <a:pt x="10085" y="1354"/>
                  </a:cubicBezTo>
                  <a:cubicBezTo>
                    <a:pt x="10083" y="1363"/>
                    <a:pt x="10063" y="1367"/>
                    <a:pt x="10048" y="1352"/>
                  </a:cubicBezTo>
                  <a:cubicBezTo>
                    <a:pt x="10033" y="1337"/>
                    <a:pt x="10046" y="1320"/>
                    <a:pt x="10038" y="1305"/>
                  </a:cubicBezTo>
                  <a:cubicBezTo>
                    <a:pt x="10029" y="1290"/>
                    <a:pt x="10038" y="1296"/>
                    <a:pt x="10046" y="1277"/>
                  </a:cubicBezTo>
                  <a:cubicBezTo>
                    <a:pt x="10055" y="1258"/>
                    <a:pt x="10023" y="1262"/>
                    <a:pt x="10018" y="1247"/>
                  </a:cubicBezTo>
                  <a:cubicBezTo>
                    <a:pt x="10014" y="1232"/>
                    <a:pt x="9960" y="1202"/>
                    <a:pt x="9939" y="1191"/>
                  </a:cubicBezTo>
                  <a:cubicBezTo>
                    <a:pt x="9917" y="1180"/>
                    <a:pt x="9922" y="1174"/>
                    <a:pt x="9859" y="1154"/>
                  </a:cubicBezTo>
                  <a:cubicBezTo>
                    <a:pt x="9797" y="1135"/>
                    <a:pt x="9816" y="1150"/>
                    <a:pt x="9793" y="1114"/>
                  </a:cubicBezTo>
                  <a:cubicBezTo>
                    <a:pt x="9769" y="1077"/>
                    <a:pt x="9747" y="1105"/>
                    <a:pt x="9743" y="1092"/>
                  </a:cubicBezTo>
                  <a:cubicBezTo>
                    <a:pt x="9739" y="1079"/>
                    <a:pt x="9707" y="1090"/>
                    <a:pt x="9689" y="1068"/>
                  </a:cubicBezTo>
                  <a:cubicBezTo>
                    <a:pt x="9672" y="1047"/>
                    <a:pt x="9646" y="1058"/>
                    <a:pt x="9633" y="1038"/>
                  </a:cubicBezTo>
                  <a:cubicBezTo>
                    <a:pt x="9621" y="1019"/>
                    <a:pt x="9567" y="1021"/>
                    <a:pt x="9526" y="1013"/>
                  </a:cubicBezTo>
                  <a:cubicBezTo>
                    <a:pt x="9485" y="1004"/>
                    <a:pt x="9487" y="1004"/>
                    <a:pt x="9472" y="982"/>
                  </a:cubicBezTo>
                  <a:cubicBezTo>
                    <a:pt x="9457" y="961"/>
                    <a:pt x="9356" y="980"/>
                    <a:pt x="9332" y="976"/>
                  </a:cubicBezTo>
                  <a:cubicBezTo>
                    <a:pt x="9309" y="972"/>
                    <a:pt x="9296" y="974"/>
                    <a:pt x="9285" y="982"/>
                  </a:cubicBezTo>
                  <a:cubicBezTo>
                    <a:pt x="9274" y="991"/>
                    <a:pt x="9244" y="963"/>
                    <a:pt x="9203" y="965"/>
                  </a:cubicBezTo>
                  <a:cubicBezTo>
                    <a:pt x="9163" y="967"/>
                    <a:pt x="9163" y="967"/>
                    <a:pt x="9137" y="950"/>
                  </a:cubicBezTo>
                  <a:cubicBezTo>
                    <a:pt x="9111" y="933"/>
                    <a:pt x="9107" y="952"/>
                    <a:pt x="9107" y="965"/>
                  </a:cubicBezTo>
                  <a:cubicBezTo>
                    <a:pt x="9107" y="978"/>
                    <a:pt x="9107" y="985"/>
                    <a:pt x="9094" y="993"/>
                  </a:cubicBezTo>
                  <a:cubicBezTo>
                    <a:pt x="9081" y="1002"/>
                    <a:pt x="9092" y="1013"/>
                    <a:pt x="9105" y="1015"/>
                  </a:cubicBezTo>
                  <a:cubicBezTo>
                    <a:pt x="9117" y="1017"/>
                    <a:pt x="9126" y="1038"/>
                    <a:pt x="9137" y="1058"/>
                  </a:cubicBezTo>
                  <a:cubicBezTo>
                    <a:pt x="9148" y="1077"/>
                    <a:pt x="9145" y="1083"/>
                    <a:pt x="9124" y="1083"/>
                  </a:cubicBezTo>
                  <a:cubicBezTo>
                    <a:pt x="9102" y="1083"/>
                    <a:pt x="9102" y="1107"/>
                    <a:pt x="9077" y="1105"/>
                  </a:cubicBezTo>
                  <a:cubicBezTo>
                    <a:pt x="9051" y="1103"/>
                    <a:pt x="9036" y="1090"/>
                    <a:pt x="9027" y="1075"/>
                  </a:cubicBezTo>
                  <a:cubicBezTo>
                    <a:pt x="9019" y="1060"/>
                    <a:pt x="8993" y="1053"/>
                    <a:pt x="8973" y="1053"/>
                  </a:cubicBezTo>
                  <a:cubicBezTo>
                    <a:pt x="8954" y="1053"/>
                    <a:pt x="8956" y="1034"/>
                    <a:pt x="8950" y="1017"/>
                  </a:cubicBezTo>
                  <a:cubicBezTo>
                    <a:pt x="8943" y="1000"/>
                    <a:pt x="8973" y="997"/>
                    <a:pt x="8995" y="1010"/>
                  </a:cubicBezTo>
                  <a:cubicBezTo>
                    <a:pt x="9016" y="1023"/>
                    <a:pt x="9023" y="1017"/>
                    <a:pt x="9027" y="997"/>
                  </a:cubicBezTo>
                  <a:cubicBezTo>
                    <a:pt x="9031" y="978"/>
                    <a:pt x="9004" y="972"/>
                    <a:pt x="8973" y="965"/>
                  </a:cubicBezTo>
                  <a:cubicBezTo>
                    <a:pt x="8943" y="959"/>
                    <a:pt x="8935" y="978"/>
                    <a:pt x="8922" y="993"/>
                  </a:cubicBezTo>
                  <a:cubicBezTo>
                    <a:pt x="8909" y="1008"/>
                    <a:pt x="8915" y="1021"/>
                    <a:pt x="8881" y="1021"/>
                  </a:cubicBezTo>
                  <a:cubicBezTo>
                    <a:pt x="8847" y="1021"/>
                    <a:pt x="8827" y="1021"/>
                    <a:pt x="8816" y="1015"/>
                  </a:cubicBezTo>
                  <a:cubicBezTo>
                    <a:pt x="8806" y="1008"/>
                    <a:pt x="8784" y="1010"/>
                    <a:pt x="8756" y="1015"/>
                  </a:cubicBezTo>
                  <a:cubicBezTo>
                    <a:pt x="8728" y="1019"/>
                    <a:pt x="8720" y="1015"/>
                    <a:pt x="8707" y="1004"/>
                  </a:cubicBezTo>
                  <a:cubicBezTo>
                    <a:pt x="8694" y="993"/>
                    <a:pt x="8664" y="995"/>
                    <a:pt x="8644" y="997"/>
                  </a:cubicBezTo>
                  <a:cubicBezTo>
                    <a:pt x="8625" y="1000"/>
                    <a:pt x="8593" y="1000"/>
                    <a:pt x="8576" y="1000"/>
                  </a:cubicBezTo>
                  <a:cubicBezTo>
                    <a:pt x="8558" y="1000"/>
                    <a:pt x="8535" y="1006"/>
                    <a:pt x="8531" y="1017"/>
                  </a:cubicBezTo>
                  <a:cubicBezTo>
                    <a:pt x="8526" y="1028"/>
                    <a:pt x="8505" y="1025"/>
                    <a:pt x="8498" y="1013"/>
                  </a:cubicBezTo>
                  <a:cubicBezTo>
                    <a:pt x="8492" y="1000"/>
                    <a:pt x="8449" y="1000"/>
                    <a:pt x="8425" y="989"/>
                  </a:cubicBezTo>
                  <a:cubicBezTo>
                    <a:pt x="8402" y="978"/>
                    <a:pt x="8427" y="959"/>
                    <a:pt x="8438" y="942"/>
                  </a:cubicBezTo>
                  <a:cubicBezTo>
                    <a:pt x="8449" y="924"/>
                    <a:pt x="8395" y="868"/>
                    <a:pt x="8343" y="849"/>
                  </a:cubicBezTo>
                  <a:cubicBezTo>
                    <a:pt x="8292" y="830"/>
                    <a:pt x="8208" y="838"/>
                    <a:pt x="8174" y="838"/>
                  </a:cubicBezTo>
                  <a:cubicBezTo>
                    <a:pt x="8139" y="838"/>
                    <a:pt x="8092" y="849"/>
                    <a:pt x="8058" y="858"/>
                  </a:cubicBezTo>
                  <a:cubicBezTo>
                    <a:pt x="8023" y="866"/>
                    <a:pt x="7999" y="875"/>
                    <a:pt x="7972" y="875"/>
                  </a:cubicBezTo>
                  <a:cubicBezTo>
                    <a:pt x="7944" y="875"/>
                    <a:pt x="7918" y="866"/>
                    <a:pt x="7926" y="849"/>
                  </a:cubicBezTo>
                  <a:cubicBezTo>
                    <a:pt x="7935" y="832"/>
                    <a:pt x="7911" y="834"/>
                    <a:pt x="7896" y="815"/>
                  </a:cubicBezTo>
                  <a:cubicBezTo>
                    <a:pt x="7881" y="795"/>
                    <a:pt x="7862" y="804"/>
                    <a:pt x="7853" y="813"/>
                  </a:cubicBezTo>
                  <a:cubicBezTo>
                    <a:pt x="7845" y="821"/>
                    <a:pt x="7836" y="828"/>
                    <a:pt x="7821" y="810"/>
                  </a:cubicBezTo>
                  <a:cubicBezTo>
                    <a:pt x="7806" y="793"/>
                    <a:pt x="7819" y="787"/>
                    <a:pt x="7791" y="785"/>
                  </a:cubicBezTo>
                  <a:cubicBezTo>
                    <a:pt x="7763" y="782"/>
                    <a:pt x="7778" y="776"/>
                    <a:pt x="7763" y="776"/>
                  </a:cubicBezTo>
                  <a:cubicBezTo>
                    <a:pt x="7748" y="776"/>
                    <a:pt x="7735" y="763"/>
                    <a:pt x="7744" y="759"/>
                  </a:cubicBezTo>
                  <a:cubicBezTo>
                    <a:pt x="7752" y="755"/>
                    <a:pt x="7765" y="759"/>
                    <a:pt x="7791" y="755"/>
                  </a:cubicBezTo>
                  <a:cubicBezTo>
                    <a:pt x="7817" y="750"/>
                    <a:pt x="7774" y="714"/>
                    <a:pt x="7750" y="705"/>
                  </a:cubicBezTo>
                  <a:cubicBezTo>
                    <a:pt x="7726" y="696"/>
                    <a:pt x="7647" y="692"/>
                    <a:pt x="7617" y="692"/>
                  </a:cubicBezTo>
                  <a:cubicBezTo>
                    <a:pt x="7587" y="692"/>
                    <a:pt x="7576" y="692"/>
                    <a:pt x="7557" y="692"/>
                  </a:cubicBezTo>
                  <a:cubicBezTo>
                    <a:pt x="7537" y="692"/>
                    <a:pt x="7542" y="714"/>
                    <a:pt x="7550" y="722"/>
                  </a:cubicBezTo>
                  <a:cubicBezTo>
                    <a:pt x="7559" y="731"/>
                    <a:pt x="7542" y="731"/>
                    <a:pt x="7542" y="750"/>
                  </a:cubicBezTo>
                  <a:cubicBezTo>
                    <a:pt x="7542" y="770"/>
                    <a:pt x="7524" y="755"/>
                    <a:pt x="7518" y="765"/>
                  </a:cubicBezTo>
                  <a:cubicBezTo>
                    <a:pt x="7511" y="776"/>
                    <a:pt x="7494" y="780"/>
                    <a:pt x="7479" y="770"/>
                  </a:cubicBezTo>
                  <a:cubicBezTo>
                    <a:pt x="7464" y="759"/>
                    <a:pt x="7481" y="748"/>
                    <a:pt x="7503" y="744"/>
                  </a:cubicBezTo>
                  <a:cubicBezTo>
                    <a:pt x="7524" y="739"/>
                    <a:pt x="7526" y="724"/>
                    <a:pt x="7526" y="716"/>
                  </a:cubicBezTo>
                  <a:cubicBezTo>
                    <a:pt x="7526" y="707"/>
                    <a:pt x="7531" y="696"/>
                    <a:pt x="7509" y="694"/>
                  </a:cubicBezTo>
                  <a:cubicBezTo>
                    <a:pt x="7488" y="692"/>
                    <a:pt x="7492" y="703"/>
                    <a:pt x="7471" y="703"/>
                  </a:cubicBezTo>
                  <a:cubicBezTo>
                    <a:pt x="7449" y="703"/>
                    <a:pt x="7466" y="690"/>
                    <a:pt x="7481" y="677"/>
                  </a:cubicBezTo>
                  <a:cubicBezTo>
                    <a:pt x="7496" y="664"/>
                    <a:pt x="7486" y="660"/>
                    <a:pt x="7464" y="660"/>
                  </a:cubicBezTo>
                  <a:cubicBezTo>
                    <a:pt x="7443" y="660"/>
                    <a:pt x="7387" y="647"/>
                    <a:pt x="7329" y="647"/>
                  </a:cubicBezTo>
                  <a:cubicBezTo>
                    <a:pt x="7271" y="647"/>
                    <a:pt x="7320" y="634"/>
                    <a:pt x="7277" y="643"/>
                  </a:cubicBezTo>
                  <a:cubicBezTo>
                    <a:pt x="7234" y="651"/>
                    <a:pt x="7238" y="630"/>
                    <a:pt x="7213" y="623"/>
                  </a:cubicBezTo>
                  <a:cubicBezTo>
                    <a:pt x="7187" y="617"/>
                    <a:pt x="7215" y="643"/>
                    <a:pt x="7215" y="658"/>
                  </a:cubicBezTo>
                  <a:cubicBezTo>
                    <a:pt x="7215" y="673"/>
                    <a:pt x="7202" y="673"/>
                    <a:pt x="7180" y="673"/>
                  </a:cubicBezTo>
                  <a:cubicBezTo>
                    <a:pt x="7159" y="673"/>
                    <a:pt x="7148" y="671"/>
                    <a:pt x="7122" y="673"/>
                  </a:cubicBezTo>
                  <a:cubicBezTo>
                    <a:pt x="7096" y="675"/>
                    <a:pt x="7099" y="701"/>
                    <a:pt x="7103" y="712"/>
                  </a:cubicBezTo>
                  <a:cubicBezTo>
                    <a:pt x="7107" y="722"/>
                    <a:pt x="7129" y="712"/>
                    <a:pt x="7148" y="707"/>
                  </a:cubicBezTo>
                  <a:cubicBezTo>
                    <a:pt x="7167" y="703"/>
                    <a:pt x="7157" y="729"/>
                    <a:pt x="7144" y="733"/>
                  </a:cubicBezTo>
                  <a:cubicBezTo>
                    <a:pt x="7131" y="737"/>
                    <a:pt x="7137" y="759"/>
                    <a:pt x="7155" y="778"/>
                  </a:cubicBezTo>
                  <a:cubicBezTo>
                    <a:pt x="7172" y="798"/>
                    <a:pt x="7157" y="802"/>
                    <a:pt x="7137" y="802"/>
                  </a:cubicBezTo>
                  <a:cubicBezTo>
                    <a:pt x="7118" y="802"/>
                    <a:pt x="7105" y="802"/>
                    <a:pt x="7101" y="791"/>
                  </a:cubicBezTo>
                  <a:cubicBezTo>
                    <a:pt x="7096" y="780"/>
                    <a:pt x="7086" y="785"/>
                    <a:pt x="7069" y="778"/>
                  </a:cubicBezTo>
                  <a:cubicBezTo>
                    <a:pt x="7051" y="772"/>
                    <a:pt x="7038" y="789"/>
                    <a:pt x="7015" y="785"/>
                  </a:cubicBezTo>
                  <a:cubicBezTo>
                    <a:pt x="6991" y="780"/>
                    <a:pt x="6989" y="787"/>
                    <a:pt x="6995" y="798"/>
                  </a:cubicBezTo>
                  <a:cubicBezTo>
                    <a:pt x="7002" y="808"/>
                    <a:pt x="7017" y="804"/>
                    <a:pt x="7036" y="813"/>
                  </a:cubicBezTo>
                  <a:cubicBezTo>
                    <a:pt x="7056" y="821"/>
                    <a:pt x="7034" y="832"/>
                    <a:pt x="7015" y="828"/>
                  </a:cubicBezTo>
                  <a:cubicBezTo>
                    <a:pt x="6995" y="823"/>
                    <a:pt x="6987" y="825"/>
                    <a:pt x="6976" y="806"/>
                  </a:cubicBezTo>
                  <a:cubicBezTo>
                    <a:pt x="6965" y="787"/>
                    <a:pt x="6942" y="802"/>
                    <a:pt x="6924" y="782"/>
                  </a:cubicBezTo>
                  <a:cubicBezTo>
                    <a:pt x="6907" y="763"/>
                    <a:pt x="6888" y="789"/>
                    <a:pt x="6862" y="789"/>
                  </a:cubicBezTo>
                  <a:cubicBezTo>
                    <a:pt x="6836" y="789"/>
                    <a:pt x="6841" y="800"/>
                    <a:pt x="6821" y="813"/>
                  </a:cubicBezTo>
                  <a:cubicBezTo>
                    <a:pt x="6802" y="825"/>
                    <a:pt x="6774" y="815"/>
                    <a:pt x="6750" y="802"/>
                  </a:cubicBezTo>
                  <a:cubicBezTo>
                    <a:pt x="6727" y="789"/>
                    <a:pt x="6725" y="793"/>
                    <a:pt x="6718" y="765"/>
                  </a:cubicBezTo>
                  <a:cubicBezTo>
                    <a:pt x="6712" y="737"/>
                    <a:pt x="6694" y="750"/>
                    <a:pt x="6682" y="757"/>
                  </a:cubicBezTo>
                  <a:cubicBezTo>
                    <a:pt x="6669" y="763"/>
                    <a:pt x="6666" y="787"/>
                    <a:pt x="6656" y="808"/>
                  </a:cubicBezTo>
                  <a:cubicBezTo>
                    <a:pt x="6645" y="830"/>
                    <a:pt x="6641" y="841"/>
                    <a:pt x="6632" y="864"/>
                  </a:cubicBezTo>
                  <a:cubicBezTo>
                    <a:pt x="6623" y="888"/>
                    <a:pt x="6598" y="890"/>
                    <a:pt x="6585" y="871"/>
                  </a:cubicBezTo>
                  <a:cubicBezTo>
                    <a:pt x="6572" y="851"/>
                    <a:pt x="6555" y="864"/>
                    <a:pt x="6533" y="849"/>
                  </a:cubicBezTo>
                  <a:cubicBezTo>
                    <a:pt x="6512" y="834"/>
                    <a:pt x="6458" y="776"/>
                    <a:pt x="6449" y="759"/>
                  </a:cubicBezTo>
                  <a:cubicBezTo>
                    <a:pt x="6441" y="742"/>
                    <a:pt x="6406" y="737"/>
                    <a:pt x="6406" y="714"/>
                  </a:cubicBezTo>
                  <a:cubicBezTo>
                    <a:pt x="6406" y="690"/>
                    <a:pt x="6456" y="731"/>
                    <a:pt x="6475" y="722"/>
                  </a:cubicBezTo>
                  <a:cubicBezTo>
                    <a:pt x="6494" y="714"/>
                    <a:pt x="6494" y="681"/>
                    <a:pt x="6469" y="679"/>
                  </a:cubicBezTo>
                  <a:cubicBezTo>
                    <a:pt x="6443" y="677"/>
                    <a:pt x="6439" y="666"/>
                    <a:pt x="6447" y="660"/>
                  </a:cubicBezTo>
                  <a:cubicBezTo>
                    <a:pt x="6456" y="653"/>
                    <a:pt x="6486" y="645"/>
                    <a:pt x="6458" y="634"/>
                  </a:cubicBezTo>
                  <a:cubicBezTo>
                    <a:pt x="6430" y="623"/>
                    <a:pt x="6462" y="610"/>
                    <a:pt x="6458" y="595"/>
                  </a:cubicBezTo>
                  <a:cubicBezTo>
                    <a:pt x="6454" y="580"/>
                    <a:pt x="6430" y="587"/>
                    <a:pt x="6406" y="561"/>
                  </a:cubicBezTo>
                  <a:cubicBezTo>
                    <a:pt x="6383" y="535"/>
                    <a:pt x="6331" y="546"/>
                    <a:pt x="6299" y="559"/>
                  </a:cubicBezTo>
                  <a:cubicBezTo>
                    <a:pt x="6267" y="572"/>
                    <a:pt x="6230" y="557"/>
                    <a:pt x="6189" y="529"/>
                  </a:cubicBezTo>
                  <a:cubicBezTo>
                    <a:pt x="6148" y="501"/>
                    <a:pt x="6146" y="522"/>
                    <a:pt x="6120" y="529"/>
                  </a:cubicBezTo>
                  <a:cubicBezTo>
                    <a:pt x="6095" y="535"/>
                    <a:pt x="6099" y="561"/>
                    <a:pt x="6116" y="578"/>
                  </a:cubicBezTo>
                  <a:cubicBezTo>
                    <a:pt x="6133" y="595"/>
                    <a:pt x="6110" y="593"/>
                    <a:pt x="6097" y="613"/>
                  </a:cubicBezTo>
                  <a:cubicBezTo>
                    <a:pt x="6084" y="632"/>
                    <a:pt x="6084" y="621"/>
                    <a:pt x="6054" y="619"/>
                  </a:cubicBezTo>
                  <a:cubicBezTo>
                    <a:pt x="6024" y="617"/>
                    <a:pt x="6017" y="628"/>
                    <a:pt x="5966" y="628"/>
                  </a:cubicBezTo>
                  <a:cubicBezTo>
                    <a:pt x="5914" y="628"/>
                    <a:pt x="5908" y="613"/>
                    <a:pt x="5901" y="604"/>
                  </a:cubicBezTo>
                  <a:cubicBezTo>
                    <a:pt x="5895" y="595"/>
                    <a:pt x="5873" y="598"/>
                    <a:pt x="5854" y="606"/>
                  </a:cubicBezTo>
                  <a:cubicBezTo>
                    <a:pt x="5834" y="615"/>
                    <a:pt x="5819" y="610"/>
                    <a:pt x="5791" y="587"/>
                  </a:cubicBezTo>
                  <a:cubicBezTo>
                    <a:pt x="5763" y="563"/>
                    <a:pt x="5809" y="561"/>
                    <a:pt x="5806" y="550"/>
                  </a:cubicBezTo>
                  <a:cubicBezTo>
                    <a:pt x="5804" y="540"/>
                    <a:pt x="5751" y="544"/>
                    <a:pt x="5708" y="542"/>
                  </a:cubicBezTo>
                  <a:cubicBezTo>
                    <a:pt x="5665" y="540"/>
                    <a:pt x="5662" y="531"/>
                    <a:pt x="5634" y="529"/>
                  </a:cubicBezTo>
                  <a:cubicBezTo>
                    <a:pt x="5607" y="527"/>
                    <a:pt x="5583" y="520"/>
                    <a:pt x="5568" y="537"/>
                  </a:cubicBezTo>
                  <a:cubicBezTo>
                    <a:pt x="5553" y="555"/>
                    <a:pt x="5521" y="544"/>
                    <a:pt x="5495" y="544"/>
                  </a:cubicBezTo>
                  <a:cubicBezTo>
                    <a:pt x="5469" y="544"/>
                    <a:pt x="5478" y="555"/>
                    <a:pt x="5493" y="572"/>
                  </a:cubicBezTo>
                  <a:cubicBezTo>
                    <a:pt x="5508" y="589"/>
                    <a:pt x="5484" y="589"/>
                    <a:pt x="5465" y="572"/>
                  </a:cubicBezTo>
                  <a:cubicBezTo>
                    <a:pt x="5445" y="555"/>
                    <a:pt x="5465" y="550"/>
                    <a:pt x="5456" y="516"/>
                  </a:cubicBezTo>
                  <a:cubicBezTo>
                    <a:pt x="5447" y="481"/>
                    <a:pt x="5430" y="514"/>
                    <a:pt x="5424" y="527"/>
                  </a:cubicBezTo>
                  <a:cubicBezTo>
                    <a:pt x="5417" y="540"/>
                    <a:pt x="5396" y="527"/>
                    <a:pt x="5361" y="520"/>
                  </a:cubicBezTo>
                  <a:cubicBezTo>
                    <a:pt x="5327" y="514"/>
                    <a:pt x="5346" y="514"/>
                    <a:pt x="5340" y="501"/>
                  </a:cubicBezTo>
                  <a:cubicBezTo>
                    <a:pt x="5333" y="488"/>
                    <a:pt x="5340" y="501"/>
                    <a:pt x="5303" y="499"/>
                  </a:cubicBezTo>
                  <a:cubicBezTo>
                    <a:pt x="5267" y="497"/>
                    <a:pt x="5288" y="499"/>
                    <a:pt x="5256" y="492"/>
                  </a:cubicBezTo>
                  <a:cubicBezTo>
                    <a:pt x="5224" y="486"/>
                    <a:pt x="5222" y="514"/>
                    <a:pt x="5224" y="531"/>
                  </a:cubicBezTo>
                  <a:cubicBezTo>
                    <a:pt x="5226" y="548"/>
                    <a:pt x="5254" y="529"/>
                    <a:pt x="5271" y="529"/>
                  </a:cubicBezTo>
                  <a:cubicBezTo>
                    <a:pt x="5288" y="529"/>
                    <a:pt x="5265" y="542"/>
                    <a:pt x="5250" y="550"/>
                  </a:cubicBezTo>
                  <a:cubicBezTo>
                    <a:pt x="5235" y="559"/>
                    <a:pt x="5230" y="557"/>
                    <a:pt x="5213" y="552"/>
                  </a:cubicBezTo>
                  <a:cubicBezTo>
                    <a:pt x="5196" y="548"/>
                    <a:pt x="5185" y="576"/>
                    <a:pt x="5170" y="576"/>
                  </a:cubicBezTo>
                  <a:cubicBezTo>
                    <a:pt x="5155" y="576"/>
                    <a:pt x="5129" y="576"/>
                    <a:pt x="5108" y="591"/>
                  </a:cubicBezTo>
                  <a:cubicBezTo>
                    <a:pt x="5086" y="606"/>
                    <a:pt x="5063" y="604"/>
                    <a:pt x="5037" y="595"/>
                  </a:cubicBezTo>
                  <a:cubicBezTo>
                    <a:pt x="5011" y="587"/>
                    <a:pt x="5000" y="610"/>
                    <a:pt x="4994" y="630"/>
                  </a:cubicBezTo>
                  <a:cubicBezTo>
                    <a:pt x="4987" y="649"/>
                    <a:pt x="4972" y="649"/>
                    <a:pt x="4944" y="647"/>
                  </a:cubicBezTo>
                  <a:cubicBezTo>
                    <a:pt x="4916" y="645"/>
                    <a:pt x="4970" y="630"/>
                    <a:pt x="4977" y="610"/>
                  </a:cubicBezTo>
                  <a:cubicBezTo>
                    <a:pt x="4983" y="591"/>
                    <a:pt x="4992" y="585"/>
                    <a:pt x="5009" y="580"/>
                  </a:cubicBezTo>
                  <a:cubicBezTo>
                    <a:pt x="5026" y="576"/>
                    <a:pt x="5041" y="576"/>
                    <a:pt x="5058" y="552"/>
                  </a:cubicBezTo>
                  <a:cubicBezTo>
                    <a:pt x="5075" y="529"/>
                    <a:pt x="5108" y="535"/>
                    <a:pt x="5129" y="529"/>
                  </a:cubicBezTo>
                  <a:cubicBezTo>
                    <a:pt x="5151" y="522"/>
                    <a:pt x="5155" y="524"/>
                    <a:pt x="5172" y="503"/>
                  </a:cubicBezTo>
                  <a:cubicBezTo>
                    <a:pt x="5189" y="481"/>
                    <a:pt x="5200" y="488"/>
                    <a:pt x="5220" y="481"/>
                  </a:cubicBezTo>
                  <a:cubicBezTo>
                    <a:pt x="5239" y="475"/>
                    <a:pt x="5228" y="475"/>
                    <a:pt x="5237" y="451"/>
                  </a:cubicBezTo>
                  <a:cubicBezTo>
                    <a:pt x="5245" y="428"/>
                    <a:pt x="5260" y="441"/>
                    <a:pt x="5280" y="432"/>
                  </a:cubicBezTo>
                  <a:cubicBezTo>
                    <a:pt x="5299" y="423"/>
                    <a:pt x="5312" y="417"/>
                    <a:pt x="5333" y="411"/>
                  </a:cubicBezTo>
                  <a:cubicBezTo>
                    <a:pt x="5355" y="404"/>
                    <a:pt x="5368" y="408"/>
                    <a:pt x="5379" y="389"/>
                  </a:cubicBezTo>
                  <a:cubicBezTo>
                    <a:pt x="5389" y="370"/>
                    <a:pt x="5398" y="378"/>
                    <a:pt x="5419" y="372"/>
                  </a:cubicBezTo>
                  <a:cubicBezTo>
                    <a:pt x="5441" y="365"/>
                    <a:pt x="5458" y="346"/>
                    <a:pt x="5473" y="322"/>
                  </a:cubicBezTo>
                  <a:cubicBezTo>
                    <a:pt x="5488" y="299"/>
                    <a:pt x="5469" y="303"/>
                    <a:pt x="5467" y="297"/>
                  </a:cubicBezTo>
                  <a:cubicBezTo>
                    <a:pt x="5465" y="290"/>
                    <a:pt x="5450" y="294"/>
                    <a:pt x="5439" y="297"/>
                  </a:cubicBezTo>
                  <a:cubicBezTo>
                    <a:pt x="5428" y="299"/>
                    <a:pt x="5435" y="282"/>
                    <a:pt x="5422" y="271"/>
                  </a:cubicBezTo>
                  <a:cubicBezTo>
                    <a:pt x="5409" y="260"/>
                    <a:pt x="5407" y="258"/>
                    <a:pt x="5426" y="262"/>
                  </a:cubicBezTo>
                  <a:cubicBezTo>
                    <a:pt x="5445" y="266"/>
                    <a:pt x="5439" y="266"/>
                    <a:pt x="5458" y="279"/>
                  </a:cubicBezTo>
                  <a:cubicBezTo>
                    <a:pt x="5478" y="292"/>
                    <a:pt x="5488" y="284"/>
                    <a:pt x="5495" y="273"/>
                  </a:cubicBezTo>
                  <a:cubicBezTo>
                    <a:pt x="5501" y="262"/>
                    <a:pt x="5503" y="251"/>
                    <a:pt x="5488" y="251"/>
                  </a:cubicBezTo>
                  <a:cubicBezTo>
                    <a:pt x="5473" y="251"/>
                    <a:pt x="5471" y="247"/>
                    <a:pt x="5471" y="232"/>
                  </a:cubicBezTo>
                  <a:cubicBezTo>
                    <a:pt x="5471" y="217"/>
                    <a:pt x="5473" y="211"/>
                    <a:pt x="5467" y="211"/>
                  </a:cubicBezTo>
                  <a:cubicBezTo>
                    <a:pt x="5460" y="211"/>
                    <a:pt x="5445" y="228"/>
                    <a:pt x="5435" y="228"/>
                  </a:cubicBezTo>
                  <a:cubicBezTo>
                    <a:pt x="5424" y="228"/>
                    <a:pt x="5415" y="217"/>
                    <a:pt x="5415" y="200"/>
                  </a:cubicBezTo>
                  <a:cubicBezTo>
                    <a:pt x="5415" y="183"/>
                    <a:pt x="5402" y="183"/>
                    <a:pt x="5402" y="183"/>
                  </a:cubicBezTo>
                  <a:cubicBezTo>
                    <a:pt x="5402" y="183"/>
                    <a:pt x="5376" y="189"/>
                    <a:pt x="5381" y="180"/>
                  </a:cubicBezTo>
                  <a:cubicBezTo>
                    <a:pt x="5385" y="172"/>
                    <a:pt x="5379" y="159"/>
                    <a:pt x="5372" y="159"/>
                  </a:cubicBezTo>
                  <a:cubicBezTo>
                    <a:pt x="5366" y="159"/>
                    <a:pt x="5357" y="163"/>
                    <a:pt x="5333" y="146"/>
                  </a:cubicBezTo>
                  <a:cubicBezTo>
                    <a:pt x="5310" y="129"/>
                    <a:pt x="5288" y="129"/>
                    <a:pt x="5269" y="137"/>
                  </a:cubicBezTo>
                  <a:cubicBezTo>
                    <a:pt x="5250" y="146"/>
                    <a:pt x="5245" y="150"/>
                    <a:pt x="5215" y="140"/>
                  </a:cubicBezTo>
                  <a:cubicBezTo>
                    <a:pt x="5185" y="129"/>
                    <a:pt x="5170" y="144"/>
                    <a:pt x="5149" y="140"/>
                  </a:cubicBezTo>
                  <a:cubicBezTo>
                    <a:pt x="5127" y="135"/>
                    <a:pt x="5116" y="142"/>
                    <a:pt x="5110" y="163"/>
                  </a:cubicBezTo>
                  <a:cubicBezTo>
                    <a:pt x="5103" y="185"/>
                    <a:pt x="5071" y="168"/>
                    <a:pt x="5045" y="168"/>
                  </a:cubicBezTo>
                  <a:cubicBezTo>
                    <a:pt x="5020" y="168"/>
                    <a:pt x="5030" y="165"/>
                    <a:pt x="5037" y="146"/>
                  </a:cubicBezTo>
                  <a:cubicBezTo>
                    <a:pt x="5043" y="127"/>
                    <a:pt x="5065" y="135"/>
                    <a:pt x="5073" y="116"/>
                  </a:cubicBezTo>
                  <a:cubicBezTo>
                    <a:pt x="5082" y="97"/>
                    <a:pt x="5043" y="103"/>
                    <a:pt x="5005" y="97"/>
                  </a:cubicBezTo>
                  <a:cubicBezTo>
                    <a:pt x="4966" y="90"/>
                    <a:pt x="4974" y="101"/>
                    <a:pt x="4921" y="101"/>
                  </a:cubicBezTo>
                  <a:cubicBezTo>
                    <a:pt x="4867" y="101"/>
                    <a:pt x="4895" y="90"/>
                    <a:pt x="4916" y="82"/>
                  </a:cubicBezTo>
                  <a:cubicBezTo>
                    <a:pt x="4938" y="73"/>
                    <a:pt x="4946" y="82"/>
                    <a:pt x="4951" y="71"/>
                  </a:cubicBezTo>
                  <a:cubicBezTo>
                    <a:pt x="4955" y="60"/>
                    <a:pt x="4985" y="58"/>
                    <a:pt x="4985" y="49"/>
                  </a:cubicBezTo>
                  <a:cubicBezTo>
                    <a:pt x="4985" y="41"/>
                    <a:pt x="4977" y="30"/>
                    <a:pt x="4953" y="30"/>
                  </a:cubicBezTo>
                  <a:cubicBezTo>
                    <a:pt x="4929" y="30"/>
                    <a:pt x="4925" y="28"/>
                    <a:pt x="4906" y="15"/>
                  </a:cubicBezTo>
                  <a:cubicBezTo>
                    <a:pt x="4886" y="2"/>
                    <a:pt x="4869" y="0"/>
                    <a:pt x="4852" y="11"/>
                  </a:cubicBezTo>
                  <a:cubicBezTo>
                    <a:pt x="4835" y="21"/>
                    <a:pt x="4828" y="17"/>
                    <a:pt x="4802" y="13"/>
                  </a:cubicBezTo>
                  <a:cubicBezTo>
                    <a:pt x="4777" y="8"/>
                    <a:pt x="4777" y="34"/>
                    <a:pt x="4757" y="41"/>
                  </a:cubicBezTo>
                  <a:cubicBezTo>
                    <a:pt x="4738" y="47"/>
                    <a:pt x="4738" y="64"/>
                    <a:pt x="4719" y="73"/>
                  </a:cubicBezTo>
                  <a:cubicBezTo>
                    <a:pt x="4699" y="82"/>
                    <a:pt x="4695" y="90"/>
                    <a:pt x="4680" y="103"/>
                  </a:cubicBezTo>
                  <a:cubicBezTo>
                    <a:pt x="4665" y="116"/>
                    <a:pt x="4667" y="127"/>
                    <a:pt x="4673" y="127"/>
                  </a:cubicBezTo>
                  <a:cubicBezTo>
                    <a:pt x="4680" y="127"/>
                    <a:pt x="4678" y="137"/>
                    <a:pt x="4684" y="157"/>
                  </a:cubicBezTo>
                  <a:cubicBezTo>
                    <a:pt x="4691" y="176"/>
                    <a:pt x="4699" y="168"/>
                    <a:pt x="4734" y="176"/>
                  </a:cubicBezTo>
                  <a:cubicBezTo>
                    <a:pt x="4768" y="185"/>
                    <a:pt x="4731" y="191"/>
                    <a:pt x="4716" y="185"/>
                  </a:cubicBezTo>
                  <a:cubicBezTo>
                    <a:pt x="4701" y="178"/>
                    <a:pt x="4686" y="176"/>
                    <a:pt x="4654" y="174"/>
                  </a:cubicBezTo>
                  <a:cubicBezTo>
                    <a:pt x="4622" y="172"/>
                    <a:pt x="4609" y="180"/>
                    <a:pt x="4583" y="172"/>
                  </a:cubicBezTo>
                  <a:cubicBezTo>
                    <a:pt x="4557" y="163"/>
                    <a:pt x="4542" y="159"/>
                    <a:pt x="4551" y="176"/>
                  </a:cubicBezTo>
                  <a:cubicBezTo>
                    <a:pt x="4559" y="193"/>
                    <a:pt x="4555" y="198"/>
                    <a:pt x="4581" y="204"/>
                  </a:cubicBezTo>
                  <a:cubicBezTo>
                    <a:pt x="4607" y="211"/>
                    <a:pt x="4602" y="223"/>
                    <a:pt x="4592" y="226"/>
                  </a:cubicBezTo>
                  <a:cubicBezTo>
                    <a:pt x="4581" y="228"/>
                    <a:pt x="4566" y="226"/>
                    <a:pt x="4542" y="215"/>
                  </a:cubicBezTo>
                  <a:cubicBezTo>
                    <a:pt x="4519" y="204"/>
                    <a:pt x="4499" y="211"/>
                    <a:pt x="4497" y="219"/>
                  </a:cubicBezTo>
                  <a:cubicBezTo>
                    <a:pt x="4495" y="228"/>
                    <a:pt x="4486" y="219"/>
                    <a:pt x="4469" y="236"/>
                  </a:cubicBezTo>
                  <a:cubicBezTo>
                    <a:pt x="4452" y="254"/>
                    <a:pt x="4437" y="236"/>
                    <a:pt x="4428" y="243"/>
                  </a:cubicBezTo>
                  <a:cubicBezTo>
                    <a:pt x="4420" y="249"/>
                    <a:pt x="4400" y="247"/>
                    <a:pt x="4400" y="247"/>
                  </a:cubicBezTo>
                  <a:cubicBezTo>
                    <a:pt x="4400" y="247"/>
                    <a:pt x="4360" y="254"/>
                    <a:pt x="4338" y="251"/>
                  </a:cubicBezTo>
                  <a:cubicBezTo>
                    <a:pt x="4317" y="249"/>
                    <a:pt x="4362" y="239"/>
                    <a:pt x="4364" y="226"/>
                  </a:cubicBezTo>
                  <a:cubicBezTo>
                    <a:pt x="4366" y="213"/>
                    <a:pt x="4387" y="219"/>
                    <a:pt x="4390" y="206"/>
                  </a:cubicBezTo>
                  <a:cubicBezTo>
                    <a:pt x="4392" y="193"/>
                    <a:pt x="4360" y="200"/>
                    <a:pt x="4347" y="200"/>
                  </a:cubicBezTo>
                  <a:cubicBezTo>
                    <a:pt x="4334" y="200"/>
                    <a:pt x="4321" y="204"/>
                    <a:pt x="4321" y="211"/>
                  </a:cubicBezTo>
                  <a:cubicBezTo>
                    <a:pt x="4321" y="217"/>
                    <a:pt x="4312" y="223"/>
                    <a:pt x="4299" y="206"/>
                  </a:cubicBezTo>
                  <a:cubicBezTo>
                    <a:pt x="4286" y="189"/>
                    <a:pt x="4276" y="200"/>
                    <a:pt x="4276" y="217"/>
                  </a:cubicBezTo>
                  <a:cubicBezTo>
                    <a:pt x="4276" y="234"/>
                    <a:pt x="4265" y="228"/>
                    <a:pt x="4250" y="228"/>
                  </a:cubicBezTo>
                  <a:cubicBezTo>
                    <a:pt x="4235" y="228"/>
                    <a:pt x="4209" y="228"/>
                    <a:pt x="4192" y="228"/>
                  </a:cubicBezTo>
                  <a:cubicBezTo>
                    <a:pt x="4175" y="228"/>
                    <a:pt x="4166" y="228"/>
                    <a:pt x="4155" y="234"/>
                  </a:cubicBezTo>
                  <a:cubicBezTo>
                    <a:pt x="4145" y="241"/>
                    <a:pt x="4162" y="245"/>
                    <a:pt x="4177" y="245"/>
                  </a:cubicBezTo>
                  <a:cubicBezTo>
                    <a:pt x="4192" y="245"/>
                    <a:pt x="4203" y="247"/>
                    <a:pt x="4192" y="262"/>
                  </a:cubicBezTo>
                  <a:cubicBezTo>
                    <a:pt x="4181" y="277"/>
                    <a:pt x="4168" y="271"/>
                    <a:pt x="4149" y="269"/>
                  </a:cubicBezTo>
                  <a:cubicBezTo>
                    <a:pt x="4129" y="266"/>
                    <a:pt x="4104" y="269"/>
                    <a:pt x="4084" y="282"/>
                  </a:cubicBezTo>
                  <a:cubicBezTo>
                    <a:pt x="4065" y="294"/>
                    <a:pt x="4041" y="284"/>
                    <a:pt x="4033" y="284"/>
                  </a:cubicBezTo>
                  <a:cubicBezTo>
                    <a:pt x="4024" y="284"/>
                    <a:pt x="3992" y="294"/>
                    <a:pt x="3977" y="303"/>
                  </a:cubicBezTo>
                  <a:cubicBezTo>
                    <a:pt x="3962" y="312"/>
                    <a:pt x="3947" y="309"/>
                    <a:pt x="3932" y="309"/>
                  </a:cubicBezTo>
                  <a:cubicBezTo>
                    <a:pt x="3917" y="309"/>
                    <a:pt x="3890" y="318"/>
                    <a:pt x="3879" y="340"/>
                  </a:cubicBezTo>
                  <a:cubicBezTo>
                    <a:pt x="3867" y="361"/>
                    <a:pt x="3833" y="351"/>
                    <a:pt x="3808" y="345"/>
                  </a:cubicBezTo>
                  <a:cubicBezTo>
                    <a:pt x="3784" y="340"/>
                    <a:pt x="3795" y="367"/>
                    <a:pt x="3785" y="367"/>
                  </a:cubicBezTo>
                  <a:cubicBezTo>
                    <a:pt x="3775" y="367"/>
                    <a:pt x="3758" y="380"/>
                    <a:pt x="3768" y="384"/>
                  </a:cubicBezTo>
                  <a:cubicBezTo>
                    <a:pt x="3778" y="388"/>
                    <a:pt x="3785" y="400"/>
                    <a:pt x="3783" y="407"/>
                  </a:cubicBezTo>
                  <a:cubicBezTo>
                    <a:pt x="3780" y="414"/>
                    <a:pt x="3764" y="406"/>
                    <a:pt x="3752" y="398"/>
                  </a:cubicBezTo>
                  <a:cubicBezTo>
                    <a:pt x="3741" y="391"/>
                    <a:pt x="3722" y="404"/>
                    <a:pt x="3722" y="413"/>
                  </a:cubicBezTo>
                  <a:cubicBezTo>
                    <a:pt x="3722" y="421"/>
                    <a:pt x="3750" y="420"/>
                    <a:pt x="3767" y="428"/>
                  </a:cubicBezTo>
                  <a:cubicBezTo>
                    <a:pt x="3784" y="437"/>
                    <a:pt x="3795" y="451"/>
                    <a:pt x="3791" y="457"/>
                  </a:cubicBezTo>
                  <a:cubicBezTo>
                    <a:pt x="3787" y="463"/>
                    <a:pt x="3770" y="446"/>
                    <a:pt x="3747" y="438"/>
                  </a:cubicBezTo>
                  <a:cubicBezTo>
                    <a:pt x="3724" y="431"/>
                    <a:pt x="3731" y="460"/>
                    <a:pt x="3735" y="460"/>
                  </a:cubicBezTo>
                  <a:cubicBezTo>
                    <a:pt x="3740" y="460"/>
                    <a:pt x="3763" y="464"/>
                    <a:pt x="3774" y="474"/>
                  </a:cubicBezTo>
                  <a:cubicBezTo>
                    <a:pt x="3785" y="484"/>
                    <a:pt x="3801" y="486"/>
                    <a:pt x="3803" y="499"/>
                  </a:cubicBezTo>
                  <a:cubicBezTo>
                    <a:pt x="3804" y="512"/>
                    <a:pt x="3775" y="509"/>
                    <a:pt x="3748" y="509"/>
                  </a:cubicBezTo>
                  <a:cubicBezTo>
                    <a:pt x="3721" y="509"/>
                    <a:pt x="3711" y="516"/>
                    <a:pt x="3704" y="527"/>
                  </a:cubicBezTo>
                  <a:cubicBezTo>
                    <a:pt x="3697" y="539"/>
                    <a:pt x="3672" y="533"/>
                    <a:pt x="3656" y="526"/>
                  </a:cubicBezTo>
                  <a:cubicBezTo>
                    <a:pt x="3641" y="519"/>
                    <a:pt x="3622" y="527"/>
                    <a:pt x="3615" y="532"/>
                  </a:cubicBezTo>
                  <a:cubicBezTo>
                    <a:pt x="3608" y="536"/>
                    <a:pt x="3553" y="529"/>
                    <a:pt x="3515" y="532"/>
                  </a:cubicBezTo>
                  <a:cubicBezTo>
                    <a:pt x="3476" y="535"/>
                    <a:pt x="3474" y="542"/>
                    <a:pt x="3440" y="542"/>
                  </a:cubicBezTo>
                  <a:cubicBezTo>
                    <a:pt x="3406" y="542"/>
                    <a:pt x="3400" y="550"/>
                    <a:pt x="3388" y="556"/>
                  </a:cubicBezTo>
                  <a:cubicBezTo>
                    <a:pt x="3377" y="562"/>
                    <a:pt x="3373" y="586"/>
                    <a:pt x="3373" y="595"/>
                  </a:cubicBezTo>
                  <a:cubicBezTo>
                    <a:pt x="3373" y="603"/>
                    <a:pt x="3391" y="615"/>
                    <a:pt x="3401" y="625"/>
                  </a:cubicBezTo>
                  <a:cubicBezTo>
                    <a:pt x="3411" y="635"/>
                    <a:pt x="3403" y="642"/>
                    <a:pt x="3394" y="649"/>
                  </a:cubicBezTo>
                  <a:cubicBezTo>
                    <a:pt x="3386" y="656"/>
                    <a:pt x="3401" y="678"/>
                    <a:pt x="3407" y="689"/>
                  </a:cubicBezTo>
                  <a:cubicBezTo>
                    <a:pt x="3413" y="701"/>
                    <a:pt x="3449" y="704"/>
                    <a:pt x="3479" y="704"/>
                  </a:cubicBezTo>
                  <a:cubicBezTo>
                    <a:pt x="3509" y="704"/>
                    <a:pt x="3483" y="727"/>
                    <a:pt x="3503" y="741"/>
                  </a:cubicBezTo>
                  <a:cubicBezTo>
                    <a:pt x="3523" y="755"/>
                    <a:pt x="3516" y="767"/>
                    <a:pt x="3502" y="771"/>
                  </a:cubicBezTo>
                  <a:cubicBezTo>
                    <a:pt x="3487" y="775"/>
                    <a:pt x="3484" y="775"/>
                    <a:pt x="3449" y="770"/>
                  </a:cubicBezTo>
                  <a:cubicBezTo>
                    <a:pt x="3413" y="764"/>
                    <a:pt x="3413" y="752"/>
                    <a:pt x="3406" y="738"/>
                  </a:cubicBezTo>
                  <a:cubicBezTo>
                    <a:pt x="3398" y="724"/>
                    <a:pt x="3380" y="718"/>
                    <a:pt x="3358" y="714"/>
                  </a:cubicBezTo>
                  <a:cubicBezTo>
                    <a:pt x="3337" y="709"/>
                    <a:pt x="3334" y="709"/>
                    <a:pt x="3321" y="696"/>
                  </a:cubicBezTo>
                  <a:cubicBezTo>
                    <a:pt x="3308" y="684"/>
                    <a:pt x="3287" y="689"/>
                    <a:pt x="3268" y="689"/>
                  </a:cubicBezTo>
                  <a:cubicBezTo>
                    <a:pt x="3249" y="689"/>
                    <a:pt x="3236" y="674"/>
                    <a:pt x="3225" y="665"/>
                  </a:cubicBezTo>
                  <a:cubicBezTo>
                    <a:pt x="3214" y="656"/>
                    <a:pt x="3189" y="661"/>
                    <a:pt x="3185" y="672"/>
                  </a:cubicBezTo>
                  <a:cubicBezTo>
                    <a:pt x="3181" y="684"/>
                    <a:pt x="3166" y="684"/>
                    <a:pt x="3153" y="691"/>
                  </a:cubicBezTo>
                  <a:cubicBezTo>
                    <a:pt x="3140" y="698"/>
                    <a:pt x="3155" y="704"/>
                    <a:pt x="3173" y="702"/>
                  </a:cubicBezTo>
                  <a:cubicBezTo>
                    <a:pt x="3192" y="701"/>
                    <a:pt x="3183" y="712"/>
                    <a:pt x="3181" y="722"/>
                  </a:cubicBezTo>
                  <a:cubicBezTo>
                    <a:pt x="3178" y="732"/>
                    <a:pt x="3199" y="729"/>
                    <a:pt x="3211" y="724"/>
                  </a:cubicBezTo>
                  <a:cubicBezTo>
                    <a:pt x="3222" y="718"/>
                    <a:pt x="3235" y="732"/>
                    <a:pt x="3238" y="745"/>
                  </a:cubicBezTo>
                  <a:cubicBezTo>
                    <a:pt x="3241" y="758"/>
                    <a:pt x="3215" y="757"/>
                    <a:pt x="3201" y="757"/>
                  </a:cubicBezTo>
                  <a:cubicBezTo>
                    <a:pt x="3186" y="757"/>
                    <a:pt x="3171" y="750"/>
                    <a:pt x="3162" y="738"/>
                  </a:cubicBezTo>
                  <a:cubicBezTo>
                    <a:pt x="3153" y="727"/>
                    <a:pt x="3135" y="731"/>
                    <a:pt x="3135" y="741"/>
                  </a:cubicBezTo>
                  <a:cubicBezTo>
                    <a:pt x="3135" y="751"/>
                    <a:pt x="3103" y="735"/>
                    <a:pt x="3095" y="748"/>
                  </a:cubicBezTo>
                  <a:cubicBezTo>
                    <a:pt x="3086" y="761"/>
                    <a:pt x="3103" y="767"/>
                    <a:pt x="3106" y="780"/>
                  </a:cubicBezTo>
                  <a:cubicBezTo>
                    <a:pt x="3109" y="793"/>
                    <a:pt x="3129" y="801"/>
                    <a:pt x="3140" y="800"/>
                  </a:cubicBezTo>
                  <a:cubicBezTo>
                    <a:pt x="3152" y="798"/>
                    <a:pt x="3175" y="811"/>
                    <a:pt x="3181" y="815"/>
                  </a:cubicBezTo>
                  <a:cubicBezTo>
                    <a:pt x="3186" y="820"/>
                    <a:pt x="3201" y="827"/>
                    <a:pt x="3205" y="820"/>
                  </a:cubicBezTo>
                  <a:cubicBezTo>
                    <a:pt x="3209" y="813"/>
                    <a:pt x="3218" y="821"/>
                    <a:pt x="3231" y="823"/>
                  </a:cubicBezTo>
                  <a:cubicBezTo>
                    <a:pt x="3244" y="824"/>
                    <a:pt x="3234" y="841"/>
                    <a:pt x="3241" y="846"/>
                  </a:cubicBezTo>
                  <a:cubicBezTo>
                    <a:pt x="3248" y="850"/>
                    <a:pt x="3252" y="870"/>
                    <a:pt x="3244" y="870"/>
                  </a:cubicBezTo>
                  <a:cubicBezTo>
                    <a:pt x="3235" y="870"/>
                    <a:pt x="3222" y="866"/>
                    <a:pt x="3214" y="851"/>
                  </a:cubicBezTo>
                  <a:cubicBezTo>
                    <a:pt x="3205" y="837"/>
                    <a:pt x="3188" y="838"/>
                    <a:pt x="3169" y="834"/>
                  </a:cubicBezTo>
                  <a:cubicBezTo>
                    <a:pt x="3150" y="830"/>
                    <a:pt x="3119" y="830"/>
                    <a:pt x="3097" y="831"/>
                  </a:cubicBezTo>
                  <a:cubicBezTo>
                    <a:pt x="3076" y="833"/>
                    <a:pt x="3069" y="820"/>
                    <a:pt x="3054" y="818"/>
                  </a:cubicBezTo>
                  <a:cubicBezTo>
                    <a:pt x="3040" y="817"/>
                    <a:pt x="3053" y="797"/>
                    <a:pt x="3062" y="785"/>
                  </a:cubicBezTo>
                  <a:cubicBezTo>
                    <a:pt x="3070" y="774"/>
                    <a:pt x="3053" y="777"/>
                    <a:pt x="3049" y="765"/>
                  </a:cubicBezTo>
                  <a:cubicBezTo>
                    <a:pt x="3044" y="754"/>
                    <a:pt x="3043" y="739"/>
                    <a:pt x="3052" y="739"/>
                  </a:cubicBezTo>
                  <a:cubicBezTo>
                    <a:pt x="3060" y="739"/>
                    <a:pt x="3066" y="721"/>
                    <a:pt x="3073" y="708"/>
                  </a:cubicBezTo>
                  <a:cubicBezTo>
                    <a:pt x="3080" y="695"/>
                    <a:pt x="3067" y="676"/>
                    <a:pt x="3067" y="668"/>
                  </a:cubicBezTo>
                  <a:cubicBezTo>
                    <a:pt x="3067" y="659"/>
                    <a:pt x="3062" y="642"/>
                    <a:pt x="3056" y="641"/>
                  </a:cubicBezTo>
                  <a:cubicBezTo>
                    <a:pt x="3050" y="639"/>
                    <a:pt x="3049" y="631"/>
                    <a:pt x="3033" y="632"/>
                  </a:cubicBezTo>
                  <a:cubicBezTo>
                    <a:pt x="3017" y="633"/>
                    <a:pt x="3024" y="656"/>
                    <a:pt x="3030" y="659"/>
                  </a:cubicBezTo>
                  <a:cubicBezTo>
                    <a:pt x="3036" y="662"/>
                    <a:pt x="3034" y="691"/>
                    <a:pt x="3034" y="704"/>
                  </a:cubicBezTo>
                  <a:cubicBezTo>
                    <a:pt x="3034" y="717"/>
                    <a:pt x="3027" y="731"/>
                    <a:pt x="3011" y="732"/>
                  </a:cubicBezTo>
                  <a:cubicBezTo>
                    <a:pt x="2996" y="734"/>
                    <a:pt x="2978" y="747"/>
                    <a:pt x="2963" y="748"/>
                  </a:cubicBezTo>
                  <a:cubicBezTo>
                    <a:pt x="2947" y="750"/>
                    <a:pt x="2938" y="757"/>
                    <a:pt x="2938" y="767"/>
                  </a:cubicBezTo>
                  <a:cubicBezTo>
                    <a:pt x="2938" y="777"/>
                    <a:pt x="2933" y="787"/>
                    <a:pt x="2917" y="801"/>
                  </a:cubicBezTo>
                  <a:cubicBezTo>
                    <a:pt x="2901" y="815"/>
                    <a:pt x="2918" y="823"/>
                    <a:pt x="2933" y="830"/>
                  </a:cubicBezTo>
                  <a:cubicBezTo>
                    <a:pt x="2947" y="837"/>
                    <a:pt x="2953" y="854"/>
                    <a:pt x="2957" y="870"/>
                  </a:cubicBezTo>
                  <a:cubicBezTo>
                    <a:pt x="2961" y="886"/>
                    <a:pt x="2981" y="884"/>
                    <a:pt x="2987" y="901"/>
                  </a:cubicBezTo>
                  <a:cubicBezTo>
                    <a:pt x="2993" y="919"/>
                    <a:pt x="2973" y="934"/>
                    <a:pt x="2957" y="943"/>
                  </a:cubicBezTo>
                  <a:cubicBezTo>
                    <a:pt x="2941" y="952"/>
                    <a:pt x="2953" y="965"/>
                    <a:pt x="2941" y="982"/>
                  </a:cubicBezTo>
                  <a:cubicBezTo>
                    <a:pt x="2930" y="999"/>
                    <a:pt x="2946" y="1020"/>
                    <a:pt x="2953" y="1026"/>
                  </a:cubicBezTo>
                  <a:cubicBezTo>
                    <a:pt x="2960" y="1032"/>
                    <a:pt x="2966" y="1038"/>
                    <a:pt x="2956" y="1049"/>
                  </a:cubicBezTo>
                  <a:cubicBezTo>
                    <a:pt x="2946" y="1061"/>
                    <a:pt x="2954" y="1065"/>
                    <a:pt x="2957" y="1071"/>
                  </a:cubicBezTo>
                  <a:cubicBezTo>
                    <a:pt x="2960" y="1076"/>
                    <a:pt x="2986" y="1072"/>
                    <a:pt x="3000" y="1073"/>
                  </a:cubicBezTo>
                  <a:cubicBezTo>
                    <a:pt x="3014" y="1075"/>
                    <a:pt x="3039" y="1069"/>
                    <a:pt x="3057" y="1059"/>
                  </a:cubicBezTo>
                  <a:cubicBezTo>
                    <a:pt x="3076" y="1049"/>
                    <a:pt x="3052" y="1068"/>
                    <a:pt x="3099" y="1069"/>
                  </a:cubicBezTo>
                  <a:cubicBezTo>
                    <a:pt x="3146" y="1071"/>
                    <a:pt x="3152" y="1081"/>
                    <a:pt x="3168" y="1085"/>
                  </a:cubicBezTo>
                  <a:cubicBezTo>
                    <a:pt x="3183" y="1089"/>
                    <a:pt x="3204" y="1095"/>
                    <a:pt x="3205" y="1109"/>
                  </a:cubicBezTo>
                  <a:cubicBezTo>
                    <a:pt x="3206" y="1124"/>
                    <a:pt x="3224" y="1145"/>
                    <a:pt x="3228" y="1151"/>
                  </a:cubicBezTo>
                  <a:cubicBezTo>
                    <a:pt x="3232" y="1157"/>
                    <a:pt x="3226" y="1172"/>
                    <a:pt x="3208" y="1172"/>
                  </a:cubicBezTo>
                  <a:cubicBezTo>
                    <a:pt x="3189" y="1172"/>
                    <a:pt x="3195" y="1192"/>
                    <a:pt x="3195" y="1211"/>
                  </a:cubicBezTo>
                  <a:cubicBezTo>
                    <a:pt x="3195" y="1230"/>
                    <a:pt x="3219" y="1230"/>
                    <a:pt x="3235" y="1230"/>
                  </a:cubicBezTo>
                  <a:cubicBezTo>
                    <a:pt x="3251" y="1230"/>
                    <a:pt x="3258" y="1248"/>
                    <a:pt x="3242" y="1247"/>
                  </a:cubicBezTo>
                  <a:cubicBezTo>
                    <a:pt x="3226" y="1245"/>
                    <a:pt x="3209" y="1248"/>
                    <a:pt x="3202" y="1235"/>
                  </a:cubicBezTo>
                  <a:cubicBezTo>
                    <a:pt x="3195" y="1223"/>
                    <a:pt x="3182" y="1230"/>
                    <a:pt x="3173" y="1218"/>
                  </a:cubicBezTo>
                  <a:cubicBezTo>
                    <a:pt x="3165" y="1207"/>
                    <a:pt x="3173" y="1192"/>
                    <a:pt x="3179" y="1182"/>
                  </a:cubicBezTo>
                  <a:cubicBezTo>
                    <a:pt x="3185" y="1172"/>
                    <a:pt x="3172" y="1167"/>
                    <a:pt x="3176" y="1157"/>
                  </a:cubicBezTo>
                  <a:cubicBezTo>
                    <a:pt x="3181" y="1147"/>
                    <a:pt x="3179" y="1138"/>
                    <a:pt x="3166" y="1132"/>
                  </a:cubicBezTo>
                  <a:cubicBezTo>
                    <a:pt x="3153" y="1126"/>
                    <a:pt x="3143" y="1119"/>
                    <a:pt x="3140" y="1106"/>
                  </a:cubicBezTo>
                  <a:cubicBezTo>
                    <a:pt x="3138" y="1094"/>
                    <a:pt x="3133" y="1086"/>
                    <a:pt x="3112" y="1086"/>
                  </a:cubicBezTo>
                  <a:cubicBezTo>
                    <a:pt x="3090" y="1086"/>
                    <a:pt x="3076" y="1083"/>
                    <a:pt x="3060" y="1096"/>
                  </a:cubicBezTo>
                  <a:cubicBezTo>
                    <a:pt x="3044" y="1109"/>
                    <a:pt x="3044" y="1101"/>
                    <a:pt x="3019" y="1101"/>
                  </a:cubicBezTo>
                  <a:cubicBezTo>
                    <a:pt x="2993" y="1101"/>
                    <a:pt x="2994" y="1119"/>
                    <a:pt x="2993" y="1138"/>
                  </a:cubicBezTo>
                  <a:cubicBezTo>
                    <a:pt x="2991" y="1157"/>
                    <a:pt x="3000" y="1161"/>
                    <a:pt x="3010" y="1172"/>
                  </a:cubicBezTo>
                  <a:cubicBezTo>
                    <a:pt x="3020" y="1184"/>
                    <a:pt x="3024" y="1192"/>
                    <a:pt x="3020" y="1211"/>
                  </a:cubicBezTo>
                  <a:cubicBezTo>
                    <a:pt x="3016" y="1230"/>
                    <a:pt x="3006" y="1234"/>
                    <a:pt x="2987" y="1244"/>
                  </a:cubicBezTo>
                  <a:cubicBezTo>
                    <a:pt x="2968" y="1254"/>
                    <a:pt x="2974" y="1270"/>
                    <a:pt x="2967" y="1293"/>
                  </a:cubicBezTo>
                  <a:cubicBezTo>
                    <a:pt x="2960" y="1316"/>
                    <a:pt x="2946" y="1316"/>
                    <a:pt x="2927" y="1317"/>
                  </a:cubicBezTo>
                  <a:cubicBezTo>
                    <a:pt x="2908" y="1319"/>
                    <a:pt x="2913" y="1336"/>
                    <a:pt x="2891" y="1336"/>
                  </a:cubicBezTo>
                  <a:cubicBezTo>
                    <a:pt x="2870" y="1336"/>
                    <a:pt x="2877" y="1349"/>
                    <a:pt x="2871" y="1367"/>
                  </a:cubicBezTo>
                  <a:cubicBezTo>
                    <a:pt x="2865" y="1386"/>
                    <a:pt x="2851" y="1384"/>
                    <a:pt x="2841" y="1386"/>
                  </a:cubicBezTo>
                  <a:cubicBezTo>
                    <a:pt x="2831" y="1387"/>
                    <a:pt x="2821" y="1387"/>
                    <a:pt x="2812" y="1372"/>
                  </a:cubicBezTo>
                  <a:cubicBezTo>
                    <a:pt x="2804" y="1356"/>
                    <a:pt x="2778" y="1373"/>
                    <a:pt x="2755" y="1376"/>
                  </a:cubicBezTo>
                  <a:cubicBezTo>
                    <a:pt x="2732" y="1379"/>
                    <a:pt x="2731" y="1384"/>
                    <a:pt x="2719" y="1369"/>
                  </a:cubicBezTo>
                  <a:cubicBezTo>
                    <a:pt x="2708" y="1353"/>
                    <a:pt x="2696" y="1367"/>
                    <a:pt x="2692" y="1356"/>
                  </a:cubicBezTo>
                  <a:cubicBezTo>
                    <a:pt x="2688" y="1344"/>
                    <a:pt x="2680" y="1349"/>
                    <a:pt x="2667" y="1347"/>
                  </a:cubicBezTo>
                  <a:cubicBezTo>
                    <a:pt x="2655" y="1346"/>
                    <a:pt x="2653" y="1341"/>
                    <a:pt x="2653" y="1329"/>
                  </a:cubicBezTo>
                  <a:cubicBezTo>
                    <a:pt x="2653" y="1316"/>
                    <a:pt x="2677" y="1329"/>
                    <a:pt x="2682" y="1329"/>
                  </a:cubicBezTo>
                  <a:cubicBezTo>
                    <a:pt x="2686" y="1329"/>
                    <a:pt x="2702" y="1330"/>
                    <a:pt x="2719" y="1337"/>
                  </a:cubicBezTo>
                  <a:cubicBezTo>
                    <a:pt x="2736" y="1344"/>
                    <a:pt x="2752" y="1349"/>
                    <a:pt x="2762" y="1353"/>
                  </a:cubicBezTo>
                  <a:cubicBezTo>
                    <a:pt x="2772" y="1357"/>
                    <a:pt x="2782" y="1340"/>
                    <a:pt x="2795" y="1340"/>
                  </a:cubicBezTo>
                  <a:cubicBezTo>
                    <a:pt x="2808" y="1340"/>
                    <a:pt x="2812" y="1334"/>
                    <a:pt x="2811" y="1326"/>
                  </a:cubicBezTo>
                  <a:cubicBezTo>
                    <a:pt x="2809" y="1317"/>
                    <a:pt x="2814" y="1309"/>
                    <a:pt x="2829" y="1301"/>
                  </a:cubicBezTo>
                  <a:cubicBezTo>
                    <a:pt x="2845" y="1294"/>
                    <a:pt x="2842" y="1290"/>
                    <a:pt x="2845" y="1274"/>
                  </a:cubicBezTo>
                  <a:cubicBezTo>
                    <a:pt x="2848" y="1258"/>
                    <a:pt x="2871" y="1266"/>
                    <a:pt x="2872" y="1251"/>
                  </a:cubicBezTo>
                  <a:cubicBezTo>
                    <a:pt x="2874" y="1237"/>
                    <a:pt x="2885" y="1235"/>
                    <a:pt x="2901" y="1230"/>
                  </a:cubicBezTo>
                  <a:cubicBezTo>
                    <a:pt x="2917" y="1224"/>
                    <a:pt x="2918" y="1188"/>
                    <a:pt x="2920" y="1171"/>
                  </a:cubicBezTo>
                  <a:cubicBezTo>
                    <a:pt x="2921" y="1154"/>
                    <a:pt x="2924" y="1157"/>
                    <a:pt x="2937" y="1148"/>
                  </a:cubicBezTo>
                  <a:cubicBezTo>
                    <a:pt x="2950" y="1139"/>
                    <a:pt x="2930" y="1126"/>
                    <a:pt x="2915" y="1119"/>
                  </a:cubicBezTo>
                  <a:cubicBezTo>
                    <a:pt x="2901" y="1112"/>
                    <a:pt x="2892" y="1106"/>
                    <a:pt x="2887" y="1098"/>
                  </a:cubicBezTo>
                  <a:cubicBezTo>
                    <a:pt x="2881" y="1089"/>
                    <a:pt x="2874" y="1083"/>
                    <a:pt x="2874" y="1068"/>
                  </a:cubicBezTo>
                  <a:cubicBezTo>
                    <a:pt x="2874" y="1052"/>
                    <a:pt x="2881" y="1038"/>
                    <a:pt x="2882" y="1028"/>
                  </a:cubicBezTo>
                  <a:cubicBezTo>
                    <a:pt x="2884" y="1018"/>
                    <a:pt x="2884" y="996"/>
                    <a:pt x="2880" y="987"/>
                  </a:cubicBezTo>
                  <a:cubicBezTo>
                    <a:pt x="2875" y="979"/>
                    <a:pt x="2875" y="959"/>
                    <a:pt x="2874" y="949"/>
                  </a:cubicBezTo>
                  <a:cubicBezTo>
                    <a:pt x="2872" y="939"/>
                    <a:pt x="2880" y="926"/>
                    <a:pt x="2885" y="907"/>
                  </a:cubicBezTo>
                  <a:cubicBezTo>
                    <a:pt x="2891" y="889"/>
                    <a:pt x="2892" y="874"/>
                    <a:pt x="2888" y="860"/>
                  </a:cubicBezTo>
                  <a:cubicBezTo>
                    <a:pt x="2884" y="846"/>
                    <a:pt x="2872" y="831"/>
                    <a:pt x="2864" y="830"/>
                  </a:cubicBezTo>
                  <a:cubicBezTo>
                    <a:pt x="2855" y="828"/>
                    <a:pt x="2852" y="820"/>
                    <a:pt x="2842" y="814"/>
                  </a:cubicBezTo>
                  <a:cubicBezTo>
                    <a:pt x="2832" y="808"/>
                    <a:pt x="2834" y="793"/>
                    <a:pt x="2847" y="787"/>
                  </a:cubicBezTo>
                  <a:cubicBezTo>
                    <a:pt x="2860" y="781"/>
                    <a:pt x="2860" y="775"/>
                    <a:pt x="2862" y="764"/>
                  </a:cubicBezTo>
                  <a:cubicBezTo>
                    <a:pt x="2865" y="752"/>
                    <a:pt x="2870" y="744"/>
                    <a:pt x="2882" y="728"/>
                  </a:cubicBezTo>
                  <a:cubicBezTo>
                    <a:pt x="2895" y="712"/>
                    <a:pt x="2892" y="676"/>
                    <a:pt x="2891" y="662"/>
                  </a:cubicBezTo>
                  <a:cubicBezTo>
                    <a:pt x="2890" y="648"/>
                    <a:pt x="2868" y="645"/>
                    <a:pt x="2845" y="639"/>
                  </a:cubicBezTo>
                  <a:cubicBezTo>
                    <a:pt x="2822" y="633"/>
                    <a:pt x="2785" y="628"/>
                    <a:pt x="2755" y="628"/>
                  </a:cubicBezTo>
                  <a:cubicBezTo>
                    <a:pt x="2725" y="628"/>
                    <a:pt x="2720" y="633"/>
                    <a:pt x="2698" y="622"/>
                  </a:cubicBezTo>
                  <a:cubicBezTo>
                    <a:pt x="2675" y="610"/>
                    <a:pt x="2670" y="629"/>
                    <a:pt x="2656" y="645"/>
                  </a:cubicBezTo>
                  <a:cubicBezTo>
                    <a:pt x="2642" y="661"/>
                    <a:pt x="2639" y="686"/>
                    <a:pt x="2636" y="721"/>
                  </a:cubicBezTo>
                  <a:cubicBezTo>
                    <a:pt x="2633" y="755"/>
                    <a:pt x="2612" y="754"/>
                    <a:pt x="2597" y="777"/>
                  </a:cubicBezTo>
                  <a:cubicBezTo>
                    <a:pt x="2583" y="800"/>
                    <a:pt x="2543" y="814"/>
                    <a:pt x="2521" y="823"/>
                  </a:cubicBezTo>
                  <a:cubicBezTo>
                    <a:pt x="2500" y="831"/>
                    <a:pt x="2497" y="858"/>
                    <a:pt x="2498" y="870"/>
                  </a:cubicBezTo>
                  <a:cubicBezTo>
                    <a:pt x="2500" y="881"/>
                    <a:pt x="2501" y="884"/>
                    <a:pt x="2524" y="876"/>
                  </a:cubicBezTo>
                  <a:cubicBezTo>
                    <a:pt x="2547" y="867"/>
                    <a:pt x="2524" y="876"/>
                    <a:pt x="2536" y="897"/>
                  </a:cubicBezTo>
                  <a:cubicBezTo>
                    <a:pt x="2547" y="919"/>
                    <a:pt x="2534" y="920"/>
                    <a:pt x="2527" y="934"/>
                  </a:cubicBezTo>
                  <a:cubicBezTo>
                    <a:pt x="2520" y="949"/>
                    <a:pt x="2528" y="946"/>
                    <a:pt x="2540" y="962"/>
                  </a:cubicBezTo>
                  <a:cubicBezTo>
                    <a:pt x="2551" y="977"/>
                    <a:pt x="2534" y="969"/>
                    <a:pt x="2514" y="969"/>
                  </a:cubicBezTo>
                  <a:cubicBezTo>
                    <a:pt x="2494" y="969"/>
                    <a:pt x="2503" y="1010"/>
                    <a:pt x="2510" y="1022"/>
                  </a:cubicBezTo>
                  <a:cubicBezTo>
                    <a:pt x="2517" y="1033"/>
                    <a:pt x="2526" y="1009"/>
                    <a:pt x="2531" y="1009"/>
                  </a:cubicBezTo>
                  <a:cubicBezTo>
                    <a:pt x="2537" y="1009"/>
                    <a:pt x="2566" y="1022"/>
                    <a:pt x="2577" y="1023"/>
                  </a:cubicBezTo>
                  <a:cubicBezTo>
                    <a:pt x="2589" y="1025"/>
                    <a:pt x="2594" y="1051"/>
                    <a:pt x="2602" y="1066"/>
                  </a:cubicBezTo>
                  <a:cubicBezTo>
                    <a:pt x="2609" y="1082"/>
                    <a:pt x="2619" y="1092"/>
                    <a:pt x="2633" y="1094"/>
                  </a:cubicBezTo>
                  <a:cubicBezTo>
                    <a:pt x="2647" y="1095"/>
                    <a:pt x="2650" y="1124"/>
                    <a:pt x="2639" y="1131"/>
                  </a:cubicBezTo>
                  <a:cubicBezTo>
                    <a:pt x="2627" y="1138"/>
                    <a:pt x="2630" y="1145"/>
                    <a:pt x="2626" y="1157"/>
                  </a:cubicBezTo>
                  <a:cubicBezTo>
                    <a:pt x="2622" y="1168"/>
                    <a:pt x="2600" y="1157"/>
                    <a:pt x="2589" y="1144"/>
                  </a:cubicBezTo>
                  <a:cubicBezTo>
                    <a:pt x="2577" y="1131"/>
                    <a:pt x="2551" y="1124"/>
                    <a:pt x="2541" y="1112"/>
                  </a:cubicBezTo>
                  <a:cubicBezTo>
                    <a:pt x="2531" y="1101"/>
                    <a:pt x="2524" y="1094"/>
                    <a:pt x="2513" y="1094"/>
                  </a:cubicBezTo>
                  <a:cubicBezTo>
                    <a:pt x="2501" y="1094"/>
                    <a:pt x="2484" y="1085"/>
                    <a:pt x="2468" y="1073"/>
                  </a:cubicBezTo>
                  <a:cubicBezTo>
                    <a:pt x="2452" y="1062"/>
                    <a:pt x="2422" y="1056"/>
                    <a:pt x="2407" y="1056"/>
                  </a:cubicBezTo>
                  <a:cubicBezTo>
                    <a:pt x="2391" y="1056"/>
                    <a:pt x="2387" y="1051"/>
                    <a:pt x="2378" y="1038"/>
                  </a:cubicBezTo>
                  <a:cubicBezTo>
                    <a:pt x="2369" y="1025"/>
                    <a:pt x="2331" y="1020"/>
                    <a:pt x="2309" y="1016"/>
                  </a:cubicBezTo>
                  <a:cubicBezTo>
                    <a:pt x="2288" y="1012"/>
                    <a:pt x="2212" y="990"/>
                    <a:pt x="2187" y="996"/>
                  </a:cubicBezTo>
                  <a:cubicBezTo>
                    <a:pt x="2163" y="1002"/>
                    <a:pt x="2172" y="987"/>
                    <a:pt x="2151" y="987"/>
                  </a:cubicBezTo>
                  <a:cubicBezTo>
                    <a:pt x="2131" y="987"/>
                    <a:pt x="2126" y="993"/>
                    <a:pt x="2113" y="1006"/>
                  </a:cubicBezTo>
                  <a:cubicBezTo>
                    <a:pt x="2100" y="1019"/>
                    <a:pt x="2097" y="1012"/>
                    <a:pt x="2096" y="1025"/>
                  </a:cubicBezTo>
                  <a:cubicBezTo>
                    <a:pt x="2094" y="1038"/>
                    <a:pt x="2108" y="1042"/>
                    <a:pt x="2113" y="1055"/>
                  </a:cubicBezTo>
                  <a:cubicBezTo>
                    <a:pt x="2117" y="1068"/>
                    <a:pt x="2113" y="1072"/>
                    <a:pt x="2123" y="1073"/>
                  </a:cubicBezTo>
                  <a:cubicBezTo>
                    <a:pt x="2133" y="1075"/>
                    <a:pt x="2133" y="1094"/>
                    <a:pt x="2124" y="1105"/>
                  </a:cubicBezTo>
                  <a:cubicBezTo>
                    <a:pt x="2116" y="1116"/>
                    <a:pt x="2101" y="1118"/>
                    <a:pt x="2081" y="1119"/>
                  </a:cubicBezTo>
                  <a:cubicBezTo>
                    <a:pt x="2061" y="1121"/>
                    <a:pt x="2064" y="1131"/>
                    <a:pt x="2078" y="1137"/>
                  </a:cubicBezTo>
                  <a:cubicBezTo>
                    <a:pt x="2093" y="1142"/>
                    <a:pt x="2080" y="1154"/>
                    <a:pt x="2068" y="1154"/>
                  </a:cubicBezTo>
                  <a:cubicBezTo>
                    <a:pt x="2057" y="1154"/>
                    <a:pt x="2045" y="1158"/>
                    <a:pt x="2030" y="1149"/>
                  </a:cubicBezTo>
                  <a:cubicBezTo>
                    <a:pt x="2014" y="1141"/>
                    <a:pt x="2017" y="1124"/>
                    <a:pt x="2025" y="1119"/>
                  </a:cubicBezTo>
                  <a:cubicBezTo>
                    <a:pt x="2034" y="1115"/>
                    <a:pt x="2041" y="1105"/>
                    <a:pt x="2032" y="1099"/>
                  </a:cubicBezTo>
                  <a:cubicBezTo>
                    <a:pt x="2024" y="1094"/>
                    <a:pt x="2014" y="1082"/>
                    <a:pt x="2004" y="1085"/>
                  </a:cubicBezTo>
                  <a:cubicBezTo>
                    <a:pt x="1994" y="1088"/>
                    <a:pt x="1978" y="1088"/>
                    <a:pt x="1974" y="1101"/>
                  </a:cubicBezTo>
                  <a:cubicBezTo>
                    <a:pt x="1969" y="1114"/>
                    <a:pt x="1959" y="1112"/>
                    <a:pt x="1944" y="1112"/>
                  </a:cubicBezTo>
                  <a:cubicBezTo>
                    <a:pt x="1928" y="1112"/>
                    <a:pt x="1924" y="1115"/>
                    <a:pt x="1912" y="1126"/>
                  </a:cubicBezTo>
                  <a:cubicBezTo>
                    <a:pt x="1901" y="1138"/>
                    <a:pt x="1892" y="1138"/>
                    <a:pt x="1875" y="1126"/>
                  </a:cubicBezTo>
                  <a:cubicBezTo>
                    <a:pt x="1858" y="1115"/>
                    <a:pt x="1856" y="1125"/>
                    <a:pt x="1823" y="1124"/>
                  </a:cubicBezTo>
                  <a:cubicBezTo>
                    <a:pt x="1790" y="1122"/>
                    <a:pt x="1807" y="1134"/>
                    <a:pt x="1786" y="1135"/>
                  </a:cubicBezTo>
                  <a:cubicBezTo>
                    <a:pt x="1764" y="1137"/>
                    <a:pt x="1762" y="1145"/>
                    <a:pt x="1757" y="1162"/>
                  </a:cubicBezTo>
                  <a:cubicBezTo>
                    <a:pt x="1753" y="1180"/>
                    <a:pt x="1747" y="1178"/>
                    <a:pt x="1729" y="1165"/>
                  </a:cubicBezTo>
                  <a:cubicBezTo>
                    <a:pt x="1710" y="1152"/>
                    <a:pt x="1720" y="1174"/>
                    <a:pt x="1707" y="1168"/>
                  </a:cubicBezTo>
                  <a:cubicBezTo>
                    <a:pt x="1694" y="1162"/>
                    <a:pt x="1686" y="1180"/>
                    <a:pt x="1661" y="1177"/>
                  </a:cubicBezTo>
                  <a:cubicBezTo>
                    <a:pt x="1637" y="1174"/>
                    <a:pt x="1658" y="1159"/>
                    <a:pt x="1674" y="1158"/>
                  </a:cubicBezTo>
                  <a:cubicBezTo>
                    <a:pt x="1690" y="1157"/>
                    <a:pt x="1690" y="1142"/>
                    <a:pt x="1683" y="1134"/>
                  </a:cubicBezTo>
                  <a:cubicBezTo>
                    <a:pt x="1676" y="1125"/>
                    <a:pt x="1688" y="1114"/>
                    <a:pt x="1690" y="1105"/>
                  </a:cubicBezTo>
                  <a:cubicBezTo>
                    <a:pt x="1691" y="1096"/>
                    <a:pt x="1701" y="1082"/>
                    <a:pt x="1676" y="1086"/>
                  </a:cubicBezTo>
                  <a:cubicBezTo>
                    <a:pt x="1650" y="1091"/>
                    <a:pt x="1641" y="1101"/>
                    <a:pt x="1621" y="1108"/>
                  </a:cubicBezTo>
                  <a:cubicBezTo>
                    <a:pt x="1601" y="1115"/>
                    <a:pt x="1607" y="1124"/>
                    <a:pt x="1607" y="1138"/>
                  </a:cubicBezTo>
                  <a:cubicBezTo>
                    <a:pt x="1607" y="1152"/>
                    <a:pt x="1601" y="1152"/>
                    <a:pt x="1592" y="1152"/>
                  </a:cubicBezTo>
                  <a:cubicBezTo>
                    <a:pt x="1584" y="1152"/>
                    <a:pt x="1587" y="1149"/>
                    <a:pt x="1584" y="1135"/>
                  </a:cubicBezTo>
                  <a:cubicBezTo>
                    <a:pt x="1581" y="1121"/>
                    <a:pt x="1564" y="1142"/>
                    <a:pt x="1549" y="1138"/>
                  </a:cubicBezTo>
                  <a:cubicBezTo>
                    <a:pt x="1535" y="1134"/>
                    <a:pt x="1514" y="1145"/>
                    <a:pt x="1494" y="1154"/>
                  </a:cubicBezTo>
                  <a:cubicBezTo>
                    <a:pt x="1473" y="1162"/>
                    <a:pt x="1476" y="1177"/>
                    <a:pt x="1441" y="1185"/>
                  </a:cubicBezTo>
                  <a:cubicBezTo>
                    <a:pt x="1405" y="1194"/>
                    <a:pt x="1410" y="1204"/>
                    <a:pt x="1393" y="1210"/>
                  </a:cubicBezTo>
                  <a:cubicBezTo>
                    <a:pt x="1376" y="1215"/>
                    <a:pt x="1370" y="1211"/>
                    <a:pt x="1369" y="1221"/>
                  </a:cubicBezTo>
                  <a:cubicBezTo>
                    <a:pt x="1367" y="1231"/>
                    <a:pt x="1356" y="1227"/>
                    <a:pt x="1334" y="1225"/>
                  </a:cubicBezTo>
                  <a:cubicBezTo>
                    <a:pt x="1313" y="1224"/>
                    <a:pt x="1307" y="1241"/>
                    <a:pt x="1310" y="1253"/>
                  </a:cubicBezTo>
                  <a:cubicBezTo>
                    <a:pt x="1313" y="1264"/>
                    <a:pt x="1299" y="1278"/>
                    <a:pt x="1294" y="1297"/>
                  </a:cubicBezTo>
                  <a:cubicBezTo>
                    <a:pt x="1290" y="1316"/>
                    <a:pt x="1267" y="1307"/>
                    <a:pt x="1257" y="1317"/>
                  </a:cubicBezTo>
                  <a:cubicBezTo>
                    <a:pt x="1247" y="1327"/>
                    <a:pt x="1224" y="1323"/>
                    <a:pt x="1207" y="1323"/>
                  </a:cubicBezTo>
                  <a:cubicBezTo>
                    <a:pt x="1190" y="1323"/>
                    <a:pt x="1178" y="1309"/>
                    <a:pt x="1170" y="1293"/>
                  </a:cubicBezTo>
                  <a:cubicBezTo>
                    <a:pt x="1161" y="1277"/>
                    <a:pt x="1148" y="1274"/>
                    <a:pt x="1137" y="1270"/>
                  </a:cubicBezTo>
                  <a:cubicBezTo>
                    <a:pt x="1125" y="1266"/>
                    <a:pt x="1125" y="1257"/>
                    <a:pt x="1127" y="1245"/>
                  </a:cubicBezTo>
                  <a:cubicBezTo>
                    <a:pt x="1128" y="1234"/>
                    <a:pt x="1144" y="1241"/>
                    <a:pt x="1144" y="1230"/>
                  </a:cubicBezTo>
                  <a:cubicBezTo>
                    <a:pt x="1144" y="1218"/>
                    <a:pt x="1155" y="1225"/>
                    <a:pt x="1171" y="1218"/>
                  </a:cubicBezTo>
                  <a:cubicBezTo>
                    <a:pt x="1187" y="1211"/>
                    <a:pt x="1205" y="1211"/>
                    <a:pt x="1224" y="1211"/>
                  </a:cubicBezTo>
                  <a:cubicBezTo>
                    <a:pt x="1243" y="1211"/>
                    <a:pt x="1226" y="1187"/>
                    <a:pt x="1217" y="1174"/>
                  </a:cubicBezTo>
                  <a:cubicBezTo>
                    <a:pt x="1208" y="1161"/>
                    <a:pt x="1197" y="1167"/>
                    <a:pt x="1194" y="1155"/>
                  </a:cubicBezTo>
                  <a:cubicBezTo>
                    <a:pt x="1191" y="1144"/>
                    <a:pt x="1178" y="1138"/>
                    <a:pt x="1172" y="1138"/>
                  </a:cubicBezTo>
                  <a:cubicBezTo>
                    <a:pt x="1167" y="1138"/>
                    <a:pt x="1155" y="1132"/>
                    <a:pt x="1150" y="1125"/>
                  </a:cubicBezTo>
                  <a:cubicBezTo>
                    <a:pt x="1144" y="1118"/>
                    <a:pt x="1114" y="1131"/>
                    <a:pt x="1094" y="1132"/>
                  </a:cubicBezTo>
                  <a:cubicBezTo>
                    <a:pt x="1074" y="1134"/>
                    <a:pt x="1061" y="1131"/>
                    <a:pt x="1045" y="1119"/>
                  </a:cubicBezTo>
                  <a:cubicBezTo>
                    <a:pt x="1029" y="1108"/>
                    <a:pt x="1021" y="1126"/>
                    <a:pt x="1023" y="1131"/>
                  </a:cubicBezTo>
                  <a:cubicBezTo>
                    <a:pt x="1026" y="1135"/>
                    <a:pt x="1032" y="1138"/>
                    <a:pt x="1055" y="1147"/>
                  </a:cubicBezTo>
                  <a:cubicBezTo>
                    <a:pt x="1078" y="1155"/>
                    <a:pt x="1075" y="1169"/>
                    <a:pt x="1076" y="1190"/>
                  </a:cubicBezTo>
                  <a:cubicBezTo>
                    <a:pt x="1078" y="1210"/>
                    <a:pt x="1071" y="1215"/>
                    <a:pt x="1062" y="1235"/>
                  </a:cubicBezTo>
                  <a:cubicBezTo>
                    <a:pt x="1054" y="1255"/>
                    <a:pt x="1046" y="1257"/>
                    <a:pt x="1046" y="1271"/>
                  </a:cubicBezTo>
                  <a:cubicBezTo>
                    <a:pt x="1046" y="1286"/>
                    <a:pt x="1071" y="1288"/>
                    <a:pt x="1085" y="1291"/>
                  </a:cubicBezTo>
                  <a:cubicBezTo>
                    <a:pt x="1099" y="1294"/>
                    <a:pt x="1089" y="1306"/>
                    <a:pt x="1091" y="1333"/>
                  </a:cubicBezTo>
                  <a:cubicBezTo>
                    <a:pt x="1092" y="1360"/>
                    <a:pt x="1089" y="1353"/>
                    <a:pt x="1076" y="1362"/>
                  </a:cubicBezTo>
                  <a:cubicBezTo>
                    <a:pt x="1064" y="1370"/>
                    <a:pt x="1072" y="1383"/>
                    <a:pt x="1074" y="1393"/>
                  </a:cubicBezTo>
                  <a:cubicBezTo>
                    <a:pt x="1075" y="1403"/>
                    <a:pt x="1074" y="1417"/>
                    <a:pt x="1065" y="1416"/>
                  </a:cubicBezTo>
                  <a:cubicBezTo>
                    <a:pt x="1056" y="1415"/>
                    <a:pt x="1058" y="1402"/>
                    <a:pt x="1055" y="1392"/>
                  </a:cubicBezTo>
                  <a:cubicBezTo>
                    <a:pt x="1052" y="1382"/>
                    <a:pt x="1033" y="1393"/>
                    <a:pt x="1026" y="1403"/>
                  </a:cubicBezTo>
                  <a:cubicBezTo>
                    <a:pt x="1019" y="1413"/>
                    <a:pt x="1009" y="1399"/>
                    <a:pt x="1025" y="1389"/>
                  </a:cubicBezTo>
                  <a:cubicBezTo>
                    <a:pt x="1041" y="1379"/>
                    <a:pt x="1038" y="1370"/>
                    <a:pt x="1028" y="1367"/>
                  </a:cubicBezTo>
                  <a:cubicBezTo>
                    <a:pt x="1018" y="1364"/>
                    <a:pt x="1008" y="1359"/>
                    <a:pt x="992" y="1359"/>
                  </a:cubicBezTo>
                  <a:cubicBezTo>
                    <a:pt x="976" y="1359"/>
                    <a:pt x="972" y="1362"/>
                    <a:pt x="962" y="1352"/>
                  </a:cubicBezTo>
                  <a:cubicBezTo>
                    <a:pt x="952" y="1341"/>
                    <a:pt x="936" y="1357"/>
                    <a:pt x="923" y="1374"/>
                  </a:cubicBezTo>
                  <a:cubicBezTo>
                    <a:pt x="910" y="1392"/>
                    <a:pt x="892" y="1400"/>
                    <a:pt x="864" y="1403"/>
                  </a:cubicBezTo>
                  <a:cubicBezTo>
                    <a:pt x="837" y="1406"/>
                    <a:pt x="837" y="1438"/>
                    <a:pt x="810" y="1443"/>
                  </a:cubicBezTo>
                  <a:cubicBezTo>
                    <a:pt x="783" y="1449"/>
                    <a:pt x="790" y="1460"/>
                    <a:pt x="787" y="1470"/>
                  </a:cubicBezTo>
                  <a:cubicBezTo>
                    <a:pt x="784" y="1481"/>
                    <a:pt x="806" y="1498"/>
                    <a:pt x="821" y="1505"/>
                  </a:cubicBezTo>
                  <a:cubicBezTo>
                    <a:pt x="837" y="1512"/>
                    <a:pt x="836" y="1531"/>
                    <a:pt x="836" y="1549"/>
                  </a:cubicBezTo>
                  <a:cubicBezTo>
                    <a:pt x="836" y="1568"/>
                    <a:pt x="817" y="1558"/>
                    <a:pt x="807" y="1549"/>
                  </a:cubicBezTo>
                  <a:cubicBezTo>
                    <a:pt x="797" y="1541"/>
                    <a:pt x="787" y="1548"/>
                    <a:pt x="777" y="1554"/>
                  </a:cubicBezTo>
                  <a:cubicBezTo>
                    <a:pt x="767" y="1559"/>
                    <a:pt x="757" y="1549"/>
                    <a:pt x="748" y="1538"/>
                  </a:cubicBezTo>
                  <a:cubicBezTo>
                    <a:pt x="740" y="1526"/>
                    <a:pt x="714" y="1529"/>
                    <a:pt x="707" y="1534"/>
                  </a:cubicBezTo>
                  <a:cubicBezTo>
                    <a:pt x="699" y="1538"/>
                    <a:pt x="691" y="1536"/>
                    <a:pt x="688" y="1526"/>
                  </a:cubicBezTo>
                  <a:cubicBezTo>
                    <a:pt x="685" y="1516"/>
                    <a:pt x="665" y="1518"/>
                    <a:pt x="655" y="1499"/>
                  </a:cubicBezTo>
                  <a:cubicBezTo>
                    <a:pt x="645" y="1481"/>
                    <a:pt x="641" y="1489"/>
                    <a:pt x="621" y="1489"/>
                  </a:cubicBezTo>
                  <a:cubicBezTo>
                    <a:pt x="601" y="1489"/>
                    <a:pt x="609" y="1506"/>
                    <a:pt x="591" y="1516"/>
                  </a:cubicBezTo>
                  <a:cubicBezTo>
                    <a:pt x="572" y="1526"/>
                    <a:pt x="583" y="1541"/>
                    <a:pt x="593" y="1544"/>
                  </a:cubicBezTo>
                  <a:cubicBezTo>
                    <a:pt x="603" y="1546"/>
                    <a:pt x="612" y="1558"/>
                    <a:pt x="626" y="1572"/>
                  </a:cubicBezTo>
                  <a:cubicBezTo>
                    <a:pt x="641" y="1587"/>
                    <a:pt x="641" y="1579"/>
                    <a:pt x="659" y="1575"/>
                  </a:cubicBezTo>
                  <a:cubicBezTo>
                    <a:pt x="678" y="1571"/>
                    <a:pt x="681" y="1587"/>
                    <a:pt x="682" y="1604"/>
                  </a:cubicBezTo>
                  <a:cubicBezTo>
                    <a:pt x="684" y="1621"/>
                    <a:pt x="665" y="1622"/>
                    <a:pt x="658" y="1630"/>
                  </a:cubicBezTo>
                  <a:cubicBezTo>
                    <a:pt x="651" y="1637"/>
                    <a:pt x="636" y="1635"/>
                    <a:pt x="631" y="1627"/>
                  </a:cubicBezTo>
                  <a:cubicBezTo>
                    <a:pt x="625" y="1618"/>
                    <a:pt x="616" y="1621"/>
                    <a:pt x="602" y="1621"/>
                  </a:cubicBezTo>
                  <a:cubicBezTo>
                    <a:pt x="588" y="1621"/>
                    <a:pt x="573" y="1617"/>
                    <a:pt x="572" y="1607"/>
                  </a:cubicBezTo>
                  <a:cubicBezTo>
                    <a:pt x="570" y="1597"/>
                    <a:pt x="560" y="1595"/>
                    <a:pt x="550" y="1587"/>
                  </a:cubicBezTo>
                  <a:cubicBezTo>
                    <a:pt x="540" y="1578"/>
                    <a:pt x="520" y="1581"/>
                    <a:pt x="503" y="1581"/>
                  </a:cubicBezTo>
                  <a:cubicBezTo>
                    <a:pt x="486" y="1581"/>
                    <a:pt x="482" y="1568"/>
                    <a:pt x="483" y="1559"/>
                  </a:cubicBezTo>
                  <a:cubicBezTo>
                    <a:pt x="484" y="1551"/>
                    <a:pt x="484" y="1535"/>
                    <a:pt x="477" y="1518"/>
                  </a:cubicBezTo>
                  <a:cubicBezTo>
                    <a:pt x="470" y="1501"/>
                    <a:pt x="474" y="1495"/>
                    <a:pt x="462" y="1486"/>
                  </a:cubicBezTo>
                  <a:cubicBezTo>
                    <a:pt x="449" y="1478"/>
                    <a:pt x="464" y="1469"/>
                    <a:pt x="477" y="1449"/>
                  </a:cubicBezTo>
                  <a:cubicBezTo>
                    <a:pt x="490" y="1429"/>
                    <a:pt x="472" y="1426"/>
                    <a:pt x="470" y="1412"/>
                  </a:cubicBezTo>
                  <a:cubicBezTo>
                    <a:pt x="469" y="1397"/>
                    <a:pt x="444" y="1386"/>
                    <a:pt x="434" y="1382"/>
                  </a:cubicBezTo>
                  <a:cubicBezTo>
                    <a:pt x="424" y="1377"/>
                    <a:pt x="411" y="1373"/>
                    <a:pt x="397" y="1373"/>
                  </a:cubicBezTo>
                  <a:cubicBezTo>
                    <a:pt x="383" y="1373"/>
                    <a:pt x="394" y="1366"/>
                    <a:pt x="393" y="1356"/>
                  </a:cubicBezTo>
                  <a:cubicBezTo>
                    <a:pt x="391" y="1346"/>
                    <a:pt x="380" y="1347"/>
                    <a:pt x="374" y="1354"/>
                  </a:cubicBezTo>
                  <a:cubicBezTo>
                    <a:pt x="368" y="1362"/>
                    <a:pt x="355" y="1350"/>
                    <a:pt x="360" y="1343"/>
                  </a:cubicBezTo>
                  <a:cubicBezTo>
                    <a:pt x="364" y="1336"/>
                    <a:pt x="364" y="1331"/>
                    <a:pt x="350" y="1329"/>
                  </a:cubicBezTo>
                  <a:cubicBezTo>
                    <a:pt x="335" y="1326"/>
                    <a:pt x="341" y="1320"/>
                    <a:pt x="324" y="1303"/>
                  </a:cubicBezTo>
                  <a:cubicBezTo>
                    <a:pt x="307" y="1286"/>
                    <a:pt x="320" y="1283"/>
                    <a:pt x="337" y="1284"/>
                  </a:cubicBezTo>
                  <a:cubicBezTo>
                    <a:pt x="354" y="1286"/>
                    <a:pt x="366" y="1300"/>
                    <a:pt x="376" y="1316"/>
                  </a:cubicBezTo>
                  <a:cubicBezTo>
                    <a:pt x="386" y="1331"/>
                    <a:pt x="403" y="1327"/>
                    <a:pt x="416" y="1333"/>
                  </a:cubicBezTo>
                  <a:cubicBezTo>
                    <a:pt x="429" y="1339"/>
                    <a:pt x="454" y="1343"/>
                    <a:pt x="470" y="1346"/>
                  </a:cubicBezTo>
                  <a:cubicBezTo>
                    <a:pt x="486" y="1349"/>
                    <a:pt x="509" y="1357"/>
                    <a:pt x="529" y="1366"/>
                  </a:cubicBezTo>
                  <a:cubicBezTo>
                    <a:pt x="549" y="1374"/>
                    <a:pt x="588" y="1380"/>
                    <a:pt x="613" y="1380"/>
                  </a:cubicBezTo>
                  <a:cubicBezTo>
                    <a:pt x="639" y="1380"/>
                    <a:pt x="652" y="1397"/>
                    <a:pt x="692" y="1405"/>
                  </a:cubicBezTo>
                  <a:cubicBezTo>
                    <a:pt x="732" y="1412"/>
                    <a:pt x="788" y="1389"/>
                    <a:pt x="810" y="1374"/>
                  </a:cubicBezTo>
                  <a:cubicBezTo>
                    <a:pt x="831" y="1360"/>
                    <a:pt x="859" y="1341"/>
                    <a:pt x="880" y="1326"/>
                  </a:cubicBezTo>
                  <a:cubicBezTo>
                    <a:pt x="902" y="1310"/>
                    <a:pt x="899" y="1268"/>
                    <a:pt x="889" y="1263"/>
                  </a:cubicBezTo>
                  <a:cubicBezTo>
                    <a:pt x="879" y="1257"/>
                    <a:pt x="873" y="1247"/>
                    <a:pt x="871" y="1230"/>
                  </a:cubicBezTo>
                  <a:cubicBezTo>
                    <a:pt x="870" y="1212"/>
                    <a:pt x="861" y="1217"/>
                    <a:pt x="846" y="1217"/>
                  </a:cubicBezTo>
                  <a:cubicBezTo>
                    <a:pt x="830" y="1217"/>
                    <a:pt x="828" y="1211"/>
                    <a:pt x="823" y="1200"/>
                  </a:cubicBezTo>
                  <a:cubicBezTo>
                    <a:pt x="817" y="1188"/>
                    <a:pt x="808" y="1178"/>
                    <a:pt x="794" y="1178"/>
                  </a:cubicBezTo>
                  <a:cubicBezTo>
                    <a:pt x="780" y="1178"/>
                    <a:pt x="773" y="1168"/>
                    <a:pt x="753" y="1162"/>
                  </a:cubicBezTo>
                  <a:cubicBezTo>
                    <a:pt x="732" y="1157"/>
                    <a:pt x="742" y="1152"/>
                    <a:pt x="724" y="1152"/>
                  </a:cubicBezTo>
                  <a:cubicBezTo>
                    <a:pt x="705" y="1152"/>
                    <a:pt x="695" y="1148"/>
                    <a:pt x="671" y="1126"/>
                  </a:cubicBezTo>
                  <a:cubicBezTo>
                    <a:pt x="646" y="1105"/>
                    <a:pt x="625" y="1101"/>
                    <a:pt x="593" y="1082"/>
                  </a:cubicBezTo>
                  <a:cubicBezTo>
                    <a:pt x="562" y="1063"/>
                    <a:pt x="558" y="1075"/>
                    <a:pt x="539" y="1061"/>
                  </a:cubicBezTo>
                  <a:cubicBezTo>
                    <a:pt x="520" y="1046"/>
                    <a:pt x="507" y="1048"/>
                    <a:pt x="495" y="1056"/>
                  </a:cubicBezTo>
                  <a:cubicBezTo>
                    <a:pt x="482" y="1065"/>
                    <a:pt x="466" y="1053"/>
                    <a:pt x="460" y="1045"/>
                  </a:cubicBezTo>
                  <a:cubicBezTo>
                    <a:pt x="454" y="1036"/>
                    <a:pt x="424" y="1040"/>
                    <a:pt x="414" y="1040"/>
                  </a:cubicBezTo>
                  <a:cubicBezTo>
                    <a:pt x="404" y="1040"/>
                    <a:pt x="400" y="1040"/>
                    <a:pt x="398" y="1065"/>
                  </a:cubicBezTo>
                  <a:cubicBezTo>
                    <a:pt x="397" y="1089"/>
                    <a:pt x="377" y="1088"/>
                    <a:pt x="366" y="1082"/>
                  </a:cubicBezTo>
                  <a:cubicBezTo>
                    <a:pt x="354" y="1076"/>
                    <a:pt x="384" y="1063"/>
                    <a:pt x="388" y="1046"/>
                  </a:cubicBezTo>
                  <a:cubicBezTo>
                    <a:pt x="393" y="1029"/>
                    <a:pt x="377" y="1026"/>
                    <a:pt x="371" y="1035"/>
                  </a:cubicBezTo>
                  <a:cubicBezTo>
                    <a:pt x="366" y="1043"/>
                    <a:pt x="348" y="1045"/>
                    <a:pt x="348" y="1040"/>
                  </a:cubicBezTo>
                  <a:cubicBezTo>
                    <a:pt x="348" y="1036"/>
                    <a:pt x="341" y="1026"/>
                    <a:pt x="323" y="1020"/>
                  </a:cubicBezTo>
                  <a:cubicBezTo>
                    <a:pt x="304" y="1015"/>
                    <a:pt x="311" y="1002"/>
                    <a:pt x="324" y="1006"/>
                  </a:cubicBezTo>
                  <a:cubicBezTo>
                    <a:pt x="337" y="1010"/>
                    <a:pt x="357" y="1010"/>
                    <a:pt x="358" y="1003"/>
                  </a:cubicBezTo>
                  <a:cubicBezTo>
                    <a:pt x="360" y="996"/>
                    <a:pt x="354" y="987"/>
                    <a:pt x="337" y="987"/>
                  </a:cubicBezTo>
                  <a:cubicBezTo>
                    <a:pt x="320" y="987"/>
                    <a:pt x="324" y="979"/>
                    <a:pt x="310" y="972"/>
                  </a:cubicBezTo>
                  <a:cubicBezTo>
                    <a:pt x="295" y="965"/>
                    <a:pt x="281" y="970"/>
                    <a:pt x="292" y="982"/>
                  </a:cubicBezTo>
                  <a:cubicBezTo>
                    <a:pt x="304" y="993"/>
                    <a:pt x="277" y="985"/>
                    <a:pt x="267" y="1002"/>
                  </a:cubicBezTo>
                  <a:cubicBezTo>
                    <a:pt x="257" y="1019"/>
                    <a:pt x="237" y="1012"/>
                    <a:pt x="237" y="1002"/>
                  </a:cubicBezTo>
                  <a:cubicBezTo>
                    <a:pt x="237" y="995"/>
                    <a:pt x="233" y="992"/>
                    <a:pt x="227" y="990"/>
                  </a:cubicBezTo>
                  <a:cubicBezTo>
                    <a:pt x="224" y="997"/>
                    <a:pt x="225" y="1006"/>
                    <a:pt x="227" y="1013"/>
                  </a:cubicBezTo>
                  <a:cubicBezTo>
                    <a:pt x="229" y="1022"/>
                    <a:pt x="220" y="1022"/>
                    <a:pt x="211" y="1022"/>
                  </a:cubicBezTo>
                  <a:cubicBezTo>
                    <a:pt x="201" y="1021"/>
                    <a:pt x="202" y="1016"/>
                    <a:pt x="191" y="1012"/>
                  </a:cubicBezTo>
                  <a:cubicBezTo>
                    <a:pt x="181" y="1008"/>
                    <a:pt x="173" y="1021"/>
                    <a:pt x="169" y="1032"/>
                  </a:cubicBezTo>
                  <a:cubicBezTo>
                    <a:pt x="165" y="1043"/>
                    <a:pt x="155" y="1042"/>
                    <a:pt x="145" y="1043"/>
                  </a:cubicBezTo>
                  <a:cubicBezTo>
                    <a:pt x="135" y="1043"/>
                    <a:pt x="131" y="1056"/>
                    <a:pt x="124" y="1068"/>
                  </a:cubicBezTo>
                  <a:cubicBezTo>
                    <a:pt x="119" y="1078"/>
                    <a:pt x="108" y="1081"/>
                    <a:pt x="102" y="1077"/>
                  </a:cubicBezTo>
                  <a:cubicBezTo>
                    <a:pt x="99" y="1081"/>
                    <a:pt x="95" y="1085"/>
                    <a:pt x="90" y="1086"/>
                  </a:cubicBezTo>
                  <a:cubicBezTo>
                    <a:pt x="82" y="1087"/>
                    <a:pt x="71" y="1086"/>
                    <a:pt x="70" y="1090"/>
                  </a:cubicBezTo>
                  <a:cubicBezTo>
                    <a:pt x="69" y="1093"/>
                    <a:pt x="69" y="1097"/>
                    <a:pt x="76" y="1098"/>
                  </a:cubicBezTo>
                  <a:cubicBezTo>
                    <a:pt x="83" y="1098"/>
                    <a:pt x="89" y="1102"/>
                    <a:pt x="88" y="1107"/>
                  </a:cubicBezTo>
                  <a:cubicBezTo>
                    <a:pt x="87" y="1112"/>
                    <a:pt x="83" y="1118"/>
                    <a:pt x="77" y="1121"/>
                  </a:cubicBezTo>
                  <a:cubicBezTo>
                    <a:pt x="72" y="1124"/>
                    <a:pt x="72" y="1131"/>
                    <a:pt x="72" y="1139"/>
                  </a:cubicBezTo>
                  <a:cubicBezTo>
                    <a:pt x="72" y="1146"/>
                    <a:pt x="70" y="1152"/>
                    <a:pt x="80" y="1159"/>
                  </a:cubicBezTo>
                  <a:cubicBezTo>
                    <a:pt x="89" y="1165"/>
                    <a:pt x="92" y="1178"/>
                    <a:pt x="105" y="1178"/>
                  </a:cubicBezTo>
                  <a:cubicBezTo>
                    <a:pt x="118" y="1178"/>
                    <a:pt x="121" y="1179"/>
                    <a:pt x="133" y="1195"/>
                  </a:cubicBezTo>
                  <a:cubicBezTo>
                    <a:pt x="146" y="1211"/>
                    <a:pt x="155" y="1216"/>
                    <a:pt x="161" y="1220"/>
                  </a:cubicBezTo>
                  <a:cubicBezTo>
                    <a:pt x="167" y="1224"/>
                    <a:pt x="170" y="1235"/>
                    <a:pt x="160" y="1245"/>
                  </a:cubicBezTo>
                  <a:cubicBezTo>
                    <a:pt x="149" y="1255"/>
                    <a:pt x="135" y="1273"/>
                    <a:pt x="128" y="1281"/>
                  </a:cubicBezTo>
                  <a:cubicBezTo>
                    <a:pt x="122" y="1289"/>
                    <a:pt x="107" y="1299"/>
                    <a:pt x="109" y="1307"/>
                  </a:cubicBezTo>
                  <a:cubicBezTo>
                    <a:pt x="111" y="1315"/>
                    <a:pt x="103" y="1326"/>
                    <a:pt x="115" y="1331"/>
                  </a:cubicBezTo>
                  <a:cubicBezTo>
                    <a:pt x="128" y="1336"/>
                    <a:pt x="127" y="1340"/>
                    <a:pt x="134" y="1348"/>
                  </a:cubicBezTo>
                  <a:cubicBezTo>
                    <a:pt x="140" y="1355"/>
                    <a:pt x="147" y="1381"/>
                    <a:pt x="153" y="1388"/>
                  </a:cubicBezTo>
                  <a:cubicBezTo>
                    <a:pt x="158" y="1395"/>
                    <a:pt x="165" y="1404"/>
                    <a:pt x="167" y="1410"/>
                  </a:cubicBezTo>
                  <a:cubicBezTo>
                    <a:pt x="169" y="1415"/>
                    <a:pt x="180" y="1440"/>
                    <a:pt x="170" y="1442"/>
                  </a:cubicBezTo>
                  <a:cubicBezTo>
                    <a:pt x="159" y="1444"/>
                    <a:pt x="152" y="1450"/>
                    <a:pt x="152" y="1456"/>
                  </a:cubicBezTo>
                  <a:cubicBezTo>
                    <a:pt x="152" y="1462"/>
                    <a:pt x="144" y="1469"/>
                    <a:pt x="146" y="1476"/>
                  </a:cubicBezTo>
                  <a:cubicBezTo>
                    <a:pt x="147" y="1482"/>
                    <a:pt x="159" y="1491"/>
                    <a:pt x="154" y="1496"/>
                  </a:cubicBezTo>
                  <a:cubicBezTo>
                    <a:pt x="149" y="1501"/>
                    <a:pt x="145" y="1507"/>
                    <a:pt x="145" y="1515"/>
                  </a:cubicBezTo>
                  <a:cubicBezTo>
                    <a:pt x="145" y="1523"/>
                    <a:pt x="147" y="1535"/>
                    <a:pt x="154" y="1535"/>
                  </a:cubicBezTo>
                  <a:cubicBezTo>
                    <a:pt x="161" y="1535"/>
                    <a:pt x="169" y="1535"/>
                    <a:pt x="177" y="1542"/>
                  </a:cubicBezTo>
                  <a:cubicBezTo>
                    <a:pt x="184" y="1549"/>
                    <a:pt x="180" y="1554"/>
                    <a:pt x="172" y="1556"/>
                  </a:cubicBezTo>
                  <a:cubicBezTo>
                    <a:pt x="164" y="1558"/>
                    <a:pt x="166" y="1569"/>
                    <a:pt x="173" y="1574"/>
                  </a:cubicBezTo>
                  <a:cubicBezTo>
                    <a:pt x="180" y="1579"/>
                    <a:pt x="180" y="1585"/>
                    <a:pt x="188" y="1586"/>
                  </a:cubicBezTo>
                  <a:cubicBezTo>
                    <a:pt x="196" y="1588"/>
                    <a:pt x="206" y="1593"/>
                    <a:pt x="206" y="1599"/>
                  </a:cubicBezTo>
                  <a:cubicBezTo>
                    <a:pt x="206" y="1606"/>
                    <a:pt x="206" y="1616"/>
                    <a:pt x="196" y="1619"/>
                  </a:cubicBezTo>
                  <a:cubicBezTo>
                    <a:pt x="186" y="1622"/>
                    <a:pt x="155" y="1640"/>
                    <a:pt x="179" y="1652"/>
                  </a:cubicBezTo>
                  <a:cubicBezTo>
                    <a:pt x="204" y="1664"/>
                    <a:pt x="229" y="1686"/>
                    <a:pt x="239" y="1692"/>
                  </a:cubicBezTo>
                  <a:cubicBezTo>
                    <a:pt x="248" y="1699"/>
                    <a:pt x="250" y="1703"/>
                    <a:pt x="255" y="1708"/>
                  </a:cubicBezTo>
                  <a:cubicBezTo>
                    <a:pt x="259" y="1714"/>
                    <a:pt x="276" y="1726"/>
                    <a:pt x="257" y="1746"/>
                  </a:cubicBezTo>
                  <a:cubicBezTo>
                    <a:pt x="238" y="1767"/>
                    <a:pt x="171" y="1839"/>
                    <a:pt x="155" y="1854"/>
                  </a:cubicBezTo>
                  <a:cubicBezTo>
                    <a:pt x="140" y="1868"/>
                    <a:pt x="93" y="1907"/>
                    <a:pt x="81" y="1913"/>
                  </a:cubicBezTo>
                  <a:cubicBezTo>
                    <a:pt x="68" y="1918"/>
                    <a:pt x="55" y="1931"/>
                    <a:pt x="50" y="1935"/>
                  </a:cubicBezTo>
                  <a:cubicBezTo>
                    <a:pt x="47" y="1938"/>
                    <a:pt x="39" y="1946"/>
                    <a:pt x="32" y="1955"/>
                  </a:cubicBezTo>
                  <a:cubicBezTo>
                    <a:pt x="52" y="1955"/>
                    <a:pt x="74" y="1958"/>
                    <a:pt x="87" y="1972"/>
                  </a:cubicBezTo>
                  <a:cubicBezTo>
                    <a:pt x="103" y="1989"/>
                    <a:pt x="96" y="1981"/>
                    <a:pt x="135" y="1985"/>
                  </a:cubicBezTo>
                  <a:cubicBezTo>
                    <a:pt x="173" y="1989"/>
                    <a:pt x="173" y="2002"/>
                    <a:pt x="172" y="2011"/>
                  </a:cubicBezTo>
                  <a:cubicBezTo>
                    <a:pt x="171" y="2019"/>
                    <a:pt x="149" y="2009"/>
                    <a:pt x="129" y="2005"/>
                  </a:cubicBezTo>
                  <a:cubicBezTo>
                    <a:pt x="109" y="2001"/>
                    <a:pt x="110" y="2007"/>
                    <a:pt x="105" y="2018"/>
                  </a:cubicBezTo>
                  <a:cubicBezTo>
                    <a:pt x="99" y="2029"/>
                    <a:pt x="87" y="2029"/>
                    <a:pt x="67" y="2027"/>
                  </a:cubicBezTo>
                  <a:cubicBezTo>
                    <a:pt x="52" y="2024"/>
                    <a:pt x="48" y="2034"/>
                    <a:pt x="44" y="2044"/>
                  </a:cubicBezTo>
                  <a:cubicBezTo>
                    <a:pt x="52" y="2050"/>
                    <a:pt x="48" y="2059"/>
                    <a:pt x="51" y="2063"/>
                  </a:cubicBezTo>
                  <a:cubicBezTo>
                    <a:pt x="55" y="2068"/>
                    <a:pt x="55" y="2075"/>
                    <a:pt x="46" y="2077"/>
                  </a:cubicBezTo>
                  <a:cubicBezTo>
                    <a:pt x="36" y="2080"/>
                    <a:pt x="38" y="2093"/>
                    <a:pt x="25" y="2101"/>
                  </a:cubicBezTo>
                  <a:cubicBezTo>
                    <a:pt x="12" y="2109"/>
                    <a:pt x="6" y="2122"/>
                    <a:pt x="9" y="2135"/>
                  </a:cubicBezTo>
                  <a:cubicBezTo>
                    <a:pt x="12" y="2148"/>
                    <a:pt x="8" y="2155"/>
                    <a:pt x="7" y="2166"/>
                  </a:cubicBezTo>
                  <a:cubicBezTo>
                    <a:pt x="5" y="2177"/>
                    <a:pt x="23" y="2194"/>
                    <a:pt x="29" y="2206"/>
                  </a:cubicBezTo>
                  <a:cubicBezTo>
                    <a:pt x="34" y="2218"/>
                    <a:pt x="21" y="2211"/>
                    <a:pt x="10" y="2216"/>
                  </a:cubicBezTo>
                  <a:cubicBezTo>
                    <a:pt x="0" y="2220"/>
                    <a:pt x="4" y="2225"/>
                    <a:pt x="4" y="2236"/>
                  </a:cubicBezTo>
                  <a:cubicBezTo>
                    <a:pt x="4" y="2246"/>
                    <a:pt x="16" y="2249"/>
                    <a:pt x="26" y="2257"/>
                  </a:cubicBezTo>
                  <a:cubicBezTo>
                    <a:pt x="36" y="2264"/>
                    <a:pt x="29" y="2268"/>
                    <a:pt x="24" y="2276"/>
                  </a:cubicBezTo>
                  <a:cubicBezTo>
                    <a:pt x="20" y="2284"/>
                    <a:pt x="20" y="2294"/>
                    <a:pt x="26" y="2299"/>
                  </a:cubicBezTo>
                  <a:cubicBezTo>
                    <a:pt x="31" y="2305"/>
                    <a:pt x="29" y="2313"/>
                    <a:pt x="40" y="2326"/>
                  </a:cubicBezTo>
                  <a:cubicBezTo>
                    <a:pt x="51" y="2338"/>
                    <a:pt x="48" y="2349"/>
                    <a:pt x="49" y="2362"/>
                  </a:cubicBezTo>
                  <a:cubicBezTo>
                    <a:pt x="51" y="2376"/>
                    <a:pt x="73" y="2374"/>
                    <a:pt x="85" y="2375"/>
                  </a:cubicBezTo>
                  <a:cubicBezTo>
                    <a:pt x="97" y="2377"/>
                    <a:pt x="99" y="2378"/>
                    <a:pt x="112" y="2378"/>
                  </a:cubicBezTo>
                  <a:cubicBezTo>
                    <a:pt x="126" y="2378"/>
                    <a:pt x="123" y="2387"/>
                    <a:pt x="126" y="2398"/>
                  </a:cubicBezTo>
                  <a:cubicBezTo>
                    <a:pt x="128" y="2409"/>
                    <a:pt x="137" y="2409"/>
                    <a:pt x="149" y="2403"/>
                  </a:cubicBezTo>
                  <a:cubicBezTo>
                    <a:pt x="160" y="2397"/>
                    <a:pt x="159" y="2391"/>
                    <a:pt x="172" y="2392"/>
                  </a:cubicBezTo>
                  <a:cubicBezTo>
                    <a:pt x="186" y="2393"/>
                    <a:pt x="199" y="2404"/>
                    <a:pt x="218" y="2414"/>
                  </a:cubicBezTo>
                  <a:cubicBezTo>
                    <a:pt x="236" y="2424"/>
                    <a:pt x="216" y="2442"/>
                    <a:pt x="223" y="2450"/>
                  </a:cubicBezTo>
                  <a:cubicBezTo>
                    <a:pt x="230" y="2457"/>
                    <a:pt x="232" y="2464"/>
                    <a:pt x="225" y="2477"/>
                  </a:cubicBezTo>
                  <a:cubicBezTo>
                    <a:pt x="218" y="2490"/>
                    <a:pt x="228" y="2493"/>
                    <a:pt x="235" y="2505"/>
                  </a:cubicBezTo>
                  <a:cubicBezTo>
                    <a:pt x="242" y="2517"/>
                    <a:pt x="261" y="2548"/>
                    <a:pt x="272" y="2550"/>
                  </a:cubicBezTo>
                  <a:cubicBezTo>
                    <a:pt x="283" y="2551"/>
                    <a:pt x="285" y="2561"/>
                    <a:pt x="286" y="2571"/>
                  </a:cubicBezTo>
                  <a:cubicBezTo>
                    <a:pt x="288" y="2582"/>
                    <a:pt x="301" y="2576"/>
                    <a:pt x="311" y="2576"/>
                  </a:cubicBezTo>
                  <a:cubicBezTo>
                    <a:pt x="320" y="2576"/>
                    <a:pt x="323" y="2590"/>
                    <a:pt x="334" y="2600"/>
                  </a:cubicBezTo>
                  <a:cubicBezTo>
                    <a:pt x="345" y="2610"/>
                    <a:pt x="338" y="2611"/>
                    <a:pt x="336" y="2616"/>
                  </a:cubicBezTo>
                  <a:cubicBezTo>
                    <a:pt x="334" y="2622"/>
                    <a:pt x="326" y="2630"/>
                    <a:pt x="315" y="2630"/>
                  </a:cubicBezTo>
                  <a:cubicBezTo>
                    <a:pt x="304" y="2631"/>
                    <a:pt x="303" y="2641"/>
                    <a:pt x="296" y="2642"/>
                  </a:cubicBezTo>
                  <a:cubicBezTo>
                    <a:pt x="288" y="2642"/>
                    <a:pt x="284" y="2636"/>
                    <a:pt x="270" y="2629"/>
                  </a:cubicBezTo>
                  <a:cubicBezTo>
                    <a:pt x="256" y="2623"/>
                    <a:pt x="257" y="2633"/>
                    <a:pt x="253" y="2642"/>
                  </a:cubicBezTo>
                  <a:cubicBezTo>
                    <a:pt x="248" y="2651"/>
                    <a:pt x="252" y="2653"/>
                    <a:pt x="259" y="2657"/>
                  </a:cubicBezTo>
                  <a:cubicBezTo>
                    <a:pt x="266" y="2660"/>
                    <a:pt x="263" y="2669"/>
                    <a:pt x="269" y="2679"/>
                  </a:cubicBezTo>
                  <a:cubicBezTo>
                    <a:pt x="274" y="2688"/>
                    <a:pt x="262" y="2686"/>
                    <a:pt x="266" y="2696"/>
                  </a:cubicBezTo>
                  <a:cubicBezTo>
                    <a:pt x="270" y="2707"/>
                    <a:pt x="277" y="2714"/>
                    <a:pt x="285" y="2723"/>
                  </a:cubicBezTo>
                  <a:cubicBezTo>
                    <a:pt x="293" y="2731"/>
                    <a:pt x="308" y="2725"/>
                    <a:pt x="312" y="2717"/>
                  </a:cubicBezTo>
                  <a:cubicBezTo>
                    <a:pt x="316" y="2708"/>
                    <a:pt x="321" y="2708"/>
                    <a:pt x="327" y="2704"/>
                  </a:cubicBezTo>
                  <a:cubicBezTo>
                    <a:pt x="333" y="2701"/>
                    <a:pt x="338" y="2710"/>
                    <a:pt x="351" y="2713"/>
                  </a:cubicBezTo>
                  <a:cubicBezTo>
                    <a:pt x="365" y="2715"/>
                    <a:pt x="368" y="2702"/>
                    <a:pt x="376" y="2695"/>
                  </a:cubicBezTo>
                  <a:cubicBezTo>
                    <a:pt x="383" y="2688"/>
                    <a:pt x="394" y="2706"/>
                    <a:pt x="399" y="2700"/>
                  </a:cubicBezTo>
                  <a:cubicBezTo>
                    <a:pt x="403" y="2694"/>
                    <a:pt x="405" y="2702"/>
                    <a:pt x="416" y="2705"/>
                  </a:cubicBezTo>
                  <a:cubicBezTo>
                    <a:pt x="426" y="2707"/>
                    <a:pt x="429" y="2729"/>
                    <a:pt x="439" y="2738"/>
                  </a:cubicBezTo>
                  <a:cubicBezTo>
                    <a:pt x="450" y="2748"/>
                    <a:pt x="442" y="2750"/>
                    <a:pt x="436" y="2751"/>
                  </a:cubicBezTo>
                  <a:cubicBezTo>
                    <a:pt x="430" y="2752"/>
                    <a:pt x="427" y="2758"/>
                    <a:pt x="430" y="2762"/>
                  </a:cubicBezTo>
                  <a:cubicBezTo>
                    <a:pt x="433" y="2766"/>
                    <a:pt x="436" y="2776"/>
                    <a:pt x="437" y="2788"/>
                  </a:cubicBezTo>
                  <a:cubicBezTo>
                    <a:pt x="438" y="2801"/>
                    <a:pt x="449" y="2795"/>
                    <a:pt x="461" y="2801"/>
                  </a:cubicBezTo>
                  <a:cubicBezTo>
                    <a:pt x="472" y="2808"/>
                    <a:pt x="480" y="2797"/>
                    <a:pt x="489" y="2798"/>
                  </a:cubicBezTo>
                  <a:cubicBezTo>
                    <a:pt x="498" y="2800"/>
                    <a:pt x="504" y="2817"/>
                    <a:pt x="510" y="2829"/>
                  </a:cubicBezTo>
                  <a:cubicBezTo>
                    <a:pt x="516" y="2841"/>
                    <a:pt x="517" y="2864"/>
                    <a:pt x="521" y="2868"/>
                  </a:cubicBezTo>
                  <a:cubicBezTo>
                    <a:pt x="526" y="2873"/>
                    <a:pt x="536" y="2873"/>
                    <a:pt x="539" y="2868"/>
                  </a:cubicBezTo>
                  <a:cubicBezTo>
                    <a:pt x="542" y="2863"/>
                    <a:pt x="548" y="2867"/>
                    <a:pt x="557" y="2868"/>
                  </a:cubicBezTo>
                  <a:cubicBezTo>
                    <a:pt x="565" y="2869"/>
                    <a:pt x="572" y="2880"/>
                    <a:pt x="581" y="2883"/>
                  </a:cubicBezTo>
                  <a:cubicBezTo>
                    <a:pt x="590" y="2885"/>
                    <a:pt x="599" y="2881"/>
                    <a:pt x="602" y="2874"/>
                  </a:cubicBezTo>
                  <a:cubicBezTo>
                    <a:pt x="605" y="2866"/>
                    <a:pt x="622" y="2870"/>
                    <a:pt x="628" y="2864"/>
                  </a:cubicBezTo>
                  <a:cubicBezTo>
                    <a:pt x="634" y="2859"/>
                    <a:pt x="651" y="2883"/>
                    <a:pt x="665" y="2897"/>
                  </a:cubicBezTo>
                  <a:cubicBezTo>
                    <a:pt x="679" y="2911"/>
                    <a:pt x="683" y="2900"/>
                    <a:pt x="693" y="2899"/>
                  </a:cubicBezTo>
                  <a:cubicBezTo>
                    <a:pt x="702" y="2898"/>
                    <a:pt x="716" y="2904"/>
                    <a:pt x="724" y="2915"/>
                  </a:cubicBezTo>
                  <a:cubicBezTo>
                    <a:pt x="732" y="2925"/>
                    <a:pt x="743" y="2916"/>
                    <a:pt x="750" y="2912"/>
                  </a:cubicBezTo>
                  <a:cubicBezTo>
                    <a:pt x="758" y="2908"/>
                    <a:pt x="768" y="2920"/>
                    <a:pt x="780" y="2931"/>
                  </a:cubicBezTo>
                  <a:cubicBezTo>
                    <a:pt x="791" y="2943"/>
                    <a:pt x="796" y="2937"/>
                    <a:pt x="804" y="2935"/>
                  </a:cubicBezTo>
                  <a:cubicBezTo>
                    <a:pt x="813" y="2934"/>
                    <a:pt x="816" y="2942"/>
                    <a:pt x="816" y="2950"/>
                  </a:cubicBezTo>
                  <a:cubicBezTo>
                    <a:pt x="815" y="2958"/>
                    <a:pt x="815" y="2961"/>
                    <a:pt x="804" y="2972"/>
                  </a:cubicBezTo>
                  <a:cubicBezTo>
                    <a:pt x="793" y="2982"/>
                    <a:pt x="802" y="2987"/>
                    <a:pt x="806" y="2993"/>
                  </a:cubicBezTo>
                  <a:cubicBezTo>
                    <a:pt x="810" y="3000"/>
                    <a:pt x="802" y="3001"/>
                    <a:pt x="792" y="3002"/>
                  </a:cubicBezTo>
                  <a:cubicBezTo>
                    <a:pt x="783" y="3004"/>
                    <a:pt x="786" y="3016"/>
                    <a:pt x="791" y="3021"/>
                  </a:cubicBezTo>
                  <a:cubicBezTo>
                    <a:pt x="795" y="3026"/>
                    <a:pt x="796" y="3029"/>
                    <a:pt x="801" y="3037"/>
                  </a:cubicBezTo>
                  <a:cubicBezTo>
                    <a:pt x="806" y="3045"/>
                    <a:pt x="809" y="3046"/>
                    <a:pt x="806" y="3054"/>
                  </a:cubicBezTo>
                  <a:cubicBezTo>
                    <a:pt x="804" y="3062"/>
                    <a:pt x="798" y="3061"/>
                    <a:pt x="796" y="3072"/>
                  </a:cubicBezTo>
                  <a:cubicBezTo>
                    <a:pt x="793" y="3083"/>
                    <a:pt x="763" y="3077"/>
                    <a:pt x="744" y="3077"/>
                  </a:cubicBezTo>
                  <a:cubicBezTo>
                    <a:pt x="726" y="3077"/>
                    <a:pt x="725" y="3090"/>
                    <a:pt x="714" y="3094"/>
                  </a:cubicBezTo>
                  <a:cubicBezTo>
                    <a:pt x="703" y="3098"/>
                    <a:pt x="701" y="3106"/>
                    <a:pt x="693" y="3111"/>
                  </a:cubicBezTo>
                  <a:cubicBezTo>
                    <a:pt x="686" y="3115"/>
                    <a:pt x="687" y="3129"/>
                    <a:pt x="688" y="3136"/>
                  </a:cubicBezTo>
                  <a:cubicBezTo>
                    <a:pt x="695" y="3134"/>
                    <a:pt x="701" y="3132"/>
                    <a:pt x="710" y="3130"/>
                  </a:cubicBezTo>
                  <a:cubicBezTo>
                    <a:pt x="727" y="3127"/>
                    <a:pt x="734" y="3117"/>
                    <a:pt x="753" y="3126"/>
                  </a:cubicBezTo>
                  <a:cubicBezTo>
                    <a:pt x="771" y="3135"/>
                    <a:pt x="750" y="3139"/>
                    <a:pt x="744" y="3139"/>
                  </a:cubicBezTo>
                  <a:cubicBezTo>
                    <a:pt x="738" y="3139"/>
                    <a:pt x="738" y="3152"/>
                    <a:pt x="730" y="3153"/>
                  </a:cubicBezTo>
                  <a:cubicBezTo>
                    <a:pt x="721" y="3155"/>
                    <a:pt x="705" y="3156"/>
                    <a:pt x="702" y="3169"/>
                  </a:cubicBezTo>
                  <a:cubicBezTo>
                    <a:pt x="700" y="3182"/>
                    <a:pt x="677" y="3169"/>
                    <a:pt x="669" y="3182"/>
                  </a:cubicBezTo>
                  <a:cubicBezTo>
                    <a:pt x="662" y="3195"/>
                    <a:pt x="678" y="3196"/>
                    <a:pt x="699" y="3206"/>
                  </a:cubicBezTo>
                  <a:cubicBezTo>
                    <a:pt x="721" y="3216"/>
                    <a:pt x="699" y="3218"/>
                    <a:pt x="684" y="3218"/>
                  </a:cubicBezTo>
                  <a:cubicBezTo>
                    <a:pt x="668" y="3218"/>
                    <a:pt x="677" y="3232"/>
                    <a:pt x="662" y="3241"/>
                  </a:cubicBezTo>
                  <a:cubicBezTo>
                    <a:pt x="648" y="3249"/>
                    <a:pt x="652" y="3249"/>
                    <a:pt x="652" y="3266"/>
                  </a:cubicBezTo>
                  <a:cubicBezTo>
                    <a:pt x="652" y="3284"/>
                    <a:pt x="625" y="3274"/>
                    <a:pt x="611" y="3274"/>
                  </a:cubicBezTo>
                  <a:cubicBezTo>
                    <a:pt x="596" y="3274"/>
                    <a:pt x="592" y="3291"/>
                    <a:pt x="592" y="3299"/>
                  </a:cubicBezTo>
                  <a:cubicBezTo>
                    <a:pt x="592" y="3308"/>
                    <a:pt x="613" y="3302"/>
                    <a:pt x="626" y="3311"/>
                  </a:cubicBezTo>
                  <a:cubicBezTo>
                    <a:pt x="639" y="3319"/>
                    <a:pt x="649" y="3338"/>
                    <a:pt x="667" y="3337"/>
                  </a:cubicBezTo>
                  <a:cubicBezTo>
                    <a:pt x="684" y="3335"/>
                    <a:pt x="687" y="3357"/>
                    <a:pt x="724" y="3365"/>
                  </a:cubicBezTo>
                  <a:cubicBezTo>
                    <a:pt x="756" y="3373"/>
                    <a:pt x="771" y="3406"/>
                    <a:pt x="797" y="3424"/>
                  </a:cubicBezTo>
                  <a:cubicBezTo>
                    <a:pt x="801" y="3424"/>
                    <a:pt x="807" y="3422"/>
                    <a:pt x="810" y="3422"/>
                  </a:cubicBezTo>
                  <a:cubicBezTo>
                    <a:pt x="816" y="3420"/>
                    <a:pt x="827" y="3419"/>
                    <a:pt x="833" y="3422"/>
                  </a:cubicBezTo>
                  <a:cubicBezTo>
                    <a:pt x="839" y="3425"/>
                    <a:pt x="850" y="3421"/>
                    <a:pt x="860" y="3425"/>
                  </a:cubicBezTo>
                  <a:cubicBezTo>
                    <a:pt x="869" y="3428"/>
                    <a:pt x="885" y="3441"/>
                    <a:pt x="898" y="3446"/>
                  </a:cubicBezTo>
                  <a:cubicBezTo>
                    <a:pt x="912" y="3452"/>
                    <a:pt x="919" y="3452"/>
                    <a:pt x="935" y="3451"/>
                  </a:cubicBezTo>
                  <a:cubicBezTo>
                    <a:pt x="952" y="3449"/>
                    <a:pt x="988" y="3446"/>
                    <a:pt x="994" y="3454"/>
                  </a:cubicBezTo>
                  <a:cubicBezTo>
                    <a:pt x="1001" y="3462"/>
                    <a:pt x="1008" y="3469"/>
                    <a:pt x="1019" y="3471"/>
                  </a:cubicBezTo>
                  <a:cubicBezTo>
                    <a:pt x="1031" y="3473"/>
                    <a:pt x="1038" y="3476"/>
                    <a:pt x="1039" y="3482"/>
                  </a:cubicBezTo>
                  <a:cubicBezTo>
                    <a:pt x="1041" y="3488"/>
                    <a:pt x="1049" y="3499"/>
                    <a:pt x="1056" y="3499"/>
                  </a:cubicBezTo>
                  <a:cubicBezTo>
                    <a:pt x="1063" y="3499"/>
                    <a:pt x="1073" y="3495"/>
                    <a:pt x="1077" y="3490"/>
                  </a:cubicBezTo>
                  <a:cubicBezTo>
                    <a:pt x="1081" y="3485"/>
                    <a:pt x="1087" y="3483"/>
                    <a:pt x="1100" y="3483"/>
                  </a:cubicBezTo>
                  <a:cubicBezTo>
                    <a:pt x="1114" y="3483"/>
                    <a:pt x="1130" y="3478"/>
                    <a:pt x="1133" y="3486"/>
                  </a:cubicBezTo>
                  <a:cubicBezTo>
                    <a:pt x="1136" y="3493"/>
                    <a:pt x="1137" y="3498"/>
                    <a:pt x="1148" y="3498"/>
                  </a:cubicBezTo>
                  <a:cubicBezTo>
                    <a:pt x="1158" y="3498"/>
                    <a:pt x="1173" y="3503"/>
                    <a:pt x="1173" y="3514"/>
                  </a:cubicBezTo>
                  <a:cubicBezTo>
                    <a:pt x="1173" y="3526"/>
                    <a:pt x="1157" y="3525"/>
                    <a:pt x="1174" y="3534"/>
                  </a:cubicBezTo>
                  <a:cubicBezTo>
                    <a:pt x="1175" y="3535"/>
                    <a:pt x="1176" y="3535"/>
                    <a:pt x="1177" y="3536"/>
                  </a:cubicBezTo>
                  <a:cubicBezTo>
                    <a:pt x="1178" y="3536"/>
                    <a:pt x="1178" y="3536"/>
                    <a:pt x="1178" y="3536"/>
                  </a:cubicBezTo>
                  <a:cubicBezTo>
                    <a:pt x="1179" y="3536"/>
                    <a:pt x="1180" y="3537"/>
                    <a:pt x="1181" y="3537"/>
                  </a:cubicBezTo>
                  <a:cubicBezTo>
                    <a:pt x="1181" y="3537"/>
                    <a:pt x="1181" y="3537"/>
                    <a:pt x="1181" y="3537"/>
                  </a:cubicBezTo>
                  <a:cubicBezTo>
                    <a:pt x="1182" y="3537"/>
                    <a:pt x="1183" y="3537"/>
                    <a:pt x="1184" y="3538"/>
                  </a:cubicBezTo>
                  <a:cubicBezTo>
                    <a:pt x="1184" y="3538"/>
                    <a:pt x="1184" y="3538"/>
                    <a:pt x="1184" y="3538"/>
                  </a:cubicBezTo>
                  <a:cubicBezTo>
                    <a:pt x="1196" y="3540"/>
                    <a:pt x="1206" y="3536"/>
                    <a:pt x="1214" y="3543"/>
                  </a:cubicBezTo>
                  <a:cubicBezTo>
                    <a:pt x="1214" y="3543"/>
                    <a:pt x="1214" y="3543"/>
                    <a:pt x="1214" y="3543"/>
                  </a:cubicBezTo>
                  <a:cubicBezTo>
                    <a:pt x="1215" y="3543"/>
                    <a:pt x="1215" y="3543"/>
                    <a:pt x="1215" y="3543"/>
                  </a:cubicBezTo>
                  <a:cubicBezTo>
                    <a:pt x="1225" y="3552"/>
                    <a:pt x="1235" y="3552"/>
                    <a:pt x="1245" y="3566"/>
                  </a:cubicBezTo>
                  <a:cubicBezTo>
                    <a:pt x="1255" y="3580"/>
                    <a:pt x="1271" y="3597"/>
                    <a:pt x="1280" y="3599"/>
                  </a:cubicBezTo>
                  <a:cubicBezTo>
                    <a:pt x="1289" y="3601"/>
                    <a:pt x="1303" y="3605"/>
                    <a:pt x="1308" y="3597"/>
                  </a:cubicBezTo>
                  <a:cubicBezTo>
                    <a:pt x="1313" y="3589"/>
                    <a:pt x="1316" y="3584"/>
                    <a:pt x="1327" y="3582"/>
                  </a:cubicBezTo>
                  <a:cubicBezTo>
                    <a:pt x="1339" y="3581"/>
                    <a:pt x="1339" y="3574"/>
                    <a:pt x="1344" y="3567"/>
                  </a:cubicBezTo>
                  <a:cubicBezTo>
                    <a:pt x="1347" y="3563"/>
                    <a:pt x="1351" y="3554"/>
                    <a:pt x="1354" y="3548"/>
                  </a:cubicBezTo>
                  <a:cubicBezTo>
                    <a:pt x="1354" y="3548"/>
                    <a:pt x="1354" y="3548"/>
                    <a:pt x="1354" y="3548"/>
                  </a:cubicBezTo>
                  <a:cubicBezTo>
                    <a:pt x="1353" y="3547"/>
                    <a:pt x="1353" y="3546"/>
                    <a:pt x="1352" y="3546"/>
                  </a:cubicBezTo>
                  <a:cubicBezTo>
                    <a:pt x="1345" y="3542"/>
                    <a:pt x="1338" y="3538"/>
                    <a:pt x="1333" y="3525"/>
                  </a:cubicBezTo>
                  <a:cubicBezTo>
                    <a:pt x="1328" y="3512"/>
                    <a:pt x="1309" y="3494"/>
                    <a:pt x="1296" y="3481"/>
                  </a:cubicBezTo>
                  <a:cubicBezTo>
                    <a:pt x="1283" y="3468"/>
                    <a:pt x="1288" y="3434"/>
                    <a:pt x="1288" y="3420"/>
                  </a:cubicBezTo>
                  <a:cubicBezTo>
                    <a:pt x="1288" y="3406"/>
                    <a:pt x="1288" y="3402"/>
                    <a:pt x="1283" y="3395"/>
                  </a:cubicBezTo>
                  <a:cubicBezTo>
                    <a:pt x="1278" y="3388"/>
                    <a:pt x="1274" y="3382"/>
                    <a:pt x="1267" y="3372"/>
                  </a:cubicBezTo>
                  <a:cubicBezTo>
                    <a:pt x="1260" y="3362"/>
                    <a:pt x="1251" y="3359"/>
                    <a:pt x="1240" y="3353"/>
                  </a:cubicBezTo>
                  <a:cubicBezTo>
                    <a:pt x="1229" y="3347"/>
                    <a:pt x="1233" y="3332"/>
                    <a:pt x="1247" y="3326"/>
                  </a:cubicBezTo>
                  <a:cubicBezTo>
                    <a:pt x="1261" y="3320"/>
                    <a:pt x="1251" y="3314"/>
                    <a:pt x="1263" y="3306"/>
                  </a:cubicBezTo>
                  <a:cubicBezTo>
                    <a:pt x="1275" y="3298"/>
                    <a:pt x="1273" y="3290"/>
                    <a:pt x="1280" y="3281"/>
                  </a:cubicBezTo>
                  <a:cubicBezTo>
                    <a:pt x="1287" y="3272"/>
                    <a:pt x="1287" y="3270"/>
                    <a:pt x="1287" y="3260"/>
                  </a:cubicBezTo>
                  <a:cubicBezTo>
                    <a:pt x="1287" y="3250"/>
                    <a:pt x="1312" y="3252"/>
                    <a:pt x="1312" y="3252"/>
                  </a:cubicBezTo>
                  <a:cubicBezTo>
                    <a:pt x="1323" y="3251"/>
                    <a:pt x="1326" y="3260"/>
                    <a:pt x="1332" y="3250"/>
                  </a:cubicBezTo>
                  <a:cubicBezTo>
                    <a:pt x="1338" y="3240"/>
                    <a:pt x="1339" y="3243"/>
                    <a:pt x="1348" y="3239"/>
                  </a:cubicBezTo>
                  <a:cubicBezTo>
                    <a:pt x="1357" y="3235"/>
                    <a:pt x="1357" y="3240"/>
                    <a:pt x="1363" y="3245"/>
                  </a:cubicBezTo>
                  <a:cubicBezTo>
                    <a:pt x="1369" y="3250"/>
                    <a:pt x="1374" y="3231"/>
                    <a:pt x="1375" y="3225"/>
                  </a:cubicBezTo>
                  <a:cubicBezTo>
                    <a:pt x="1376" y="3219"/>
                    <a:pt x="1379" y="3216"/>
                    <a:pt x="1389" y="3215"/>
                  </a:cubicBezTo>
                  <a:cubicBezTo>
                    <a:pt x="1390" y="3215"/>
                    <a:pt x="1390" y="3215"/>
                    <a:pt x="1391" y="3214"/>
                  </a:cubicBezTo>
                  <a:cubicBezTo>
                    <a:pt x="1391" y="3214"/>
                    <a:pt x="1391" y="3214"/>
                    <a:pt x="1391" y="3214"/>
                  </a:cubicBezTo>
                  <a:cubicBezTo>
                    <a:pt x="1392" y="3214"/>
                    <a:pt x="1392" y="3214"/>
                    <a:pt x="1393" y="3214"/>
                  </a:cubicBezTo>
                  <a:cubicBezTo>
                    <a:pt x="1393" y="3214"/>
                    <a:pt x="1393" y="3214"/>
                    <a:pt x="1393" y="3214"/>
                  </a:cubicBezTo>
                  <a:cubicBezTo>
                    <a:pt x="1394" y="3214"/>
                    <a:pt x="1394" y="3214"/>
                    <a:pt x="1395" y="3214"/>
                  </a:cubicBezTo>
                  <a:cubicBezTo>
                    <a:pt x="1395" y="3214"/>
                    <a:pt x="1395" y="3213"/>
                    <a:pt x="1395" y="3213"/>
                  </a:cubicBezTo>
                  <a:cubicBezTo>
                    <a:pt x="1395" y="3213"/>
                    <a:pt x="1396" y="3213"/>
                    <a:pt x="1396" y="3213"/>
                  </a:cubicBezTo>
                  <a:cubicBezTo>
                    <a:pt x="1396" y="3213"/>
                    <a:pt x="1396" y="3213"/>
                    <a:pt x="1396" y="3213"/>
                  </a:cubicBezTo>
                  <a:cubicBezTo>
                    <a:pt x="1396" y="3213"/>
                    <a:pt x="1397" y="3212"/>
                    <a:pt x="1397" y="3212"/>
                  </a:cubicBezTo>
                  <a:cubicBezTo>
                    <a:pt x="1397" y="3212"/>
                    <a:pt x="1397" y="3212"/>
                    <a:pt x="1397" y="3212"/>
                  </a:cubicBezTo>
                  <a:cubicBezTo>
                    <a:pt x="1397" y="3212"/>
                    <a:pt x="1398" y="3212"/>
                    <a:pt x="1398" y="3211"/>
                  </a:cubicBezTo>
                  <a:cubicBezTo>
                    <a:pt x="1398" y="3211"/>
                    <a:pt x="1398" y="3211"/>
                    <a:pt x="1398" y="3211"/>
                  </a:cubicBezTo>
                  <a:cubicBezTo>
                    <a:pt x="1398" y="3211"/>
                    <a:pt x="1398" y="3210"/>
                    <a:pt x="1398" y="3210"/>
                  </a:cubicBezTo>
                  <a:cubicBezTo>
                    <a:pt x="1399" y="3210"/>
                    <a:pt x="1399" y="3210"/>
                    <a:pt x="1399" y="3210"/>
                  </a:cubicBezTo>
                  <a:cubicBezTo>
                    <a:pt x="1399" y="3210"/>
                    <a:pt x="1399" y="3209"/>
                    <a:pt x="1399" y="3209"/>
                  </a:cubicBezTo>
                  <a:cubicBezTo>
                    <a:pt x="1386" y="3196"/>
                    <a:pt x="1375" y="3194"/>
                    <a:pt x="1360" y="3187"/>
                  </a:cubicBezTo>
                  <a:cubicBezTo>
                    <a:pt x="1342" y="3179"/>
                    <a:pt x="1373" y="3167"/>
                    <a:pt x="1374" y="3161"/>
                  </a:cubicBezTo>
                  <a:cubicBezTo>
                    <a:pt x="1374" y="3154"/>
                    <a:pt x="1364" y="3139"/>
                    <a:pt x="1356" y="3134"/>
                  </a:cubicBezTo>
                  <a:cubicBezTo>
                    <a:pt x="1349" y="3129"/>
                    <a:pt x="1340" y="3111"/>
                    <a:pt x="1332" y="3099"/>
                  </a:cubicBezTo>
                  <a:cubicBezTo>
                    <a:pt x="1325" y="3087"/>
                    <a:pt x="1304" y="3087"/>
                    <a:pt x="1294" y="3084"/>
                  </a:cubicBezTo>
                  <a:cubicBezTo>
                    <a:pt x="1285" y="3081"/>
                    <a:pt x="1280" y="3089"/>
                    <a:pt x="1269" y="3089"/>
                  </a:cubicBezTo>
                  <a:cubicBezTo>
                    <a:pt x="1258" y="3089"/>
                    <a:pt x="1256" y="3066"/>
                    <a:pt x="1255" y="3051"/>
                  </a:cubicBezTo>
                  <a:cubicBezTo>
                    <a:pt x="1254" y="3037"/>
                    <a:pt x="1235" y="3041"/>
                    <a:pt x="1223" y="3031"/>
                  </a:cubicBezTo>
                  <a:cubicBezTo>
                    <a:pt x="1211" y="3020"/>
                    <a:pt x="1224" y="3018"/>
                    <a:pt x="1226" y="3009"/>
                  </a:cubicBezTo>
                  <a:cubicBezTo>
                    <a:pt x="1228" y="2999"/>
                    <a:pt x="1238" y="2991"/>
                    <a:pt x="1250" y="2981"/>
                  </a:cubicBezTo>
                  <a:cubicBezTo>
                    <a:pt x="1261" y="2972"/>
                    <a:pt x="1248" y="2962"/>
                    <a:pt x="1242" y="2955"/>
                  </a:cubicBezTo>
                  <a:cubicBezTo>
                    <a:pt x="1236" y="2947"/>
                    <a:pt x="1240" y="2934"/>
                    <a:pt x="1244" y="2926"/>
                  </a:cubicBezTo>
                  <a:cubicBezTo>
                    <a:pt x="1248" y="2918"/>
                    <a:pt x="1253" y="2908"/>
                    <a:pt x="1266" y="2901"/>
                  </a:cubicBezTo>
                  <a:cubicBezTo>
                    <a:pt x="1278" y="2895"/>
                    <a:pt x="1270" y="2881"/>
                    <a:pt x="1279" y="2872"/>
                  </a:cubicBezTo>
                  <a:cubicBezTo>
                    <a:pt x="1288" y="2863"/>
                    <a:pt x="1295" y="2868"/>
                    <a:pt x="1301" y="2875"/>
                  </a:cubicBezTo>
                  <a:cubicBezTo>
                    <a:pt x="1307" y="2883"/>
                    <a:pt x="1318" y="2887"/>
                    <a:pt x="1330" y="2907"/>
                  </a:cubicBezTo>
                  <a:cubicBezTo>
                    <a:pt x="1342" y="2926"/>
                    <a:pt x="1354" y="2914"/>
                    <a:pt x="1365" y="2906"/>
                  </a:cubicBezTo>
                  <a:cubicBezTo>
                    <a:pt x="1376" y="2898"/>
                    <a:pt x="1372" y="2893"/>
                    <a:pt x="1361" y="2887"/>
                  </a:cubicBezTo>
                  <a:cubicBezTo>
                    <a:pt x="1350" y="2881"/>
                    <a:pt x="1359" y="2868"/>
                    <a:pt x="1359" y="2855"/>
                  </a:cubicBezTo>
                  <a:cubicBezTo>
                    <a:pt x="1359" y="2843"/>
                    <a:pt x="1362" y="2847"/>
                    <a:pt x="1382" y="2843"/>
                  </a:cubicBezTo>
                  <a:cubicBezTo>
                    <a:pt x="1402" y="2840"/>
                    <a:pt x="1409" y="2823"/>
                    <a:pt x="1413" y="2813"/>
                  </a:cubicBezTo>
                  <a:cubicBezTo>
                    <a:pt x="1417" y="2803"/>
                    <a:pt x="1430" y="2801"/>
                    <a:pt x="1446" y="2799"/>
                  </a:cubicBezTo>
                  <a:cubicBezTo>
                    <a:pt x="1462" y="2798"/>
                    <a:pt x="1474" y="2787"/>
                    <a:pt x="1480" y="2775"/>
                  </a:cubicBezTo>
                  <a:cubicBezTo>
                    <a:pt x="1486" y="2763"/>
                    <a:pt x="1490" y="2756"/>
                    <a:pt x="1504" y="2757"/>
                  </a:cubicBezTo>
                  <a:cubicBezTo>
                    <a:pt x="1519" y="2757"/>
                    <a:pt x="1516" y="2769"/>
                    <a:pt x="1532" y="2777"/>
                  </a:cubicBezTo>
                  <a:cubicBezTo>
                    <a:pt x="1547" y="2784"/>
                    <a:pt x="1557" y="2775"/>
                    <a:pt x="1558" y="2764"/>
                  </a:cubicBezTo>
                  <a:cubicBezTo>
                    <a:pt x="1558" y="2753"/>
                    <a:pt x="1570" y="2757"/>
                    <a:pt x="1580" y="2757"/>
                  </a:cubicBezTo>
                  <a:cubicBezTo>
                    <a:pt x="1591" y="2757"/>
                    <a:pt x="1598" y="2762"/>
                    <a:pt x="1601" y="2773"/>
                  </a:cubicBezTo>
                  <a:cubicBezTo>
                    <a:pt x="1604" y="2785"/>
                    <a:pt x="1636" y="2778"/>
                    <a:pt x="1654" y="2777"/>
                  </a:cubicBezTo>
                  <a:cubicBezTo>
                    <a:pt x="1672" y="2777"/>
                    <a:pt x="1670" y="2799"/>
                    <a:pt x="1682" y="2802"/>
                  </a:cubicBezTo>
                  <a:cubicBezTo>
                    <a:pt x="1694" y="2805"/>
                    <a:pt x="1699" y="2817"/>
                    <a:pt x="1720" y="2829"/>
                  </a:cubicBezTo>
                  <a:cubicBezTo>
                    <a:pt x="1740" y="2841"/>
                    <a:pt x="1721" y="2858"/>
                    <a:pt x="1733" y="2859"/>
                  </a:cubicBezTo>
                  <a:cubicBezTo>
                    <a:pt x="1745" y="2861"/>
                    <a:pt x="1742" y="2837"/>
                    <a:pt x="1742" y="2829"/>
                  </a:cubicBezTo>
                  <a:cubicBezTo>
                    <a:pt x="1742" y="2821"/>
                    <a:pt x="1752" y="2822"/>
                    <a:pt x="1770" y="2837"/>
                  </a:cubicBezTo>
                  <a:cubicBezTo>
                    <a:pt x="1789" y="2853"/>
                    <a:pt x="1797" y="2855"/>
                    <a:pt x="1808" y="2854"/>
                  </a:cubicBezTo>
                  <a:cubicBezTo>
                    <a:pt x="1819" y="2853"/>
                    <a:pt x="1827" y="2842"/>
                    <a:pt x="1834" y="2832"/>
                  </a:cubicBezTo>
                  <a:cubicBezTo>
                    <a:pt x="1842" y="2823"/>
                    <a:pt x="1845" y="2817"/>
                    <a:pt x="1854" y="2820"/>
                  </a:cubicBezTo>
                  <a:cubicBezTo>
                    <a:pt x="1864" y="2822"/>
                    <a:pt x="1873" y="2813"/>
                    <a:pt x="1882" y="2813"/>
                  </a:cubicBezTo>
                  <a:cubicBezTo>
                    <a:pt x="1891" y="2812"/>
                    <a:pt x="1907" y="2825"/>
                    <a:pt x="1916" y="2830"/>
                  </a:cubicBezTo>
                  <a:cubicBezTo>
                    <a:pt x="1925" y="2835"/>
                    <a:pt x="1934" y="2820"/>
                    <a:pt x="1935" y="2814"/>
                  </a:cubicBezTo>
                  <a:cubicBezTo>
                    <a:pt x="1936" y="2808"/>
                    <a:pt x="1962" y="2811"/>
                    <a:pt x="1971" y="2811"/>
                  </a:cubicBezTo>
                  <a:cubicBezTo>
                    <a:pt x="1980" y="2810"/>
                    <a:pt x="1990" y="2829"/>
                    <a:pt x="1996" y="2837"/>
                  </a:cubicBezTo>
                  <a:cubicBezTo>
                    <a:pt x="2002" y="2845"/>
                    <a:pt x="2010" y="2847"/>
                    <a:pt x="2022" y="2847"/>
                  </a:cubicBezTo>
                  <a:cubicBezTo>
                    <a:pt x="2034" y="2847"/>
                    <a:pt x="2038" y="2850"/>
                    <a:pt x="2047" y="2863"/>
                  </a:cubicBezTo>
                  <a:cubicBezTo>
                    <a:pt x="2056" y="2875"/>
                    <a:pt x="2069" y="2854"/>
                    <a:pt x="2077" y="2840"/>
                  </a:cubicBezTo>
                  <a:cubicBezTo>
                    <a:pt x="2085" y="2827"/>
                    <a:pt x="2092" y="2836"/>
                    <a:pt x="2097" y="2843"/>
                  </a:cubicBezTo>
                  <a:cubicBezTo>
                    <a:pt x="2102" y="2850"/>
                    <a:pt x="2123" y="2850"/>
                    <a:pt x="2133" y="2850"/>
                  </a:cubicBezTo>
                  <a:cubicBezTo>
                    <a:pt x="2143" y="2850"/>
                    <a:pt x="2148" y="2840"/>
                    <a:pt x="2156" y="2840"/>
                  </a:cubicBezTo>
                  <a:cubicBezTo>
                    <a:pt x="2163" y="2840"/>
                    <a:pt x="2166" y="2825"/>
                    <a:pt x="2177" y="2817"/>
                  </a:cubicBezTo>
                  <a:cubicBezTo>
                    <a:pt x="2188" y="2810"/>
                    <a:pt x="2187" y="2801"/>
                    <a:pt x="2183" y="2798"/>
                  </a:cubicBezTo>
                  <a:cubicBezTo>
                    <a:pt x="2179" y="2795"/>
                    <a:pt x="2168" y="2783"/>
                    <a:pt x="2156" y="2780"/>
                  </a:cubicBezTo>
                  <a:cubicBezTo>
                    <a:pt x="2145" y="2778"/>
                    <a:pt x="2145" y="2774"/>
                    <a:pt x="2140" y="2770"/>
                  </a:cubicBezTo>
                  <a:cubicBezTo>
                    <a:pt x="2136" y="2766"/>
                    <a:pt x="2127" y="2767"/>
                    <a:pt x="2117" y="2767"/>
                  </a:cubicBezTo>
                  <a:cubicBezTo>
                    <a:pt x="2107" y="2766"/>
                    <a:pt x="2106" y="2750"/>
                    <a:pt x="2094" y="2746"/>
                  </a:cubicBezTo>
                  <a:cubicBezTo>
                    <a:pt x="2082" y="2741"/>
                    <a:pt x="2085" y="2732"/>
                    <a:pt x="2089" y="2731"/>
                  </a:cubicBezTo>
                  <a:cubicBezTo>
                    <a:pt x="2093" y="2730"/>
                    <a:pt x="2100" y="2727"/>
                    <a:pt x="2109" y="2724"/>
                  </a:cubicBezTo>
                  <a:cubicBezTo>
                    <a:pt x="2118" y="2722"/>
                    <a:pt x="2123" y="2719"/>
                    <a:pt x="2135" y="2712"/>
                  </a:cubicBezTo>
                  <a:cubicBezTo>
                    <a:pt x="2146" y="2705"/>
                    <a:pt x="2142" y="2691"/>
                    <a:pt x="2132" y="2684"/>
                  </a:cubicBezTo>
                  <a:cubicBezTo>
                    <a:pt x="2122" y="2677"/>
                    <a:pt x="2123" y="2669"/>
                    <a:pt x="2130" y="2666"/>
                  </a:cubicBezTo>
                  <a:cubicBezTo>
                    <a:pt x="2137" y="2664"/>
                    <a:pt x="2136" y="2654"/>
                    <a:pt x="2141" y="2649"/>
                  </a:cubicBezTo>
                  <a:cubicBezTo>
                    <a:pt x="2147" y="2643"/>
                    <a:pt x="2177" y="2652"/>
                    <a:pt x="2191" y="2655"/>
                  </a:cubicBezTo>
                  <a:cubicBezTo>
                    <a:pt x="2205" y="2658"/>
                    <a:pt x="2208" y="2642"/>
                    <a:pt x="2206" y="2637"/>
                  </a:cubicBezTo>
                  <a:cubicBezTo>
                    <a:pt x="2204" y="2633"/>
                    <a:pt x="2191" y="2634"/>
                    <a:pt x="2177" y="2632"/>
                  </a:cubicBezTo>
                  <a:cubicBezTo>
                    <a:pt x="2163" y="2630"/>
                    <a:pt x="2164" y="2625"/>
                    <a:pt x="2165" y="2616"/>
                  </a:cubicBezTo>
                  <a:cubicBezTo>
                    <a:pt x="2165" y="2607"/>
                    <a:pt x="2156" y="2608"/>
                    <a:pt x="2149" y="2605"/>
                  </a:cubicBezTo>
                  <a:cubicBezTo>
                    <a:pt x="2143" y="2602"/>
                    <a:pt x="2142" y="2598"/>
                    <a:pt x="2144" y="2593"/>
                  </a:cubicBezTo>
                  <a:cubicBezTo>
                    <a:pt x="2146" y="2589"/>
                    <a:pt x="2145" y="2579"/>
                    <a:pt x="2141" y="2570"/>
                  </a:cubicBezTo>
                  <a:cubicBezTo>
                    <a:pt x="2137" y="2560"/>
                    <a:pt x="2153" y="2562"/>
                    <a:pt x="2158" y="2559"/>
                  </a:cubicBezTo>
                  <a:cubicBezTo>
                    <a:pt x="2162" y="2557"/>
                    <a:pt x="2173" y="2556"/>
                    <a:pt x="2180" y="2561"/>
                  </a:cubicBezTo>
                  <a:cubicBezTo>
                    <a:pt x="2187" y="2566"/>
                    <a:pt x="2199" y="2567"/>
                    <a:pt x="2208" y="2558"/>
                  </a:cubicBezTo>
                  <a:cubicBezTo>
                    <a:pt x="2217" y="2549"/>
                    <a:pt x="2229" y="2562"/>
                    <a:pt x="2247" y="2559"/>
                  </a:cubicBezTo>
                  <a:cubicBezTo>
                    <a:pt x="2265" y="2556"/>
                    <a:pt x="2273" y="2556"/>
                    <a:pt x="2286" y="2547"/>
                  </a:cubicBezTo>
                  <a:cubicBezTo>
                    <a:pt x="2299" y="2538"/>
                    <a:pt x="2320" y="2544"/>
                    <a:pt x="2327" y="2536"/>
                  </a:cubicBezTo>
                  <a:cubicBezTo>
                    <a:pt x="2334" y="2528"/>
                    <a:pt x="2353" y="2530"/>
                    <a:pt x="2372" y="2530"/>
                  </a:cubicBezTo>
                  <a:cubicBezTo>
                    <a:pt x="2391" y="2530"/>
                    <a:pt x="2408" y="2529"/>
                    <a:pt x="2416" y="2518"/>
                  </a:cubicBezTo>
                  <a:cubicBezTo>
                    <a:pt x="2424" y="2507"/>
                    <a:pt x="2439" y="2506"/>
                    <a:pt x="2455" y="2504"/>
                  </a:cubicBezTo>
                  <a:cubicBezTo>
                    <a:pt x="2471" y="2502"/>
                    <a:pt x="2541" y="2485"/>
                    <a:pt x="2562" y="2483"/>
                  </a:cubicBezTo>
                  <a:cubicBezTo>
                    <a:pt x="2583" y="2481"/>
                    <a:pt x="2597" y="2483"/>
                    <a:pt x="2604" y="2463"/>
                  </a:cubicBezTo>
                  <a:cubicBezTo>
                    <a:pt x="2611" y="2443"/>
                    <a:pt x="2629" y="2455"/>
                    <a:pt x="2640" y="2447"/>
                  </a:cubicBezTo>
                  <a:cubicBezTo>
                    <a:pt x="2651" y="2439"/>
                    <a:pt x="2663" y="2433"/>
                    <a:pt x="2684" y="2440"/>
                  </a:cubicBezTo>
                  <a:cubicBezTo>
                    <a:pt x="2706" y="2447"/>
                    <a:pt x="2706" y="2452"/>
                    <a:pt x="2720" y="2459"/>
                  </a:cubicBezTo>
                  <a:cubicBezTo>
                    <a:pt x="2735" y="2466"/>
                    <a:pt x="2738" y="2457"/>
                    <a:pt x="2740" y="2450"/>
                  </a:cubicBezTo>
                  <a:cubicBezTo>
                    <a:pt x="2742" y="2444"/>
                    <a:pt x="2751" y="2445"/>
                    <a:pt x="2758" y="2448"/>
                  </a:cubicBezTo>
                  <a:cubicBezTo>
                    <a:pt x="2766" y="2451"/>
                    <a:pt x="2770" y="2459"/>
                    <a:pt x="2773" y="2473"/>
                  </a:cubicBezTo>
                  <a:cubicBezTo>
                    <a:pt x="2775" y="2487"/>
                    <a:pt x="2777" y="2491"/>
                    <a:pt x="2782" y="2501"/>
                  </a:cubicBezTo>
                  <a:cubicBezTo>
                    <a:pt x="2788" y="2510"/>
                    <a:pt x="2789" y="2507"/>
                    <a:pt x="2789" y="2516"/>
                  </a:cubicBezTo>
                  <a:cubicBezTo>
                    <a:pt x="2790" y="2525"/>
                    <a:pt x="2786" y="2531"/>
                    <a:pt x="2778" y="2535"/>
                  </a:cubicBezTo>
                  <a:cubicBezTo>
                    <a:pt x="2771" y="2539"/>
                    <a:pt x="2799" y="2544"/>
                    <a:pt x="2811" y="2551"/>
                  </a:cubicBezTo>
                  <a:cubicBezTo>
                    <a:pt x="2822" y="2558"/>
                    <a:pt x="2823" y="2540"/>
                    <a:pt x="2828" y="2540"/>
                  </a:cubicBezTo>
                  <a:cubicBezTo>
                    <a:pt x="2833" y="2540"/>
                    <a:pt x="2840" y="2540"/>
                    <a:pt x="2849" y="2531"/>
                  </a:cubicBezTo>
                  <a:cubicBezTo>
                    <a:pt x="2858" y="2522"/>
                    <a:pt x="2857" y="2538"/>
                    <a:pt x="2861" y="2542"/>
                  </a:cubicBezTo>
                  <a:cubicBezTo>
                    <a:pt x="2866" y="2545"/>
                    <a:pt x="2871" y="2551"/>
                    <a:pt x="2874" y="2562"/>
                  </a:cubicBezTo>
                  <a:cubicBezTo>
                    <a:pt x="2877" y="2572"/>
                    <a:pt x="2886" y="2561"/>
                    <a:pt x="2890" y="2552"/>
                  </a:cubicBezTo>
                  <a:cubicBezTo>
                    <a:pt x="2894" y="2543"/>
                    <a:pt x="2900" y="2556"/>
                    <a:pt x="2907" y="2563"/>
                  </a:cubicBezTo>
                  <a:cubicBezTo>
                    <a:pt x="2914" y="2569"/>
                    <a:pt x="2925" y="2570"/>
                    <a:pt x="2931" y="2561"/>
                  </a:cubicBezTo>
                  <a:cubicBezTo>
                    <a:pt x="2937" y="2553"/>
                    <a:pt x="2943" y="2551"/>
                    <a:pt x="2949" y="2557"/>
                  </a:cubicBezTo>
                  <a:cubicBezTo>
                    <a:pt x="2955" y="2564"/>
                    <a:pt x="2945" y="2567"/>
                    <a:pt x="2941" y="2574"/>
                  </a:cubicBezTo>
                  <a:cubicBezTo>
                    <a:pt x="2938" y="2581"/>
                    <a:pt x="2937" y="2583"/>
                    <a:pt x="2926" y="2587"/>
                  </a:cubicBezTo>
                  <a:cubicBezTo>
                    <a:pt x="2915" y="2591"/>
                    <a:pt x="2921" y="2602"/>
                    <a:pt x="2932" y="2611"/>
                  </a:cubicBezTo>
                  <a:cubicBezTo>
                    <a:pt x="2942" y="2620"/>
                    <a:pt x="2950" y="2597"/>
                    <a:pt x="2955" y="2595"/>
                  </a:cubicBezTo>
                  <a:cubicBezTo>
                    <a:pt x="2959" y="2594"/>
                    <a:pt x="2970" y="2592"/>
                    <a:pt x="2976" y="2595"/>
                  </a:cubicBezTo>
                  <a:cubicBezTo>
                    <a:pt x="2982" y="2598"/>
                    <a:pt x="2989" y="2600"/>
                    <a:pt x="2998" y="2607"/>
                  </a:cubicBezTo>
                  <a:cubicBezTo>
                    <a:pt x="3007" y="2614"/>
                    <a:pt x="3004" y="2595"/>
                    <a:pt x="3005" y="2590"/>
                  </a:cubicBezTo>
                  <a:cubicBezTo>
                    <a:pt x="3006" y="2584"/>
                    <a:pt x="3014" y="2581"/>
                    <a:pt x="3016" y="2576"/>
                  </a:cubicBezTo>
                  <a:cubicBezTo>
                    <a:pt x="3019" y="2572"/>
                    <a:pt x="3028" y="2575"/>
                    <a:pt x="3041" y="2574"/>
                  </a:cubicBezTo>
                  <a:cubicBezTo>
                    <a:pt x="3054" y="2573"/>
                    <a:pt x="3057" y="2563"/>
                    <a:pt x="3057" y="2556"/>
                  </a:cubicBezTo>
                  <a:cubicBezTo>
                    <a:pt x="3057" y="2548"/>
                    <a:pt x="3065" y="2550"/>
                    <a:pt x="3077" y="2550"/>
                  </a:cubicBezTo>
                  <a:cubicBezTo>
                    <a:pt x="3089" y="2550"/>
                    <a:pt x="3090" y="2549"/>
                    <a:pt x="3096" y="2542"/>
                  </a:cubicBezTo>
                  <a:cubicBezTo>
                    <a:pt x="3101" y="2535"/>
                    <a:pt x="3114" y="2530"/>
                    <a:pt x="3128" y="2528"/>
                  </a:cubicBezTo>
                  <a:cubicBezTo>
                    <a:pt x="3142" y="2526"/>
                    <a:pt x="3154" y="2520"/>
                    <a:pt x="3154" y="2531"/>
                  </a:cubicBezTo>
                  <a:cubicBezTo>
                    <a:pt x="3154" y="2541"/>
                    <a:pt x="3139" y="2545"/>
                    <a:pt x="3131" y="2557"/>
                  </a:cubicBezTo>
                  <a:cubicBezTo>
                    <a:pt x="3123" y="2569"/>
                    <a:pt x="3151" y="2579"/>
                    <a:pt x="3178" y="2596"/>
                  </a:cubicBezTo>
                  <a:cubicBezTo>
                    <a:pt x="3206" y="2613"/>
                    <a:pt x="3233" y="2658"/>
                    <a:pt x="3257" y="2682"/>
                  </a:cubicBezTo>
                  <a:cubicBezTo>
                    <a:pt x="3281" y="2706"/>
                    <a:pt x="3329" y="2808"/>
                    <a:pt x="3346" y="2832"/>
                  </a:cubicBezTo>
                  <a:cubicBezTo>
                    <a:pt x="3364" y="2856"/>
                    <a:pt x="3382" y="2822"/>
                    <a:pt x="3382" y="2812"/>
                  </a:cubicBezTo>
                  <a:cubicBezTo>
                    <a:pt x="3383" y="2802"/>
                    <a:pt x="3395" y="2791"/>
                    <a:pt x="3403" y="2793"/>
                  </a:cubicBezTo>
                  <a:cubicBezTo>
                    <a:pt x="3411" y="2795"/>
                    <a:pt x="3424" y="2800"/>
                    <a:pt x="3424" y="2818"/>
                  </a:cubicBezTo>
                  <a:cubicBezTo>
                    <a:pt x="3424" y="2836"/>
                    <a:pt x="3437" y="2819"/>
                    <a:pt x="3442" y="2827"/>
                  </a:cubicBezTo>
                  <a:cubicBezTo>
                    <a:pt x="3446" y="2835"/>
                    <a:pt x="3451" y="2837"/>
                    <a:pt x="3456" y="2837"/>
                  </a:cubicBezTo>
                  <a:cubicBezTo>
                    <a:pt x="3462" y="2836"/>
                    <a:pt x="3473" y="2835"/>
                    <a:pt x="3482" y="2843"/>
                  </a:cubicBezTo>
                  <a:cubicBezTo>
                    <a:pt x="3492" y="2850"/>
                    <a:pt x="3499" y="2852"/>
                    <a:pt x="3504" y="2844"/>
                  </a:cubicBezTo>
                  <a:cubicBezTo>
                    <a:pt x="3510" y="2836"/>
                    <a:pt x="3524" y="2839"/>
                    <a:pt x="3537" y="2830"/>
                  </a:cubicBezTo>
                  <a:cubicBezTo>
                    <a:pt x="3550" y="2821"/>
                    <a:pt x="3566" y="2821"/>
                    <a:pt x="3582" y="2825"/>
                  </a:cubicBezTo>
                  <a:cubicBezTo>
                    <a:pt x="3597" y="2829"/>
                    <a:pt x="3610" y="2853"/>
                    <a:pt x="3617" y="2871"/>
                  </a:cubicBezTo>
                  <a:cubicBezTo>
                    <a:pt x="3624" y="2889"/>
                    <a:pt x="3637" y="2887"/>
                    <a:pt x="3658" y="2889"/>
                  </a:cubicBezTo>
                  <a:cubicBezTo>
                    <a:pt x="3678" y="2891"/>
                    <a:pt x="3669" y="2905"/>
                    <a:pt x="3676" y="2920"/>
                  </a:cubicBezTo>
                  <a:cubicBezTo>
                    <a:pt x="3684" y="2935"/>
                    <a:pt x="3694" y="2935"/>
                    <a:pt x="3710" y="2942"/>
                  </a:cubicBezTo>
                  <a:cubicBezTo>
                    <a:pt x="3726" y="2949"/>
                    <a:pt x="3752" y="2942"/>
                    <a:pt x="3762" y="2929"/>
                  </a:cubicBezTo>
                  <a:cubicBezTo>
                    <a:pt x="3772" y="2917"/>
                    <a:pt x="3782" y="2929"/>
                    <a:pt x="3782" y="2939"/>
                  </a:cubicBezTo>
                  <a:cubicBezTo>
                    <a:pt x="3782" y="2948"/>
                    <a:pt x="3786" y="2951"/>
                    <a:pt x="3796" y="2956"/>
                  </a:cubicBezTo>
                  <a:cubicBezTo>
                    <a:pt x="3796" y="2956"/>
                    <a:pt x="3797" y="2957"/>
                    <a:pt x="3798" y="2957"/>
                  </a:cubicBezTo>
                  <a:cubicBezTo>
                    <a:pt x="3798" y="2957"/>
                    <a:pt x="3798" y="2958"/>
                    <a:pt x="3798" y="2958"/>
                  </a:cubicBezTo>
                  <a:cubicBezTo>
                    <a:pt x="3798" y="2958"/>
                    <a:pt x="3799" y="2958"/>
                    <a:pt x="3799" y="2959"/>
                  </a:cubicBezTo>
                  <a:cubicBezTo>
                    <a:pt x="3799" y="2959"/>
                    <a:pt x="3799" y="2959"/>
                    <a:pt x="3799" y="2959"/>
                  </a:cubicBezTo>
                  <a:cubicBezTo>
                    <a:pt x="3800" y="2959"/>
                    <a:pt x="3800" y="2960"/>
                    <a:pt x="3800" y="2960"/>
                  </a:cubicBezTo>
                  <a:cubicBezTo>
                    <a:pt x="3800" y="2960"/>
                    <a:pt x="3800" y="2960"/>
                    <a:pt x="3800" y="2960"/>
                  </a:cubicBezTo>
                  <a:cubicBezTo>
                    <a:pt x="3801" y="2961"/>
                    <a:pt x="3801" y="2961"/>
                    <a:pt x="3801" y="2961"/>
                  </a:cubicBezTo>
                  <a:cubicBezTo>
                    <a:pt x="3801" y="2962"/>
                    <a:pt x="3801" y="2962"/>
                    <a:pt x="3801" y="2962"/>
                  </a:cubicBezTo>
                  <a:cubicBezTo>
                    <a:pt x="3801" y="2962"/>
                    <a:pt x="3801" y="2963"/>
                    <a:pt x="3801" y="2963"/>
                  </a:cubicBezTo>
                  <a:cubicBezTo>
                    <a:pt x="3801" y="2963"/>
                    <a:pt x="3801" y="2963"/>
                    <a:pt x="3801" y="2964"/>
                  </a:cubicBezTo>
                  <a:cubicBezTo>
                    <a:pt x="3801" y="2964"/>
                    <a:pt x="3801" y="2965"/>
                    <a:pt x="3801" y="2965"/>
                  </a:cubicBezTo>
                  <a:cubicBezTo>
                    <a:pt x="3801" y="2965"/>
                    <a:pt x="3801" y="2965"/>
                    <a:pt x="3801" y="2965"/>
                  </a:cubicBezTo>
                  <a:cubicBezTo>
                    <a:pt x="3801" y="2966"/>
                    <a:pt x="3801" y="2968"/>
                    <a:pt x="3800" y="2969"/>
                  </a:cubicBezTo>
                  <a:cubicBezTo>
                    <a:pt x="3800" y="2969"/>
                    <a:pt x="3800" y="2969"/>
                    <a:pt x="3800" y="2969"/>
                  </a:cubicBezTo>
                  <a:cubicBezTo>
                    <a:pt x="3804" y="2970"/>
                    <a:pt x="3807" y="2972"/>
                    <a:pt x="3810" y="2975"/>
                  </a:cubicBezTo>
                  <a:cubicBezTo>
                    <a:pt x="3816" y="2982"/>
                    <a:pt x="3820" y="2979"/>
                    <a:pt x="3830" y="2979"/>
                  </a:cubicBezTo>
                  <a:cubicBezTo>
                    <a:pt x="3830" y="2979"/>
                    <a:pt x="3831" y="2980"/>
                    <a:pt x="3832" y="2980"/>
                  </a:cubicBezTo>
                  <a:cubicBezTo>
                    <a:pt x="3832" y="2980"/>
                    <a:pt x="3832" y="2980"/>
                    <a:pt x="3833" y="2980"/>
                  </a:cubicBezTo>
                  <a:cubicBezTo>
                    <a:pt x="3833" y="2980"/>
                    <a:pt x="3833" y="2980"/>
                    <a:pt x="3833" y="2980"/>
                  </a:cubicBezTo>
                  <a:cubicBezTo>
                    <a:pt x="3836" y="2980"/>
                    <a:pt x="3839" y="2980"/>
                    <a:pt x="3841" y="2980"/>
                  </a:cubicBezTo>
                  <a:cubicBezTo>
                    <a:pt x="3841" y="2980"/>
                    <a:pt x="3841" y="2980"/>
                    <a:pt x="3841" y="2980"/>
                  </a:cubicBezTo>
                  <a:cubicBezTo>
                    <a:pt x="3842" y="2980"/>
                    <a:pt x="3842" y="2980"/>
                    <a:pt x="3843" y="2980"/>
                  </a:cubicBezTo>
                  <a:cubicBezTo>
                    <a:pt x="3843" y="2980"/>
                    <a:pt x="3843" y="2980"/>
                    <a:pt x="3843" y="2980"/>
                  </a:cubicBezTo>
                  <a:cubicBezTo>
                    <a:pt x="3844" y="2980"/>
                    <a:pt x="3844" y="2980"/>
                    <a:pt x="3845" y="2979"/>
                  </a:cubicBezTo>
                  <a:cubicBezTo>
                    <a:pt x="3845" y="2979"/>
                    <a:pt x="3846" y="2979"/>
                    <a:pt x="3847" y="2978"/>
                  </a:cubicBezTo>
                  <a:cubicBezTo>
                    <a:pt x="3847" y="2978"/>
                    <a:pt x="3847" y="2978"/>
                    <a:pt x="3847" y="2978"/>
                  </a:cubicBezTo>
                  <a:cubicBezTo>
                    <a:pt x="3848" y="2978"/>
                    <a:pt x="3849" y="2977"/>
                    <a:pt x="3849" y="2977"/>
                  </a:cubicBezTo>
                  <a:cubicBezTo>
                    <a:pt x="3849" y="2977"/>
                    <a:pt x="3849" y="2977"/>
                    <a:pt x="3849" y="2977"/>
                  </a:cubicBezTo>
                  <a:cubicBezTo>
                    <a:pt x="3850" y="2976"/>
                    <a:pt x="3851" y="2975"/>
                    <a:pt x="3852" y="2975"/>
                  </a:cubicBezTo>
                  <a:cubicBezTo>
                    <a:pt x="3852" y="2975"/>
                    <a:pt x="3852" y="2974"/>
                    <a:pt x="3852" y="2974"/>
                  </a:cubicBezTo>
                  <a:cubicBezTo>
                    <a:pt x="3853" y="2973"/>
                    <a:pt x="3854" y="2972"/>
                    <a:pt x="3854" y="2971"/>
                  </a:cubicBezTo>
                  <a:cubicBezTo>
                    <a:pt x="3864" y="2959"/>
                    <a:pt x="3874" y="2945"/>
                    <a:pt x="3886" y="2945"/>
                  </a:cubicBezTo>
                  <a:cubicBezTo>
                    <a:pt x="3898" y="2945"/>
                    <a:pt x="3906" y="2952"/>
                    <a:pt x="3918" y="2944"/>
                  </a:cubicBezTo>
                  <a:cubicBezTo>
                    <a:pt x="3930" y="2936"/>
                    <a:pt x="3936" y="2933"/>
                    <a:pt x="3946" y="2936"/>
                  </a:cubicBezTo>
                  <a:cubicBezTo>
                    <a:pt x="3956" y="2939"/>
                    <a:pt x="3960" y="2929"/>
                    <a:pt x="3962" y="2921"/>
                  </a:cubicBezTo>
                  <a:cubicBezTo>
                    <a:pt x="3965" y="2913"/>
                    <a:pt x="3960" y="2902"/>
                    <a:pt x="3974" y="2902"/>
                  </a:cubicBezTo>
                  <a:cubicBezTo>
                    <a:pt x="3987" y="2902"/>
                    <a:pt x="3991" y="2886"/>
                    <a:pt x="4009" y="2885"/>
                  </a:cubicBezTo>
                  <a:cubicBezTo>
                    <a:pt x="4027" y="2885"/>
                    <a:pt x="4040" y="2879"/>
                    <a:pt x="4049" y="2871"/>
                  </a:cubicBezTo>
                  <a:cubicBezTo>
                    <a:pt x="4058" y="2862"/>
                    <a:pt x="4068" y="2859"/>
                    <a:pt x="4082" y="2860"/>
                  </a:cubicBezTo>
                  <a:cubicBezTo>
                    <a:pt x="4096" y="2861"/>
                    <a:pt x="4085" y="2844"/>
                    <a:pt x="4102" y="2845"/>
                  </a:cubicBezTo>
                  <a:cubicBezTo>
                    <a:pt x="4120" y="2845"/>
                    <a:pt x="4118" y="2835"/>
                    <a:pt x="4130" y="2835"/>
                  </a:cubicBezTo>
                  <a:cubicBezTo>
                    <a:pt x="4143" y="2834"/>
                    <a:pt x="4150" y="2833"/>
                    <a:pt x="4150" y="2840"/>
                  </a:cubicBezTo>
                  <a:cubicBezTo>
                    <a:pt x="4151" y="2847"/>
                    <a:pt x="4159" y="2850"/>
                    <a:pt x="4166" y="2847"/>
                  </a:cubicBezTo>
                  <a:cubicBezTo>
                    <a:pt x="4172" y="2845"/>
                    <a:pt x="4175" y="2842"/>
                    <a:pt x="4178" y="2849"/>
                  </a:cubicBezTo>
                  <a:cubicBezTo>
                    <a:pt x="4182" y="2855"/>
                    <a:pt x="4186" y="2855"/>
                    <a:pt x="4207" y="2855"/>
                  </a:cubicBezTo>
                  <a:cubicBezTo>
                    <a:pt x="4228" y="2855"/>
                    <a:pt x="4264" y="2850"/>
                    <a:pt x="4260" y="2861"/>
                  </a:cubicBezTo>
                  <a:cubicBezTo>
                    <a:pt x="4257" y="2873"/>
                    <a:pt x="4259" y="2890"/>
                    <a:pt x="4270" y="2894"/>
                  </a:cubicBezTo>
                  <a:cubicBezTo>
                    <a:pt x="4282" y="2898"/>
                    <a:pt x="4292" y="2891"/>
                    <a:pt x="4299" y="2900"/>
                  </a:cubicBezTo>
                  <a:cubicBezTo>
                    <a:pt x="4306" y="2909"/>
                    <a:pt x="4313" y="2904"/>
                    <a:pt x="4321" y="2909"/>
                  </a:cubicBezTo>
                  <a:cubicBezTo>
                    <a:pt x="4329" y="2913"/>
                    <a:pt x="4337" y="2919"/>
                    <a:pt x="4344" y="2911"/>
                  </a:cubicBezTo>
                  <a:cubicBezTo>
                    <a:pt x="4350" y="2904"/>
                    <a:pt x="4360" y="2901"/>
                    <a:pt x="4371" y="2904"/>
                  </a:cubicBezTo>
                  <a:cubicBezTo>
                    <a:pt x="4382" y="2907"/>
                    <a:pt x="4377" y="2915"/>
                    <a:pt x="4391" y="2915"/>
                  </a:cubicBezTo>
                  <a:cubicBezTo>
                    <a:pt x="4405" y="2915"/>
                    <a:pt x="4424" y="2908"/>
                    <a:pt x="4428" y="2917"/>
                  </a:cubicBezTo>
                  <a:cubicBezTo>
                    <a:pt x="4432" y="2925"/>
                    <a:pt x="4438" y="2920"/>
                    <a:pt x="4442" y="2926"/>
                  </a:cubicBezTo>
                  <a:cubicBezTo>
                    <a:pt x="4447" y="2932"/>
                    <a:pt x="4448" y="2929"/>
                    <a:pt x="4450" y="2924"/>
                  </a:cubicBezTo>
                  <a:cubicBezTo>
                    <a:pt x="4453" y="2919"/>
                    <a:pt x="4461" y="2923"/>
                    <a:pt x="4465" y="2917"/>
                  </a:cubicBezTo>
                  <a:cubicBezTo>
                    <a:pt x="4469" y="2911"/>
                    <a:pt x="4469" y="2907"/>
                    <a:pt x="4481" y="2905"/>
                  </a:cubicBezTo>
                  <a:cubicBezTo>
                    <a:pt x="4493" y="2903"/>
                    <a:pt x="4498" y="2903"/>
                    <a:pt x="4502" y="2894"/>
                  </a:cubicBezTo>
                  <a:cubicBezTo>
                    <a:pt x="4507" y="2885"/>
                    <a:pt x="4504" y="2882"/>
                    <a:pt x="4512" y="2877"/>
                  </a:cubicBezTo>
                  <a:cubicBezTo>
                    <a:pt x="4520" y="2873"/>
                    <a:pt x="4520" y="2867"/>
                    <a:pt x="4510" y="2860"/>
                  </a:cubicBezTo>
                  <a:cubicBezTo>
                    <a:pt x="4499" y="2853"/>
                    <a:pt x="4496" y="2851"/>
                    <a:pt x="4494" y="2842"/>
                  </a:cubicBezTo>
                  <a:cubicBezTo>
                    <a:pt x="4491" y="2833"/>
                    <a:pt x="4483" y="2831"/>
                    <a:pt x="4482" y="2821"/>
                  </a:cubicBezTo>
                  <a:cubicBezTo>
                    <a:pt x="4482" y="2812"/>
                    <a:pt x="4481" y="2809"/>
                    <a:pt x="4486" y="2801"/>
                  </a:cubicBezTo>
                  <a:cubicBezTo>
                    <a:pt x="4492" y="2793"/>
                    <a:pt x="4488" y="2783"/>
                    <a:pt x="4498" y="2780"/>
                  </a:cubicBezTo>
                  <a:cubicBezTo>
                    <a:pt x="4507" y="2777"/>
                    <a:pt x="4510" y="2758"/>
                    <a:pt x="4525" y="2753"/>
                  </a:cubicBezTo>
                  <a:cubicBezTo>
                    <a:pt x="4540" y="2747"/>
                    <a:pt x="4544" y="2747"/>
                    <a:pt x="4546" y="2738"/>
                  </a:cubicBezTo>
                  <a:cubicBezTo>
                    <a:pt x="4548" y="2729"/>
                    <a:pt x="4547" y="2718"/>
                    <a:pt x="4559" y="2729"/>
                  </a:cubicBezTo>
                  <a:cubicBezTo>
                    <a:pt x="4571" y="2741"/>
                    <a:pt x="4576" y="2739"/>
                    <a:pt x="4586" y="2741"/>
                  </a:cubicBezTo>
                  <a:cubicBezTo>
                    <a:pt x="4597" y="2743"/>
                    <a:pt x="4600" y="2743"/>
                    <a:pt x="4605" y="2751"/>
                  </a:cubicBezTo>
                  <a:cubicBezTo>
                    <a:pt x="4610" y="2758"/>
                    <a:pt x="4616" y="2758"/>
                    <a:pt x="4631" y="2757"/>
                  </a:cubicBezTo>
                  <a:cubicBezTo>
                    <a:pt x="4646" y="2757"/>
                    <a:pt x="4654" y="2753"/>
                    <a:pt x="4662" y="2760"/>
                  </a:cubicBezTo>
                  <a:cubicBezTo>
                    <a:pt x="4670" y="2767"/>
                    <a:pt x="4678" y="2772"/>
                    <a:pt x="4687" y="2773"/>
                  </a:cubicBezTo>
                  <a:cubicBezTo>
                    <a:pt x="4696" y="2773"/>
                    <a:pt x="4701" y="2783"/>
                    <a:pt x="4716" y="2783"/>
                  </a:cubicBezTo>
                  <a:cubicBezTo>
                    <a:pt x="4732" y="2782"/>
                    <a:pt x="4745" y="2781"/>
                    <a:pt x="4748" y="2791"/>
                  </a:cubicBezTo>
                  <a:cubicBezTo>
                    <a:pt x="4752" y="2801"/>
                    <a:pt x="4752" y="2809"/>
                    <a:pt x="4757" y="2814"/>
                  </a:cubicBezTo>
                  <a:cubicBezTo>
                    <a:pt x="4762" y="2819"/>
                    <a:pt x="4763" y="2828"/>
                    <a:pt x="4764" y="2839"/>
                  </a:cubicBezTo>
                  <a:cubicBezTo>
                    <a:pt x="4766" y="2849"/>
                    <a:pt x="4763" y="2853"/>
                    <a:pt x="4773" y="2859"/>
                  </a:cubicBezTo>
                  <a:cubicBezTo>
                    <a:pt x="4783" y="2865"/>
                    <a:pt x="4783" y="2870"/>
                    <a:pt x="4804" y="2875"/>
                  </a:cubicBezTo>
                  <a:cubicBezTo>
                    <a:pt x="4824" y="2881"/>
                    <a:pt x="4830" y="2880"/>
                    <a:pt x="4841" y="2887"/>
                  </a:cubicBezTo>
                  <a:cubicBezTo>
                    <a:pt x="4852" y="2895"/>
                    <a:pt x="4864" y="2894"/>
                    <a:pt x="4875" y="2892"/>
                  </a:cubicBezTo>
                  <a:cubicBezTo>
                    <a:pt x="4886" y="2890"/>
                    <a:pt x="4886" y="2884"/>
                    <a:pt x="4900" y="2877"/>
                  </a:cubicBezTo>
                  <a:cubicBezTo>
                    <a:pt x="4914" y="2869"/>
                    <a:pt x="4913" y="2870"/>
                    <a:pt x="4924" y="2869"/>
                  </a:cubicBezTo>
                  <a:cubicBezTo>
                    <a:pt x="4936" y="2869"/>
                    <a:pt x="4932" y="2861"/>
                    <a:pt x="4948" y="2861"/>
                  </a:cubicBezTo>
                  <a:cubicBezTo>
                    <a:pt x="4964" y="2861"/>
                    <a:pt x="4968" y="2860"/>
                    <a:pt x="4978" y="2866"/>
                  </a:cubicBezTo>
                  <a:cubicBezTo>
                    <a:pt x="4988" y="2872"/>
                    <a:pt x="4994" y="2870"/>
                    <a:pt x="5001" y="2872"/>
                  </a:cubicBezTo>
                  <a:cubicBezTo>
                    <a:pt x="5008" y="2874"/>
                    <a:pt x="5006" y="2881"/>
                    <a:pt x="5018" y="2880"/>
                  </a:cubicBezTo>
                  <a:cubicBezTo>
                    <a:pt x="5030" y="2879"/>
                    <a:pt x="5038" y="2866"/>
                    <a:pt x="5050" y="2877"/>
                  </a:cubicBezTo>
                  <a:cubicBezTo>
                    <a:pt x="5062" y="2887"/>
                    <a:pt x="5066" y="2905"/>
                    <a:pt x="5082" y="2905"/>
                  </a:cubicBezTo>
                  <a:cubicBezTo>
                    <a:pt x="5098" y="2905"/>
                    <a:pt x="5122" y="2900"/>
                    <a:pt x="5124" y="2916"/>
                  </a:cubicBezTo>
                  <a:cubicBezTo>
                    <a:pt x="5125" y="2932"/>
                    <a:pt x="5130" y="2939"/>
                    <a:pt x="5141" y="2943"/>
                  </a:cubicBezTo>
                  <a:cubicBezTo>
                    <a:pt x="5152" y="2948"/>
                    <a:pt x="5152" y="2960"/>
                    <a:pt x="5168" y="2959"/>
                  </a:cubicBezTo>
                  <a:cubicBezTo>
                    <a:pt x="5183" y="2957"/>
                    <a:pt x="5191" y="2949"/>
                    <a:pt x="5209" y="2957"/>
                  </a:cubicBezTo>
                  <a:cubicBezTo>
                    <a:pt x="5227" y="2966"/>
                    <a:pt x="5227" y="2971"/>
                    <a:pt x="5244" y="2971"/>
                  </a:cubicBezTo>
                  <a:cubicBezTo>
                    <a:pt x="5262" y="2971"/>
                    <a:pt x="5292" y="2972"/>
                    <a:pt x="5308" y="2971"/>
                  </a:cubicBezTo>
                  <a:cubicBezTo>
                    <a:pt x="5324" y="2971"/>
                    <a:pt x="5320" y="2955"/>
                    <a:pt x="5342" y="2955"/>
                  </a:cubicBezTo>
                  <a:cubicBezTo>
                    <a:pt x="5363" y="2955"/>
                    <a:pt x="5376" y="2951"/>
                    <a:pt x="5390" y="2949"/>
                  </a:cubicBezTo>
                  <a:cubicBezTo>
                    <a:pt x="5403" y="2947"/>
                    <a:pt x="5405" y="2942"/>
                    <a:pt x="5419" y="2942"/>
                  </a:cubicBezTo>
                  <a:cubicBezTo>
                    <a:pt x="5433" y="2942"/>
                    <a:pt x="5450" y="2943"/>
                    <a:pt x="5452" y="2933"/>
                  </a:cubicBezTo>
                  <a:cubicBezTo>
                    <a:pt x="5454" y="2922"/>
                    <a:pt x="5452" y="2917"/>
                    <a:pt x="5464" y="2912"/>
                  </a:cubicBezTo>
                  <a:cubicBezTo>
                    <a:pt x="5477" y="2907"/>
                    <a:pt x="5476" y="2900"/>
                    <a:pt x="5490" y="2897"/>
                  </a:cubicBezTo>
                  <a:cubicBezTo>
                    <a:pt x="5503" y="2895"/>
                    <a:pt x="5498" y="2894"/>
                    <a:pt x="5508" y="2887"/>
                  </a:cubicBezTo>
                  <a:cubicBezTo>
                    <a:pt x="5518" y="2881"/>
                    <a:pt x="5515" y="2880"/>
                    <a:pt x="5530" y="2879"/>
                  </a:cubicBezTo>
                  <a:cubicBezTo>
                    <a:pt x="5544" y="2879"/>
                    <a:pt x="5550" y="2879"/>
                    <a:pt x="5568" y="2886"/>
                  </a:cubicBezTo>
                  <a:cubicBezTo>
                    <a:pt x="5586" y="2893"/>
                    <a:pt x="5577" y="2899"/>
                    <a:pt x="5589" y="2907"/>
                  </a:cubicBezTo>
                  <a:cubicBezTo>
                    <a:pt x="5601" y="2914"/>
                    <a:pt x="5621" y="2916"/>
                    <a:pt x="5627" y="2910"/>
                  </a:cubicBezTo>
                  <a:cubicBezTo>
                    <a:pt x="5633" y="2904"/>
                    <a:pt x="5636" y="2898"/>
                    <a:pt x="5648" y="2900"/>
                  </a:cubicBezTo>
                  <a:cubicBezTo>
                    <a:pt x="5660" y="2902"/>
                    <a:pt x="5670" y="2900"/>
                    <a:pt x="5678" y="2909"/>
                  </a:cubicBezTo>
                  <a:cubicBezTo>
                    <a:pt x="5679" y="2910"/>
                    <a:pt x="5679" y="2911"/>
                    <a:pt x="5680" y="2912"/>
                  </a:cubicBezTo>
                  <a:cubicBezTo>
                    <a:pt x="5680" y="2912"/>
                    <a:pt x="5680" y="2912"/>
                    <a:pt x="5680" y="2912"/>
                  </a:cubicBezTo>
                  <a:cubicBezTo>
                    <a:pt x="5681" y="2913"/>
                    <a:pt x="5681" y="2914"/>
                    <a:pt x="5682" y="2915"/>
                  </a:cubicBezTo>
                  <a:cubicBezTo>
                    <a:pt x="5682" y="2915"/>
                    <a:pt x="5682" y="2915"/>
                    <a:pt x="5682" y="2915"/>
                  </a:cubicBezTo>
                  <a:cubicBezTo>
                    <a:pt x="5682" y="2915"/>
                    <a:pt x="5682" y="2915"/>
                    <a:pt x="5682" y="2915"/>
                  </a:cubicBezTo>
                  <a:cubicBezTo>
                    <a:pt x="5682" y="2916"/>
                    <a:pt x="5683" y="2916"/>
                    <a:pt x="5683" y="2917"/>
                  </a:cubicBezTo>
                  <a:cubicBezTo>
                    <a:pt x="5683" y="2917"/>
                    <a:pt x="5683" y="2917"/>
                    <a:pt x="5683" y="2917"/>
                  </a:cubicBezTo>
                  <a:cubicBezTo>
                    <a:pt x="5683" y="2917"/>
                    <a:pt x="5684" y="2918"/>
                    <a:pt x="5684" y="2918"/>
                  </a:cubicBezTo>
                  <a:cubicBezTo>
                    <a:pt x="5684" y="2918"/>
                    <a:pt x="5684" y="2918"/>
                    <a:pt x="5684" y="2918"/>
                  </a:cubicBezTo>
                  <a:cubicBezTo>
                    <a:pt x="5684" y="2919"/>
                    <a:pt x="5684" y="2919"/>
                    <a:pt x="5685" y="2920"/>
                  </a:cubicBezTo>
                  <a:cubicBezTo>
                    <a:pt x="5685" y="2920"/>
                    <a:pt x="5685" y="2920"/>
                    <a:pt x="5685" y="2920"/>
                  </a:cubicBezTo>
                  <a:cubicBezTo>
                    <a:pt x="5685" y="2920"/>
                    <a:pt x="5685" y="2921"/>
                    <a:pt x="5686" y="2921"/>
                  </a:cubicBezTo>
                  <a:cubicBezTo>
                    <a:pt x="5686" y="2921"/>
                    <a:pt x="5686" y="2921"/>
                    <a:pt x="5686" y="2922"/>
                  </a:cubicBezTo>
                  <a:cubicBezTo>
                    <a:pt x="5686" y="2922"/>
                    <a:pt x="5687" y="2922"/>
                    <a:pt x="5687" y="2922"/>
                  </a:cubicBezTo>
                  <a:cubicBezTo>
                    <a:pt x="5687" y="2923"/>
                    <a:pt x="5687" y="2923"/>
                    <a:pt x="5687" y="2923"/>
                  </a:cubicBezTo>
                  <a:cubicBezTo>
                    <a:pt x="5688" y="2923"/>
                    <a:pt x="5688" y="2924"/>
                    <a:pt x="5688" y="2924"/>
                  </a:cubicBezTo>
                  <a:cubicBezTo>
                    <a:pt x="5689" y="2924"/>
                    <a:pt x="5689" y="2924"/>
                    <a:pt x="5689" y="2924"/>
                  </a:cubicBezTo>
                  <a:cubicBezTo>
                    <a:pt x="5689" y="2924"/>
                    <a:pt x="5689" y="2925"/>
                    <a:pt x="5690" y="2925"/>
                  </a:cubicBezTo>
                  <a:cubicBezTo>
                    <a:pt x="5690" y="2925"/>
                    <a:pt x="5690" y="2925"/>
                    <a:pt x="5690" y="2925"/>
                  </a:cubicBezTo>
                  <a:cubicBezTo>
                    <a:pt x="5691" y="2926"/>
                    <a:pt x="5691" y="2926"/>
                    <a:pt x="5692" y="2926"/>
                  </a:cubicBezTo>
                  <a:cubicBezTo>
                    <a:pt x="5692" y="2926"/>
                    <a:pt x="5692" y="2926"/>
                    <a:pt x="5692" y="2926"/>
                  </a:cubicBezTo>
                  <a:cubicBezTo>
                    <a:pt x="5693" y="2927"/>
                    <a:pt x="5693" y="2927"/>
                    <a:pt x="5694" y="2927"/>
                  </a:cubicBezTo>
                  <a:cubicBezTo>
                    <a:pt x="5694" y="2927"/>
                    <a:pt x="5694" y="2927"/>
                    <a:pt x="5694" y="2927"/>
                  </a:cubicBezTo>
                  <a:cubicBezTo>
                    <a:pt x="5695" y="2928"/>
                    <a:pt x="5696" y="2928"/>
                    <a:pt x="5696" y="2928"/>
                  </a:cubicBezTo>
                  <a:cubicBezTo>
                    <a:pt x="5697" y="2928"/>
                    <a:pt x="5697" y="2928"/>
                    <a:pt x="5697" y="2928"/>
                  </a:cubicBezTo>
                  <a:cubicBezTo>
                    <a:pt x="5698" y="2928"/>
                    <a:pt x="5698" y="2929"/>
                    <a:pt x="5699" y="2929"/>
                  </a:cubicBezTo>
                  <a:cubicBezTo>
                    <a:pt x="5699" y="2929"/>
                    <a:pt x="5700" y="2929"/>
                    <a:pt x="5700" y="2929"/>
                  </a:cubicBezTo>
                  <a:cubicBezTo>
                    <a:pt x="5701" y="2929"/>
                    <a:pt x="5702" y="2929"/>
                    <a:pt x="5703" y="2929"/>
                  </a:cubicBezTo>
                  <a:cubicBezTo>
                    <a:pt x="5722" y="2932"/>
                    <a:pt x="5724" y="2934"/>
                    <a:pt x="5736" y="2938"/>
                  </a:cubicBezTo>
                  <a:cubicBezTo>
                    <a:pt x="5747" y="2942"/>
                    <a:pt x="5750" y="2950"/>
                    <a:pt x="5764" y="2941"/>
                  </a:cubicBezTo>
                  <a:cubicBezTo>
                    <a:pt x="5779" y="2931"/>
                    <a:pt x="5781" y="2919"/>
                    <a:pt x="5795" y="2915"/>
                  </a:cubicBezTo>
                  <a:cubicBezTo>
                    <a:pt x="5809" y="2911"/>
                    <a:pt x="5810" y="2904"/>
                    <a:pt x="5822" y="2904"/>
                  </a:cubicBezTo>
                  <a:cubicBezTo>
                    <a:pt x="5834" y="2904"/>
                    <a:pt x="5846" y="2899"/>
                    <a:pt x="5849" y="2891"/>
                  </a:cubicBezTo>
                  <a:cubicBezTo>
                    <a:pt x="5852" y="2882"/>
                    <a:pt x="5847" y="2877"/>
                    <a:pt x="5841" y="2873"/>
                  </a:cubicBezTo>
                  <a:cubicBezTo>
                    <a:pt x="5835" y="2868"/>
                    <a:pt x="5837" y="2858"/>
                    <a:pt x="5847" y="2851"/>
                  </a:cubicBezTo>
                  <a:cubicBezTo>
                    <a:pt x="5857" y="2843"/>
                    <a:pt x="5862" y="2836"/>
                    <a:pt x="5867" y="2824"/>
                  </a:cubicBezTo>
                  <a:cubicBezTo>
                    <a:pt x="5872" y="2812"/>
                    <a:pt x="5880" y="2807"/>
                    <a:pt x="5884" y="2791"/>
                  </a:cubicBezTo>
                  <a:cubicBezTo>
                    <a:pt x="5888" y="2776"/>
                    <a:pt x="5893" y="2760"/>
                    <a:pt x="5906" y="2753"/>
                  </a:cubicBezTo>
                  <a:cubicBezTo>
                    <a:pt x="5920" y="2745"/>
                    <a:pt x="5934" y="2739"/>
                    <a:pt x="5938" y="2731"/>
                  </a:cubicBezTo>
                  <a:cubicBezTo>
                    <a:pt x="5942" y="2722"/>
                    <a:pt x="5942" y="2719"/>
                    <a:pt x="5938" y="2715"/>
                  </a:cubicBezTo>
                  <a:cubicBezTo>
                    <a:pt x="5933" y="2711"/>
                    <a:pt x="5930" y="2706"/>
                    <a:pt x="5930" y="2700"/>
                  </a:cubicBezTo>
                  <a:cubicBezTo>
                    <a:pt x="5930" y="2694"/>
                    <a:pt x="5930" y="2682"/>
                    <a:pt x="5918" y="2683"/>
                  </a:cubicBezTo>
                  <a:cubicBezTo>
                    <a:pt x="5906" y="2683"/>
                    <a:pt x="5893" y="2683"/>
                    <a:pt x="5893" y="2676"/>
                  </a:cubicBezTo>
                  <a:cubicBezTo>
                    <a:pt x="5893" y="2669"/>
                    <a:pt x="5892" y="2666"/>
                    <a:pt x="5904" y="2663"/>
                  </a:cubicBezTo>
                  <a:cubicBezTo>
                    <a:pt x="5916" y="2659"/>
                    <a:pt x="5918" y="2643"/>
                    <a:pt x="5934" y="2635"/>
                  </a:cubicBezTo>
                  <a:cubicBezTo>
                    <a:pt x="5950" y="2627"/>
                    <a:pt x="5948" y="2624"/>
                    <a:pt x="5958" y="2624"/>
                  </a:cubicBezTo>
                  <a:cubicBezTo>
                    <a:pt x="5968" y="2624"/>
                    <a:pt x="5970" y="2616"/>
                    <a:pt x="5984" y="2615"/>
                  </a:cubicBezTo>
                  <a:cubicBezTo>
                    <a:pt x="5997" y="2615"/>
                    <a:pt x="6006" y="2616"/>
                    <a:pt x="6020" y="2613"/>
                  </a:cubicBezTo>
                  <a:cubicBezTo>
                    <a:pt x="6033" y="2611"/>
                    <a:pt x="6028" y="2605"/>
                    <a:pt x="6048" y="2605"/>
                  </a:cubicBezTo>
                  <a:cubicBezTo>
                    <a:pt x="6068" y="2605"/>
                    <a:pt x="6073" y="2611"/>
                    <a:pt x="6087" y="2607"/>
                  </a:cubicBezTo>
                  <a:cubicBezTo>
                    <a:pt x="6101" y="2603"/>
                    <a:pt x="6108" y="2597"/>
                    <a:pt x="6118" y="2600"/>
                  </a:cubicBezTo>
                  <a:cubicBezTo>
                    <a:pt x="6127" y="2603"/>
                    <a:pt x="6138" y="2611"/>
                    <a:pt x="6150" y="2613"/>
                  </a:cubicBezTo>
                  <a:cubicBezTo>
                    <a:pt x="6161" y="2615"/>
                    <a:pt x="6167" y="2621"/>
                    <a:pt x="6171" y="2625"/>
                  </a:cubicBezTo>
                  <a:cubicBezTo>
                    <a:pt x="6175" y="2630"/>
                    <a:pt x="6180" y="2633"/>
                    <a:pt x="6193" y="2632"/>
                  </a:cubicBezTo>
                  <a:cubicBezTo>
                    <a:pt x="6206" y="2631"/>
                    <a:pt x="6234" y="2628"/>
                    <a:pt x="6240" y="2638"/>
                  </a:cubicBezTo>
                  <a:cubicBezTo>
                    <a:pt x="6246" y="2648"/>
                    <a:pt x="6251" y="2657"/>
                    <a:pt x="6262" y="2660"/>
                  </a:cubicBezTo>
                  <a:cubicBezTo>
                    <a:pt x="6272" y="2663"/>
                    <a:pt x="6276" y="2671"/>
                    <a:pt x="6279" y="2681"/>
                  </a:cubicBezTo>
                  <a:cubicBezTo>
                    <a:pt x="6282" y="2690"/>
                    <a:pt x="6297" y="2691"/>
                    <a:pt x="6298" y="2705"/>
                  </a:cubicBezTo>
                  <a:cubicBezTo>
                    <a:pt x="6300" y="2719"/>
                    <a:pt x="6298" y="2736"/>
                    <a:pt x="6308" y="2747"/>
                  </a:cubicBezTo>
                  <a:cubicBezTo>
                    <a:pt x="6318" y="2759"/>
                    <a:pt x="6320" y="2762"/>
                    <a:pt x="6322" y="2769"/>
                  </a:cubicBezTo>
                  <a:cubicBezTo>
                    <a:pt x="6324" y="2775"/>
                    <a:pt x="6330" y="2783"/>
                    <a:pt x="6330" y="2795"/>
                  </a:cubicBezTo>
                  <a:cubicBezTo>
                    <a:pt x="6331" y="2808"/>
                    <a:pt x="6330" y="2811"/>
                    <a:pt x="6338" y="2819"/>
                  </a:cubicBezTo>
                  <a:cubicBezTo>
                    <a:pt x="6346" y="2827"/>
                    <a:pt x="6349" y="2829"/>
                    <a:pt x="6355" y="2840"/>
                  </a:cubicBezTo>
                  <a:cubicBezTo>
                    <a:pt x="6361" y="2851"/>
                    <a:pt x="6360" y="2855"/>
                    <a:pt x="6363" y="2867"/>
                  </a:cubicBezTo>
                  <a:cubicBezTo>
                    <a:pt x="6366" y="2879"/>
                    <a:pt x="6378" y="2876"/>
                    <a:pt x="6374" y="2890"/>
                  </a:cubicBezTo>
                  <a:cubicBezTo>
                    <a:pt x="6370" y="2904"/>
                    <a:pt x="6371" y="2917"/>
                    <a:pt x="6379" y="2924"/>
                  </a:cubicBezTo>
                  <a:cubicBezTo>
                    <a:pt x="6387" y="2931"/>
                    <a:pt x="6396" y="2941"/>
                    <a:pt x="6405" y="2942"/>
                  </a:cubicBezTo>
                  <a:cubicBezTo>
                    <a:pt x="6414" y="2943"/>
                    <a:pt x="6420" y="2953"/>
                    <a:pt x="6426" y="2943"/>
                  </a:cubicBezTo>
                  <a:cubicBezTo>
                    <a:pt x="6433" y="2934"/>
                    <a:pt x="6440" y="2933"/>
                    <a:pt x="6447" y="2939"/>
                  </a:cubicBezTo>
                  <a:cubicBezTo>
                    <a:pt x="6454" y="2945"/>
                    <a:pt x="6466" y="2963"/>
                    <a:pt x="6481" y="2955"/>
                  </a:cubicBezTo>
                  <a:cubicBezTo>
                    <a:pt x="6496" y="2947"/>
                    <a:pt x="6501" y="2953"/>
                    <a:pt x="6511" y="2963"/>
                  </a:cubicBezTo>
                  <a:cubicBezTo>
                    <a:pt x="6521" y="2972"/>
                    <a:pt x="6524" y="2989"/>
                    <a:pt x="6538" y="2993"/>
                  </a:cubicBezTo>
                  <a:cubicBezTo>
                    <a:pt x="6552" y="2998"/>
                    <a:pt x="6570" y="2994"/>
                    <a:pt x="6570" y="3003"/>
                  </a:cubicBezTo>
                  <a:cubicBezTo>
                    <a:pt x="6570" y="3013"/>
                    <a:pt x="6568" y="3019"/>
                    <a:pt x="6576" y="3024"/>
                  </a:cubicBezTo>
                  <a:cubicBezTo>
                    <a:pt x="6584" y="3029"/>
                    <a:pt x="6580" y="3043"/>
                    <a:pt x="6580" y="3051"/>
                  </a:cubicBezTo>
                  <a:cubicBezTo>
                    <a:pt x="6580" y="3059"/>
                    <a:pt x="6569" y="3069"/>
                    <a:pt x="6582" y="3075"/>
                  </a:cubicBezTo>
                  <a:cubicBezTo>
                    <a:pt x="6596" y="3082"/>
                    <a:pt x="6596" y="3089"/>
                    <a:pt x="6598" y="3092"/>
                  </a:cubicBezTo>
                  <a:cubicBezTo>
                    <a:pt x="6601" y="3095"/>
                    <a:pt x="6612" y="3097"/>
                    <a:pt x="6622" y="3091"/>
                  </a:cubicBezTo>
                  <a:cubicBezTo>
                    <a:pt x="6632" y="3086"/>
                    <a:pt x="6633" y="3095"/>
                    <a:pt x="6648" y="3096"/>
                  </a:cubicBezTo>
                  <a:cubicBezTo>
                    <a:pt x="6664" y="3097"/>
                    <a:pt x="6674" y="3099"/>
                    <a:pt x="6684" y="3089"/>
                  </a:cubicBezTo>
                  <a:cubicBezTo>
                    <a:pt x="6694" y="3079"/>
                    <a:pt x="6703" y="3063"/>
                    <a:pt x="6716" y="3063"/>
                  </a:cubicBezTo>
                  <a:cubicBezTo>
                    <a:pt x="6728" y="3062"/>
                    <a:pt x="6743" y="3063"/>
                    <a:pt x="6752" y="3057"/>
                  </a:cubicBezTo>
                  <a:cubicBezTo>
                    <a:pt x="6760" y="3052"/>
                    <a:pt x="6760" y="3050"/>
                    <a:pt x="6774" y="3047"/>
                  </a:cubicBezTo>
                  <a:cubicBezTo>
                    <a:pt x="6789" y="3045"/>
                    <a:pt x="6785" y="3034"/>
                    <a:pt x="6797" y="3034"/>
                  </a:cubicBezTo>
                  <a:cubicBezTo>
                    <a:pt x="6809" y="3034"/>
                    <a:pt x="6828" y="3033"/>
                    <a:pt x="6830" y="3041"/>
                  </a:cubicBezTo>
                  <a:cubicBezTo>
                    <a:pt x="6831" y="3048"/>
                    <a:pt x="6836" y="3055"/>
                    <a:pt x="6828" y="3058"/>
                  </a:cubicBezTo>
                  <a:cubicBezTo>
                    <a:pt x="6821" y="3061"/>
                    <a:pt x="6812" y="3068"/>
                    <a:pt x="6822" y="3075"/>
                  </a:cubicBezTo>
                  <a:cubicBezTo>
                    <a:pt x="6831" y="3081"/>
                    <a:pt x="6834" y="3090"/>
                    <a:pt x="6829" y="3101"/>
                  </a:cubicBezTo>
                  <a:cubicBezTo>
                    <a:pt x="6824" y="3111"/>
                    <a:pt x="6818" y="3113"/>
                    <a:pt x="6810" y="3114"/>
                  </a:cubicBezTo>
                  <a:cubicBezTo>
                    <a:pt x="6802" y="3115"/>
                    <a:pt x="6796" y="3125"/>
                    <a:pt x="6796" y="3139"/>
                  </a:cubicBezTo>
                  <a:cubicBezTo>
                    <a:pt x="6796" y="3153"/>
                    <a:pt x="6780" y="3164"/>
                    <a:pt x="6781" y="3177"/>
                  </a:cubicBezTo>
                  <a:cubicBezTo>
                    <a:pt x="6782" y="3189"/>
                    <a:pt x="6782" y="3207"/>
                    <a:pt x="6774" y="3214"/>
                  </a:cubicBezTo>
                  <a:cubicBezTo>
                    <a:pt x="6766" y="3221"/>
                    <a:pt x="6762" y="3223"/>
                    <a:pt x="6758" y="3236"/>
                  </a:cubicBezTo>
                  <a:cubicBezTo>
                    <a:pt x="6754" y="3249"/>
                    <a:pt x="6752" y="3263"/>
                    <a:pt x="6742" y="3267"/>
                  </a:cubicBezTo>
                  <a:cubicBezTo>
                    <a:pt x="6732" y="3270"/>
                    <a:pt x="6729" y="3273"/>
                    <a:pt x="6728" y="3287"/>
                  </a:cubicBezTo>
                  <a:cubicBezTo>
                    <a:pt x="6728" y="3301"/>
                    <a:pt x="6724" y="3307"/>
                    <a:pt x="6708" y="3305"/>
                  </a:cubicBezTo>
                  <a:cubicBezTo>
                    <a:pt x="6692" y="3302"/>
                    <a:pt x="6677" y="3295"/>
                    <a:pt x="6667" y="3290"/>
                  </a:cubicBezTo>
                  <a:cubicBezTo>
                    <a:pt x="6657" y="3285"/>
                    <a:pt x="6647" y="3280"/>
                    <a:pt x="6641" y="3289"/>
                  </a:cubicBezTo>
                  <a:cubicBezTo>
                    <a:pt x="6635" y="3299"/>
                    <a:pt x="6631" y="3307"/>
                    <a:pt x="6620" y="3309"/>
                  </a:cubicBezTo>
                  <a:cubicBezTo>
                    <a:pt x="6608" y="3311"/>
                    <a:pt x="6592" y="3311"/>
                    <a:pt x="6591" y="3319"/>
                  </a:cubicBezTo>
                  <a:cubicBezTo>
                    <a:pt x="6590" y="3327"/>
                    <a:pt x="6594" y="3335"/>
                    <a:pt x="6600" y="3339"/>
                  </a:cubicBezTo>
                  <a:cubicBezTo>
                    <a:pt x="6605" y="3344"/>
                    <a:pt x="6600" y="3350"/>
                    <a:pt x="6605" y="3355"/>
                  </a:cubicBezTo>
                  <a:cubicBezTo>
                    <a:pt x="6610" y="3359"/>
                    <a:pt x="6612" y="3369"/>
                    <a:pt x="6611" y="3379"/>
                  </a:cubicBezTo>
                  <a:cubicBezTo>
                    <a:pt x="6610" y="3389"/>
                    <a:pt x="6608" y="3410"/>
                    <a:pt x="6611" y="3418"/>
                  </a:cubicBezTo>
                  <a:cubicBezTo>
                    <a:pt x="6614" y="3426"/>
                    <a:pt x="6612" y="3437"/>
                    <a:pt x="6611" y="3446"/>
                  </a:cubicBezTo>
                  <a:cubicBezTo>
                    <a:pt x="6610" y="3455"/>
                    <a:pt x="6606" y="3452"/>
                    <a:pt x="6600" y="3462"/>
                  </a:cubicBezTo>
                  <a:cubicBezTo>
                    <a:pt x="6595" y="3472"/>
                    <a:pt x="6592" y="3476"/>
                    <a:pt x="6581" y="3477"/>
                  </a:cubicBezTo>
                  <a:cubicBezTo>
                    <a:pt x="6570" y="3477"/>
                    <a:pt x="6570" y="3473"/>
                    <a:pt x="6568" y="3482"/>
                  </a:cubicBezTo>
                  <a:cubicBezTo>
                    <a:pt x="6567" y="3483"/>
                    <a:pt x="6567" y="3484"/>
                    <a:pt x="6567" y="3485"/>
                  </a:cubicBezTo>
                  <a:cubicBezTo>
                    <a:pt x="6567" y="3485"/>
                    <a:pt x="6567" y="3486"/>
                    <a:pt x="6566" y="3486"/>
                  </a:cubicBezTo>
                  <a:cubicBezTo>
                    <a:pt x="6566" y="3486"/>
                    <a:pt x="6566" y="3487"/>
                    <a:pt x="6565" y="3488"/>
                  </a:cubicBezTo>
                  <a:cubicBezTo>
                    <a:pt x="6565" y="3488"/>
                    <a:pt x="6565" y="3488"/>
                    <a:pt x="6565" y="3488"/>
                  </a:cubicBezTo>
                  <a:cubicBezTo>
                    <a:pt x="6564" y="3490"/>
                    <a:pt x="6562" y="3491"/>
                    <a:pt x="6561" y="3492"/>
                  </a:cubicBezTo>
                  <a:cubicBezTo>
                    <a:pt x="6561" y="3492"/>
                    <a:pt x="6561" y="3492"/>
                    <a:pt x="6561" y="3492"/>
                  </a:cubicBezTo>
                  <a:cubicBezTo>
                    <a:pt x="6561" y="3494"/>
                    <a:pt x="6562" y="3497"/>
                    <a:pt x="6564" y="3499"/>
                  </a:cubicBezTo>
                  <a:cubicBezTo>
                    <a:pt x="6567" y="3502"/>
                    <a:pt x="6569" y="3505"/>
                    <a:pt x="6571" y="3508"/>
                  </a:cubicBezTo>
                  <a:cubicBezTo>
                    <a:pt x="6583" y="3488"/>
                    <a:pt x="6617" y="3473"/>
                    <a:pt x="6641" y="3467"/>
                  </a:cubicBezTo>
                  <a:cubicBezTo>
                    <a:pt x="6665" y="3461"/>
                    <a:pt x="6679" y="3476"/>
                    <a:pt x="6709" y="3481"/>
                  </a:cubicBezTo>
                  <a:cubicBezTo>
                    <a:pt x="6740" y="3487"/>
                    <a:pt x="6758" y="3480"/>
                    <a:pt x="6783" y="3470"/>
                  </a:cubicBezTo>
                  <a:cubicBezTo>
                    <a:pt x="6807" y="3460"/>
                    <a:pt x="6844" y="3428"/>
                    <a:pt x="6861" y="3407"/>
                  </a:cubicBezTo>
                  <a:cubicBezTo>
                    <a:pt x="6879" y="3385"/>
                    <a:pt x="6922" y="3342"/>
                    <a:pt x="6955" y="3305"/>
                  </a:cubicBezTo>
                  <a:cubicBezTo>
                    <a:pt x="6988" y="3268"/>
                    <a:pt x="6986" y="3269"/>
                    <a:pt x="7019" y="3244"/>
                  </a:cubicBezTo>
                  <a:cubicBezTo>
                    <a:pt x="7052" y="3218"/>
                    <a:pt x="7063" y="3178"/>
                    <a:pt x="7074" y="3150"/>
                  </a:cubicBezTo>
                  <a:cubicBezTo>
                    <a:pt x="7084" y="3123"/>
                    <a:pt x="7104" y="3122"/>
                    <a:pt x="7125" y="3087"/>
                  </a:cubicBezTo>
                  <a:cubicBezTo>
                    <a:pt x="7147" y="3053"/>
                    <a:pt x="7154" y="3044"/>
                    <a:pt x="7168" y="3033"/>
                  </a:cubicBezTo>
                  <a:cubicBezTo>
                    <a:pt x="7182" y="3021"/>
                    <a:pt x="7187" y="2997"/>
                    <a:pt x="7188" y="2977"/>
                  </a:cubicBezTo>
                  <a:cubicBezTo>
                    <a:pt x="7190" y="2957"/>
                    <a:pt x="7191" y="2958"/>
                    <a:pt x="7201" y="2938"/>
                  </a:cubicBezTo>
                  <a:cubicBezTo>
                    <a:pt x="7211" y="2918"/>
                    <a:pt x="7204" y="2885"/>
                    <a:pt x="7198" y="2865"/>
                  </a:cubicBezTo>
                  <a:cubicBezTo>
                    <a:pt x="7192" y="2845"/>
                    <a:pt x="7198" y="2839"/>
                    <a:pt x="7207" y="2824"/>
                  </a:cubicBezTo>
                  <a:cubicBezTo>
                    <a:pt x="7215" y="2808"/>
                    <a:pt x="7220" y="2787"/>
                    <a:pt x="7227" y="2768"/>
                  </a:cubicBezTo>
                  <a:cubicBezTo>
                    <a:pt x="7234" y="2748"/>
                    <a:pt x="7246" y="2748"/>
                    <a:pt x="7251" y="2734"/>
                  </a:cubicBezTo>
                  <a:cubicBezTo>
                    <a:pt x="7257" y="2720"/>
                    <a:pt x="7251" y="2712"/>
                    <a:pt x="7243" y="2705"/>
                  </a:cubicBezTo>
                  <a:cubicBezTo>
                    <a:pt x="7236" y="2698"/>
                    <a:pt x="7243" y="2690"/>
                    <a:pt x="7246" y="2685"/>
                  </a:cubicBezTo>
                  <a:cubicBezTo>
                    <a:pt x="7248" y="2680"/>
                    <a:pt x="7248" y="2667"/>
                    <a:pt x="7235" y="2652"/>
                  </a:cubicBezTo>
                  <a:cubicBezTo>
                    <a:pt x="7223" y="2638"/>
                    <a:pt x="7242" y="2644"/>
                    <a:pt x="7253" y="2636"/>
                  </a:cubicBezTo>
                  <a:cubicBezTo>
                    <a:pt x="7263" y="2628"/>
                    <a:pt x="7251" y="2619"/>
                    <a:pt x="7236" y="2611"/>
                  </a:cubicBezTo>
                  <a:cubicBezTo>
                    <a:pt x="7222" y="2604"/>
                    <a:pt x="7221" y="2602"/>
                    <a:pt x="7205" y="2594"/>
                  </a:cubicBezTo>
                  <a:cubicBezTo>
                    <a:pt x="7190" y="2586"/>
                    <a:pt x="7185" y="2566"/>
                    <a:pt x="7177" y="2551"/>
                  </a:cubicBezTo>
                  <a:cubicBezTo>
                    <a:pt x="7170" y="2535"/>
                    <a:pt x="7159" y="2535"/>
                    <a:pt x="7150" y="2539"/>
                  </a:cubicBezTo>
                  <a:cubicBezTo>
                    <a:pt x="7142" y="2543"/>
                    <a:pt x="7122" y="2541"/>
                    <a:pt x="7107" y="2535"/>
                  </a:cubicBezTo>
                  <a:cubicBezTo>
                    <a:pt x="7092" y="2528"/>
                    <a:pt x="7087" y="2526"/>
                    <a:pt x="7085" y="2538"/>
                  </a:cubicBezTo>
                  <a:cubicBezTo>
                    <a:pt x="7083" y="2551"/>
                    <a:pt x="7080" y="2565"/>
                    <a:pt x="7069" y="2565"/>
                  </a:cubicBezTo>
                  <a:cubicBezTo>
                    <a:pt x="7057" y="2565"/>
                    <a:pt x="7046" y="2574"/>
                    <a:pt x="7039" y="2589"/>
                  </a:cubicBezTo>
                  <a:cubicBezTo>
                    <a:pt x="7032" y="2604"/>
                    <a:pt x="7015" y="2599"/>
                    <a:pt x="7005" y="2592"/>
                  </a:cubicBezTo>
                  <a:cubicBezTo>
                    <a:pt x="6995" y="2585"/>
                    <a:pt x="7014" y="2578"/>
                    <a:pt x="7023" y="2568"/>
                  </a:cubicBezTo>
                  <a:cubicBezTo>
                    <a:pt x="7033" y="2558"/>
                    <a:pt x="7013" y="2562"/>
                    <a:pt x="7007" y="2553"/>
                  </a:cubicBezTo>
                  <a:cubicBezTo>
                    <a:pt x="7001" y="2545"/>
                    <a:pt x="7023" y="2535"/>
                    <a:pt x="7029" y="2522"/>
                  </a:cubicBezTo>
                  <a:cubicBezTo>
                    <a:pt x="7036" y="2508"/>
                    <a:pt x="7013" y="2515"/>
                    <a:pt x="7010" y="2520"/>
                  </a:cubicBezTo>
                  <a:cubicBezTo>
                    <a:pt x="7007" y="2525"/>
                    <a:pt x="6998" y="2530"/>
                    <a:pt x="6987" y="2536"/>
                  </a:cubicBezTo>
                  <a:cubicBezTo>
                    <a:pt x="6976" y="2542"/>
                    <a:pt x="6986" y="2553"/>
                    <a:pt x="6985" y="2564"/>
                  </a:cubicBezTo>
                  <a:cubicBezTo>
                    <a:pt x="6985" y="2575"/>
                    <a:pt x="6978" y="2581"/>
                    <a:pt x="6965" y="2581"/>
                  </a:cubicBezTo>
                  <a:cubicBezTo>
                    <a:pt x="6952" y="2581"/>
                    <a:pt x="6957" y="2549"/>
                    <a:pt x="6957" y="2535"/>
                  </a:cubicBezTo>
                  <a:cubicBezTo>
                    <a:pt x="6957" y="2522"/>
                    <a:pt x="6971" y="2512"/>
                    <a:pt x="6967" y="2502"/>
                  </a:cubicBezTo>
                  <a:cubicBezTo>
                    <a:pt x="6964" y="2493"/>
                    <a:pt x="6937" y="2497"/>
                    <a:pt x="6927" y="2502"/>
                  </a:cubicBezTo>
                  <a:cubicBezTo>
                    <a:pt x="6918" y="2508"/>
                    <a:pt x="6907" y="2508"/>
                    <a:pt x="6894" y="2500"/>
                  </a:cubicBezTo>
                  <a:cubicBezTo>
                    <a:pt x="6882" y="2492"/>
                    <a:pt x="6868" y="2495"/>
                    <a:pt x="6864" y="2485"/>
                  </a:cubicBezTo>
                  <a:cubicBezTo>
                    <a:pt x="6861" y="2475"/>
                    <a:pt x="6879" y="2459"/>
                    <a:pt x="6897" y="2453"/>
                  </a:cubicBezTo>
                  <a:cubicBezTo>
                    <a:pt x="6916" y="2447"/>
                    <a:pt x="6922" y="2443"/>
                    <a:pt x="6932" y="2427"/>
                  </a:cubicBezTo>
                  <a:cubicBezTo>
                    <a:pt x="6942" y="2411"/>
                    <a:pt x="6946" y="2414"/>
                    <a:pt x="6972" y="2403"/>
                  </a:cubicBezTo>
                  <a:cubicBezTo>
                    <a:pt x="6999" y="2391"/>
                    <a:pt x="7019" y="2359"/>
                    <a:pt x="7043" y="2347"/>
                  </a:cubicBezTo>
                  <a:cubicBezTo>
                    <a:pt x="7068" y="2335"/>
                    <a:pt x="7048" y="2328"/>
                    <a:pt x="7058" y="2318"/>
                  </a:cubicBezTo>
                  <a:cubicBezTo>
                    <a:pt x="7068" y="2308"/>
                    <a:pt x="7081" y="2291"/>
                    <a:pt x="7099" y="2277"/>
                  </a:cubicBezTo>
                  <a:cubicBezTo>
                    <a:pt x="7118" y="2264"/>
                    <a:pt x="7129" y="2263"/>
                    <a:pt x="7144" y="2249"/>
                  </a:cubicBezTo>
                  <a:cubicBezTo>
                    <a:pt x="7160" y="2234"/>
                    <a:pt x="7167" y="2223"/>
                    <a:pt x="7186" y="2217"/>
                  </a:cubicBezTo>
                  <a:cubicBezTo>
                    <a:pt x="7205" y="2212"/>
                    <a:pt x="7201" y="2204"/>
                    <a:pt x="7212" y="2179"/>
                  </a:cubicBezTo>
                  <a:cubicBezTo>
                    <a:pt x="7223" y="2153"/>
                    <a:pt x="7232" y="2158"/>
                    <a:pt x="7254" y="2150"/>
                  </a:cubicBezTo>
                  <a:cubicBezTo>
                    <a:pt x="7276" y="2142"/>
                    <a:pt x="7271" y="2122"/>
                    <a:pt x="7288" y="2103"/>
                  </a:cubicBezTo>
                  <a:cubicBezTo>
                    <a:pt x="7305" y="2083"/>
                    <a:pt x="7321" y="2090"/>
                    <a:pt x="7347" y="2080"/>
                  </a:cubicBezTo>
                  <a:cubicBezTo>
                    <a:pt x="7373" y="2071"/>
                    <a:pt x="7377" y="2075"/>
                    <a:pt x="7404" y="2072"/>
                  </a:cubicBezTo>
                  <a:cubicBezTo>
                    <a:pt x="7431" y="2068"/>
                    <a:pt x="7443" y="2069"/>
                    <a:pt x="7466" y="2069"/>
                  </a:cubicBezTo>
                  <a:cubicBezTo>
                    <a:pt x="7489" y="2069"/>
                    <a:pt x="7506" y="2068"/>
                    <a:pt x="7523" y="2067"/>
                  </a:cubicBezTo>
                  <a:cubicBezTo>
                    <a:pt x="7539" y="2067"/>
                    <a:pt x="7536" y="2085"/>
                    <a:pt x="7551" y="2090"/>
                  </a:cubicBezTo>
                  <a:cubicBezTo>
                    <a:pt x="7565" y="2094"/>
                    <a:pt x="7564" y="2079"/>
                    <a:pt x="7573" y="2067"/>
                  </a:cubicBezTo>
                  <a:cubicBezTo>
                    <a:pt x="7582" y="2056"/>
                    <a:pt x="7600" y="2073"/>
                    <a:pt x="7609" y="2071"/>
                  </a:cubicBezTo>
                  <a:cubicBezTo>
                    <a:pt x="7618" y="2069"/>
                    <a:pt x="7627" y="2070"/>
                    <a:pt x="7639" y="2079"/>
                  </a:cubicBezTo>
                  <a:cubicBezTo>
                    <a:pt x="7651" y="2088"/>
                    <a:pt x="7665" y="2072"/>
                    <a:pt x="7673" y="2065"/>
                  </a:cubicBezTo>
                  <a:cubicBezTo>
                    <a:pt x="7680" y="2057"/>
                    <a:pt x="7685" y="2063"/>
                    <a:pt x="7693" y="2072"/>
                  </a:cubicBezTo>
                  <a:cubicBezTo>
                    <a:pt x="7702" y="2082"/>
                    <a:pt x="7710" y="2078"/>
                    <a:pt x="7719" y="2078"/>
                  </a:cubicBezTo>
                  <a:cubicBezTo>
                    <a:pt x="7729" y="2077"/>
                    <a:pt x="7726" y="2070"/>
                    <a:pt x="7726" y="2060"/>
                  </a:cubicBezTo>
                  <a:cubicBezTo>
                    <a:pt x="7726" y="2050"/>
                    <a:pt x="7739" y="2056"/>
                    <a:pt x="7743" y="2048"/>
                  </a:cubicBezTo>
                  <a:cubicBezTo>
                    <a:pt x="7746" y="2040"/>
                    <a:pt x="7763" y="2033"/>
                    <a:pt x="7779" y="2034"/>
                  </a:cubicBezTo>
                  <a:cubicBezTo>
                    <a:pt x="7796" y="2035"/>
                    <a:pt x="7814" y="2042"/>
                    <a:pt x="7831" y="2052"/>
                  </a:cubicBezTo>
                  <a:cubicBezTo>
                    <a:pt x="7848" y="2062"/>
                    <a:pt x="7848" y="2065"/>
                    <a:pt x="7859" y="2062"/>
                  </a:cubicBezTo>
                  <a:cubicBezTo>
                    <a:pt x="7870" y="2058"/>
                    <a:pt x="7875" y="2048"/>
                    <a:pt x="7894" y="2057"/>
                  </a:cubicBezTo>
                  <a:cubicBezTo>
                    <a:pt x="7913" y="2067"/>
                    <a:pt x="7904" y="2069"/>
                    <a:pt x="7922" y="2081"/>
                  </a:cubicBezTo>
                  <a:cubicBezTo>
                    <a:pt x="7940" y="2093"/>
                    <a:pt x="7911" y="2088"/>
                    <a:pt x="7893" y="2088"/>
                  </a:cubicBezTo>
                  <a:cubicBezTo>
                    <a:pt x="7876" y="2087"/>
                    <a:pt x="7870" y="2106"/>
                    <a:pt x="7883" y="2117"/>
                  </a:cubicBezTo>
                  <a:cubicBezTo>
                    <a:pt x="7895" y="2128"/>
                    <a:pt x="7902" y="2124"/>
                    <a:pt x="7913" y="2117"/>
                  </a:cubicBezTo>
                  <a:cubicBezTo>
                    <a:pt x="7925" y="2110"/>
                    <a:pt x="7931" y="2112"/>
                    <a:pt x="7937" y="2107"/>
                  </a:cubicBezTo>
                  <a:cubicBezTo>
                    <a:pt x="7944" y="2102"/>
                    <a:pt x="7958" y="2109"/>
                    <a:pt x="7969" y="2115"/>
                  </a:cubicBezTo>
                  <a:cubicBezTo>
                    <a:pt x="7979" y="2121"/>
                    <a:pt x="7982" y="2115"/>
                    <a:pt x="7989" y="2110"/>
                  </a:cubicBezTo>
                  <a:cubicBezTo>
                    <a:pt x="7997" y="2104"/>
                    <a:pt x="8010" y="2097"/>
                    <a:pt x="8015" y="2085"/>
                  </a:cubicBezTo>
                  <a:cubicBezTo>
                    <a:pt x="8020" y="2072"/>
                    <a:pt x="8047" y="2090"/>
                    <a:pt x="8055" y="2097"/>
                  </a:cubicBezTo>
                  <a:cubicBezTo>
                    <a:pt x="8063" y="2103"/>
                    <a:pt x="8070" y="2097"/>
                    <a:pt x="8072" y="2090"/>
                  </a:cubicBezTo>
                  <a:cubicBezTo>
                    <a:pt x="8074" y="2084"/>
                    <a:pt x="8090" y="2086"/>
                    <a:pt x="8104" y="2089"/>
                  </a:cubicBezTo>
                  <a:cubicBezTo>
                    <a:pt x="8118" y="2092"/>
                    <a:pt x="8120" y="2085"/>
                    <a:pt x="8131" y="2082"/>
                  </a:cubicBezTo>
                  <a:cubicBezTo>
                    <a:pt x="8141" y="2079"/>
                    <a:pt x="8133" y="2070"/>
                    <a:pt x="8128" y="2064"/>
                  </a:cubicBezTo>
                  <a:cubicBezTo>
                    <a:pt x="8122" y="2058"/>
                    <a:pt x="8114" y="2062"/>
                    <a:pt x="8100" y="2055"/>
                  </a:cubicBezTo>
                  <a:cubicBezTo>
                    <a:pt x="8085" y="2047"/>
                    <a:pt x="8087" y="2064"/>
                    <a:pt x="8080" y="2064"/>
                  </a:cubicBezTo>
                  <a:cubicBezTo>
                    <a:pt x="8073" y="2064"/>
                    <a:pt x="8072" y="2050"/>
                    <a:pt x="8071" y="2038"/>
                  </a:cubicBezTo>
                  <a:cubicBezTo>
                    <a:pt x="8070" y="2027"/>
                    <a:pt x="8071" y="2021"/>
                    <a:pt x="8078" y="2021"/>
                  </a:cubicBezTo>
                  <a:cubicBezTo>
                    <a:pt x="8084" y="2021"/>
                    <a:pt x="8090" y="2007"/>
                    <a:pt x="8095" y="1998"/>
                  </a:cubicBezTo>
                  <a:cubicBezTo>
                    <a:pt x="8099" y="1989"/>
                    <a:pt x="8114" y="1980"/>
                    <a:pt x="8131" y="1969"/>
                  </a:cubicBezTo>
                  <a:cubicBezTo>
                    <a:pt x="8149" y="1959"/>
                    <a:pt x="8159" y="1941"/>
                    <a:pt x="8181" y="1924"/>
                  </a:cubicBezTo>
                  <a:cubicBezTo>
                    <a:pt x="8204" y="1908"/>
                    <a:pt x="8231" y="1873"/>
                    <a:pt x="8251" y="1855"/>
                  </a:cubicBezTo>
                  <a:cubicBezTo>
                    <a:pt x="8271" y="1836"/>
                    <a:pt x="8293" y="1835"/>
                    <a:pt x="8308" y="1840"/>
                  </a:cubicBezTo>
                  <a:cubicBezTo>
                    <a:pt x="8322" y="1844"/>
                    <a:pt x="8326" y="1845"/>
                    <a:pt x="8336" y="1835"/>
                  </a:cubicBezTo>
                  <a:cubicBezTo>
                    <a:pt x="8345" y="1825"/>
                    <a:pt x="8370" y="1838"/>
                    <a:pt x="8373" y="1831"/>
                  </a:cubicBezTo>
                  <a:cubicBezTo>
                    <a:pt x="8376" y="1824"/>
                    <a:pt x="8382" y="1825"/>
                    <a:pt x="8390" y="1825"/>
                  </a:cubicBezTo>
                  <a:cubicBezTo>
                    <a:pt x="8398" y="1826"/>
                    <a:pt x="8402" y="1835"/>
                    <a:pt x="8408" y="1845"/>
                  </a:cubicBezTo>
                  <a:cubicBezTo>
                    <a:pt x="8414" y="1855"/>
                    <a:pt x="8432" y="1845"/>
                    <a:pt x="8437" y="1835"/>
                  </a:cubicBezTo>
                  <a:cubicBezTo>
                    <a:pt x="8442" y="1825"/>
                    <a:pt x="8451" y="1823"/>
                    <a:pt x="8459" y="1832"/>
                  </a:cubicBezTo>
                  <a:cubicBezTo>
                    <a:pt x="8467" y="1840"/>
                    <a:pt x="8455" y="1840"/>
                    <a:pt x="8452" y="1850"/>
                  </a:cubicBezTo>
                  <a:cubicBezTo>
                    <a:pt x="8450" y="1860"/>
                    <a:pt x="8446" y="1860"/>
                    <a:pt x="8434" y="1871"/>
                  </a:cubicBezTo>
                  <a:cubicBezTo>
                    <a:pt x="8422" y="1882"/>
                    <a:pt x="8422" y="1877"/>
                    <a:pt x="8426" y="1889"/>
                  </a:cubicBezTo>
                  <a:cubicBezTo>
                    <a:pt x="8429" y="1901"/>
                    <a:pt x="8434" y="1893"/>
                    <a:pt x="8434" y="1907"/>
                  </a:cubicBezTo>
                  <a:cubicBezTo>
                    <a:pt x="8434" y="1921"/>
                    <a:pt x="8439" y="1920"/>
                    <a:pt x="8446" y="1915"/>
                  </a:cubicBezTo>
                  <a:cubicBezTo>
                    <a:pt x="8453" y="1910"/>
                    <a:pt x="8457" y="1916"/>
                    <a:pt x="8457" y="1925"/>
                  </a:cubicBezTo>
                  <a:cubicBezTo>
                    <a:pt x="8458" y="1933"/>
                    <a:pt x="8448" y="1931"/>
                    <a:pt x="8445" y="1947"/>
                  </a:cubicBezTo>
                  <a:cubicBezTo>
                    <a:pt x="8441" y="1963"/>
                    <a:pt x="8466" y="1949"/>
                    <a:pt x="8479" y="1941"/>
                  </a:cubicBezTo>
                  <a:cubicBezTo>
                    <a:pt x="8492" y="1933"/>
                    <a:pt x="8513" y="1919"/>
                    <a:pt x="8531" y="1898"/>
                  </a:cubicBezTo>
                  <a:cubicBezTo>
                    <a:pt x="8548" y="1876"/>
                    <a:pt x="8572" y="1868"/>
                    <a:pt x="8592" y="1855"/>
                  </a:cubicBezTo>
                  <a:cubicBezTo>
                    <a:pt x="8612" y="1842"/>
                    <a:pt x="8612" y="1855"/>
                    <a:pt x="8624" y="1857"/>
                  </a:cubicBezTo>
                  <a:cubicBezTo>
                    <a:pt x="8637" y="1860"/>
                    <a:pt x="8638" y="1845"/>
                    <a:pt x="8634" y="1835"/>
                  </a:cubicBezTo>
                  <a:cubicBezTo>
                    <a:pt x="8631" y="1824"/>
                    <a:pt x="8634" y="1824"/>
                    <a:pt x="8634" y="1813"/>
                  </a:cubicBezTo>
                  <a:cubicBezTo>
                    <a:pt x="8634" y="1802"/>
                    <a:pt x="8634" y="1797"/>
                    <a:pt x="8637" y="1792"/>
                  </a:cubicBezTo>
                  <a:cubicBezTo>
                    <a:pt x="8641" y="1787"/>
                    <a:pt x="8651" y="1773"/>
                    <a:pt x="8656" y="1761"/>
                  </a:cubicBezTo>
                  <a:cubicBezTo>
                    <a:pt x="8661" y="1750"/>
                    <a:pt x="8682" y="1761"/>
                    <a:pt x="8686" y="1753"/>
                  </a:cubicBezTo>
                  <a:cubicBezTo>
                    <a:pt x="8690" y="1744"/>
                    <a:pt x="8705" y="1751"/>
                    <a:pt x="8721" y="1750"/>
                  </a:cubicBezTo>
                  <a:cubicBezTo>
                    <a:pt x="8737" y="1749"/>
                    <a:pt x="8746" y="1756"/>
                    <a:pt x="8746" y="1766"/>
                  </a:cubicBezTo>
                  <a:cubicBezTo>
                    <a:pt x="8746" y="1777"/>
                    <a:pt x="8722" y="1766"/>
                    <a:pt x="8713" y="1771"/>
                  </a:cubicBezTo>
                  <a:cubicBezTo>
                    <a:pt x="8703" y="1775"/>
                    <a:pt x="8700" y="1791"/>
                    <a:pt x="8699" y="1805"/>
                  </a:cubicBezTo>
                  <a:cubicBezTo>
                    <a:pt x="8697" y="1820"/>
                    <a:pt x="8702" y="1830"/>
                    <a:pt x="8690" y="1842"/>
                  </a:cubicBezTo>
                  <a:cubicBezTo>
                    <a:pt x="8677" y="1855"/>
                    <a:pt x="8680" y="1854"/>
                    <a:pt x="8678" y="1861"/>
                  </a:cubicBezTo>
                  <a:cubicBezTo>
                    <a:pt x="8677" y="1868"/>
                    <a:pt x="8690" y="1869"/>
                    <a:pt x="8692" y="1878"/>
                  </a:cubicBezTo>
                  <a:cubicBezTo>
                    <a:pt x="8694" y="1886"/>
                    <a:pt x="8692" y="1885"/>
                    <a:pt x="8680" y="1891"/>
                  </a:cubicBezTo>
                  <a:cubicBezTo>
                    <a:pt x="8667" y="1898"/>
                    <a:pt x="8667" y="1908"/>
                    <a:pt x="8667" y="1921"/>
                  </a:cubicBezTo>
                  <a:cubicBezTo>
                    <a:pt x="8666" y="1935"/>
                    <a:pt x="8649" y="1931"/>
                    <a:pt x="8630" y="1935"/>
                  </a:cubicBezTo>
                  <a:cubicBezTo>
                    <a:pt x="8611" y="1939"/>
                    <a:pt x="8602" y="1953"/>
                    <a:pt x="8589" y="1958"/>
                  </a:cubicBezTo>
                  <a:cubicBezTo>
                    <a:pt x="8575" y="1963"/>
                    <a:pt x="8562" y="1962"/>
                    <a:pt x="8558" y="1978"/>
                  </a:cubicBezTo>
                  <a:cubicBezTo>
                    <a:pt x="8555" y="1994"/>
                    <a:pt x="8553" y="1993"/>
                    <a:pt x="8538" y="2004"/>
                  </a:cubicBezTo>
                  <a:cubicBezTo>
                    <a:pt x="8522" y="2016"/>
                    <a:pt x="8513" y="2030"/>
                    <a:pt x="8499" y="2038"/>
                  </a:cubicBezTo>
                  <a:cubicBezTo>
                    <a:pt x="8485" y="2046"/>
                    <a:pt x="8470" y="2063"/>
                    <a:pt x="8452" y="2073"/>
                  </a:cubicBezTo>
                  <a:cubicBezTo>
                    <a:pt x="8435" y="2083"/>
                    <a:pt x="8437" y="2087"/>
                    <a:pt x="8424" y="2108"/>
                  </a:cubicBezTo>
                  <a:cubicBezTo>
                    <a:pt x="8412" y="2130"/>
                    <a:pt x="8404" y="2131"/>
                    <a:pt x="8385" y="2148"/>
                  </a:cubicBezTo>
                  <a:cubicBezTo>
                    <a:pt x="8366" y="2164"/>
                    <a:pt x="8364" y="2166"/>
                    <a:pt x="8343" y="2182"/>
                  </a:cubicBezTo>
                  <a:cubicBezTo>
                    <a:pt x="8321" y="2198"/>
                    <a:pt x="8315" y="2198"/>
                    <a:pt x="8304" y="2196"/>
                  </a:cubicBezTo>
                  <a:cubicBezTo>
                    <a:pt x="8293" y="2194"/>
                    <a:pt x="8291" y="2198"/>
                    <a:pt x="8283" y="2208"/>
                  </a:cubicBezTo>
                  <a:cubicBezTo>
                    <a:pt x="8275" y="2219"/>
                    <a:pt x="8272" y="2217"/>
                    <a:pt x="8258" y="2215"/>
                  </a:cubicBezTo>
                  <a:cubicBezTo>
                    <a:pt x="8244" y="2213"/>
                    <a:pt x="8247" y="2215"/>
                    <a:pt x="8238" y="2219"/>
                  </a:cubicBezTo>
                  <a:cubicBezTo>
                    <a:pt x="8228" y="2222"/>
                    <a:pt x="8237" y="2231"/>
                    <a:pt x="8243" y="2247"/>
                  </a:cubicBezTo>
                  <a:cubicBezTo>
                    <a:pt x="8248" y="2264"/>
                    <a:pt x="8230" y="2278"/>
                    <a:pt x="8222" y="2284"/>
                  </a:cubicBezTo>
                  <a:cubicBezTo>
                    <a:pt x="8214" y="2289"/>
                    <a:pt x="8197" y="2303"/>
                    <a:pt x="8185" y="2325"/>
                  </a:cubicBezTo>
                  <a:cubicBezTo>
                    <a:pt x="8174" y="2347"/>
                    <a:pt x="8164" y="2376"/>
                    <a:pt x="8164" y="2385"/>
                  </a:cubicBezTo>
                  <a:cubicBezTo>
                    <a:pt x="8164" y="2395"/>
                    <a:pt x="8158" y="2432"/>
                    <a:pt x="8157" y="2455"/>
                  </a:cubicBezTo>
                  <a:cubicBezTo>
                    <a:pt x="8156" y="2479"/>
                    <a:pt x="8179" y="2574"/>
                    <a:pt x="8184" y="2582"/>
                  </a:cubicBezTo>
                  <a:cubicBezTo>
                    <a:pt x="8189" y="2590"/>
                    <a:pt x="8181" y="2616"/>
                    <a:pt x="8187" y="2642"/>
                  </a:cubicBezTo>
                  <a:cubicBezTo>
                    <a:pt x="8192" y="2668"/>
                    <a:pt x="8198" y="2670"/>
                    <a:pt x="8205" y="2682"/>
                  </a:cubicBezTo>
                  <a:cubicBezTo>
                    <a:pt x="8212" y="2694"/>
                    <a:pt x="8205" y="2734"/>
                    <a:pt x="8212" y="2744"/>
                  </a:cubicBezTo>
                  <a:cubicBezTo>
                    <a:pt x="8219" y="2754"/>
                    <a:pt x="8213" y="2778"/>
                    <a:pt x="8218" y="2790"/>
                  </a:cubicBezTo>
                  <a:cubicBezTo>
                    <a:pt x="8224" y="2803"/>
                    <a:pt x="8227" y="2801"/>
                    <a:pt x="8227" y="2813"/>
                  </a:cubicBezTo>
                  <a:cubicBezTo>
                    <a:pt x="8227" y="2826"/>
                    <a:pt x="8260" y="2800"/>
                    <a:pt x="8266" y="2793"/>
                  </a:cubicBezTo>
                  <a:cubicBezTo>
                    <a:pt x="8272" y="2787"/>
                    <a:pt x="8283" y="2779"/>
                    <a:pt x="8304" y="2761"/>
                  </a:cubicBezTo>
                  <a:cubicBezTo>
                    <a:pt x="8324" y="2744"/>
                    <a:pt x="8330" y="2740"/>
                    <a:pt x="8339" y="2725"/>
                  </a:cubicBezTo>
                  <a:cubicBezTo>
                    <a:pt x="8348" y="2709"/>
                    <a:pt x="8349" y="2692"/>
                    <a:pt x="8351" y="2674"/>
                  </a:cubicBezTo>
                  <a:cubicBezTo>
                    <a:pt x="8353" y="2657"/>
                    <a:pt x="8362" y="2657"/>
                    <a:pt x="8370" y="2649"/>
                  </a:cubicBezTo>
                  <a:cubicBezTo>
                    <a:pt x="8377" y="2640"/>
                    <a:pt x="8393" y="2640"/>
                    <a:pt x="8400" y="2634"/>
                  </a:cubicBezTo>
                  <a:cubicBezTo>
                    <a:pt x="8407" y="2629"/>
                    <a:pt x="8419" y="2626"/>
                    <a:pt x="8430" y="2633"/>
                  </a:cubicBezTo>
                  <a:cubicBezTo>
                    <a:pt x="8440" y="2641"/>
                    <a:pt x="8441" y="2638"/>
                    <a:pt x="8446" y="2634"/>
                  </a:cubicBezTo>
                  <a:cubicBezTo>
                    <a:pt x="8450" y="2630"/>
                    <a:pt x="8442" y="2623"/>
                    <a:pt x="8440" y="2619"/>
                  </a:cubicBezTo>
                  <a:cubicBezTo>
                    <a:pt x="8438" y="2615"/>
                    <a:pt x="8441" y="2605"/>
                    <a:pt x="8435" y="2596"/>
                  </a:cubicBezTo>
                  <a:cubicBezTo>
                    <a:pt x="8430" y="2586"/>
                    <a:pt x="8432" y="2582"/>
                    <a:pt x="8432" y="2573"/>
                  </a:cubicBezTo>
                  <a:cubicBezTo>
                    <a:pt x="8433" y="2564"/>
                    <a:pt x="8437" y="2553"/>
                    <a:pt x="8445" y="2550"/>
                  </a:cubicBezTo>
                  <a:cubicBezTo>
                    <a:pt x="8453" y="2547"/>
                    <a:pt x="8462" y="2532"/>
                    <a:pt x="8470" y="2523"/>
                  </a:cubicBezTo>
                  <a:cubicBezTo>
                    <a:pt x="8478" y="2514"/>
                    <a:pt x="8510" y="2509"/>
                    <a:pt x="8527" y="2514"/>
                  </a:cubicBezTo>
                  <a:cubicBezTo>
                    <a:pt x="8544" y="2518"/>
                    <a:pt x="8555" y="2508"/>
                    <a:pt x="8567" y="2494"/>
                  </a:cubicBezTo>
                  <a:cubicBezTo>
                    <a:pt x="8580" y="2481"/>
                    <a:pt x="8570" y="2471"/>
                    <a:pt x="8560" y="2462"/>
                  </a:cubicBezTo>
                  <a:cubicBezTo>
                    <a:pt x="8550" y="2453"/>
                    <a:pt x="8552" y="2446"/>
                    <a:pt x="8549" y="2430"/>
                  </a:cubicBezTo>
                  <a:cubicBezTo>
                    <a:pt x="8546" y="2414"/>
                    <a:pt x="8551" y="2406"/>
                    <a:pt x="8560" y="2390"/>
                  </a:cubicBezTo>
                  <a:cubicBezTo>
                    <a:pt x="8568" y="2375"/>
                    <a:pt x="8585" y="2371"/>
                    <a:pt x="8590" y="2356"/>
                  </a:cubicBezTo>
                  <a:cubicBezTo>
                    <a:pt x="8596" y="2341"/>
                    <a:pt x="8606" y="2353"/>
                    <a:pt x="8616" y="2366"/>
                  </a:cubicBezTo>
                  <a:cubicBezTo>
                    <a:pt x="8626" y="2380"/>
                    <a:pt x="8631" y="2373"/>
                    <a:pt x="8641" y="2367"/>
                  </a:cubicBezTo>
                  <a:cubicBezTo>
                    <a:pt x="8651" y="2361"/>
                    <a:pt x="8653" y="2348"/>
                    <a:pt x="8651" y="2335"/>
                  </a:cubicBezTo>
                  <a:cubicBezTo>
                    <a:pt x="8650" y="2322"/>
                    <a:pt x="8639" y="2317"/>
                    <a:pt x="8628" y="2310"/>
                  </a:cubicBezTo>
                  <a:cubicBezTo>
                    <a:pt x="8616" y="2302"/>
                    <a:pt x="8618" y="2305"/>
                    <a:pt x="8616" y="2296"/>
                  </a:cubicBezTo>
                  <a:cubicBezTo>
                    <a:pt x="8614" y="2286"/>
                    <a:pt x="8616" y="2277"/>
                    <a:pt x="8618" y="2265"/>
                  </a:cubicBezTo>
                  <a:cubicBezTo>
                    <a:pt x="8620" y="2252"/>
                    <a:pt x="8621" y="2249"/>
                    <a:pt x="8628" y="2244"/>
                  </a:cubicBezTo>
                  <a:cubicBezTo>
                    <a:pt x="8635" y="2239"/>
                    <a:pt x="8643" y="2232"/>
                    <a:pt x="8646" y="2222"/>
                  </a:cubicBezTo>
                  <a:cubicBezTo>
                    <a:pt x="8648" y="2212"/>
                    <a:pt x="8634" y="2213"/>
                    <a:pt x="8629" y="2212"/>
                  </a:cubicBezTo>
                  <a:cubicBezTo>
                    <a:pt x="8624" y="2212"/>
                    <a:pt x="8622" y="2208"/>
                    <a:pt x="8621" y="2201"/>
                  </a:cubicBezTo>
                  <a:cubicBezTo>
                    <a:pt x="8620" y="2195"/>
                    <a:pt x="8603" y="2202"/>
                    <a:pt x="8601" y="2208"/>
                  </a:cubicBezTo>
                  <a:cubicBezTo>
                    <a:pt x="8599" y="2215"/>
                    <a:pt x="8599" y="2201"/>
                    <a:pt x="8586" y="2212"/>
                  </a:cubicBezTo>
                  <a:cubicBezTo>
                    <a:pt x="8574" y="2223"/>
                    <a:pt x="8567" y="2229"/>
                    <a:pt x="8561" y="2193"/>
                  </a:cubicBezTo>
                  <a:cubicBezTo>
                    <a:pt x="8554" y="2156"/>
                    <a:pt x="8599" y="2131"/>
                    <a:pt x="8621" y="2113"/>
                  </a:cubicBezTo>
                  <a:cubicBezTo>
                    <a:pt x="8642" y="2096"/>
                    <a:pt x="8647" y="2083"/>
                    <a:pt x="8647" y="2070"/>
                  </a:cubicBezTo>
                  <a:cubicBezTo>
                    <a:pt x="8647" y="2057"/>
                    <a:pt x="8657" y="2036"/>
                    <a:pt x="8668" y="2014"/>
                  </a:cubicBezTo>
                  <a:cubicBezTo>
                    <a:pt x="8679" y="1993"/>
                    <a:pt x="8705" y="2014"/>
                    <a:pt x="8711" y="2008"/>
                  </a:cubicBezTo>
                  <a:cubicBezTo>
                    <a:pt x="8718" y="2002"/>
                    <a:pt x="8730" y="2008"/>
                    <a:pt x="8739" y="2019"/>
                  </a:cubicBezTo>
                  <a:cubicBezTo>
                    <a:pt x="8748" y="2029"/>
                    <a:pt x="8765" y="2014"/>
                    <a:pt x="8771" y="2002"/>
                  </a:cubicBezTo>
                  <a:cubicBezTo>
                    <a:pt x="8778" y="1989"/>
                    <a:pt x="8801" y="1989"/>
                    <a:pt x="8810" y="1980"/>
                  </a:cubicBezTo>
                  <a:cubicBezTo>
                    <a:pt x="8819" y="1971"/>
                    <a:pt x="8832" y="1956"/>
                    <a:pt x="8836" y="1969"/>
                  </a:cubicBezTo>
                  <a:cubicBezTo>
                    <a:pt x="8840" y="1982"/>
                    <a:pt x="8829" y="1993"/>
                    <a:pt x="8829" y="2014"/>
                  </a:cubicBezTo>
                  <a:cubicBezTo>
                    <a:pt x="8829" y="2036"/>
                    <a:pt x="8862" y="2019"/>
                    <a:pt x="8875" y="1997"/>
                  </a:cubicBezTo>
                  <a:cubicBezTo>
                    <a:pt x="8887" y="1976"/>
                    <a:pt x="8898" y="1976"/>
                    <a:pt x="8913" y="1971"/>
                  </a:cubicBezTo>
                  <a:cubicBezTo>
                    <a:pt x="8928" y="1967"/>
                    <a:pt x="8941" y="1952"/>
                    <a:pt x="8965" y="1952"/>
                  </a:cubicBezTo>
                  <a:cubicBezTo>
                    <a:pt x="8988" y="1952"/>
                    <a:pt x="9019" y="1956"/>
                    <a:pt x="9027" y="1956"/>
                  </a:cubicBezTo>
                  <a:cubicBezTo>
                    <a:pt x="9036" y="1956"/>
                    <a:pt x="9051" y="1976"/>
                    <a:pt x="9059" y="1978"/>
                  </a:cubicBezTo>
                  <a:cubicBezTo>
                    <a:pt x="9068" y="1980"/>
                    <a:pt x="9077" y="1999"/>
                    <a:pt x="9087" y="2017"/>
                  </a:cubicBezTo>
                  <a:cubicBezTo>
                    <a:pt x="9098" y="2034"/>
                    <a:pt x="9109" y="1982"/>
                    <a:pt x="9120" y="1965"/>
                  </a:cubicBezTo>
                  <a:cubicBezTo>
                    <a:pt x="9130" y="1948"/>
                    <a:pt x="9158" y="1956"/>
                    <a:pt x="9178" y="1943"/>
                  </a:cubicBezTo>
                  <a:cubicBezTo>
                    <a:pt x="9197" y="1931"/>
                    <a:pt x="9210" y="1928"/>
                    <a:pt x="9214" y="1916"/>
                  </a:cubicBezTo>
                  <a:cubicBezTo>
                    <a:pt x="9219" y="1903"/>
                    <a:pt x="9238" y="1896"/>
                    <a:pt x="9253" y="1881"/>
                  </a:cubicBezTo>
                  <a:cubicBezTo>
                    <a:pt x="9268" y="1866"/>
                    <a:pt x="9274" y="1883"/>
                    <a:pt x="9287" y="1860"/>
                  </a:cubicBezTo>
                  <a:cubicBezTo>
                    <a:pt x="9300" y="1836"/>
                    <a:pt x="9315" y="1860"/>
                    <a:pt x="9326" y="1845"/>
                  </a:cubicBezTo>
                  <a:cubicBezTo>
                    <a:pt x="9337" y="1830"/>
                    <a:pt x="9358" y="1842"/>
                    <a:pt x="9367" y="1827"/>
                  </a:cubicBezTo>
                  <a:cubicBezTo>
                    <a:pt x="9375" y="1812"/>
                    <a:pt x="9391" y="1825"/>
                    <a:pt x="9393" y="1817"/>
                  </a:cubicBezTo>
                  <a:cubicBezTo>
                    <a:pt x="9395" y="1808"/>
                    <a:pt x="9425" y="1797"/>
                    <a:pt x="9444" y="1789"/>
                  </a:cubicBezTo>
                  <a:cubicBezTo>
                    <a:pt x="9464" y="1780"/>
                    <a:pt x="9479" y="1787"/>
                    <a:pt x="9485" y="1774"/>
                  </a:cubicBezTo>
                  <a:cubicBezTo>
                    <a:pt x="9492" y="1761"/>
                    <a:pt x="9502" y="1761"/>
                    <a:pt x="9517" y="1759"/>
                  </a:cubicBezTo>
                  <a:cubicBezTo>
                    <a:pt x="9532" y="1756"/>
                    <a:pt x="9524" y="1731"/>
                    <a:pt x="9524" y="1731"/>
                  </a:cubicBezTo>
                  <a:cubicBezTo>
                    <a:pt x="9524" y="1731"/>
                    <a:pt x="9537" y="1731"/>
                    <a:pt x="9545" y="1746"/>
                  </a:cubicBezTo>
                  <a:cubicBezTo>
                    <a:pt x="9554" y="1761"/>
                    <a:pt x="9563" y="1763"/>
                    <a:pt x="9575" y="1763"/>
                  </a:cubicBezTo>
                  <a:cubicBezTo>
                    <a:pt x="9588" y="1763"/>
                    <a:pt x="9603" y="1765"/>
                    <a:pt x="9621" y="1774"/>
                  </a:cubicBezTo>
                  <a:cubicBezTo>
                    <a:pt x="9638" y="1782"/>
                    <a:pt x="9659" y="1776"/>
                    <a:pt x="9664" y="1767"/>
                  </a:cubicBezTo>
                  <a:cubicBezTo>
                    <a:pt x="9668" y="1759"/>
                    <a:pt x="9687" y="1756"/>
                    <a:pt x="9689" y="1739"/>
                  </a:cubicBezTo>
                  <a:cubicBezTo>
                    <a:pt x="9692" y="1722"/>
                    <a:pt x="9670" y="1726"/>
                    <a:pt x="9670" y="1713"/>
                  </a:cubicBezTo>
                  <a:cubicBezTo>
                    <a:pt x="9670" y="1701"/>
                    <a:pt x="9664" y="1692"/>
                    <a:pt x="9657" y="1692"/>
                  </a:cubicBezTo>
                  <a:cubicBezTo>
                    <a:pt x="9651" y="1692"/>
                    <a:pt x="9640" y="1683"/>
                    <a:pt x="9636" y="1664"/>
                  </a:cubicBezTo>
                  <a:cubicBezTo>
                    <a:pt x="9631" y="1645"/>
                    <a:pt x="9638" y="1632"/>
                    <a:pt x="9631" y="1625"/>
                  </a:cubicBezTo>
                  <a:cubicBezTo>
                    <a:pt x="9625" y="1619"/>
                    <a:pt x="9623" y="1608"/>
                    <a:pt x="9616" y="1593"/>
                  </a:cubicBezTo>
                  <a:cubicBezTo>
                    <a:pt x="9610" y="1578"/>
                    <a:pt x="9597" y="1582"/>
                    <a:pt x="9588" y="1589"/>
                  </a:cubicBezTo>
                  <a:cubicBezTo>
                    <a:pt x="9580" y="1595"/>
                    <a:pt x="9569" y="1587"/>
                    <a:pt x="9560" y="1582"/>
                  </a:cubicBezTo>
                  <a:cubicBezTo>
                    <a:pt x="9552" y="1578"/>
                    <a:pt x="9547" y="1569"/>
                    <a:pt x="9543" y="1556"/>
                  </a:cubicBezTo>
                  <a:cubicBezTo>
                    <a:pt x="9539" y="1544"/>
                    <a:pt x="9530" y="1537"/>
                    <a:pt x="9530" y="1537"/>
                  </a:cubicBezTo>
                  <a:cubicBezTo>
                    <a:pt x="9530" y="1537"/>
                    <a:pt x="9511" y="1554"/>
                    <a:pt x="9498" y="1554"/>
                  </a:cubicBezTo>
                  <a:cubicBezTo>
                    <a:pt x="9485" y="1554"/>
                    <a:pt x="9477" y="1554"/>
                    <a:pt x="9477" y="1537"/>
                  </a:cubicBezTo>
                  <a:cubicBezTo>
                    <a:pt x="9477" y="1520"/>
                    <a:pt x="9492" y="1518"/>
                    <a:pt x="9502" y="1526"/>
                  </a:cubicBezTo>
                  <a:cubicBezTo>
                    <a:pt x="9513" y="1535"/>
                    <a:pt x="9528" y="1524"/>
                    <a:pt x="9532" y="1518"/>
                  </a:cubicBezTo>
                  <a:cubicBezTo>
                    <a:pt x="9537" y="1511"/>
                    <a:pt x="9550" y="1516"/>
                    <a:pt x="9556" y="1524"/>
                  </a:cubicBezTo>
                  <a:cubicBezTo>
                    <a:pt x="9563" y="1533"/>
                    <a:pt x="9582" y="1548"/>
                    <a:pt x="9608" y="1548"/>
                  </a:cubicBezTo>
                  <a:cubicBezTo>
                    <a:pt x="9633" y="1548"/>
                    <a:pt x="9653" y="1546"/>
                    <a:pt x="9666" y="1533"/>
                  </a:cubicBezTo>
                  <a:cubicBezTo>
                    <a:pt x="9679" y="1520"/>
                    <a:pt x="9696" y="1516"/>
                    <a:pt x="9719" y="1505"/>
                  </a:cubicBezTo>
                  <a:cubicBezTo>
                    <a:pt x="9743" y="1494"/>
                    <a:pt x="9735" y="1488"/>
                    <a:pt x="9735" y="1477"/>
                  </a:cubicBezTo>
                  <a:cubicBezTo>
                    <a:pt x="9735" y="1466"/>
                    <a:pt x="9743" y="1464"/>
                    <a:pt x="9745" y="1447"/>
                  </a:cubicBezTo>
                  <a:cubicBezTo>
                    <a:pt x="9747" y="1430"/>
                    <a:pt x="9728" y="1425"/>
                    <a:pt x="9722" y="1408"/>
                  </a:cubicBezTo>
                  <a:cubicBezTo>
                    <a:pt x="9715" y="1391"/>
                    <a:pt x="9743" y="1402"/>
                    <a:pt x="9750" y="1384"/>
                  </a:cubicBezTo>
                  <a:cubicBezTo>
                    <a:pt x="9756" y="1367"/>
                    <a:pt x="9760" y="1380"/>
                    <a:pt x="9775" y="1376"/>
                  </a:cubicBezTo>
                  <a:cubicBezTo>
                    <a:pt x="9790" y="1372"/>
                    <a:pt x="9816" y="1387"/>
                    <a:pt x="9788" y="1404"/>
                  </a:cubicBezTo>
                  <a:cubicBezTo>
                    <a:pt x="9760" y="1421"/>
                    <a:pt x="9799" y="1436"/>
                    <a:pt x="9797" y="1449"/>
                  </a:cubicBezTo>
                  <a:cubicBezTo>
                    <a:pt x="9795" y="1462"/>
                    <a:pt x="9814" y="1462"/>
                    <a:pt x="9836" y="1462"/>
                  </a:cubicBezTo>
                  <a:cubicBezTo>
                    <a:pt x="9857" y="1462"/>
                    <a:pt x="9879" y="1462"/>
                    <a:pt x="9898" y="1455"/>
                  </a:cubicBezTo>
                  <a:cubicBezTo>
                    <a:pt x="9917" y="1449"/>
                    <a:pt x="9941" y="1458"/>
                    <a:pt x="9958" y="1460"/>
                  </a:cubicBezTo>
                  <a:cubicBezTo>
                    <a:pt x="9975" y="1462"/>
                    <a:pt x="9982" y="1505"/>
                    <a:pt x="9990" y="1520"/>
                  </a:cubicBezTo>
                  <a:cubicBezTo>
                    <a:pt x="9999" y="1535"/>
                    <a:pt x="10020" y="1548"/>
                    <a:pt x="10053" y="1544"/>
                  </a:cubicBezTo>
                  <a:cubicBezTo>
                    <a:pt x="10085" y="1539"/>
                    <a:pt x="10079" y="1546"/>
                    <a:pt x="10087" y="1565"/>
                  </a:cubicBezTo>
                  <a:cubicBezTo>
                    <a:pt x="10096" y="1584"/>
                    <a:pt x="10102" y="1569"/>
                    <a:pt x="10122" y="1569"/>
                  </a:cubicBezTo>
                  <a:cubicBezTo>
                    <a:pt x="10141" y="1569"/>
                    <a:pt x="10149" y="1584"/>
                    <a:pt x="10160" y="1580"/>
                  </a:cubicBezTo>
                  <a:cubicBezTo>
                    <a:pt x="10171" y="1576"/>
                    <a:pt x="10197" y="1574"/>
                    <a:pt x="10197" y="1565"/>
                  </a:cubicBezTo>
                  <a:cubicBezTo>
                    <a:pt x="10197" y="1556"/>
                    <a:pt x="10190" y="1556"/>
                    <a:pt x="10171" y="1554"/>
                  </a:cubicBezTo>
                  <a:cubicBezTo>
                    <a:pt x="10152" y="1552"/>
                    <a:pt x="10158" y="1524"/>
                    <a:pt x="10180" y="1524"/>
                  </a:cubicBezTo>
                  <a:cubicBezTo>
                    <a:pt x="10201" y="1524"/>
                    <a:pt x="10186" y="1511"/>
                    <a:pt x="10208" y="1503"/>
                  </a:cubicBezTo>
                  <a:cubicBezTo>
                    <a:pt x="10229" y="1494"/>
                    <a:pt x="10214" y="1479"/>
                    <a:pt x="10201" y="1462"/>
                  </a:cubicBezTo>
                  <a:cubicBezTo>
                    <a:pt x="10188" y="1445"/>
                    <a:pt x="10231" y="1460"/>
                    <a:pt x="10261" y="1460"/>
                  </a:cubicBezTo>
                  <a:close/>
                  <a:moveTo>
                    <a:pt x="5242" y="2433"/>
                  </a:moveTo>
                  <a:cubicBezTo>
                    <a:pt x="5230" y="2441"/>
                    <a:pt x="5233" y="2464"/>
                    <a:pt x="5232" y="2473"/>
                  </a:cubicBezTo>
                  <a:cubicBezTo>
                    <a:pt x="5231" y="2482"/>
                    <a:pt x="5230" y="2493"/>
                    <a:pt x="5222" y="2499"/>
                  </a:cubicBezTo>
                  <a:cubicBezTo>
                    <a:pt x="5214" y="2505"/>
                    <a:pt x="5222" y="2526"/>
                    <a:pt x="5221" y="2549"/>
                  </a:cubicBezTo>
                  <a:cubicBezTo>
                    <a:pt x="5220" y="2572"/>
                    <a:pt x="5210" y="2562"/>
                    <a:pt x="5207" y="2574"/>
                  </a:cubicBezTo>
                  <a:cubicBezTo>
                    <a:pt x="5204" y="2586"/>
                    <a:pt x="5198" y="2581"/>
                    <a:pt x="5188" y="2574"/>
                  </a:cubicBezTo>
                  <a:cubicBezTo>
                    <a:pt x="5178" y="2567"/>
                    <a:pt x="5174" y="2583"/>
                    <a:pt x="5165" y="2592"/>
                  </a:cubicBezTo>
                  <a:cubicBezTo>
                    <a:pt x="5156" y="2601"/>
                    <a:pt x="5156" y="2603"/>
                    <a:pt x="5177" y="2601"/>
                  </a:cubicBezTo>
                  <a:cubicBezTo>
                    <a:pt x="5198" y="2599"/>
                    <a:pt x="5188" y="2609"/>
                    <a:pt x="5186" y="2613"/>
                  </a:cubicBezTo>
                  <a:cubicBezTo>
                    <a:pt x="5184" y="2617"/>
                    <a:pt x="5180" y="2623"/>
                    <a:pt x="5165" y="2624"/>
                  </a:cubicBezTo>
                  <a:cubicBezTo>
                    <a:pt x="5150" y="2625"/>
                    <a:pt x="5140" y="2644"/>
                    <a:pt x="5132" y="2656"/>
                  </a:cubicBezTo>
                  <a:cubicBezTo>
                    <a:pt x="5124" y="2668"/>
                    <a:pt x="5121" y="2668"/>
                    <a:pt x="5107" y="2667"/>
                  </a:cubicBezTo>
                  <a:cubicBezTo>
                    <a:pt x="5093" y="2666"/>
                    <a:pt x="5095" y="2674"/>
                    <a:pt x="5080" y="2680"/>
                  </a:cubicBezTo>
                  <a:cubicBezTo>
                    <a:pt x="5065" y="2686"/>
                    <a:pt x="5058" y="2686"/>
                    <a:pt x="5054" y="2694"/>
                  </a:cubicBezTo>
                  <a:cubicBezTo>
                    <a:pt x="5050" y="2702"/>
                    <a:pt x="5038" y="2702"/>
                    <a:pt x="5026" y="2701"/>
                  </a:cubicBezTo>
                  <a:cubicBezTo>
                    <a:pt x="5014" y="2700"/>
                    <a:pt x="5015" y="2705"/>
                    <a:pt x="5014" y="2718"/>
                  </a:cubicBezTo>
                  <a:cubicBezTo>
                    <a:pt x="5013" y="2731"/>
                    <a:pt x="5007" y="2729"/>
                    <a:pt x="4998" y="2745"/>
                  </a:cubicBezTo>
                  <a:cubicBezTo>
                    <a:pt x="4989" y="2761"/>
                    <a:pt x="4986" y="2758"/>
                    <a:pt x="4970" y="2758"/>
                  </a:cubicBezTo>
                  <a:cubicBezTo>
                    <a:pt x="4954" y="2758"/>
                    <a:pt x="4962" y="2768"/>
                    <a:pt x="4951" y="2768"/>
                  </a:cubicBezTo>
                  <a:cubicBezTo>
                    <a:pt x="4940" y="2768"/>
                    <a:pt x="4932" y="2772"/>
                    <a:pt x="4922" y="2780"/>
                  </a:cubicBezTo>
                  <a:cubicBezTo>
                    <a:pt x="4912" y="2788"/>
                    <a:pt x="4896" y="2780"/>
                    <a:pt x="4891" y="2775"/>
                  </a:cubicBezTo>
                  <a:cubicBezTo>
                    <a:pt x="4886" y="2770"/>
                    <a:pt x="4886" y="2775"/>
                    <a:pt x="4872" y="2771"/>
                  </a:cubicBezTo>
                  <a:cubicBezTo>
                    <a:pt x="4858" y="2767"/>
                    <a:pt x="4876" y="2760"/>
                    <a:pt x="4884" y="2753"/>
                  </a:cubicBezTo>
                  <a:cubicBezTo>
                    <a:pt x="4892" y="2746"/>
                    <a:pt x="4913" y="2748"/>
                    <a:pt x="4913" y="2748"/>
                  </a:cubicBezTo>
                  <a:cubicBezTo>
                    <a:pt x="4932" y="2748"/>
                    <a:pt x="4940" y="2746"/>
                    <a:pt x="4949" y="2741"/>
                  </a:cubicBezTo>
                  <a:cubicBezTo>
                    <a:pt x="4958" y="2736"/>
                    <a:pt x="4979" y="2724"/>
                    <a:pt x="4986" y="2708"/>
                  </a:cubicBezTo>
                  <a:cubicBezTo>
                    <a:pt x="4993" y="2692"/>
                    <a:pt x="5001" y="2687"/>
                    <a:pt x="5021" y="2681"/>
                  </a:cubicBezTo>
                  <a:cubicBezTo>
                    <a:pt x="5041" y="2675"/>
                    <a:pt x="5047" y="2658"/>
                    <a:pt x="5060" y="2645"/>
                  </a:cubicBezTo>
                  <a:cubicBezTo>
                    <a:pt x="5073" y="2632"/>
                    <a:pt x="5081" y="2651"/>
                    <a:pt x="5088" y="2640"/>
                  </a:cubicBezTo>
                  <a:cubicBezTo>
                    <a:pt x="5095" y="2629"/>
                    <a:pt x="5104" y="2634"/>
                    <a:pt x="5110" y="2627"/>
                  </a:cubicBezTo>
                  <a:cubicBezTo>
                    <a:pt x="5116" y="2620"/>
                    <a:pt x="5108" y="2610"/>
                    <a:pt x="5100" y="2616"/>
                  </a:cubicBezTo>
                  <a:cubicBezTo>
                    <a:pt x="5092" y="2622"/>
                    <a:pt x="5097" y="2625"/>
                    <a:pt x="5081" y="2626"/>
                  </a:cubicBezTo>
                  <a:cubicBezTo>
                    <a:pt x="5065" y="2627"/>
                    <a:pt x="5099" y="2606"/>
                    <a:pt x="5111" y="2597"/>
                  </a:cubicBezTo>
                  <a:cubicBezTo>
                    <a:pt x="5123" y="2588"/>
                    <a:pt x="5137" y="2568"/>
                    <a:pt x="5147" y="2553"/>
                  </a:cubicBezTo>
                  <a:cubicBezTo>
                    <a:pt x="5157" y="2538"/>
                    <a:pt x="5161" y="2532"/>
                    <a:pt x="5170" y="2518"/>
                  </a:cubicBezTo>
                  <a:cubicBezTo>
                    <a:pt x="5179" y="2504"/>
                    <a:pt x="5192" y="2473"/>
                    <a:pt x="5196" y="2465"/>
                  </a:cubicBezTo>
                  <a:cubicBezTo>
                    <a:pt x="5200" y="2457"/>
                    <a:pt x="5201" y="2440"/>
                    <a:pt x="5205" y="2427"/>
                  </a:cubicBezTo>
                  <a:cubicBezTo>
                    <a:pt x="5209" y="2414"/>
                    <a:pt x="5219" y="2403"/>
                    <a:pt x="5230" y="2402"/>
                  </a:cubicBezTo>
                  <a:cubicBezTo>
                    <a:pt x="5241" y="2401"/>
                    <a:pt x="5249" y="2406"/>
                    <a:pt x="5249" y="2413"/>
                  </a:cubicBezTo>
                  <a:cubicBezTo>
                    <a:pt x="5249" y="2420"/>
                    <a:pt x="5254" y="2425"/>
                    <a:pt x="5242" y="243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2" name="Freeform 542">
              <a:extLst>
                <a:ext uri="{FF2B5EF4-FFF2-40B4-BE49-F238E27FC236}">
                  <a16:creationId xmlns:a16="http://schemas.microsoft.com/office/drawing/2014/main" id="{91D82481-C7C0-D04B-80AE-0574E2673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7" y="1222"/>
              <a:ext cx="34" cy="23"/>
            </a:xfrm>
            <a:custGeom>
              <a:avLst/>
              <a:gdLst>
                <a:gd name="T0" fmla="*/ 85 w 134"/>
                <a:gd name="T1" fmla="*/ 13 h 93"/>
                <a:gd name="T2" fmla="*/ 56 w 134"/>
                <a:gd name="T3" fmla="*/ 2 h 93"/>
                <a:gd name="T4" fmla="*/ 33 w 134"/>
                <a:gd name="T5" fmla="*/ 12 h 93"/>
                <a:gd name="T6" fmla="*/ 3 w 134"/>
                <a:gd name="T7" fmla="*/ 45 h 93"/>
                <a:gd name="T8" fmla="*/ 9 w 134"/>
                <a:gd name="T9" fmla="*/ 80 h 93"/>
                <a:gd name="T10" fmla="*/ 36 w 134"/>
                <a:gd name="T11" fmla="*/ 92 h 93"/>
                <a:gd name="T12" fmla="*/ 69 w 134"/>
                <a:gd name="T13" fmla="*/ 87 h 93"/>
                <a:gd name="T14" fmla="*/ 89 w 134"/>
                <a:gd name="T15" fmla="*/ 77 h 93"/>
                <a:gd name="T16" fmla="*/ 113 w 134"/>
                <a:gd name="T17" fmla="*/ 55 h 93"/>
                <a:gd name="T18" fmla="*/ 129 w 134"/>
                <a:gd name="T19" fmla="*/ 49 h 93"/>
                <a:gd name="T20" fmla="*/ 114 w 134"/>
                <a:gd name="T21" fmla="*/ 34 h 93"/>
                <a:gd name="T22" fmla="*/ 85 w 134"/>
                <a:gd name="T23" fmla="*/ 1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4" h="93">
                  <a:moveTo>
                    <a:pt x="85" y="13"/>
                  </a:moveTo>
                  <a:cubicBezTo>
                    <a:pt x="72" y="10"/>
                    <a:pt x="64" y="0"/>
                    <a:pt x="56" y="2"/>
                  </a:cubicBezTo>
                  <a:cubicBezTo>
                    <a:pt x="48" y="4"/>
                    <a:pt x="43" y="12"/>
                    <a:pt x="33" y="12"/>
                  </a:cubicBezTo>
                  <a:cubicBezTo>
                    <a:pt x="23" y="12"/>
                    <a:pt x="2" y="32"/>
                    <a:pt x="3" y="45"/>
                  </a:cubicBezTo>
                  <a:cubicBezTo>
                    <a:pt x="3" y="45"/>
                    <a:pt x="0" y="77"/>
                    <a:pt x="9" y="80"/>
                  </a:cubicBezTo>
                  <a:cubicBezTo>
                    <a:pt x="18" y="83"/>
                    <a:pt x="23" y="91"/>
                    <a:pt x="36" y="92"/>
                  </a:cubicBezTo>
                  <a:cubicBezTo>
                    <a:pt x="49" y="93"/>
                    <a:pt x="59" y="87"/>
                    <a:pt x="69" y="87"/>
                  </a:cubicBezTo>
                  <a:cubicBezTo>
                    <a:pt x="79" y="87"/>
                    <a:pt x="77" y="83"/>
                    <a:pt x="89" y="77"/>
                  </a:cubicBezTo>
                  <a:cubicBezTo>
                    <a:pt x="101" y="71"/>
                    <a:pt x="99" y="55"/>
                    <a:pt x="113" y="55"/>
                  </a:cubicBezTo>
                  <a:cubicBezTo>
                    <a:pt x="127" y="55"/>
                    <a:pt x="127" y="56"/>
                    <a:pt x="129" y="49"/>
                  </a:cubicBezTo>
                  <a:cubicBezTo>
                    <a:pt x="131" y="42"/>
                    <a:pt x="134" y="41"/>
                    <a:pt x="114" y="34"/>
                  </a:cubicBezTo>
                  <a:cubicBezTo>
                    <a:pt x="94" y="27"/>
                    <a:pt x="98" y="16"/>
                    <a:pt x="85" y="1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3" name="Freeform 543">
              <a:extLst>
                <a:ext uri="{FF2B5EF4-FFF2-40B4-BE49-F238E27FC236}">
                  <a16:creationId xmlns:a16="http://schemas.microsoft.com/office/drawing/2014/main" id="{D832EAB7-2D3D-5C4E-A5D9-D9DF260D0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5" y="1195"/>
              <a:ext cx="31" cy="24"/>
            </a:xfrm>
            <a:custGeom>
              <a:avLst/>
              <a:gdLst>
                <a:gd name="T0" fmla="*/ 12 w 124"/>
                <a:gd name="T1" fmla="*/ 59 h 93"/>
                <a:gd name="T2" fmla="*/ 33 w 124"/>
                <a:gd name="T3" fmla="*/ 74 h 93"/>
                <a:gd name="T4" fmla="*/ 60 w 124"/>
                <a:gd name="T5" fmla="*/ 81 h 93"/>
                <a:gd name="T6" fmla="*/ 83 w 124"/>
                <a:gd name="T7" fmla="*/ 93 h 93"/>
                <a:gd name="T8" fmla="*/ 113 w 124"/>
                <a:gd name="T9" fmla="*/ 86 h 93"/>
                <a:gd name="T10" fmla="*/ 109 w 124"/>
                <a:gd name="T11" fmla="*/ 59 h 93"/>
                <a:gd name="T12" fmla="*/ 51 w 124"/>
                <a:gd name="T13" fmla="*/ 23 h 93"/>
                <a:gd name="T14" fmla="*/ 24 w 124"/>
                <a:gd name="T15" fmla="*/ 4 h 93"/>
                <a:gd name="T16" fmla="*/ 3 w 124"/>
                <a:gd name="T17" fmla="*/ 19 h 93"/>
                <a:gd name="T18" fmla="*/ 7 w 124"/>
                <a:gd name="T19" fmla="*/ 33 h 93"/>
                <a:gd name="T20" fmla="*/ 12 w 124"/>
                <a:gd name="T21" fmla="*/ 5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" h="93">
                  <a:moveTo>
                    <a:pt x="12" y="59"/>
                  </a:moveTo>
                  <a:cubicBezTo>
                    <a:pt x="22" y="65"/>
                    <a:pt x="18" y="74"/>
                    <a:pt x="33" y="74"/>
                  </a:cubicBezTo>
                  <a:cubicBezTo>
                    <a:pt x="48" y="74"/>
                    <a:pt x="56" y="71"/>
                    <a:pt x="60" y="81"/>
                  </a:cubicBezTo>
                  <a:cubicBezTo>
                    <a:pt x="64" y="91"/>
                    <a:pt x="73" y="93"/>
                    <a:pt x="83" y="93"/>
                  </a:cubicBezTo>
                  <a:cubicBezTo>
                    <a:pt x="93" y="93"/>
                    <a:pt x="112" y="92"/>
                    <a:pt x="113" y="86"/>
                  </a:cubicBezTo>
                  <a:cubicBezTo>
                    <a:pt x="114" y="80"/>
                    <a:pt x="124" y="65"/>
                    <a:pt x="109" y="59"/>
                  </a:cubicBezTo>
                  <a:cubicBezTo>
                    <a:pt x="94" y="53"/>
                    <a:pt x="58" y="33"/>
                    <a:pt x="51" y="23"/>
                  </a:cubicBezTo>
                  <a:cubicBezTo>
                    <a:pt x="51" y="23"/>
                    <a:pt x="33" y="0"/>
                    <a:pt x="24" y="4"/>
                  </a:cubicBezTo>
                  <a:cubicBezTo>
                    <a:pt x="15" y="8"/>
                    <a:pt x="0" y="13"/>
                    <a:pt x="3" y="19"/>
                  </a:cubicBezTo>
                  <a:cubicBezTo>
                    <a:pt x="6" y="25"/>
                    <a:pt x="9" y="23"/>
                    <a:pt x="7" y="33"/>
                  </a:cubicBezTo>
                  <a:cubicBezTo>
                    <a:pt x="5" y="43"/>
                    <a:pt x="2" y="53"/>
                    <a:pt x="12" y="5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4" name="Freeform 544">
              <a:extLst>
                <a:ext uri="{FF2B5EF4-FFF2-40B4-BE49-F238E27FC236}">
                  <a16:creationId xmlns:a16="http://schemas.microsoft.com/office/drawing/2014/main" id="{8F41785A-A9A8-904E-8948-12CC31D85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" y="989"/>
              <a:ext cx="282" cy="205"/>
            </a:xfrm>
            <a:custGeom>
              <a:avLst/>
              <a:gdLst>
                <a:gd name="T0" fmla="*/ 2 w 1113"/>
                <a:gd name="T1" fmla="*/ 660 h 808"/>
                <a:gd name="T2" fmla="*/ 50 w 1113"/>
                <a:gd name="T3" fmla="*/ 696 h 808"/>
                <a:gd name="T4" fmla="*/ 98 w 1113"/>
                <a:gd name="T5" fmla="*/ 710 h 808"/>
                <a:gd name="T6" fmla="*/ 143 w 1113"/>
                <a:gd name="T7" fmla="*/ 717 h 808"/>
                <a:gd name="T8" fmla="*/ 154 w 1113"/>
                <a:gd name="T9" fmla="*/ 748 h 808"/>
                <a:gd name="T10" fmla="*/ 126 w 1113"/>
                <a:gd name="T11" fmla="*/ 779 h 808"/>
                <a:gd name="T12" fmla="*/ 221 w 1113"/>
                <a:gd name="T13" fmla="*/ 797 h 808"/>
                <a:gd name="T14" fmla="*/ 269 w 1113"/>
                <a:gd name="T15" fmla="*/ 793 h 808"/>
                <a:gd name="T16" fmla="*/ 322 w 1113"/>
                <a:gd name="T17" fmla="*/ 789 h 808"/>
                <a:gd name="T18" fmla="*/ 381 w 1113"/>
                <a:gd name="T19" fmla="*/ 777 h 808"/>
                <a:gd name="T20" fmla="*/ 261 w 1113"/>
                <a:gd name="T21" fmla="*/ 624 h 808"/>
                <a:gd name="T22" fmla="*/ 254 w 1113"/>
                <a:gd name="T23" fmla="*/ 578 h 808"/>
                <a:gd name="T24" fmla="*/ 249 w 1113"/>
                <a:gd name="T25" fmla="*/ 540 h 808"/>
                <a:gd name="T26" fmla="*/ 292 w 1113"/>
                <a:gd name="T27" fmla="*/ 511 h 808"/>
                <a:gd name="T28" fmla="*/ 375 w 1113"/>
                <a:gd name="T29" fmla="*/ 464 h 808"/>
                <a:gd name="T30" fmla="*/ 416 w 1113"/>
                <a:gd name="T31" fmla="*/ 416 h 808"/>
                <a:gd name="T32" fmla="*/ 465 w 1113"/>
                <a:gd name="T33" fmla="*/ 347 h 808"/>
                <a:gd name="T34" fmla="*/ 520 w 1113"/>
                <a:gd name="T35" fmla="*/ 313 h 808"/>
                <a:gd name="T36" fmla="*/ 581 w 1113"/>
                <a:gd name="T37" fmla="*/ 278 h 808"/>
                <a:gd name="T38" fmla="*/ 663 w 1113"/>
                <a:gd name="T39" fmla="*/ 224 h 808"/>
                <a:gd name="T40" fmla="*/ 763 w 1113"/>
                <a:gd name="T41" fmla="*/ 189 h 808"/>
                <a:gd name="T42" fmla="*/ 821 w 1113"/>
                <a:gd name="T43" fmla="*/ 176 h 808"/>
                <a:gd name="T44" fmla="*/ 991 w 1113"/>
                <a:gd name="T45" fmla="*/ 128 h 808"/>
                <a:gd name="T46" fmla="*/ 1113 w 1113"/>
                <a:gd name="T47" fmla="*/ 46 h 808"/>
                <a:gd name="T48" fmla="*/ 1020 w 1113"/>
                <a:gd name="T49" fmla="*/ 2 h 808"/>
                <a:gd name="T50" fmla="*/ 922 w 1113"/>
                <a:gd name="T51" fmla="*/ 44 h 808"/>
                <a:gd name="T52" fmla="*/ 869 w 1113"/>
                <a:gd name="T53" fmla="*/ 75 h 808"/>
                <a:gd name="T54" fmla="*/ 757 w 1113"/>
                <a:gd name="T55" fmla="*/ 105 h 808"/>
                <a:gd name="T56" fmla="*/ 646 w 1113"/>
                <a:gd name="T57" fmla="*/ 97 h 808"/>
                <a:gd name="T58" fmla="*/ 561 w 1113"/>
                <a:gd name="T59" fmla="*/ 131 h 808"/>
                <a:gd name="T60" fmla="*/ 502 w 1113"/>
                <a:gd name="T61" fmla="*/ 149 h 808"/>
                <a:gd name="T62" fmla="*/ 450 w 1113"/>
                <a:gd name="T63" fmla="*/ 177 h 808"/>
                <a:gd name="T64" fmla="*/ 382 w 1113"/>
                <a:gd name="T65" fmla="*/ 217 h 808"/>
                <a:gd name="T66" fmla="*/ 301 w 1113"/>
                <a:gd name="T67" fmla="*/ 239 h 808"/>
                <a:gd name="T68" fmla="*/ 293 w 1113"/>
                <a:gd name="T69" fmla="*/ 289 h 808"/>
                <a:gd name="T70" fmla="*/ 258 w 1113"/>
                <a:gd name="T71" fmla="*/ 341 h 808"/>
                <a:gd name="T72" fmla="*/ 223 w 1113"/>
                <a:gd name="T73" fmla="*/ 377 h 808"/>
                <a:gd name="T74" fmla="*/ 153 w 1113"/>
                <a:gd name="T75" fmla="*/ 420 h 808"/>
                <a:gd name="T76" fmla="*/ 220 w 1113"/>
                <a:gd name="T77" fmla="*/ 430 h 808"/>
                <a:gd name="T78" fmla="*/ 194 w 1113"/>
                <a:gd name="T79" fmla="*/ 458 h 808"/>
                <a:gd name="T80" fmla="*/ 133 w 1113"/>
                <a:gd name="T81" fmla="*/ 490 h 808"/>
                <a:gd name="T82" fmla="*/ 112 w 1113"/>
                <a:gd name="T83" fmla="*/ 524 h 808"/>
                <a:gd name="T84" fmla="*/ 108 w 1113"/>
                <a:gd name="T85" fmla="*/ 563 h 808"/>
                <a:gd name="T86" fmla="*/ 70 w 1113"/>
                <a:gd name="T87" fmla="*/ 610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13" h="808">
                  <a:moveTo>
                    <a:pt x="17" y="630"/>
                  </a:moveTo>
                  <a:cubicBezTo>
                    <a:pt x="13" y="636"/>
                    <a:pt x="18" y="640"/>
                    <a:pt x="9" y="645"/>
                  </a:cubicBezTo>
                  <a:cubicBezTo>
                    <a:pt x="0" y="650"/>
                    <a:pt x="2" y="653"/>
                    <a:pt x="2" y="660"/>
                  </a:cubicBezTo>
                  <a:cubicBezTo>
                    <a:pt x="2" y="667"/>
                    <a:pt x="12" y="666"/>
                    <a:pt x="12" y="676"/>
                  </a:cubicBezTo>
                  <a:cubicBezTo>
                    <a:pt x="12" y="686"/>
                    <a:pt x="19" y="697"/>
                    <a:pt x="31" y="699"/>
                  </a:cubicBezTo>
                  <a:cubicBezTo>
                    <a:pt x="43" y="701"/>
                    <a:pt x="47" y="702"/>
                    <a:pt x="50" y="696"/>
                  </a:cubicBezTo>
                  <a:cubicBezTo>
                    <a:pt x="53" y="690"/>
                    <a:pt x="61" y="690"/>
                    <a:pt x="67" y="690"/>
                  </a:cubicBezTo>
                  <a:cubicBezTo>
                    <a:pt x="73" y="690"/>
                    <a:pt x="84" y="688"/>
                    <a:pt x="86" y="694"/>
                  </a:cubicBezTo>
                  <a:cubicBezTo>
                    <a:pt x="88" y="700"/>
                    <a:pt x="90" y="710"/>
                    <a:pt x="98" y="710"/>
                  </a:cubicBezTo>
                  <a:cubicBezTo>
                    <a:pt x="106" y="710"/>
                    <a:pt x="105" y="698"/>
                    <a:pt x="115" y="698"/>
                  </a:cubicBezTo>
                  <a:cubicBezTo>
                    <a:pt x="125" y="698"/>
                    <a:pt x="131" y="700"/>
                    <a:pt x="131" y="706"/>
                  </a:cubicBezTo>
                  <a:cubicBezTo>
                    <a:pt x="131" y="712"/>
                    <a:pt x="135" y="717"/>
                    <a:pt x="143" y="717"/>
                  </a:cubicBezTo>
                  <a:cubicBezTo>
                    <a:pt x="151" y="717"/>
                    <a:pt x="135" y="729"/>
                    <a:pt x="153" y="731"/>
                  </a:cubicBezTo>
                  <a:cubicBezTo>
                    <a:pt x="171" y="733"/>
                    <a:pt x="174" y="735"/>
                    <a:pt x="172" y="740"/>
                  </a:cubicBezTo>
                  <a:cubicBezTo>
                    <a:pt x="170" y="745"/>
                    <a:pt x="154" y="743"/>
                    <a:pt x="154" y="748"/>
                  </a:cubicBezTo>
                  <a:cubicBezTo>
                    <a:pt x="154" y="753"/>
                    <a:pt x="145" y="750"/>
                    <a:pt x="145" y="760"/>
                  </a:cubicBezTo>
                  <a:cubicBezTo>
                    <a:pt x="145" y="770"/>
                    <a:pt x="134" y="768"/>
                    <a:pt x="122" y="769"/>
                  </a:cubicBezTo>
                  <a:cubicBezTo>
                    <a:pt x="110" y="770"/>
                    <a:pt x="107" y="780"/>
                    <a:pt x="126" y="779"/>
                  </a:cubicBezTo>
                  <a:cubicBezTo>
                    <a:pt x="145" y="778"/>
                    <a:pt x="155" y="777"/>
                    <a:pt x="158" y="780"/>
                  </a:cubicBezTo>
                  <a:cubicBezTo>
                    <a:pt x="161" y="783"/>
                    <a:pt x="171" y="784"/>
                    <a:pt x="181" y="784"/>
                  </a:cubicBezTo>
                  <a:cubicBezTo>
                    <a:pt x="191" y="784"/>
                    <a:pt x="217" y="790"/>
                    <a:pt x="221" y="797"/>
                  </a:cubicBezTo>
                  <a:cubicBezTo>
                    <a:pt x="225" y="804"/>
                    <a:pt x="248" y="808"/>
                    <a:pt x="250" y="801"/>
                  </a:cubicBezTo>
                  <a:cubicBezTo>
                    <a:pt x="252" y="794"/>
                    <a:pt x="254" y="791"/>
                    <a:pt x="258" y="791"/>
                  </a:cubicBezTo>
                  <a:cubicBezTo>
                    <a:pt x="262" y="791"/>
                    <a:pt x="267" y="785"/>
                    <a:pt x="269" y="793"/>
                  </a:cubicBezTo>
                  <a:cubicBezTo>
                    <a:pt x="271" y="801"/>
                    <a:pt x="273" y="799"/>
                    <a:pt x="288" y="799"/>
                  </a:cubicBezTo>
                  <a:cubicBezTo>
                    <a:pt x="303" y="799"/>
                    <a:pt x="312" y="804"/>
                    <a:pt x="312" y="797"/>
                  </a:cubicBezTo>
                  <a:cubicBezTo>
                    <a:pt x="312" y="790"/>
                    <a:pt x="317" y="786"/>
                    <a:pt x="322" y="789"/>
                  </a:cubicBezTo>
                  <a:cubicBezTo>
                    <a:pt x="327" y="792"/>
                    <a:pt x="328" y="800"/>
                    <a:pt x="339" y="800"/>
                  </a:cubicBezTo>
                  <a:cubicBezTo>
                    <a:pt x="350" y="800"/>
                    <a:pt x="387" y="797"/>
                    <a:pt x="391" y="796"/>
                  </a:cubicBezTo>
                  <a:cubicBezTo>
                    <a:pt x="395" y="795"/>
                    <a:pt x="411" y="786"/>
                    <a:pt x="381" y="777"/>
                  </a:cubicBezTo>
                  <a:cubicBezTo>
                    <a:pt x="351" y="768"/>
                    <a:pt x="317" y="741"/>
                    <a:pt x="307" y="726"/>
                  </a:cubicBezTo>
                  <a:cubicBezTo>
                    <a:pt x="297" y="711"/>
                    <a:pt x="265" y="672"/>
                    <a:pt x="265" y="659"/>
                  </a:cubicBezTo>
                  <a:cubicBezTo>
                    <a:pt x="265" y="646"/>
                    <a:pt x="256" y="627"/>
                    <a:pt x="261" y="624"/>
                  </a:cubicBezTo>
                  <a:cubicBezTo>
                    <a:pt x="266" y="621"/>
                    <a:pt x="274" y="610"/>
                    <a:pt x="270" y="605"/>
                  </a:cubicBezTo>
                  <a:cubicBezTo>
                    <a:pt x="266" y="600"/>
                    <a:pt x="261" y="587"/>
                    <a:pt x="248" y="587"/>
                  </a:cubicBezTo>
                  <a:cubicBezTo>
                    <a:pt x="235" y="587"/>
                    <a:pt x="244" y="579"/>
                    <a:pt x="254" y="578"/>
                  </a:cubicBezTo>
                  <a:cubicBezTo>
                    <a:pt x="264" y="577"/>
                    <a:pt x="268" y="576"/>
                    <a:pt x="266" y="567"/>
                  </a:cubicBezTo>
                  <a:cubicBezTo>
                    <a:pt x="264" y="558"/>
                    <a:pt x="284" y="564"/>
                    <a:pt x="278" y="553"/>
                  </a:cubicBezTo>
                  <a:cubicBezTo>
                    <a:pt x="272" y="542"/>
                    <a:pt x="246" y="551"/>
                    <a:pt x="249" y="540"/>
                  </a:cubicBezTo>
                  <a:cubicBezTo>
                    <a:pt x="252" y="529"/>
                    <a:pt x="269" y="538"/>
                    <a:pt x="281" y="538"/>
                  </a:cubicBezTo>
                  <a:cubicBezTo>
                    <a:pt x="293" y="538"/>
                    <a:pt x="307" y="540"/>
                    <a:pt x="307" y="532"/>
                  </a:cubicBezTo>
                  <a:cubicBezTo>
                    <a:pt x="307" y="524"/>
                    <a:pt x="284" y="517"/>
                    <a:pt x="292" y="511"/>
                  </a:cubicBezTo>
                  <a:cubicBezTo>
                    <a:pt x="300" y="505"/>
                    <a:pt x="325" y="516"/>
                    <a:pt x="326" y="504"/>
                  </a:cubicBezTo>
                  <a:cubicBezTo>
                    <a:pt x="327" y="492"/>
                    <a:pt x="341" y="475"/>
                    <a:pt x="354" y="475"/>
                  </a:cubicBezTo>
                  <a:cubicBezTo>
                    <a:pt x="367" y="475"/>
                    <a:pt x="375" y="470"/>
                    <a:pt x="375" y="464"/>
                  </a:cubicBezTo>
                  <a:cubicBezTo>
                    <a:pt x="375" y="458"/>
                    <a:pt x="355" y="447"/>
                    <a:pt x="372" y="445"/>
                  </a:cubicBezTo>
                  <a:cubicBezTo>
                    <a:pt x="389" y="443"/>
                    <a:pt x="403" y="445"/>
                    <a:pt x="400" y="432"/>
                  </a:cubicBezTo>
                  <a:cubicBezTo>
                    <a:pt x="397" y="419"/>
                    <a:pt x="416" y="428"/>
                    <a:pt x="416" y="416"/>
                  </a:cubicBezTo>
                  <a:cubicBezTo>
                    <a:pt x="416" y="404"/>
                    <a:pt x="406" y="391"/>
                    <a:pt x="419" y="389"/>
                  </a:cubicBezTo>
                  <a:cubicBezTo>
                    <a:pt x="432" y="387"/>
                    <a:pt x="455" y="385"/>
                    <a:pt x="458" y="372"/>
                  </a:cubicBezTo>
                  <a:cubicBezTo>
                    <a:pt x="461" y="359"/>
                    <a:pt x="474" y="357"/>
                    <a:pt x="465" y="347"/>
                  </a:cubicBezTo>
                  <a:cubicBezTo>
                    <a:pt x="456" y="337"/>
                    <a:pt x="468" y="328"/>
                    <a:pt x="488" y="333"/>
                  </a:cubicBezTo>
                  <a:cubicBezTo>
                    <a:pt x="508" y="338"/>
                    <a:pt x="498" y="318"/>
                    <a:pt x="499" y="309"/>
                  </a:cubicBezTo>
                  <a:cubicBezTo>
                    <a:pt x="500" y="300"/>
                    <a:pt x="514" y="306"/>
                    <a:pt x="520" y="313"/>
                  </a:cubicBezTo>
                  <a:cubicBezTo>
                    <a:pt x="526" y="320"/>
                    <a:pt x="534" y="328"/>
                    <a:pt x="540" y="316"/>
                  </a:cubicBezTo>
                  <a:cubicBezTo>
                    <a:pt x="546" y="304"/>
                    <a:pt x="552" y="307"/>
                    <a:pt x="566" y="302"/>
                  </a:cubicBezTo>
                  <a:cubicBezTo>
                    <a:pt x="580" y="297"/>
                    <a:pt x="574" y="292"/>
                    <a:pt x="581" y="278"/>
                  </a:cubicBezTo>
                  <a:cubicBezTo>
                    <a:pt x="588" y="264"/>
                    <a:pt x="586" y="266"/>
                    <a:pt x="607" y="251"/>
                  </a:cubicBezTo>
                  <a:cubicBezTo>
                    <a:pt x="628" y="236"/>
                    <a:pt x="632" y="229"/>
                    <a:pt x="644" y="233"/>
                  </a:cubicBezTo>
                  <a:cubicBezTo>
                    <a:pt x="656" y="237"/>
                    <a:pt x="659" y="234"/>
                    <a:pt x="663" y="224"/>
                  </a:cubicBezTo>
                  <a:cubicBezTo>
                    <a:pt x="667" y="214"/>
                    <a:pt x="671" y="212"/>
                    <a:pt x="686" y="211"/>
                  </a:cubicBezTo>
                  <a:cubicBezTo>
                    <a:pt x="701" y="210"/>
                    <a:pt x="713" y="201"/>
                    <a:pt x="729" y="198"/>
                  </a:cubicBezTo>
                  <a:cubicBezTo>
                    <a:pt x="745" y="195"/>
                    <a:pt x="758" y="201"/>
                    <a:pt x="763" y="189"/>
                  </a:cubicBezTo>
                  <a:cubicBezTo>
                    <a:pt x="768" y="177"/>
                    <a:pt x="777" y="170"/>
                    <a:pt x="783" y="178"/>
                  </a:cubicBezTo>
                  <a:cubicBezTo>
                    <a:pt x="789" y="186"/>
                    <a:pt x="795" y="192"/>
                    <a:pt x="800" y="184"/>
                  </a:cubicBezTo>
                  <a:cubicBezTo>
                    <a:pt x="805" y="176"/>
                    <a:pt x="804" y="181"/>
                    <a:pt x="821" y="176"/>
                  </a:cubicBezTo>
                  <a:cubicBezTo>
                    <a:pt x="838" y="171"/>
                    <a:pt x="838" y="161"/>
                    <a:pt x="872" y="159"/>
                  </a:cubicBezTo>
                  <a:cubicBezTo>
                    <a:pt x="906" y="157"/>
                    <a:pt x="915" y="147"/>
                    <a:pt x="936" y="143"/>
                  </a:cubicBezTo>
                  <a:cubicBezTo>
                    <a:pt x="957" y="139"/>
                    <a:pt x="973" y="132"/>
                    <a:pt x="991" y="128"/>
                  </a:cubicBezTo>
                  <a:cubicBezTo>
                    <a:pt x="1009" y="124"/>
                    <a:pt x="1015" y="111"/>
                    <a:pt x="1034" y="110"/>
                  </a:cubicBezTo>
                  <a:cubicBezTo>
                    <a:pt x="1053" y="109"/>
                    <a:pt x="1081" y="98"/>
                    <a:pt x="1091" y="86"/>
                  </a:cubicBezTo>
                  <a:cubicBezTo>
                    <a:pt x="1101" y="74"/>
                    <a:pt x="1113" y="56"/>
                    <a:pt x="1113" y="46"/>
                  </a:cubicBezTo>
                  <a:cubicBezTo>
                    <a:pt x="1113" y="36"/>
                    <a:pt x="1109" y="23"/>
                    <a:pt x="1098" y="18"/>
                  </a:cubicBezTo>
                  <a:cubicBezTo>
                    <a:pt x="1087" y="13"/>
                    <a:pt x="1068" y="14"/>
                    <a:pt x="1061" y="7"/>
                  </a:cubicBezTo>
                  <a:cubicBezTo>
                    <a:pt x="1054" y="0"/>
                    <a:pt x="1033" y="2"/>
                    <a:pt x="1020" y="2"/>
                  </a:cubicBezTo>
                  <a:cubicBezTo>
                    <a:pt x="1007" y="2"/>
                    <a:pt x="1009" y="10"/>
                    <a:pt x="990" y="12"/>
                  </a:cubicBezTo>
                  <a:cubicBezTo>
                    <a:pt x="971" y="14"/>
                    <a:pt x="974" y="28"/>
                    <a:pt x="954" y="29"/>
                  </a:cubicBezTo>
                  <a:cubicBezTo>
                    <a:pt x="934" y="30"/>
                    <a:pt x="924" y="34"/>
                    <a:pt x="922" y="44"/>
                  </a:cubicBezTo>
                  <a:cubicBezTo>
                    <a:pt x="920" y="54"/>
                    <a:pt x="930" y="65"/>
                    <a:pt x="915" y="65"/>
                  </a:cubicBezTo>
                  <a:cubicBezTo>
                    <a:pt x="900" y="65"/>
                    <a:pt x="895" y="60"/>
                    <a:pt x="891" y="67"/>
                  </a:cubicBezTo>
                  <a:cubicBezTo>
                    <a:pt x="887" y="74"/>
                    <a:pt x="880" y="75"/>
                    <a:pt x="869" y="75"/>
                  </a:cubicBezTo>
                  <a:cubicBezTo>
                    <a:pt x="858" y="75"/>
                    <a:pt x="837" y="81"/>
                    <a:pt x="828" y="87"/>
                  </a:cubicBezTo>
                  <a:cubicBezTo>
                    <a:pt x="819" y="93"/>
                    <a:pt x="801" y="98"/>
                    <a:pt x="787" y="98"/>
                  </a:cubicBezTo>
                  <a:cubicBezTo>
                    <a:pt x="773" y="98"/>
                    <a:pt x="768" y="95"/>
                    <a:pt x="757" y="105"/>
                  </a:cubicBezTo>
                  <a:cubicBezTo>
                    <a:pt x="746" y="115"/>
                    <a:pt x="736" y="112"/>
                    <a:pt x="720" y="112"/>
                  </a:cubicBezTo>
                  <a:cubicBezTo>
                    <a:pt x="704" y="112"/>
                    <a:pt x="700" y="112"/>
                    <a:pt x="688" y="106"/>
                  </a:cubicBezTo>
                  <a:cubicBezTo>
                    <a:pt x="676" y="100"/>
                    <a:pt x="654" y="97"/>
                    <a:pt x="646" y="97"/>
                  </a:cubicBezTo>
                  <a:cubicBezTo>
                    <a:pt x="638" y="97"/>
                    <a:pt x="611" y="102"/>
                    <a:pt x="610" y="112"/>
                  </a:cubicBezTo>
                  <a:cubicBezTo>
                    <a:pt x="609" y="122"/>
                    <a:pt x="598" y="136"/>
                    <a:pt x="589" y="127"/>
                  </a:cubicBezTo>
                  <a:cubicBezTo>
                    <a:pt x="580" y="118"/>
                    <a:pt x="564" y="116"/>
                    <a:pt x="561" y="131"/>
                  </a:cubicBezTo>
                  <a:cubicBezTo>
                    <a:pt x="558" y="146"/>
                    <a:pt x="555" y="141"/>
                    <a:pt x="540" y="143"/>
                  </a:cubicBezTo>
                  <a:cubicBezTo>
                    <a:pt x="525" y="145"/>
                    <a:pt x="525" y="151"/>
                    <a:pt x="520" y="154"/>
                  </a:cubicBezTo>
                  <a:cubicBezTo>
                    <a:pt x="515" y="157"/>
                    <a:pt x="509" y="159"/>
                    <a:pt x="502" y="149"/>
                  </a:cubicBezTo>
                  <a:cubicBezTo>
                    <a:pt x="495" y="139"/>
                    <a:pt x="483" y="143"/>
                    <a:pt x="481" y="151"/>
                  </a:cubicBezTo>
                  <a:cubicBezTo>
                    <a:pt x="479" y="159"/>
                    <a:pt x="469" y="153"/>
                    <a:pt x="466" y="163"/>
                  </a:cubicBezTo>
                  <a:cubicBezTo>
                    <a:pt x="463" y="173"/>
                    <a:pt x="462" y="177"/>
                    <a:pt x="450" y="177"/>
                  </a:cubicBezTo>
                  <a:cubicBezTo>
                    <a:pt x="438" y="177"/>
                    <a:pt x="426" y="179"/>
                    <a:pt x="424" y="186"/>
                  </a:cubicBezTo>
                  <a:cubicBezTo>
                    <a:pt x="422" y="193"/>
                    <a:pt x="402" y="193"/>
                    <a:pt x="402" y="207"/>
                  </a:cubicBezTo>
                  <a:cubicBezTo>
                    <a:pt x="402" y="221"/>
                    <a:pt x="399" y="216"/>
                    <a:pt x="382" y="217"/>
                  </a:cubicBezTo>
                  <a:cubicBezTo>
                    <a:pt x="365" y="218"/>
                    <a:pt x="351" y="220"/>
                    <a:pt x="349" y="229"/>
                  </a:cubicBezTo>
                  <a:cubicBezTo>
                    <a:pt x="347" y="238"/>
                    <a:pt x="351" y="249"/>
                    <a:pt x="337" y="249"/>
                  </a:cubicBezTo>
                  <a:cubicBezTo>
                    <a:pt x="323" y="249"/>
                    <a:pt x="314" y="233"/>
                    <a:pt x="301" y="239"/>
                  </a:cubicBezTo>
                  <a:cubicBezTo>
                    <a:pt x="288" y="245"/>
                    <a:pt x="282" y="264"/>
                    <a:pt x="299" y="265"/>
                  </a:cubicBezTo>
                  <a:cubicBezTo>
                    <a:pt x="316" y="266"/>
                    <a:pt x="323" y="272"/>
                    <a:pt x="318" y="280"/>
                  </a:cubicBezTo>
                  <a:cubicBezTo>
                    <a:pt x="313" y="288"/>
                    <a:pt x="294" y="281"/>
                    <a:pt x="293" y="289"/>
                  </a:cubicBezTo>
                  <a:cubicBezTo>
                    <a:pt x="292" y="297"/>
                    <a:pt x="295" y="305"/>
                    <a:pt x="283" y="307"/>
                  </a:cubicBezTo>
                  <a:cubicBezTo>
                    <a:pt x="271" y="309"/>
                    <a:pt x="262" y="315"/>
                    <a:pt x="266" y="322"/>
                  </a:cubicBezTo>
                  <a:cubicBezTo>
                    <a:pt x="270" y="329"/>
                    <a:pt x="266" y="338"/>
                    <a:pt x="258" y="341"/>
                  </a:cubicBezTo>
                  <a:cubicBezTo>
                    <a:pt x="250" y="344"/>
                    <a:pt x="275" y="355"/>
                    <a:pt x="263" y="359"/>
                  </a:cubicBezTo>
                  <a:cubicBezTo>
                    <a:pt x="251" y="363"/>
                    <a:pt x="268" y="371"/>
                    <a:pt x="247" y="373"/>
                  </a:cubicBezTo>
                  <a:cubicBezTo>
                    <a:pt x="226" y="375"/>
                    <a:pt x="228" y="369"/>
                    <a:pt x="223" y="377"/>
                  </a:cubicBezTo>
                  <a:cubicBezTo>
                    <a:pt x="218" y="385"/>
                    <a:pt x="220" y="396"/>
                    <a:pt x="204" y="399"/>
                  </a:cubicBezTo>
                  <a:cubicBezTo>
                    <a:pt x="188" y="402"/>
                    <a:pt x="179" y="405"/>
                    <a:pt x="177" y="412"/>
                  </a:cubicBezTo>
                  <a:cubicBezTo>
                    <a:pt x="175" y="419"/>
                    <a:pt x="154" y="411"/>
                    <a:pt x="153" y="420"/>
                  </a:cubicBezTo>
                  <a:cubicBezTo>
                    <a:pt x="152" y="429"/>
                    <a:pt x="142" y="427"/>
                    <a:pt x="164" y="436"/>
                  </a:cubicBezTo>
                  <a:cubicBezTo>
                    <a:pt x="186" y="445"/>
                    <a:pt x="189" y="450"/>
                    <a:pt x="196" y="442"/>
                  </a:cubicBezTo>
                  <a:cubicBezTo>
                    <a:pt x="203" y="434"/>
                    <a:pt x="205" y="430"/>
                    <a:pt x="220" y="430"/>
                  </a:cubicBezTo>
                  <a:cubicBezTo>
                    <a:pt x="235" y="430"/>
                    <a:pt x="238" y="429"/>
                    <a:pt x="235" y="437"/>
                  </a:cubicBezTo>
                  <a:cubicBezTo>
                    <a:pt x="232" y="445"/>
                    <a:pt x="212" y="442"/>
                    <a:pt x="206" y="446"/>
                  </a:cubicBezTo>
                  <a:cubicBezTo>
                    <a:pt x="200" y="450"/>
                    <a:pt x="194" y="452"/>
                    <a:pt x="194" y="458"/>
                  </a:cubicBezTo>
                  <a:cubicBezTo>
                    <a:pt x="194" y="464"/>
                    <a:pt x="207" y="471"/>
                    <a:pt x="194" y="476"/>
                  </a:cubicBezTo>
                  <a:cubicBezTo>
                    <a:pt x="181" y="481"/>
                    <a:pt x="169" y="482"/>
                    <a:pt x="155" y="483"/>
                  </a:cubicBezTo>
                  <a:cubicBezTo>
                    <a:pt x="141" y="484"/>
                    <a:pt x="145" y="490"/>
                    <a:pt x="133" y="490"/>
                  </a:cubicBezTo>
                  <a:cubicBezTo>
                    <a:pt x="121" y="490"/>
                    <a:pt x="116" y="494"/>
                    <a:pt x="116" y="500"/>
                  </a:cubicBezTo>
                  <a:cubicBezTo>
                    <a:pt x="116" y="506"/>
                    <a:pt x="125" y="509"/>
                    <a:pt x="126" y="516"/>
                  </a:cubicBezTo>
                  <a:cubicBezTo>
                    <a:pt x="127" y="523"/>
                    <a:pt x="124" y="524"/>
                    <a:pt x="112" y="524"/>
                  </a:cubicBezTo>
                  <a:cubicBezTo>
                    <a:pt x="100" y="524"/>
                    <a:pt x="91" y="523"/>
                    <a:pt x="83" y="531"/>
                  </a:cubicBezTo>
                  <a:cubicBezTo>
                    <a:pt x="75" y="539"/>
                    <a:pt x="64" y="556"/>
                    <a:pt x="81" y="558"/>
                  </a:cubicBezTo>
                  <a:cubicBezTo>
                    <a:pt x="98" y="560"/>
                    <a:pt x="109" y="557"/>
                    <a:pt x="108" y="563"/>
                  </a:cubicBezTo>
                  <a:cubicBezTo>
                    <a:pt x="107" y="569"/>
                    <a:pt x="91" y="570"/>
                    <a:pt x="90" y="583"/>
                  </a:cubicBezTo>
                  <a:cubicBezTo>
                    <a:pt x="90" y="583"/>
                    <a:pt x="88" y="598"/>
                    <a:pt x="80" y="598"/>
                  </a:cubicBezTo>
                  <a:cubicBezTo>
                    <a:pt x="72" y="598"/>
                    <a:pt x="69" y="603"/>
                    <a:pt x="70" y="610"/>
                  </a:cubicBezTo>
                  <a:cubicBezTo>
                    <a:pt x="71" y="617"/>
                    <a:pt x="65" y="623"/>
                    <a:pt x="50" y="622"/>
                  </a:cubicBezTo>
                  <a:cubicBezTo>
                    <a:pt x="35" y="621"/>
                    <a:pt x="21" y="624"/>
                    <a:pt x="17" y="63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5" name="Freeform 545">
              <a:extLst>
                <a:ext uri="{FF2B5EF4-FFF2-40B4-BE49-F238E27FC236}">
                  <a16:creationId xmlns:a16="http://schemas.microsoft.com/office/drawing/2014/main" id="{4D48C808-6BFE-FB41-90D8-F6725AF88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4" y="1104"/>
              <a:ext cx="30" cy="15"/>
            </a:xfrm>
            <a:custGeom>
              <a:avLst/>
              <a:gdLst>
                <a:gd name="T0" fmla="*/ 14 w 117"/>
                <a:gd name="T1" fmla="*/ 59 h 62"/>
                <a:gd name="T2" fmla="*/ 60 w 117"/>
                <a:gd name="T3" fmla="*/ 54 h 62"/>
                <a:gd name="T4" fmla="*/ 92 w 117"/>
                <a:gd name="T5" fmla="*/ 51 h 62"/>
                <a:gd name="T6" fmla="*/ 111 w 117"/>
                <a:gd name="T7" fmla="*/ 35 h 62"/>
                <a:gd name="T8" fmla="*/ 91 w 117"/>
                <a:gd name="T9" fmla="*/ 16 h 62"/>
                <a:gd name="T10" fmla="*/ 50 w 117"/>
                <a:gd name="T11" fmla="*/ 6 h 62"/>
                <a:gd name="T12" fmla="*/ 25 w 117"/>
                <a:gd name="T13" fmla="*/ 8 h 62"/>
                <a:gd name="T14" fmla="*/ 10 w 117"/>
                <a:gd name="T15" fmla="*/ 21 h 62"/>
                <a:gd name="T16" fmla="*/ 14 w 117"/>
                <a:gd name="T17" fmla="*/ 5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62">
                  <a:moveTo>
                    <a:pt x="14" y="59"/>
                  </a:moveTo>
                  <a:cubicBezTo>
                    <a:pt x="28" y="61"/>
                    <a:pt x="56" y="62"/>
                    <a:pt x="60" y="54"/>
                  </a:cubicBezTo>
                  <a:cubicBezTo>
                    <a:pt x="64" y="46"/>
                    <a:pt x="79" y="51"/>
                    <a:pt x="92" y="51"/>
                  </a:cubicBezTo>
                  <a:cubicBezTo>
                    <a:pt x="105" y="51"/>
                    <a:pt x="117" y="41"/>
                    <a:pt x="111" y="35"/>
                  </a:cubicBezTo>
                  <a:cubicBezTo>
                    <a:pt x="105" y="29"/>
                    <a:pt x="99" y="22"/>
                    <a:pt x="91" y="16"/>
                  </a:cubicBezTo>
                  <a:cubicBezTo>
                    <a:pt x="83" y="10"/>
                    <a:pt x="73" y="0"/>
                    <a:pt x="50" y="6"/>
                  </a:cubicBezTo>
                  <a:cubicBezTo>
                    <a:pt x="50" y="6"/>
                    <a:pt x="31" y="2"/>
                    <a:pt x="25" y="8"/>
                  </a:cubicBezTo>
                  <a:cubicBezTo>
                    <a:pt x="19" y="14"/>
                    <a:pt x="8" y="13"/>
                    <a:pt x="10" y="21"/>
                  </a:cubicBezTo>
                  <a:cubicBezTo>
                    <a:pt x="12" y="29"/>
                    <a:pt x="0" y="57"/>
                    <a:pt x="14" y="5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6" name="Freeform 546">
              <a:extLst>
                <a:ext uri="{FF2B5EF4-FFF2-40B4-BE49-F238E27FC236}">
                  <a16:creationId xmlns:a16="http://schemas.microsoft.com/office/drawing/2014/main" id="{30F78A06-AA24-B84E-9188-37B9CF5A2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1113"/>
              <a:ext cx="12" cy="13"/>
            </a:xfrm>
            <a:custGeom>
              <a:avLst/>
              <a:gdLst>
                <a:gd name="T0" fmla="*/ 9 w 49"/>
                <a:gd name="T1" fmla="*/ 30 h 50"/>
                <a:gd name="T2" fmla="*/ 44 w 49"/>
                <a:gd name="T3" fmla="*/ 38 h 50"/>
                <a:gd name="T4" fmla="*/ 37 w 49"/>
                <a:gd name="T5" fmla="*/ 13 h 50"/>
                <a:gd name="T6" fmla="*/ 12 w 49"/>
                <a:gd name="T7" fmla="*/ 8 h 50"/>
                <a:gd name="T8" fmla="*/ 9 w 49"/>
                <a:gd name="T9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0">
                  <a:moveTo>
                    <a:pt x="9" y="30"/>
                  </a:moveTo>
                  <a:cubicBezTo>
                    <a:pt x="18" y="36"/>
                    <a:pt x="44" y="50"/>
                    <a:pt x="44" y="38"/>
                  </a:cubicBezTo>
                  <a:cubicBezTo>
                    <a:pt x="44" y="26"/>
                    <a:pt x="49" y="18"/>
                    <a:pt x="37" y="13"/>
                  </a:cubicBezTo>
                  <a:cubicBezTo>
                    <a:pt x="25" y="8"/>
                    <a:pt x="14" y="0"/>
                    <a:pt x="12" y="8"/>
                  </a:cubicBezTo>
                  <a:cubicBezTo>
                    <a:pt x="12" y="8"/>
                    <a:pt x="0" y="24"/>
                    <a:pt x="9" y="3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7" name="Freeform 547">
              <a:extLst>
                <a:ext uri="{FF2B5EF4-FFF2-40B4-BE49-F238E27FC236}">
                  <a16:creationId xmlns:a16="http://schemas.microsoft.com/office/drawing/2014/main" id="{DE6EDFD4-8B61-284F-9A24-A4501C673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1102"/>
              <a:ext cx="24" cy="8"/>
            </a:xfrm>
            <a:custGeom>
              <a:avLst/>
              <a:gdLst>
                <a:gd name="T0" fmla="*/ 18 w 93"/>
                <a:gd name="T1" fmla="*/ 27 h 31"/>
                <a:gd name="T2" fmla="*/ 54 w 93"/>
                <a:gd name="T3" fmla="*/ 15 h 31"/>
                <a:gd name="T4" fmla="*/ 89 w 93"/>
                <a:gd name="T5" fmla="*/ 14 h 31"/>
                <a:gd name="T6" fmla="*/ 34 w 93"/>
                <a:gd name="T7" fmla="*/ 3 h 31"/>
                <a:gd name="T8" fmla="*/ 6 w 93"/>
                <a:gd name="T9" fmla="*/ 12 h 31"/>
                <a:gd name="T10" fmla="*/ 18 w 93"/>
                <a:gd name="T11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31">
                  <a:moveTo>
                    <a:pt x="18" y="27"/>
                  </a:moveTo>
                  <a:cubicBezTo>
                    <a:pt x="34" y="23"/>
                    <a:pt x="38" y="15"/>
                    <a:pt x="54" y="15"/>
                  </a:cubicBezTo>
                  <a:cubicBezTo>
                    <a:pt x="70" y="15"/>
                    <a:pt x="93" y="20"/>
                    <a:pt x="89" y="14"/>
                  </a:cubicBezTo>
                  <a:cubicBezTo>
                    <a:pt x="85" y="8"/>
                    <a:pt x="61" y="0"/>
                    <a:pt x="34" y="3"/>
                  </a:cubicBezTo>
                  <a:cubicBezTo>
                    <a:pt x="34" y="3"/>
                    <a:pt x="12" y="3"/>
                    <a:pt x="6" y="12"/>
                  </a:cubicBezTo>
                  <a:cubicBezTo>
                    <a:pt x="0" y="21"/>
                    <a:pt x="2" y="31"/>
                    <a:pt x="18" y="2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8" name="Freeform 548">
              <a:extLst>
                <a:ext uri="{FF2B5EF4-FFF2-40B4-BE49-F238E27FC236}">
                  <a16:creationId xmlns:a16="http://schemas.microsoft.com/office/drawing/2014/main" id="{618B660F-0C9B-684F-BE51-FCB47519E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1114"/>
              <a:ext cx="15" cy="17"/>
            </a:xfrm>
            <a:custGeom>
              <a:avLst/>
              <a:gdLst>
                <a:gd name="T0" fmla="*/ 20 w 60"/>
                <a:gd name="T1" fmla="*/ 57 h 65"/>
                <a:gd name="T2" fmla="*/ 56 w 60"/>
                <a:gd name="T3" fmla="*/ 57 h 65"/>
                <a:gd name="T4" fmla="*/ 51 w 60"/>
                <a:gd name="T5" fmla="*/ 32 h 65"/>
                <a:gd name="T6" fmla="*/ 25 w 60"/>
                <a:gd name="T7" fmla="*/ 14 h 65"/>
                <a:gd name="T8" fmla="*/ 12 w 60"/>
                <a:gd name="T9" fmla="*/ 30 h 65"/>
                <a:gd name="T10" fmla="*/ 4 w 60"/>
                <a:gd name="T11" fmla="*/ 44 h 65"/>
                <a:gd name="T12" fmla="*/ 20 w 60"/>
                <a:gd name="T13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5">
                  <a:moveTo>
                    <a:pt x="20" y="57"/>
                  </a:moveTo>
                  <a:cubicBezTo>
                    <a:pt x="33" y="57"/>
                    <a:pt x="56" y="65"/>
                    <a:pt x="56" y="57"/>
                  </a:cubicBezTo>
                  <a:cubicBezTo>
                    <a:pt x="56" y="49"/>
                    <a:pt x="60" y="35"/>
                    <a:pt x="51" y="32"/>
                  </a:cubicBezTo>
                  <a:cubicBezTo>
                    <a:pt x="42" y="29"/>
                    <a:pt x="33" y="0"/>
                    <a:pt x="25" y="14"/>
                  </a:cubicBezTo>
                  <a:cubicBezTo>
                    <a:pt x="25" y="14"/>
                    <a:pt x="17" y="27"/>
                    <a:pt x="12" y="30"/>
                  </a:cubicBezTo>
                  <a:cubicBezTo>
                    <a:pt x="7" y="33"/>
                    <a:pt x="0" y="39"/>
                    <a:pt x="4" y="44"/>
                  </a:cubicBezTo>
                  <a:cubicBezTo>
                    <a:pt x="8" y="49"/>
                    <a:pt x="7" y="57"/>
                    <a:pt x="20" y="5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19" name="Freeform 549">
              <a:extLst>
                <a:ext uri="{FF2B5EF4-FFF2-40B4-BE49-F238E27FC236}">
                  <a16:creationId xmlns:a16="http://schemas.microsoft.com/office/drawing/2014/main" id="{B00D8EFA-978C-534F-A89E-3E76E8FC6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1" y="1068"/>
              <a:ext cx="9" cy="5"/>
            </a:xfrm>
            <a:custGeom>
              <a:avLst/>
              <a:gdLst>
                <a:gd name="T0" fmla="*/ 14 w 36"/>
                <a:gd name="T1" fmla="*/ 15 h 18"/>
                <a:gd name="T2" fmla="*/ 36 w 36"/>
                <a:gd name="T3" fmla="*/ 13 h 18"/>
                <a:gd name="T4" fmla="*/ 15 w 36"/>
                <a:gd name="T5" fmla="*/ 4 h 18"/>
                <a:gd name="T6" fmla="*/ 14 w 36"/>
                <a:gd name="T7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18">
                  <a:moveTo>
                    <a:pt x="14" y="15"/>
                  </a:moveTo>
                  <a:cubicBezTo>
                    <a:pt x="28" y="18"/>
                    <a:pt x="36" y="13"/>
                    <a:pt x="36" y="13"/>
                  </a:cubicBezTo>
                  <a:cubicBezTo>
                    <a:pt x="36" y="13"/>
                    <a:pt x="36" y="0"/>
                    <a:pt x="15" y="4"/>
                  </a:cubicBezTo>
                  <a:cubicBezTo>
                    <a:pt x="15" y="4"/>
                    <a:pt x="0" y="12"/>
                    <a:pt x="14" y="1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0" name="Freeform 550">
              <a:extLst>
                <a:ext uri="{FF2B5EF4-FFF2-40B4-BE49-F238E27FC236}">
                  <a16:creationId xmlns:a16="http://schemas.microsoft.com/office/drawing/2014/main" id="{648F105A-803C-D14C-ADD9-EEBB93EBA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" y="1023"/>
              <a:ext cx="33" cy="7"/>
            </a:xfrm>
            <a:custGeom>
              <a:avLst/>
              <a:gdLst>
                <a:gd name="T0" fmla="*/ 13 w 130"/>
                <a:gd name="T1" fmla="*/ 28 h 28"/>
                <a:gd name="T2" fmla="*/ 51 w 130"/>
                <a:gd name="T3" fmla="*/ 16 h 28"/>
                <a:gd name="T4" fmla="*/ 67 w 130"/>
                <a:gd name="T5" fmla="*/ 17 h 28"/>
                <a:gd name="T6" fmla="*/ 86 w 130"/>
                <a:gd name="T7" fmla="*/ 19 h 28"/>
                <a:gd name="T8" fmla="*/ 104 w 130"/>
                <a:gd name="T9" fmla="*/ 24 h 28"/>
                <a:gd name="T10" fmla="*/ 114 w 130"/>
                <a:gd name="T11" fmla="*/ 16 h 28"/>
                <a:gd name="T12" fmla="*/ 117 w 130"/>
                <a:gd name="T13" fmla="*/ 8 h 28"/>
                <a:gd name="T14" fmla="*/ 93 w 130"/>
                <a:gd name="T15" fmla="*/ 5 h 28"/>
                <a:gd name="T16" fmla="*/ 65 w 130"/>
                <a:gd name="T17" fmla="*/ 0 h 28"/>
                <a:gd name="T18" fmla="*/ 46 w 130"/>
                <a:gd name="T19" fmla="*/ 8 h 28"/>
                <a:gd name="T20" fmla="*/ 31 w 130"/>
                <a:gd name="T21" fmla="*/ 14 h 28"/>
                <a:gd name="T22" fmla="*/ 13 w 130"/>
                <a:gd name="T23" fmla="*/ 7 h 28"/>
                <a:gd name="T24" fmla="*/ 3 w 130"/>
                <a:gd name="T25" fmla="*/ 11 h 28"/>
                <a:gd name="T26" fmla="*/ 13 w 130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28">
                  <a:moveTo>
                    <a:pt x="13" y="28"/>
                  </a:moveTo>
                  <a:cubicBezTo>
                    <a:pt x="26" y="28"/>
                    <a:pt x="51" y="23"/>
                    <a:pt x="51" y="16"/>
                  </a:cubicBezTo>
                  <a:cubicBezTo>
                    <a:pt x="51" y="9"/>
                    <a:pt x="58" y="17"/>
                    <a:pt x="67" y="17"/>
                  </a:cubicBezTo>
                  <a:cubicBezTo>
                    <a:pt x="76" y="17"/>
                    <a:pt x="85" y="13"/>
                    <a:pt x="86" y="19"/>
                  </a:cubicBezTo>
                  <a:cubicBezTo>
                    <a:pt x="87" y="25"/>
                    <a:pt x="102" y="27"/>
                    <a:pt x="104" y="24"/>
                  </a:cubicBezTo>
                  <a:cubicBezTo>
                    <a:pt x="106" y="21"/>
                    <a:pt x="106" y="15"/>
                    <a:pt x="114" y="16"/>
                  </a:cubicBezTo>
                  <a:cubicBezTo>
                    <a:pt x="122" y="17"/>
                    <a:pt x="130" y="8"/>
                    <a:pt x="117" y="8"/>
                  </a:cubicBezTo>
                  <a:cubicBezTo>
                    <a:pt x="104" y="8"/>
                    <a:pt x="97" y="8"/>
                    <a:pt x="93" y="5"/>
                  </a:cubicBezTo>
                  <a:cubicBezTo>
                    <a:pt x="89" y="2"/>
                    <a:pt x="70" y="0"/>
                    <a:pt x="65" y="0"/>
                  </a:cubicBezTo>
                  <a:cubicBezTo>
                    <a:pt x="60" y="0"/>
                    <a:pt x="46" y="3"/>
                    <a:pt x="46" y="8"/>
                  </a:cubicBezTo>
                  <a:cubicBezTo>
                    <a:pt x="46" y="13"/>
                    <a:pt x="40" y="14"/>
                    <a:pt x="31" y="14"/>
                  </a:cubicBezTo>
                  <a:cubicBezTo>
                    <a:pt x="22" y="14"/>
                    <a:pt x="19" y="6"/>
                    <a:pt x="13" y="7"/>
                  </a:cubicBezTo>
                  <a:cubicBezTo>
                    <a:pt x="7" y="8"/>
                    <a:pt x="4" y="6"/>
                    <a:pt x="3" y="11"/>
                  </a:cubicBezTo>
                  <a:cubicBezTo>
                    <a:pt x="3" y="11"/>
                    <a:pt x="0" y="28"/>
                    <a:pt x="13" y="2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1" name="Freeform 551">
              <a:extLst>
                <a:ext uri="{FF2B5EF4-FFF2-40B4-BE49-F238E27FC236}">
                  <a16:creationId xmlns:a16="http://schemas.microsoft.com/office/drawing/2014/main" id="{E91076E7-D829-2849-B677-419DEB3A2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" y="1039"/>
              <a:ext cx="15" cy="14"/>
            </a:xfrm>
            <a:custGeom>
              <a:avLst/>
              <a:gdLst>
                <a:gd name="T0" fmla="*/ 17 w 57"/>
                <a:gd name="T1" fmla="*/ 40 h 56"/>
                <a:gd name="T2" fmla="*/ 32 w 57"/>
                <a:gd name="T3" fmla="*/ 48 h 56"/>
                <a:gd name="T4" fmla="*/ 47 w 57"/>
                <a:gd name="T5" fmla="*/ 38 h 56"/>
                <a:gd name="T6" fmla="*/ 48 w 57"/>
                <a:gd name="T7" fmla="*/ 29 h 56"/>
                <a:gd name="T8" fmla="*/ 38 w 57"/>
                <a:gd name="T9" fmla="*/ 3 h 56"/>
                <a:gd name="T10" fmla="*/ 28 w 57"/>
                <a:gd name="T11" fmla="*/ 5 h 56"/>
                <a:gd name="T12" fmla="*/ 20 w 57"/>
                <a:gd name="T13" fmla="*/ 22 h 56"/>
                <a:gd name="T14" fmla="*/ 1 w 57"/>
                <a:gd name="T15" fmla="*/ 28 h 56"/>
                <a:gd name="T16" fmla="*/ 17 w 57"/>
                <a:gd name="T17" fmla="*/ 4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56">
                  <a:moveTo>
                    <a:pt x="17" y="40"/>
                  </a:moveTo>
                  <a:cubicBezTo>
                    <a:pt x="18" y="50"/>
                    <a:pt x="31" y="56"/>
                    <a:pt x="32" y="48"/>
                  </a:cubicBezTo>
                  <a:cubicBezTo>
                    <a:pt x="33" y="40"/>
                    <a:pt x="37" y="37"/>
                    <a:pt x="47" y="38"/>
                  </a:cubicBezTo>
                  <a:cubicBezTo>
                    <a:pt x="57" y="39"/>
                    <a:pt x="53" y="31"/>
                    <a:pt x="48" y="29"/>
                  </a:cubicBezTo>
                  <a:cubicBezTo>
                    <a:pt x="43" y="27"/>
                    <a:pt x="48" y="1"/>
                    <a:pt x="38" y="3"/>
                  </a:cubicBezTo>
                  <a:cubicBezTo>
                    <a:pt x="28" y="5"/>
                    <a:pt x="27" y="0"/>
                    <a:pt x="28" y="5"/>
                  </a:cubicBezTo>
                  <a:cubicBezTo>
                    <a:pt x="28" y="5"/>
                    <a:pt x="35" y="23"/>
                    <a:pt x="20" y="22"/>
                  </a:cubicBezTo>
                  <a:cubicBezTo>
                    <a:pt x="5" y="21"/>
                    <a:pt x="0" y="23"/>
                    <a:pt x="1" y="28"/>
                  </a:cubicBezTo>
                  <a:cubicBezTo>
                    <a:pt x="2" y="33"/>
                    <a:pt x="16" y="30"/>
                    <a:pt x="17" y="4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2" name="Freeform 552">
              <a:extLst>
                <a:ext uri="{FF2B5EF4-FFF2-40B4-BE49-F238E27FC236}">
                  <a16:creationId xmlns:a16="http://schemas.microsoft.com/office/drawing/2014/main" id="{710E4519-26E0-7B46-9009-C8E4B4637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" y="1083"/>
              <a:ext cx="6" cy="5"/>
            </a:xfrm>
            <a:custGeom>
              <a:avLst/>
              <a:gdLst>
                <a:gd name="T0" fmla="*/ 14 w 25"/>
                <a:gd name="T1" fmla="*/ 1 h 19"/>
                <a:gd name="T2" fmla="*/ 4 w 25"/>
                <a:gd name="T3" fmla="*/ 8 h 19"/>
                <a:gd name="T4" fmla="*/ 24 w 25"/>
                <a:gd name="T5" fmla="*/ 11 h 19"/>
                <a:gd name="T6" fmla="*/ 14 w 25"/>
                <a:gd name="T7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9">
                  <a:moveTo>
                    <a:pt x="14" y="1"/>
                  </a:moveTo>
                  <a:cubicBezTo>
                    <a:pt x="14" y="1"/>
                    <a:pt x="0" y="5"/>
                    <a:pt x="4" y="8"/>
                  </a:cubicBezTo>
                  <a:cubicBezTo>
                    <a:pt x="8" y="11"/>
                    <a:pt x="25" y="19"/>
                    <a:pt x="24" y="11"/>
                  </a:cubicBezTo>
                  <a:cubicBezTo>
                    <a:pt x="23" y="3"/>
                    <a:pt x="23" y="0"/>
                    <a:pt x="14" y="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3" name="Freeform 553">
              <a:extLst>
                <a:ext uri="{FF2B5EF4-FFF2-40B4-BE49-F238E27FC236}">
                  <a16:creationId xmlns:a16="http://schemas.microsoft.com/office/drawing/2014/main" id="{3FF2C695-16E0-6D41-885D-7C6F11EE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2" y="1083"/>
              <a:ext cx="11" cy="7"/>
            </a:xfrm>
            <a:custGeom>
              <a:avLst/>
              <a:gdLst>
                <a:gd name="T0" fmla="*/ 28 w 42"/>
                <a:gd name="T1" fmla="*/ 5 h 28"/>
                <a:gd name="T2" fmla="*/ 7 w 42"/>
                <a:gd name="T3" fmla="*/ 5 h 28"/>
                <a:gd name="T4" fmla="*/ 7 w 42"/>
                <a:gd name="T5" fmla="*/ 20 h 28"/>
                <a:gd name="T6" fmla="*/ 33 w 42"/>
                <a:gd name="T7" fmla="*/ 25 h 28"/>
                <a:gd name="T8" fmla="*/ 42 w 42"/>
                <a:gd name="T9" fmla="*/ 20 h 28"/>
                <a:gd name="T10" fmla="*/ 28 w 42"/>
                <a:gd name="T11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8">
                  <a:moveTo>
                    <a:pt x="28" y="5"/>
                  </a:moveTo>
                  <a:cubicBezTo>
                    <a:pt x="18" y="7"/>
                    <a:pt x="13" y="0"/>
                    <a:pt x="7" y="5"/>
                  </a:cubicBezTo>
                  <a:cubicBezTo>
                    <a:pt x="7" y="5"/>
                    <a:pt x="0" y="20"/>
                    <a:pt x="7" y="20"/>
                  </a:cubicBezTo>
                  <a:cubicBezTo>
                    <a:pt x="14" y="20"/>
                    <a:pt x="29" y="22"/>
                    <a:pt x="33" y="25"/>
                  </a:cubicBezTo>
                  <a:cubicBezTo>
                    <a:pt x="37" y="28"/>
                    <a:pt x="42" y="27"/>
                    <a:pt x="42" y="20"/>
                  </a:cubicBezTo>
                  <a:cubicBezTo>
                    <a:pt x="42" y="13"/>
                    <a:pt x="38" y="3"/>
                    <a:pt x="28" y="5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4" name="Freeform 554">
              <a:extLst>
                <a:ext uri="{FF2B5EF4-FFF2-40B4-BE49-F238E27FC236}">
                  <a16:creationId xmlns:a16="http://schemas.microsoft.com/office/drawing/2014/main" id="{BA018835-A091-FC45-A816-70B72B05E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" y="1087"/>
              <a:ext cx="12" cy="5"/>
            </a:xfrm>
            <a:custGeom>
              <a:avLst/>
              <a:gdLst>
                <a:gd name="T0" fmla="*/ 13 w 46"/>
                <a:gd name="T1" fmla="*/ 13 h 21"/>
                <a:gd name="T2" fmla="*/ 44 w 46"/>
                <a:gd name="T3" fmla="*/ 18 h 21"/>
                <a:gd name="T4" fmla="*/ 31 w 46"/>
                <a:gd name="T5" fmla="*/ 8 h 21"/>
                <a:gd name="T6" fmla="*/ 15 w 46"/>
                <a:gd name="T7" fmla="*/ 1 h 21"/>
                <a:gd name="T8" fmla="*/ 13 w 46"/>
                <a:gd name="T9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1">
                  <a:moveTo>
                    <a:pt x="13" y="13"/>
                  </a:moveTo>
                  <a:cubicBezTo>
                    <a:pt x="26" y="13"/>
                    <a:pt x="42" y="21"/>
                    <a:pt x="44" y="18"/>
                  </a:cubicBezTo>
                  <a:cubicBezTo>
                    <a:pt x="46" y="15"/>
                    <a:pt x="40" y="11"/>
                    <a:pt x="31" y="8"/>
                  </a:cubicBezTo>
                  <a:cubicBezTo>
                    <a:pt x="22" y="5"/>
                    <a:pt x="22" y="0"/>
                    <a:pt x="15" y="1"/>
                  </a:cubicBezTo>
                  <a:cubicBezTo>
                    <a:pt x="15" y="1"/>
                    <a:pt x="0" y="13"/>
                    <a:pt x="13" y="1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5" name="Freeform 555">
              <a:extLst>
                <a:ext uri="{FF2B5EF4-FFF2-40B4-BE49-F238E27FC236}">
                  <a16:creationId xmlns:a16="http://schemas.microsoft.com/office/drawing/2014/main" id="{CF73D5FA-F600-DD4C-A72C-C45136B5A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" y="1073"/>
              <a:ext cx="10" cy="6"/>
            </a:xfrm>
            <a:custGeom>
              <a:avLst/>
              <a:gdLst>
                <a:gd name="T0" fmla="*/ 12 w 43"/>
                <a:gd name="T1" fmla="*/ 13 h 24"/>
                <a:gd name="T2" fmla="*/ 27 w 43"/>
                <a:gd name="T3" fmla="*/ 15 h 24"/>
                <a:gd name="T4" fmla="*/ 32 w 43"/>
                <a:gd name="T5" fmla="*/ 3 h 24"/>
                <a:gd name="T6" fmla="*/ 13 w 43"/>
                <a:gd name="T7" fmla="*/ 0 h 24"/>
                <a:gd name="T8" fmla="*/ 12 w 43"/>
                <a:gd name="T9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4">
                  <a:moveTo>
                    <a:pt x="12" y="13"/>
                  </a:moveTo>
                  <a:cubicBezTo>
                    <a:pt x="24" y="24"/>
                    <a:pt x="25" y="23"/>
                    <a:pt x="27" y="15"/>
                  </a:cubicBezTo>
                  <a:cubicBezTo>
                    <a:pt x="29" y="7"/>
                    <a:pt x="43" y="5"/>
                    <a:pt x="32" y="3"/>
                  </a:cubicBezTo>
                  <a:cubicBezTo>
                    <a:pt x="21" y="1"/>
                    <a:pt x="19" y="0"/>
                    <a:pt x="13" y="0"/>
                  </a:cubicBezTo>
                  <a:cubicBezTo>
                    <a:pt x="13" y="0"/>
                    <a:pt x="0" y="2"/>
                    <a:pt x="12" y="1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6" name="Freeform 556">
              <a:extLst>
                <a:ext uri="{FF2B5EF4-FFF2-40B4-BE49-F238E27FC236}">
                  <a16:creationId xmlns:a16="http://schemas.microsoft.com/office/drawing/2014/main" id="{863CA08E-EFA9-C749-8BD0-F3618A129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1063"/>
              <a:ext cx="10" cy="5"/>
            </a:xfrm>
            <a:custGeom>
              <a:avLst/>
              <a:gdLst>
                <a:gd name="T0" fmla="*/ 13 w 38"/>
                <a:gd name="T1" fmla="*/ 14 h 21"/>
                <a:gd name="T2" fmla="*/ 37 w 38"/>
                <a:gd name="T3" fmla="*/ 13 h 21"/>
                <a:gd name="T4" fmla="*/ 14 w 38"/>
                <a:gd name="T5" fmla="*/ 0 h 21"/>
                <a:gd name="T6" fmla="*/ 13 w 38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21">
                  <a:moveTo>
                    <a:pt x="13" y="14"/>
                  </a:moveTo>
                  <a:cubicBezTo>
                    <a:pt x="26" y="18"/>
                    <a:pt x="36" y="21"/>
                    <a:pt x="37" y="13"/>
                  </a:cubicBezTo>
                  <a:cubicBezTo>
                    <a:pt x="38" y="5"/>
                    <a:pt x="32" y="0"/>
                    <a:pt x="14" y="0"/>
                  </a:cubicBezTo>
                  <a:cubicBezTo>
                    <a:pt x="14" y="0"/>
                    <a:pt x="0" y="10"/>
                    <a:pt x="13" y="1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7" name="Freeform 557">
              <a:extLst>
                <a:ext uri="{FF2B5EF4-FFF2-40B4-BE49-F238E27FC236}">
                  <a16:creationId xmlns:a16="http://schemas.microsoft.com/office/drawing/2014/main" id="{301FA81E-1159-3E4A-8AD6-C2C2B4479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1069"/>
              <a:ext cx="14" cy="7"/>
            </a:xfrm>
            <a:custGeom>
              <a:avLst/>
              <a:gdLst>
                <a:gd name="T0" fmla="*/ 11 w 52"/>
                <a:gd name="T1" fmla="*/ 20 h 26"/>
                <a:gd name="T2" fmla="*/ 50 w 52"/>
                <a:gd name="T3" fmla="*/ 20 h 26"/>
                <a:gd name="T4" fmla="*/ 38 w 52"/>
                <a:gd name="T5" fmla="*/ 6 h 26"/>
                <a:gd name="T6" fmla="*/ 20 w 52"/>
                <a:gd name="T7" fmla="*/ 2 h 26"/>
                <a:gd name="T8" fmla="*/ 2 w 52"/>
                <a:gd name="T9" fmla="*/ 8 h 26"/>
                <a:gd name="T10" fmla="*/ 11 w 52"/>
                <a:gd name="T11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6">
                  <a:moveTo>
                    <a:pt x="11" y="20"/>
                  </a:moveTo>
                  <a:cubicBezTo>
                    <a:pt x="22" y="20"/>
                    <a:pt x="48" y="26"/>
                    <a:pt x="50" y="20"/>
                  </a:cubicBezTo>
                  <a:cubicBezTo>
                    <a:pt x="52" y="14"/>
                    <a:pt x="49" y="7"/>
                    <a:pt x="38" y="6"/>
                  </a:cubicBezTo>
                  <a:cubicBezTo>
                    <a:pt x="27" y="5"/>
                    <a:pt x="32" y="1"/>
                    <a:pt x="20" y="2"/>
                  </a:cubicBezTo>
                  <a:cubicBezTo>
                    <a:pt x="20" y="2"/>
                    <a:pt x="2" y="0"/>
                    <a:pt x="2" y="8"/>
                  </a:cubicBezTo>
                  <a:cubicBezTo>
                    <a:pt x="2" y="16"/>
                    <a:pt x="0" y="20"/>
                    <a:pt x="11" y="2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8" name="Freeform 558">
              <a:extLst>
                <a:ext uri="{FF2B5EF4-FFF2-40B4-BE49-F238E27FC236}">
                  <a16:creationId xmlns:a16="http://schemas.microsoft.com/office/drawing/2014/main" id="{0F48865F-8501-284E-ACF6-3C011FEBD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4" y="980"/>
              <a:ext cx="7" cy="5"/>
            </a:xfrm>
            <a:custGeom>
              <a:avLst/>
              <a:gdLst>
                <a:gd name="T0" fmla="*/ 10 w 29"/>
                <a:gd name="T1" fmla="*/ 21 h 22"/>
                <a:gd name="T2" fmla="*/ 26 w 29"/>
                <a:gd name="T3" fmla="*/ 14 h 22"/>
                <a:gd name="T4" fmla="*/ 10 w 29"/>
                <a:gd name="T5" fmla="*/ 2 h 22"/>
                <a:gd name="T6" fmla="*/ 2 w 29"/>
                <a:gd name="T7" fmla="*/ 13 h 22"/>
                <a:gd name="T8" fmla="*/ 10 w 29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2">
                  <a:moveTo>
                    <a:pt x="10" y="21"/>
                  </a:moveTo>
                  <a:cubicBezTo>
                    <a:pt x="17" y="20"/>
                    <a:pt x="26" y="20"/>
                    <a:pt x="26" y="14"/>
                  </a:cubicBezTo>
                  <a:cubicBezTo>
                    <a:pt x="26" y="8"/>
                    <a:pt x="29" y="0"/>
                    <a:pt x="10" y="2"/>
                  </a:cubicBezTo>
                  <a:cubicBezTo>
                    <a:pt x="10" y="2"/>
                    <a:pt x="4" y="8"/>
                    <a:pt x="2" y="13"/>
                  </a:cubicBezTo>
                  <a:cubicBezTo>
                    <a:pt x="0" y="18"/>
                    <a:pt x="3" y="22"/>
                    <a:pt x="10" y="2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29" name="Freeform 559">
              <a:extLst>
                <a:ext uri="{FF2B5EF4-FFF2-40B4-BE49-F238E27FC236}">
                  <a16:creationId xmlns:a16="http://schemas.microsoft.com/office/drawing/2014/main" id="{127327C0-2B21-7C4E-92EF-790BFCCB2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5" y="985"/>
              <a:ext cx="4" cy="6"/>
            </a:xfrm>
            <a:custGeom>
              <a:avLst/>
              <a:gdLst>
                <a:gd name="T0" fmla="*/ 15 w 18"/>
                <a:gd name="T1" fmla="*/ 1 h 22"/>
                <a:gd name="T2" fmla="*/ 2 w 18"/>
                <a:gd name="T3" fmla="*/ 4 h 22"/>
                <a:gd name="T4" fmla="*/ 15 w 18"/>
                <a:gd name="T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15" y="1"/>
                  </a:moveTo>
                  <a:cubicBezTo>
                    <a:pt x="15" y="1"/>
                    <a:pt x="4" y="0"/>
                    <a:pt x="2" y="4"/>
                  </a:cubicBezTo>
                  <a:cubicBezTo>
                    <a:pt x="0" y="8"/>
                    <a:pt x="18" y="22"/>
                    <a:pt x="15" y="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0" name="Freeform 560">
              <a:extLst>
                <a:ext uri="{FF2B5EF4-FFF2-40B4-BE49-F238E27FC236}">
                  <a16:creationId xmlns:a16="http://schemas.microsoft.com/office/drawing/2014/main" id="{4CAD7DF2-30FF-1A45-A658-8FDC6C6E6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" y="984"/>
              <a:ext cx="20" cy="9"/>
            </a:xfrm>
            <a:custGeom>
              <a:avLst/>
              <a:gdLst>
                <a:gd name="T0" fmla="*/ 59 w 80"/>
                <a:gd name="T1" fmla="*/ 31 h 37"/>
                <a:gd name="T2" fmla="*/ 78 w 80"/>
                <a:gd name="T3" fmla="*/ 22 h 37"/>
                <a:gd name="T4" fmla="*/ 71 w 80"/>
                <a:gd name="T5" fmla="*/ 0 h 37"/>
                <a:gd name="T6" fmla="*/ 55 w 80"/>
                <a:gd name="T7" fmla="*/ 7 h 37"/>
                <a:gd name="T8" fmla="*/ 27 w 80"/>
                <a:gd name="T9" fmla="*/ 14 h 37"/>
                <a:gd name="T10" fmla="*/ 0 w 80"/>
                <a:gd name="T11" fmla="*/ 19 h 37"/>
                <a:gd name="T12" fmla="*/ 9 w 80"/>
                <a:gd name="T13" fmla="*/ 30 h 37"/>
                <a:gd name="T14" fmla="*/ 59 w 80"/>
                <a:gd name="T15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37">
                  <a:moveTo>
                    <a:pt x="59" y="31"/>
                  </a:moveTo>
                  <a:cubicBezTo>
                    <a:pt x="59" y="25"/>
                    <a:pt x="78" y="32"/>
                    <a:pt x="78" y="22"/>
                  </a:cubicBezTo>
                  <a:cubicBezTo>
                    <a:pt x="78" y="12"/>
                    <a:pt x="80" y="0"/>
                    <a:pt x="71" y="0"/>
                  </a:cubicBezTo>
                  <a:cubicBezTo>
                    <a:pt x="62" y="0"/>
                    <a:pt x="72" y="5"/>
                    <a:pt x="55" y="7"/>
                  </a:cubicBezTo>
                  <a:cubicBezTo>
                    <a:pt x="38" y="9"/>
                    <a:pt x="26" y="6"/>
                    <a:pt x="27" y="14"/>
                  </a:cubicBezTo>
                  <a:cubicBezTo>
                    <a:pt x="27" y="14"/>
                    <a:pt x="0" y="12"/>
                    <a:pt x="0" y="19"/>
                  </a:cubicBezTo>
                  <a:cubicBezTo>
                    <a:pt x="0" y="26"/>
                    <a:pt x="1" y="28"/>
                    <a:pt x="9" y="30"/>
                  </a:cubicBezTo>
                  <a:cubicBezTo>
                    <a:pt x="17" y="32"/>
                    <a:pt x="59" y="37"/>
                    <a:pt x="59" y="3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1" name="Freeform 561">
              <a:extLst>
                <a:ext uri="{FF2B5EF4-FFF2-40B4-BE49-F238E27FC236}">
                  <a16:creationId xmlns:a16="http://schemas.microsoft.com/office/drawing/2014/main" id="{2661D5E0-22AF-184E-AB6A-8C5A5F261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2" y="1000"/>
              <a:ext cx="11" cy="6"/>
            </a:xfrm>
            <a:custGeom>
              <a:avLst/>
              <a:gdLst>
                <a:gd name="T0" fmla="*/ 23 w 42"/>
                <a:gd name="T1" fmla="*/ 18 h 26"/>
                <a:gd name="T2" fmla="*/ 36 w 42"/>
                <a:gd name="T3" fmla="*/ 6 h 26"/>
                <a:gd name="T4" fmla="*/ 30 w 42"/>
                <a:gd name="T5" fmla="*/ 2 h 26"/>
                <a:gd name="T6" fmla="*/ 19 w 42"/>
                <a:gd name="T7" fmla="*/ 0 h 26"/>
                <a:gd name="T8" fmla="*/ 3 w 42"/>
                <a:gd name="T9" fmla="*/ 7 h 26"/>
                <a:gd name="T10" fmla="*/ 23 w 42"/>
                <a:gd name="T11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6">
                  <a:moveTo>
                    <a:pt x="23" y="18"/>
                  </a:moveTo>
                  <a:cubicBezTo>
                    <a:pt x="26" y="10"/>
                    <a:pt x="30" y="6"/>
                    <a:pt x="36" y="6"/>
                  </a:cubicBezTo>
                  <a:cubicBezTo>
                    <a:pt x="42" y="6"/>
                    <a:pt x="41" y="4"/>
                    <a:pt x="30" y="2"/>
                  </a:cubicBezTo>
                  <a:cubicBezTo>
                    <a:pt x="19" y="0"/>
                    <a:pt x="27" y="0"/>
                    <a:pt x="19" y="0"/>
                  </a:cubicBezTo>
                  <a:cubicBezTo>
                    <a:pt x="19" y="0"/>
                    <a:pt x="0" y="1"/>
                    <a:pt x="3" y="7"/>
                  </a:cubicBezTo>
                  <a:cubicBezTo>
                    <a:pt x="6" y="13"/>
                    <a:pt x="20" y="26"/>
                    <a:pt x="23" y="1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2" name="Freeform 562">
              <a:extLst>
                <a:ext uri="{FF2B5EF4-FFF2-40B4-BE49-F238E27FC236}">
                  <a16:creationId xmlns:a16="http://schemas.microsoft.com/office/drawing/2014/main" id="{9F542FEC-61DA-1247-9661-2713CAA06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" y="996"/>
              <a:ext cx="16" cy="9"/>
            </a:xfrm>
            <a:custGeom>
              <a:avLst/>
              <a:gdLst>
                <a:gd name="T0" fmla="*/ 20 w 62"/>
                <a:gd name="T1" fmla="*/ 16 h 37"/>
                <a:gd name="T2" fmla="*/ 15 w 62"/>
                <a:gd name="T3" fmla="*/ 28 h 37"/>
                <a:gd name="T4" fmla="*/ 62 w 62"/>
                <a:gd name="T5" fmla="*/ 29 h 37"/>
                <a:gd name="T6" fmla="*/ 51 w 62"/>
                <a:gd name="T7" fmla="*/ 16 h 37"/>
                <a:gd name="T8" fmla="*/ 33 w 62"/>
                <a:gd name="T9" fmla="*/ 10 h 37"/>
                <a:gd name="T10" fmla="*/ 20 w 62"/>
                <a:gd name="T11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37">
                  <a:moveTo>
                    <a:pt x="20" y="16"/>
                  </a:moveTo>
                  <a:cubicBezTo>
                    <a:pt x="2" y="16"/>
                    <a:pt x="0" y="26"/>
                    <a:pt x="15" y="28"/>
                  </a:cubicBezTo>
                  <a:cubicBezTo>
                    <a:pt x="30" y="30"/>
                    <a:pt x="62" y="37"/>
                    <a:pt x="62" y="29"/>
                  </a:cubicBezTo>
                  <a:cubicBezTo>
                    <a:pt x="62" y="21"/>
                    <a:pt x="57" y="16"/>
                    <a:pt x="51" y="16"/>
                  </a:cubicBezTo>
                  <a:cubicBezTo>
                    <a:pt x="45" y="16"/>
                    <a:pt x="40" y="0"/>
                    <a:pt x="33" y="10"/>
                  </a:cubicBezTo>
                  <a:cubicBezTo>
                    <a:pt x="33" y="10"/>
                    <a:pt x="38" y="16"/>
                    <a:pt x="20" y="1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3" name="Freeform 563">
              <a:extLst>
                <a:ext uri="{FF2B5EF4-FFF2-40B4-BE49-F238E27FC236}">
                  <a16:creationId xmlns:a16="http://schemas.microsoft.com/office/drawing/2014/main" id="{7DA87C3B-F5B2-BC47-A20C-296BD49B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9" y="1001"/>
              <a:ext cx="7" cy="5"/>
            </a:xfrm>
            <a:custGeom>
              <a:avLst/>
              <a:gdLst>
                <a:gd name="T0" fmla="*/ 8 w 28"/>
                <a:gd name="T1" fmla="*/ 6 h 20"/>
                <a:gd name="T2" fmla="*/ 14 w 28"/>
                <a:gd name="T3" fmla="*/ 20 h 20"/>
                <a:gd name="T4" fmla="*/ 8 w 28"/>
                <a:gd name="T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0">
                  <a:moveTo>
                    <a:pt x="8" y="6"/>
                  </a:moveTo>
                  <a:cubicBezTo>
                    <a:pt x="8" y="6"/>
                    <a:pt x="0" y="20"/>
                    <a:pt x="14" y="20"/>
                  </a:cubicBezTo>
                  <a:cubicBezTo>
                    <a:pt x="28" y="20"/>
                    <a:pt x="17" y="0"/>
                    <a:pt x="8" y="6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4" name="Freeform 564">
              <a:extLst>
                <a:ext uri="{FF2B5EF4-FFF2-40B4-BE49-F238E27FC236}">
                  <a16:creationId xmlns:a16="http://schemas.microsoft.com/office/drawing/2014/main" id="{93A7369A-0D09-C145-8236-943CF4A98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5" y="998"/>
              <a:ext cx="4" cy="8"/>
            </a:xfrm>
            <a:custGeom>
              <a:avLst/>
              <a:gdLst>
                <a:gd name="T0" fmla="*/ 6 w 15"/>
                <a:gd name="T1" fmla="*/ 10 h 32"/>
                <a:gd name="T2" fmla="*/ 7 w 15"/>
                <a:gd name="T3" fmla="*/ 31 h 32"/>
                <a:gd name="T4" fmla="*/ 15 w 15"/>
                <a:gd name="T5" fmla="*/ 23 h 32"/>
                <a:gd name="T6" fmla="*/ 6 w 15"/>
                <a:gd name="T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2">
                  <a:moveTo>
                    <a:pt x="6" y="10"/>
                  </a:moveTo>
                  <a:cubicBezTo>
                    <a:pt x="6" y="10"/>
                    <a:pt x="0" y="30"/>
                    <a:pt x="7" y="31"/>
                  </a:cubicBezTo>
                  <a:cubicBezTo>
                    <a:pt x="14" y="32"/>
                    <a:pt x="15" y="29"/>
                    <a:pt x="15" y="23"/>
                  </a:cubicBezTo>
                  <a:cubicBezTo>
                    <a:pt x="15" y="17"/>
                    <a:pt x="10" y="0"/>
                    <a:pt x="6" y="1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5" name="Freeform 565">
              <a:extLst>
                <a:ext uri="{FF2B5EF4-FFF2-40B4-BE49-F238E27FC236}">
                  <a16:creationId xmlns:a16="http://schemas.microsoft.com/office/drawing/2014/main" id="{2A4E620A-FCD1-7F4F-9449-9ECD9FB21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" y="973"/>
              <a:ext cx="9" cy="6"/>
            </a:xfrm>
            <a:custGeom>
              <a:avLst/>
              <a:gdLst>
                <a:gd name="T0" fmla="*/ 15 w 34"/>
                <a:gd name="T1" fmla="*/ 3 h 23"/>
                <a:gd name="T2" fmla="*/ 6 w 34"/>
                <a:gd name="T3" fmla="*/ 15 h 23"/>
                <a:gd name="T4" fmla="*/ 28 w 34"/>
                <a:gd name="T5" fmla="*/ 16 h 23"/>
                <a:gd name="T6" fmla="*/ 15 w 34"/>
                <a:gd name="T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3">
                  <a:moveTo>
                    <a:pt x="15" y="3"/>
                  </a:moveTo>
                  <a:cubicBezTo>
                    <a:pt x="15" y="3"/>
                    <a:pt x="0" y="11"/>
                    <a:pt x="6" y="15"/>
                  </a:cubicBezTo>
                  <a:cubicBezTo>
                    <a:pt x="12" y="19"/>
                    <a:pt x="22" y="23"/>
                    <a:pt x="28" y="16"/>
                  </a:cubicBezTo>
                  <a:cubicBezTo>
                    <a:pt x="34" y="9"/>
                    <a:pt x="27" y="0"/>
                    <a:pt x="15" y="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6" name="Freeform 566">
              <a:extLst>
                <a:ext uri="{FF2B5EF4-FFF2-40B4-BE49-F238E27FC236}">
                  <a16:creationId xmlns:a16="http://schemas.microsoft.com/office/drawing/2014/main" id="{59FA2213-5358-E440-B11B-746AA9B91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4" y="976"/>
              <a:ext cx="4" cy="9"/>
            </a:xfrm>
            <a:custGeom>
              <a:avLst/>
              <a:gdLst>
                <a:gd name="T0" fmla="*/ 8 w 19"/>
                <a:gd name="T1" fmla="*/ 7 h 36"/>
                <a:gd name="T2" fmla="*/ 0 w 19"/>
                <a:gd name="T3" fmla="*/ 20 h 36"/>
                <a:gd name="T4" fmla="*/ 18 w 19"/>
                <a:gd name="T5" fmla="*/ 26 h 36"/>
                <a:gd name="T6" fmla="*/ 8 w 19"/>
                <a:gd name="T7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6">
                  <a:moveTo>
                    <a:pt x="8" y="7"/>
                  </a:moveTo>
                  <a:cubicBezTo>
                    <a:pt x="8" y="7"/>
                    <a:pt x="0" y="12"/>
                    <a:pt x="0" y="20"/>
                  </a:cubicBezTo>
                  <a:cubicBezTo>
                    <a:pt x="0" y="28"/>
                    <a:pt x="17" y="36"/>
                    <a:pt x="18" y="26"/>
                  </a:cubicBezTo>
                  <a:cubicBezTo>
                    <a:pt x="19" y="16"/>
                    <a:pt x="17" y="0"/>
                    <a:pt x="8" y="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7" name="Freeform 567">
              <a:extLst>
                <a:ext uri="{FF2B5EF4-FFF2-40B4-BE49-F238E27FC236}">
                  <a16:creationId xmlns:a16="http://schemas.microsoft.com/office/drawing/2014/main" id="{8F932C81-7AB5-8545-A238-EFCBCC8BB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1" y="1071"/>
              <a:ext cx="33" cy="14"/>
            </a:xfrm>
            <a:custGeom>
              <a:avLst/>
              <a:gdLst>
                <a:gd name="T0" fmla="*/ 119 w 133"/>
                <a:gd name="T1" fmla="*/ 8 h 56"/>
                <a:gd name="T2" fmla="*/ 100 w 133"/>
                <a:gd name="T3" fmla="*/ 10 h 56"/>
                <a:gd name="T4" fmla="*/ 83 w 133"/>
                <a:gd name="T5" fmla="*/ 8 h 56"/>
                <a:gd name="T6" fmla="*/ 63 w 133"/>
                <a:gd name="T7" fmla="*/ 1 h 56"/>
                <a:gd name="T8" fmla="*/ 46 w 133"/>
                <a:gd name="T9" fmla="*/ 9 h 56"/>
                <a:gd name="T10" fmla="*/ 26 w 133"/>
                <a:gd name="T11" fmla="*/ 22 h 56"/>
                <a:gd name="T12" fmla="*/ 5 w 133"/>
                <a:gd name="T13" fmla="*/ 29 h 56"/>
                <a:gd name="T14" fmla="*/ 27 w 133"/>
                <a:gd name="T15" fmla="*/ 39 h 56"/>
                <a:gd name="T16" fmla="*/ 47 w 133"/>
                <a:gd name="T17" fmla="*/ 47 h 56"/>
                <a:gd name="T18" fmla="*/ 66 w 133"/>
                <a:gd name="T19" fmla="*/ 56 h 56"/>
                <a:gd name="T20" fmla="*/ 96 w 133"/>
                <a:gd name="T21" fmla="*/ 49 h 56"/>
                <a:gd name="T22" fmla="*/ 119 w 133"/>
                <a:gd name="T23" fmla="*/ 40 h 56"/>
                <a:gd name="T24" fmla="*/ 128 w 133"/>
                <a:gd name="T25" fmla="*/ 29 h 56"/>
                <a:gd name="T26" fmla="*/ 132 w 133"/>
                <a:gd name="T27" fmla="*/ 17 h 56"/>
                <a:gd name="T28" fmla="*/ 119 w 133"/>
                <a:gd name="T2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3" h="56">
                  <a:moveTo>
                    <a:pt x="119" y="8"/>
                  </a:moveTo>
                  <a:cubicBezTo>
                    <a:pt x="111" y="8"/>
                    <a:pt x="109" y="7"/>
                    <a:pt x="100" y="10"/>
                  </a:cubicBezTo>
                  <a:cubicBezTo>
                    <a:pt x="100" y="10"/>
                    <a:pt x="87" y="13"/>
                    <a:pt x="83" y="8"/>
                  </a:cubicBezTo>
                  <a:cubicBezTo>
                    <a:pt x="79" y="3"/>
                    <a:pt x="73" y="1"/>
                    <a:pt x="63" y="1"/>
                  </a:cubicBezTo>
                  <a:cubicBezTo>
                    <a:pt x="53" y="0"/>
                    <a:pt x="49" y="5"/>
                    <a:pt x="46" y="9"/>
                  </a:cubicBezTo>
                  <a:cubicBezTo>
                    <a:pt x="43" y="13"/>
                    <a:pt x="39" y="22"/>
                    <a:pt x="26" y="22"/>
                  </a:cubicBezTo>
                  <a:cubicBezTo>
                    <a:pt x="13" y="22"/>
                    <a:pt x="0" y="26"/>
                    <a:pt x="5" y="29"/>
                  </a:cubicBezTo>
                  <a:cubicBezTo>
                    <a:pt x="11" y="33"/>
                    <a:pt x="17" y="39"/>
                    <a:pt x="27" y="39"/>
                  </a:cubicBezTo>
                  <a:cubicBezTo>
                    <a:pt x="37" y="39"/>
                    <a:pt x="41" y="43"/>
                    <a:pt x="47" y="47"/>
                  </a:cubicBezTo>
                  <a:cubicBezTo>
                    <a:pt x="52" y="51"/>
                    <a:pt x="57" y="56"/>
                    <a:pt x="66" y="56"/>
                  </a:cubicBezTo>
                  <a:cubicBezTo>
                    <a:pt x="75" y="56"/>
                    <a:pt x="93" y="55"/>
                    <a:pt x="96" y="49"/>
                  </a:cubicBezTo>
                  <a:cubicBezTo>
                    <a:pt x="99" y="44"/>
                    <a:pt x="119" y="45"/>
                    <a:pt x="119" y="40"/>
                  </a:cubicBezTo>
                  <a:cubicBezTo>
                    <a:pt x="120" y="35"/>
                    <a:pt x="123" y="30"/>
                    <a:pt x="128" y="29"/>
                  </a:cubicBezTo>
                  <a:cubicBezTo>
                    <a:pt x="133" y="27"/>
                    <a:pt x="133" y="23"/>
                    <a:pt x="132" y="17"/>
                  </a:cubicBezTo>
                  <a:cubicBezTo>
                    <a:pt x="131" y="11"/>
                    <a:pt x="127" y="8"/>
                    <a:pt x="119" y="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8" name="Freeform 568">
              <a:extLst>
                <a:ext uri="{FF2B5EF4-FFF2-40B4-BE49-F238E27FC236}">
                  <a16:creationId xmlns:a16="http://schemas.microsoft.com/office/drawing/2014/main" id="{BD06134A-91EE-EB47-8418-3C1D7FF76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" y="1075"/>
              <a:ext cx="6" cy="5"/>
            </a:xfrm>
            <a:custGeom>
              <a:avLst/>
              <a:gdLst>
                <a:gd name="T0" fmla="*/ 6 w 27"/>
                <a:gd name="T1" fmla="*/ 18 h 20"/>
                <a:gd name="T2" fmla="*/ 18 w 27"/>
                <a:gd name="T3" fmla="*/ 17 h 20"/>
                <a:gd name="T4" fmla="*/ 24 w 27"/>
                <a:gd name="T5" fmla="*/ 10 h 20"/>
                <a:gd name="T6" fmla="*/ 10 w 27"/>
                <a:gd name="T7" fmla="*/ 4 h 20"/>
                <a:gd name="T8" fmla="*/ 6 w 27"/>
                <a:gd name="T9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0">
                  <a:moveTo>
                    <a:pt x="6" y="18"/>
                  </a:moveTo>
                  <a:cubicBezTo>
                    <a:pt x="11" y="20"/>
                    <a:pt x="12" y="20"/>
                    <a:pt x="18" y="17"/>
                  </a:cubicBezTo>
                  <a:cubicBezTo>
                    <a:pt x="25" y="14"/>
                    <a:pt x="27" y="12"/>
                    <a:pt x="24" y="10"/>
                  </a:cubicBezTo>
                  <a:cubicBezTo>
                    <a:pt x="20" y="8"/>
                    <a:pt x="14" y="0"/>
                    <a:pt x="10" y="4"/>
                  </a:cubicBezTo>
                  <a:cubicBezTo>
                    <a:pt x="10" y="4"/>
                    <a:pt x="0" y="15"/>
                    <a:pt x="6" y="1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39" name="Freeform 569">
              <a:extLst>
                <a:ext uri="{FF2B5EF4-FFF2-40B4-BE49-F238E27FC236}">
                  <a16:creationId xmlns:a16="http://schemas.microsoft.com/office/drawing/2014/main" id="{73315B05-C580-754D-9AF6-CD10905D1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" y="1029"/>
              <a:ext cx="14" cy="17"/>
            </a:xfrm>
            <a:custGeom>
              <a:avLst/>
              <a:gdLst>
                <a:gd name="T0" fmla="*/ 36 w 54"/>
                <a:gd name="T1" fmla="*/ 54 h 66"/>
                <a:gd name="T2" fmla="*/ 46 w 54"/>
                <a:gd name="T3" fmla="*/ 30 h 66"/>
                <a:gd name="T4" fmla="*/ 29 w 54"/>
                <a:gd name="T5" fmla="*/ 6 h 66"/>
                <a:gd name="T6" fmla="*/ 15 w 54"/>
                <a:gd name="T7" fmla="*/ 10 h 66"/>
                <a:gd name="T8" fmla="*/ 11 w 54"/>
                <a:gd name="T9" fmla="*/ 40 h 66"/>
                <a:gd name="T10" fmla="*/ 7 w 54"/>
                <a:gd name="T11" fmla="*/ 56 h 66"/>
                <a:gd name="T12" fmla="*/ 36 w 54"/>
                <a:gd name="T13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66">
                  <a:moveTo>
                    <a:pt x="36" y="54"/>
                  </a:moveTo>
                  <a:cubicBezTo>
                    <a:pt x="37" y="42"/>
                    <a:pt x="54" y="40"/>
                    <a:pt x="46" y="30"/>
                  </a:cubicBezTo>
                  <a:cubicBezTo>
                    <a:pt x="38" y="20"/>
                    <a:pt x="36" y="12"/>
                    <a:pt x="29" y="6"/>
                  </a:cubicBezTo>
                  <a:cubicBezTo>
                    <a:pt x="22" y="0"/>
                    <a:pt x="13" y="0"/>
                    <a:pt x="15" y="10"/>
                  </a:cubicBezTo>
                  <a:cubicBezTo>
                    <a:pt x="15" y="10"/>
                    <a:pt x="22" y="39"/>
                    <a:pt x="11" y="40"/>
                  </a:cubicBezTo>
                  <a:cubicBezTo>
                    <a:pt x="0" y="41"/>
                    <a:pt x="3" y="51"/>
                    <a:pt x="7" y="56"/>
                  </a:cubicBezTo>
                  <a:cubicBezTo>
                    <a:pt x="11" y="61"/>
                    <a:pt x="35" y="66"/>
                    <a:pt x="36" y="54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0" name="Freeform 570">
              <a:extLst>
                <a:ext uri="{FF2B5EF4-FFF2-40B4-BE49-F238E27FC236}">
                  <a16:creationId xmlns:a16="http://schemas.microsoft.com/office/drawing/2014/main" id="{AD967E1C-8EAB-5740-AC05-FF4085477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5" y="1077"/>
              <a:ext cx="17" cy="16"/>
            </a:xfrm>
            <a:custGeom>
              <a:avLst/>
              <a:gdLst>
                <a:gd name="T0" fmla="*/ 14 w 64"/>
                <a:gd name="T1" fmla="*/ 27 h 63"/>
                <a:gd name="T2" fmla="*/ 38 w 64"/>
                <a:gd name="T3" fmla="*/ 51 h 63"/>
                <a:gd name="T4" fmla="*/ 64 w 64"/>
                <a:gd name="T5" fmla="*/ 54 h 63"/>
                <a:gd name="T6" fmla="*/ 49 w 64"/>
                <a:gd name="T7" fmla="*/ 35 h 63"/>
                <a:gd name="T8" fmla="*/ 10 w 64"/>
                <a:gd name="T9" fmla="*/ 6 h 63"/>
                <a:gd name="T10" fmla="*/ 14 w 64"/>
                <a:gd name="T11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3">
                  <a:moveTo>
                    <a:pt x="14" y="27"/>
                  </a:moveTo>
                  <a:cubicBezTo>
                    <a:pt x="28" y="36"/>
                    <a:pt x="31" y="39"/>
                    <a:pt x="38" y="51"/>
                  </a:cubicBezTo>
                  <a:cubicBezTo>
                    <a:pt x="45" y="63"/>
                    <a:pt x="64" y="61"/>
                    <a:pt x="64" y="54"/>
                  </a:cubicBezTo>
                  <a:cubicBezTo>
                    <a:pt x="64" y="47"/>
                    <a:pt x="59" y="44"/>
                    <a:pt x="49" y="35"/>
                  </a:cubicBezTo>
                  <a:cubicBezTo>
                    <a:pt x="39" y="26"/>
                    <a:pt x="17" y="0"/>
                    <a:pt x="10" y="6"/>
                  </a:cubicBezTo>
                  <a:cubicBezTo>
                    <a:pt x="10" y="6"/>
                    <a:pt x="0" y="18"/>
                    <a:pt x="14" y="2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1" name="Freeform 571">
              <a:extLst>
                <a:ext uri="{FF2B5EF4-FFF2-40B4-BE49-F238E27FC236}">
                  <a16:creationId xmlns:a16="http://schemas.microsoft.com/office/drawing/2014/main" id="{AC3C498D-7305-6346-A443-09C0DB4B9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3" y="1078"/>
              <a:ext cx="18" cy="14"/>
            </a:xfrm>
            <a:custGeom>
              <a:avLst/>
              <a:gdLst>
                <a:gd name="T0" fmla="*/ 40 w 72"/>
                <a:gd name="T1" fmla="*/ 51 h 57"/>
                <a:gd name="T2" fmla="*/ 61 w 72"/>
                <a:gd name="T3" fmla="*/ 38 h 57"/>
                <a:gd name="T4" fmla="*/ 71 w 72"/>
                <a:gd name="T5" fmla="*/ 22 h 57"/>
                <a:gd name="T6" fmla="*/ 56 w 72"/>
                <a:gd name="T7" fmla="*/ 7 h 57"/>
                <a:gd name="T8" fmla="*/ 25 w 72"/>
                <a:gd name="T9" fmla="*/ 7 h 57"/>
                <a:gd name="T10" fmla="*/ 10 w 72"/>
                <a:gd name="T11" fmla="*/ 17 h 57"/>
                <a:gd name="T12" fmla="*/ 2 w 72"/>
                <a:gd name="T13" fmla="*/ 28 h 57"/>
                <a:gd name="T14" fmla="*/ 11 w 72"/>
                <a:gd name="T15" fmla="*/ 44 h 57"/>
                <a:gd name="T16" fmla="*/ 40 w 72"/>
                <a:gd name="T17" fmla="*/ 5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57">
                  <a:moveTo>
                    <a:pt x="40" y="51"/>
                  </a:moveTo>
                  <a:cubicBezTo>
                    <a:pt x="45" y="45"/>
                    <a:pt x="61" y="45"/>
                    <a:pt x="61" y="38"/>
                  </a:cubicBezTo>
                  <a:cubicBezTo>
                    <a:pt x="61" y="31"/>
                    <a:pt x="72" y="33"/>
                    <a:pt x="71" y="22"/>
                  </a:cubicBezTo>
                  <a:cubicBezTo>
                    <a:pt x="70" y="11"/>
                    <a:pt x="66" y="13"/>
                    <a:pt x="56" y="7"/>
                  </a:cubicBezTo>
                  <a:cubicBezTo>
                    <a:pt x="46" y="1"/>
                    <a:pt x="32" y="0"/>
                    <a:pt x="25" y="7"/>
                  </a:cubicBezTo>
                  <a:cubicBezTo>
                    <a:pt x="25" y="7"/>
                    <a:pt x="17" y="17"/>
                    <a:pt x="10" y="17"/>
                  </a:cubicBezTo>
                  <a:cubicBezTo>
                    <a:pt x="3" y="17"/>
                    <a:pt x="2" y="23"/>
                    <a:pt x="2" y="28"/>
                  </a:cubicBezTo>
                  <a:cubicBezTo>
                    <a:pt x="2" y="33"/>
                    <a:pt x="0" y="39"/>
                    <a:pt x="11" y="44"/>
                  </a:cubicBezTo>
                  <a:cubicBezTo>
                    <a:pt x="22" y="49"/>
                    <a:pt x="35" y="57"/>
                    <a:pt x="40" y="5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2" name="Freeform 572">
              <a:extLst>
                <a:ext uri="{FF2B5EF4-FFF2-40B4-BE49-F238E27FC236}">
                  <a16:creationId xmlns:a16="http://schemas.microsoft.com/office/drawing/2014/main" id="{EE78A04F-5EAF-7940-B165-5130007C1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7" y="1089"/>
              <a:ext cx="62" cy="23"/>
            </a:xfrm>
            <a:custGeom>
              <a:avLst/>
              <a:gdLst>
                <a:gd name="T0" fmla="*/ 6 w 245"/>
                <a:gd name="T1" fmla="*/ 69 h 93"/>
                <a:gd name="T2" fmla="*/ 28 w 245"/>
                <a:gd name="T3" fmla="*/ 82 h 93"/>
                <a:gd name="T4" fmla="*/ 53 w 245"/>
                <a:gd name="T5" fmla="*/ 70 h 93"/>
                <a:gd name="T6" fmla="*/ 89 w 245"/>
                <a:gd name="T7" fmla="*/ 72 h 93"/>
                <a:gd name="T8" fmla="*/ 113 w 245"/>
                <a:gd name="T9" fmla="*/ 80 h 93"/>
                <a:gd name="T10" fmla="*/ 156 w 245"/>
                <a:gd name="T11" fmla="*/ 91 h 93"/>
                <a:gd name="T12" fmla="*/ 229 w 245"/>
                <a:gd name="T13" fmla="*/ 93 h 93"/>
                <a:gd name="T14" fmla="*/ 245 w 245"/>
                <a:gd name="T15" fmla="*/ 76 h 93"/>
                <a:gd name="T16" fmla="*/ 235 w 245"/>
                <a:gd name="T17" fmla="*/ 55 h 93"/>
                <a:gd name="T18" fmla="*/ 211 w 245"/>
                <a:gd name="T19" fmla="*/ 36 h 93"/>
                <a:gd name="T20" fmla="*/ 173 w 245"/>
                <a:gd name="T21" fmla="*/ 16 h 93"/>
                <a:gd name="T22" fmla="*/ 152 w 245"/>
                <a:gd name="T23" fmla="*/ 3 h 93"/>
                <a:gd name="T24" fmla="*/ 126 w 245"/>
                <a:gd name="T25" fmla="*/ 6 h 93"/>
                <a:gd name="T26" fmla="*/ 109 w 245"/>
                <a:gd name="T27" fmla="*/ 14 h 93"/>
                <a:gd name="T28" fmla="*/ 82 w 245"/>
                <a:gd name="T29" fmla="*/ 22 h 93"/>
                <a:gd name="T30" fmla="*/ 57 w 245"/>
                <a:gd name="T31" fmla="*/ 53 h 93"/>
                <a:gd name="T32" fmla="*/ 35 w 245"/>
                <a:gd name="T33" fmla="*/ 61 h 93"/>
                <a:gd name="T34" fmla="*/ 6 w 245"/>
                <a:gd name="T35" fmla="*/ 6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5" h="93">
                  <a:moveTo>
                    <a:pt x="6" y="69"/>
                  </a:moveTo>
                  <a:cubicBezTo>
                    <a:pt x="12" y="79"/>
                    <a:pt x="22" y="88"/>
                    <a:pt x="28" y="82"/>
                  </a:cubicBezTo>
                  <a:cubicBezTo>
                    <a:pt x="34" y="76"/>
                    <a:pt x="35" y="70"/>
                    <a:pt x="53" y="70"/>
                  </a:cubicBezTo>
                  <a:cubicBezTo>
                    <a:pt x="71" y="70"/>
                    <a:pt x="83" y="65"/>
                    <a:pt x="89" y="72"/>
                  </a:cubicBezTo>
                  <a:cubicBezTo>
                    <a:pt x="95" y="79"/>
                    <a:pt x="111" y="75"/>
                    <a:pt x="113" y="80"/>
                  </a:cubicBezTo>
                  <a:cubicBezTo>
                    <a:pt x="115" y="85"/>
                    <a:pt x="139" y="89"/>
                    <a:pt x="156" y="91"/>
                  </a:cubicBezTo>
                  <a:cubicBezTo>
                    <a:pt x="173" y="93"/>
                    <a:pt x="222" y="93"/>
                    <a:pt x="229" y="93"/>
                  </a:cubicBezTo>
                  <a:cubicBezTo>
                    <a:pt x="236" y="93"/>
                    <a:pt x="245" y="88"/>
                    <a:pt x="245" y="76"/>
                  </a:cubicBezTo>
                  <a:cubicBezTo>
                    <a:pt x="245" y="64"/>
                    <a:pt x="245" y="56"/>
                    <a:pt x="235" y="55"/>
                  </a:cubicBezTo>
                  <a:cubicBezTo>
                    <a:pt x="225" y="54"/>
                    <a:pt x="234" y="43"/>
                    <a:pt x="211" y="36"/>
                  </a:cubicBezTo>
                  <a:cubicBezTo>
                    <a:pt x="188" y="29"/>
                    <a:pt x="183" y="19"/>
                    <a:pt x="173" y="16"/>
                  </a:cubicBezTo>
                  <a:cubicBezTo>
                    <a:pt x="163" y="13"/>
                    <a:pt x="164" y="3"/>
                    <a:pt x="152" y="3"/>
                  </a:cubicBezTo>
                  <a:cubicBezTo>
                    <a:pt x="140" y="3"/>
                    <a:pt x="126" y="0"/>
                    <a:pt x="126" y="6"/>
                  </a:cubicBezTo>
                  <a:cubicBezTo>
                    <a:pt x="126" y="12"/>
                    <a:pt x="119" y="15"/>
                    <a:pt x="109" y="14"/>
                  </a:cubicBezTo>
                  <a:cubicBezTo>
                    <a:pt x="109" y="14"/>
                    <a:pt x="88" y="11"/>
                    <a:pt x="82" y="22"/>
                  </a:cubicBezTo>
                  <a:cubicBezTo>
                    <a:pt x="76" y="33"/>
                    <a:pt x="63" y="47"/>
                    <a:pt x="57" y="53"/>
                  </a:cubicBezTo>
                  <a:cubicBezTo>
                    <a:pt x="51" y="59"/>
                    <a:pt x="51" y="61"/>
                    <a:pt x="35" y="61"/>
                  </a:cubicBezTo>
                  <a:cubicBezTo>
                    <a:pt x="19" y="61"/>
                    <a:pt x="0" y="59"/>
                    <a:pt x="6" y="69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3" name="Freeform 573">
              <a:extLst>
                <a:ext uri="{FF2B5EF4-FFF2-40B4-BE49-F238E27FC236}">
                  <a16:creationId xmlns:a16="http://schemas.microsoft.com/office/drawing/2014/main" id="{3B56D220-336A-5446-873B-3BDA65B84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" y="1015"/>
              <a:ext cx="139" cy="55"/>
            </a:xfrm>
            <a:custGeom>
              <a:avLst/>
              <a:gdLst>
                <a:gd name="T0" fmla="*/ 39 w 547"/>
                <a:gd name="T1" fmla="*/ 158 h 218"/>
                <a:gd name="T2" fmla="*/ 70 w 547"/>
                <a:gd name="T3" fmla="*/ 180 h 218"/>
                <a:gd name="T4" fmla="*/ 125 w 547"/>
                <a:gd name="T5" fmla="*/ 201 h 218"/>
                <a:gd name="T6" fmla="*/ 171 w 547"/>
                <a:gd name="T7" fmla="*/ 200 h 218"/>
                <a:gd name="T8" fmla="*/ 184 w 547"/>
                <a:gd name="T9" fmla="*/ 167 h 218"/>
                <a:gd name="T10" fmla="*/ 217 w 547"/>
                <a:gd name="T11" fmla="*/ 188 h 218"/>
                <a:gd name="T12" fmla="*/ 259 w 547"/>
                <a:gd name="T13" fmla="*/ 178 h 218"/>
                <a:gd name="T14" fmla="*/ 330 w 547"/>
                <a:gd name="T15" fmla="*/ 170 h 218"/>
                <a:gd name="T16" fmla="*/ 370 w 547"/>
                <a:gd name="T17" fmla="*/ 185 h 218"/>
                <a:gd name="T18" fmla="*/ 432 w 547"/>
                <a:gd name="T19" fmla="*/ 176 h 218"/>
                <a:gd name="T20" fmla="*/ 497 w 547"/>
                <a:gd name="T21" fmla="*/ 155 h 218"/>
                <a:gd name="T22" fmla="*/ 515 w 547"/>
                <a:gd name="T23" fmla="*/ 123 h 218"/>
                <a:gd name="T24" fmla="*/ 517 w 547"/>
                <a:gd name="T25" fmla="*/ 107 h 218"/>
                <a:gd name="T26" fmla="*/ 534 w 547"/>
                <a:gd name="T27" fmla="*/ 85 h 218"/>
                <a:gd name="T28" fmla="*/ 460 w 547"/>
                <a:gd name="T29" fmla="*/ 61 h 218"/>
                <a:gd name="T30" fmla="*/ 425 w 547"/>
                <a:gd name="T31" fmla="*/ 50 h 218"/>
                <a:gd name="T32" fmla="*/ 394 w 547"/>
                <a:gd name="T33" fmla="*/ 67 h 218"/>
                <a:gd name="T34" fmla="*/ 367 w 547"/>
                <a:gd name="T35" fmla="*/ 110 h 218"/>
                <a:gd name="T36" fmla="*/ 396 w 547"/>
                <a:gd name="T37" fmla="*/ 149 h 218"/>
                <a:gd name="T38" fmla="*/ 358 w 547"/>
                <a:gd name="T39" fmla="*/ 135 h 218"/>
                <a:gd name="T40" fmla="*/ 341 w 547"/>
                <a:gd name="T41" fmla="*/ 85 h 218"/>
                <a:gd name="T42" fmla="*/ 385 w 547"/>
                <a:gd name="T43" fmla="*/ 67 h 218"/>
                <a:gd name="T44" fmla="*/ 328 w 547"/>
                <a:gd name="T45" fmla="*/ 30 h 218"/>
                <a:gd name="T46" fmla="*/ 283 w 547"/>
                <a:gd name="T47" fmla="*/ 26 h 218"/>
                <a:gd name="T48" fmla="*/ 263 w 547"/>
                <a:gd name="T49" fmla="*/ 71 h 218"/>
                <a:gd name="T50" fmla="*/ 244 w 547"/>
                <a:gd name="T51" fmla="*/ 83 h 218"/>
                <a:gd name="T52" fmla="*/ 224 w 547"/>
                <a:gd name="T53" fmla="*/ 60 h 218"/>
                <a:gd name="T54" fmla="*/ 181 w 547"/>
                <a:gd name="T55" fmla="*/ 33 h 218"/>
                <a:gd name="T56" fmla="*/ 131 w 547"/>
                <a:gd name="T57" fmla="*/ 2 h 218"/>
                <a:gd name="T58" fmla="*/ 101 w 547"/>
                <a:gd name="T59" fmla="*/ 18 h 218"/>
                <a:gd name="T60" fmla="*/ 60 w 547"/>
                <a:gd name="T61" fmla="*/ 35 h 218"/>
                <a:gd name="T62" fmla="*/ 30 w 547"/>
                <a:gd name="T63" fmla="*/ 59 h 218"/>
                <a:gd name="T64" fmla="*/ 20 w 547"/>
                <a:gd name="T65" fmla="*/ 91 h 218"/>
                <a:gd name="T66" fmla="*/ 13 w 547"/>
                <a:gd name="T67" fmla="*/ 115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7" h="218">
                  <a:moveTo>
                    <a:pt x="14" y="140"/>
                  </a:moveTo>
                  <a:cubicBezTo>
                    <a:pt x="24" y="145"/>
                    <a:pt x="39" y="152"/>
                    <a:pt x="39" y="158"/>
                  </a:cubicBezTo>
                  <a:cubicBezTo>
                    <a:pt x="39" y="164"/>
                    <a:pt x="40" y="167"/>
                    <a:pt x="52" y="167"/>
                  </a:cubicBezTo>
                  <a:cubicBezTo>
                    <a:pt x="64" y="167"/>
                    <a:pt x="64" y="172"/>
                    <a:pt x="70" y="180"/>
                  </a:cubicBezTo>
                  <a:cubicBezTo>
                    <a:pt x="76" y="188"/>
                    <a:pt x="74" y="196"/>
                    <a:pt x="91" y="196"/>
                  </a:cubicBezTo>
                  <a:cubicBezTo>
                    <a:pt x="108" y="196"/>
                    <a:pt x="116" y="190"/>
                    <a:pt x="125" y="201"/>
                  </a:cubicBezTo>
                  <a:cubicBezTo>
                    <a:pt x="134" y="212"/>
                    <a:pt x="147" y="218"/>
                    <a:pt x="155" y="213"/>
                  </a:cubicBezTo>
                  <a:cubicBezTo>
                    <a:pt x="163" y="208"/>
                    <a:pt x="169" y="207"/>
                    <a:pt x="171" y="200"/>
                  </a:cubicBezTo>
                  <a:cubicBezTo>
                    <a:pt x="173" y="193"/>
                    <a:pt x="170" y="186"/>
                    <a:pt x="175" y="181"/>
                  </a:cubicBezTo>
                  <a:cubicBezTo>
                    <a:pt x="180" y="176"/>
                    <a:pt x="172" y="166"/>
                    <a:pt x="184" y="167"/>
                  </a:cubicBezTo>
                  <a:cubicBezTo>
                    <a:pt x="196" y="168"/>
                    <a:pt x="203" y="175"/>
                    <a:pt x="203" y="181"/>
                  </a:cubicBezTo>
                  <a:cubicBezTo>
                    <a:pt x="203" y="187"/>
                    <a:pt x="209" y="187"/>
                    <a:pt x="217" y="188"/>
                  </a:cubicBezTo>
                  <a:cubicBezTo>
                    <a:pt x="225" y="189"/>
                    <a:pt x="233" y="195"/>
                    <a:pt x="238" y="187"/>
                  </a:cubicBezTo>
                  <a:cubicBezTo>
                    <a:pt x="243" y="179"/>
                    <a:pt x="242" y="177"/>
                    <a:pt x="259" y="178"/>
                  </a:cubicBezTo>
                  <a:cubicBezTo>
                    <a:pt x="276" y="179"/>
                    <a:pt x="282" y="172"/>
                    <a:pt x="295" y="171"/>
                  </a:cubicBezTo>
                  <a:cubicBezTo>
                    <a:pt x="308" y="170"/>
                    <a:pt x="321" y="163"/>
                    <a:pt x="330" y="170"/>
                  </a:cubicBezTo>
                  <a:cubicBezTo>
                    <a:pt x="339" y="177"/>
                    <a:pt x="341" y="189"/>
                    <a:pt x="353" y="190"/>
                  </a:cubicBezTo>
                  <a:cubicBezTo>
                    <a:pt x="365" y="191"/>
                    <a:pt x="370" y="193"/>
                    <a:pt x="370" y="185"/>
                  </a:cubicBezTo>
                  <a:cubicBezTo>
                    <a:pt x="370" y="177"/>
                    <a:pt x="389" y="178"/>
                    <a:pt x="399" y="179"/>
                  </a:cubicBezTo>
                  <a:cubicBezTo>
                    <a:pt x="409" y="180"/>
                    <a:pt x="430" y="187"/>
                    <a:pt x="432" y="176"/>
                  </a:cubicBezTo>
                  <a:cubicBezTo>
                    <a:pt x="434" y="165"/>
                    <a:pt x="445" y="164"/>
                    <a:pt x="456" y="164"/>
                  </a:cubicBezTo>
                  <a:cubicBezTo>
                    <a:pt x="467" y="164"/>
                    <a:pt x="485" y="165"/>
                    <a:pt x="497" y="155"/>
                  </a:cubicBezTo>
                  <a:cubicBezTo>
                    <a:pt x="509" y="145"/>
                    <a:pt x="497" y="133"/>
                    <a:pt x="509" y="133"/>
                  </a:cubicBezTo>
                  <a:cubicBezTo>
                    <a:pt x="521" y="133"/>
                    <a:pt x="523" y="122"/>
                    <a:pt x="515" y="123"/>
                  </a:cubicBezTo>
                  <a:cubicBezTo>
                    <a:pt x="507" y="124"/>
                    <a:pt x="507" y="119"/>
                    <a:pt x="507" y="112"/>
                  </a:cubicBezTo>
                  <a:cubicBezTo>
                    <a:pt x="507" y="105"/>
                    <a:pt x="506" y="107"/>
                    <a:pt x="517" y="107"/>
                  </a:cubicBezTo>
                  <a:cubicBezTo>
                    <a:pt x="528" y="107"/>
                    <a:pt x="521" y="99"/>
                    <a:pt x="530" y="98"/>
                  </a:cubicBezTo>
                  <a:cubicBezTo>
                    <a:pt x="539" y="97"/>
                    <a:pt x="547" y="86"/>
                    <a:pt x="534" y="85"/>
                  </a:cubicBezTo>
                  <a:cubicBezTo>
                    <a:pt x="521" y="84"/>
                    <a:pt x="510" y="81"/>
                    <a:pt x="493" y="74"/>
                  </a:cubicBezTo>
                  <a:cubicBezTo>
                    <a:pt x="476" y="67"/>
                    <a:pt x="469" y="60"/>
                    <a:pt x="460" y="61"/>
                  </a:cubicBezTo>
                  <a:cubicBezTo>
                    <a:pt x="451" y="62"/>
                    <a:pt x="449" y="62"/>
                    <a:pt x="443" y="51"/>
                  </a:cubicBezTo>
                  <a:cubicBezTo>
                    <a:pt x="437" y="40"/>
                    <a:pt x="433" y="49"/>
                    <a:pt x="425" y="50"/>
                  </a:cubicBezTo>
                  <a:cubicBezTo>
                    <a:pt x="417" y="51"/>
                    <a:pt x="423" y="62"/>
                    <a:pt x="408" y="60"/>
                  </a:cubicBezTo>
                  <a:cubicBezTo>
                    <a:pt x="393" y="58"/>
                    <a:pt x="390" y="62"/>
                    <a:pt x="394" y="67"/>
                  </a:cubicBezTo>
                  <a:cubicBezTo>
                    <a:pt x="398" y="72"/>
                    <a:pt x="405" y="91"/>
                    <a:pt x="385" y="92"/>
                  </a:cubicBezTo>
                  <a:cubicBezTo>
                    <a:pt x="365" y="93"/>
                    <a:pt x="367" y="106"/>
                    <a:pt x="367" y="110"/>
                  </a:cubicBezTo>
                  <a:cubicBezTo>
                    <a:pt x="367" y="114"/>
                    <a:pt x="367" y="122"/>
                    <a:pt x="376" y="126"/>
                  </a:cubicBezTo>
                  <a:cubicBezTo>
                    <a:pt x="385" y="130"/>
                    <a:pt x="398" y="140"/>
                    <a:pt x="396" y="149"/>
                  </a:cubicBezTo>
                  <a:cubicBezTo>
                    <a:pt x="394" y="158"/>
                    <a:pt x="388" y="160"/>
                    <a:pt x="376" y="159"/>
                  </a:cubicBezTo>
                  <a:cubicBezTo>
                    <a:pt x="364" y="158"/>
                    <a:pt x="372" y="144"/>
                    <a:pt x="358" y="135"/>
                  </a:cubicBezTo>
                  <a:cubicBezTo>
                    <a:pt x="344" y="126"/>
                    <a:pt x="340" y="103"/>
                    <a:pt x="335" y="100"/>
                  </a:cubicBezTo>
                  <a:cubicBezTo>
                    <a:pt x="330" y="97"/>
                    <a:pt x="327" y="88"/>
                    <a:pt x="341" y="85"/>
                  </a:cubicBezTo>
                  <a:cubicBezTo>
                    <a:pt x="355" y="82"/>
                    <a:pt x="350" y="72"/>
                    <a:pt x="363" y="72"/>
                  </a:cubicBezTo>
                  <a:cubicBezTo>
                    <a:pt x="376" y="72"/>
                    <a:pt x="383" y="78"/>
                    <a:pt x="385" y="67"/>
                  </a:cubicBezTo>
                  <a:cubicBezTo>
                    <a:pt x="387" y="56"/>
                    <a:pt x="371" y="54"/>
                    <a:pt x="361" y="49"/>
                  </a:cubicBezTo>
                  <a:cubicBezTo>
                    <a:pt x="351" y="44"/>
                    <a:pt x="333" y="38"/>
                    <a:pt x="328" y="30"/>
                  </a:cubicBezTo>
                  <a:cubicBezTo>
                    <a:pt x="323" y="22"/>
                    <a:pt x="313" y="19"/>
                    <a:pt x="302" y="19"/>
                  </a:cubicBezTo>
                  <a:cubicBezTo>
                    <a:pt x="291" y="19"/>
                    <a:pt x="293" y="25"/>
                    <a:pt x="283" y="26"/>
                  </a:cubicBezTo>
                  <a:cubicBezTo>
                    <a:pt x="273" y="27"/>
                    <a:pt x="263" y="32"/>
                    <a:pt x="263" y="44"/>
                  </a:cubicBezTo>
                  <a:cubicBezTo>
                    <a:pt x="263" y="56"/>
                    <a:pt x="259" y="67"/>
                    <a:pt x="263" y="71"/>
                  </a:cubicBezTo>
                  <a:cubicBezTo>
                    <a:pt x="267" y="75"/>
                    <a:pt x="274" y="79"/>
                    <a:pt x="263" y="85"/>
                  </a:cubicBezTo>
                  <a:cubicBezTo>
                    <a:pt x="252" y="91"/>
                    <a:pt x="247" y="89"/>
                    <a:pt x="244" y="83"/>
                  </a:cubicBezTo>
                  <a:cubicBezTo>
                    <a:pt x="241" y="77"/>
                    <a:pt x="237" y="80"/>
                    <a:pt x="235" y="70"/>
                  </a:cubicBezTo>
                  <a:cubicBezTo>
                    <a:pt x="233" y="60"/>
                    <a:pt x="235" y="60"/>
                    <a:pt x="224" y="60"/>
                  </a:cubicBezTo>
                  <a:cubicBezTo>
                    <a:pt x="213" y="60"/>
                    <a:pt x="199" y="62"/>
                    <a:pt x="199" y="51"/>
                  </a:cubicBezTo>
                  <a:cubicBezTo>
                    <a:pt x="199" y="40"/>
                    <a:pt x="200" y="36"/>
                    <a:pt x="181" y="33"/>
                  </a:cubicBezTo>
                  <a:cubicBezTo>
                    <a:pt x="162" y="30"/>
                    <a:pt x="146" y="32"/>
                    <a:pt x="144" y="21"/>
                  </a:cubicBezTo>
                  <a:cubicBezTo>
                    <a:pt x="142" y="10"/>
                    <a:pt x="142" y="4"/>
                    <a:pt x="131" y="2"/>
                  </a:cubicBezTo>
                  <a:cubicBezTo>
                    <a:pt x="120" y="0"/>
                    <a:pt x="115" y="4"/>
                    <a:pt x="111" y="7"/>
                  </a:cubicBezTo>
                  <a:cubicBezTo>
                    <a:pt x="107" y="10"/>
                    <a:pt x="110" y="19"/>
                    <a:pt x="101" y="18"/>
                  </a:cubicBezTo>
                  <a:cubicBezTo>
                    <a:pt x="92" y="17"/>
                    <a:pt x="87" y="13"/>
                    <a:pt x="84" y="19"/>
                  </a:cubicBezTo>
                  <a:cubicBezTo>
                    <a:pt x="81" y="25"/>
                    <a:pt x="75" y="36"/>
                    <a:pt x="60" y="35"/>
                  </a:cubicBezTo>
                  <a:cubicBezTo>
                    <a:pt x="60" y="35"/>
                    <a:pt x="42" y="30"/>
                    <a:pt x="42" y="42"/>
                  </a:cubicBezTo>
                  <a:cubicBezTo>
                    <a:pt x="42" y="54"/>
                    <a:pt x="40" y="58"/>
                    <a:pt x="30" y="59"/>
                  </a:cubicBezTo>
                  <a:cubicBezTo>
                    <a:pt x="20" y="60"/>
                    <a:pt x="13" y="64"/>
                    <a:pt x="13" y="74"/>
                  </a:cubicBezTo>
                  <a:cubicBezTo>
                    <a:pt x="13" y="84"/>
                    <a:pt x="14" y="88"/>
                    <a:pt x="20" y="91"/>
                  </a:cubicBezTo>
                  <a:cubicBezTo>
                    <a:pt x="26" y="94"/>
                    <a:pt x="27" y="100"/>
                    <a:pt x="25" y="106"/>
                  </a:cubicBezTo>
                  <a:cubicBezTo>
                    <a:pt x="23" y="112"/>
                    <a:pt x="26" y="111"/>
                    <a:pt x="13" y="115"/>
                  </a:cubicBezTo>
                  <a:cubicBezTo>
                    <a:pt x="0" y="119"/>
                    <a:pt x="4" y="135"/>
                    <a:pt x="14" y="140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4" name="Freeform 574">
              <a:extLst>
                <a:ext uri="{FF2B5EF4-FFF2-40B4-BE49-F238E27FC236}">
                  <a16:creationId xmlns:a16="http://schemas.microsoft.com/office/drawing/2014/main" id="{7441702D-7A51-E74B-93E0-23646DFD3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8" y="1037"/>
              <a:ext cx="80" cy="29"/>
            </a:xfrm>
            <a:custGeom>
              <a:avLst/>
              <a:gdLst>
                <a:gd name="T0" fmla="*/ 8 w 317"/>
                <a:gd name="T1" fmla="*/ 53 h 114"/>
                <a:gd name="T2" fmla="*/ 28 w 317"/>
                <a:gd name="T3" fmla="*/ 61 h 114"/>
                <a:gd name="T4" fmla="*/ 51 w 317"/>
                <a:gd name="T5" fmla="*/ 69 h 114"/>
                <a:gd name="T6" fmla="*/ 70 w 317"/>
                <a:gd name="T7" fmla="*/ 79 h 114"/>
                <a:gd name="T8" fmla="*/ 93 w 317"/>
                <a:gd name="T9" fmla="*/ 83 h 114"/>
                <a:gd name="T10" fmla="*/ 127 w 317"/>
                <a:gd name="T11" fmla="*/ 95 h 114"/>
                <a:gd name="T12" fmla="*/ 164 w 317"/>
                <a:gd name="T13" fmla="*/ 110 h 114"/>
                <a:gd name="T14" fmla="*/ 236 w 317"/>
                <a:gd name="T15" fmla="*/ 108 h 114"/>
                <a:gd name="T16" fmla="*/ 263 w 317"/>
                <a:gd name="T17" fmla="*/ 100 h 114"/>
                <a:gd name="T18" fmla="*/ 285 w 317"/>
                <a:gd name="T19" fmla="*/ 92 h 114"/>
                <a:gd name="T20" fmla="*/ 301 w 317"/>
                <a:gd name="T21" fmla="*/ 83 h 114"/>
                <a:gd name="T22" fmla="*/ 316 w 317"/>
                <a:gd name="T23" fmla="*/ 68 h 114"/>
                <a:gd name="T24" fmla="*/ 308 w 317"/>
                <a:gd name="T25" fmla="*/ 54 h 114"/>
                <a:gd name="T26" fmla="*/ 286 w 317"/>
                <a:gd name="T27" fmla="*/ 58 h 114"/>
                <a:gd name="T28" fmla="*/ 257 w 317"/>
                <a:gd name="T29" fmla="*/ 46 h 114"/>
                <a:gd name="T30" fmla="*/ 227 w 317"/>
                <a:gd name="T31" fmla="*/ 43 h 114"/>
                <a:gd name="T32" fmla="*/ 208 w 317"/>
                <a:gd name="T33" fmla="*/ 36 h 114"/>
                <a:gd name="T34" fmla="*/ 189 w 317"/>
                <a:gd name="T35" fmla="*/ 39 h 114"/>
                <a:gd name="T36" fmla="*/ 173 w 317"/>
                <a:gd name="T37" fmla="*/ 44 h 114"/>
                <a:gd name="T38" fmla="*/ 158 w 317"/>
                <a:gd name="T39" fmla="*/ 31 h 114"/>
                <a:gd name="T40" fmla="*/ 131 w 317"/>
                <a:gd name="T41" fmla="*/ 17 h 114"/>
                <a:gd name="T42" fmla="*/ 86 w 317"/>
                <a:gd name="T43" fmla="*/ 24 h 114"/>
                <a:gd name="T44" fmla="*/ 56 w 317"/>
                <a:gd name="T45" fmla="*/ 30 h 114"/>
                <a:gd name="T46" fmla="*/ 43 w 317"/>
                <a:gd name="T47" fmla="*/ 6 h 114"/>
                <a:gd name="T48" fmla="*/ 24 w 317"/>
                <a:gd name="T49" fmla="*/ 6 h 114"/>
                <a:gd name="T50" fmla="*/ 19 w 317"/>
                <a:gd name="T51" fmla="*/ 19 h 114"/>
                <a:gd name="T52" fmla="*/ 10 w 317"/>
                <a:gd name="T53" fmla="*/ 37 h 114"/>
                <a:gd name="T54" fmla="*/ 8 w 317"/>
                <a:gd name="T55" fmla="*/ 5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114">
                  <a:moveTo>
                    <a:pt x="8" y="53"/>
                  </a:moveTo>
                  <a:cubicBezTo>
                    <a:pt x="16" y="53"/>
                    <a:pt x="18" y="61"/>
                    <a:pt x="28" y="61"/>
                  </a:cubicBezTo>
                  <a:cubicBezTo>
                    <a:pt x="38" y="61"/>
                    <a:pt x="50" y="60"/>
                    <a:pt x="51" y="69"/>
                  </a:cubicBezTo>
                  <a:cubicBezTo>
                    <a:pt x="52" y="78"/>
                    <a:pt x="56" y="79"/>
                    <a:pt x="70" y="79"/>
                  </a:cubicBezTo>
                  <a:cubicBezTo>
                    <a:pt x="84" y="79"/>
                    <a:pt x="81" y="80"/>
                    <a:pt x="93" y="83"/>
                  </a:cubicBezTo>
                  <a:cubicBezTo>
                    <a:pt x="105" y="86"/>
                    <a:pt x="119" y="90"/>
                    <a:pt x="127" y="95"/>
                  </a:cubicBezTo>
                  <a:cubicBezTo>
                    <a:pt x="135" y="100"/>
                    <a:pt x="146" y="107"/>
                    <a:pt x="164" y="110"/>
                  </a:cubicBezTo>
                  <a:cubicBezTo>
                    <a:pt x="182" y="113"/>
                    <a:pt x="227" y="114"/>
                    <a:pt x="236" y="108"/>
                  </a:cubicBezTo>
                  <a:cubicBezTo>
                    <a:pt x="245" y="102"/>
                    <a:pt x="253" y="100"/>
                    <a:pt x="263" y="100"/>
                  </a:cubicBezTo>
                  <a:cubicBezTo>
                    <a:pt x="273" y="100"/>
                    <a:pt x="276" y="92"/>
                    <a:pt x="285" y="92"/>
                  </a:cubicBezTo>
                  <a:cubicBezTo>
                    <a:pt x="294" y="92"/>
                    <a:pt x="299" y="89"/>
                    <a:pt x="301" y="83"/>
                  </a:cubicBezTo>
                  <a:cubicBezTo>
                    <a:pt x="303" y="77"/>
                    <a:pt x="315" y="78"/>
                    <a:pt x="316" y="68"/>
                  </a:cubicBezTo>
                  <a:cubicBezTo>
                    <a:pt x="317" y="58"/>
                    <a:pt x="313" y="54"/>
                    <a:pt x="308" y="54"/>
                  </a:cubicBezTo>
                  <a:cubicBezTo>
                    <a:pt x="303" y="54"/>
                    <a:pt x="293" y="63"/>
                    <a:pt x="286" y="58"/>
                  </a:cubicBezTo>
                  <a:cubicBezTo>
                    <a:pt x="279" y="53"/>
                    <a:pt x="269" y="47"/>
                    <a:pt x="257" y="46"/>
                  </a:cubicBezTo>
                  <a:cubicBezTo>
                    <a:pt x="245" y="45"/>
                    <a:pt x="234" y="48"/>
                    <a:pt x="227" y="43"/>
                  </a:cubicBezTo>
                  <a:cubicBezTo>
                    <a:pt x="220" y="38"/>
                    <a:pt x="218" y="36"/>
                    <a:pt x="208" y="36"/>
                  </a:cubicBezTo>
                  <a:cubicBezTo>
                    <a:pt x="198" y="36"/>
                    <a:pt x="193" y="35"/>
                    <a:pt x="189" y="39"/>
                  </a:cubicBezTo>
                  <a:cubicBezTo>
                    <a:pt x="185" y="43"/>
                    <a:pt x="187" y="46"/>
                    <a:pt x="173" y="44"/>
                  </a:cubicBezTo>
                  <a:cubicBezTo>
                    <a:pt x="159" y="42"/>
                    <a:pt x="159" y="41"/>
                    <a:pt x="158" y="31"/>
                  </a:cubicBezTo>
                  <a:cubicBezTo>
                    <a:pt x="157" y="21"/>
                    <a:pt x="146" y="17"/>
                    <a:pt x="131" y="17"/>
                  </a:cubicBezTo>
                  <a:cubicBezTo>
                    <a:pt x="116" y="17"/>
                    <a:pt x="90" y="18"/>
                    <a:pt x="86" y="24"/>
                  </a:cubicBezTo>
                  <a:cubicBezTo>
                    <a:pt x="82" y="30"/>
                    <a:pt x="65" y="33"/>
                    <a:pt x="56" y="30"/>
                  </a:cubicBezTo>
                  <a:cubicBezTo>
                    <a:pt x="47" y="27"/>
                    <a:pt x="47" y="12"/>
                    <a:pt x="43" y="6"/>
                  </a:cubicBezTo>
                  <a:cubicBezTo>
                    <a:pt x="39" y="0"/>
                    <a:pt x="24" y="1"/>
                    <a:pt x="24" y="6"/>
                  </a:cubicBezTo>
                  <a:cubicBezTo>
                    <a:pt x="24" y="11"/>
                    <a:pt x="16" y="13"/>
                    <a:pt x="19" y="19"/>
                  </a:cubicBezTo>
                  <a:cubicBezTo>
                    <a:pt x="19" y="19"/>
                    <a:pt x="18" y="37"/>
                    <a:pt x="10" y="37"/>
                  </a:cubicBezTo>
                  <a:cubicBezTo>
                    <a:pt x="2" y="37"/>
                    <a:pt x="0" y="53"/>
                    <a:pt x="8" y="5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5" name="Freeform 575">
              <a:extLst>
                <a:ext uri="{FF2B5EF4-FFF2-40B4-BE49-F238E27FC236}">
                  <a16:creationId xmlns:a16="http://schemas.microsoft.com/office/drawing/2014/main" id="{48D405A6-C015-6045-B21A-02121A323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7" y="997"/>
              <a:ext cx="16" cy="6"/>
            </a:xfrm>
            <a:custGeom>
              <a:avLst/>
              <a:gdLst>
                <a:gd name="T0" fmla="*/ 15 w 61"/>
                <a:gd name="T1" fmla="*/ 21 h 25"/>
                <a:gd name="T2" fmla="*/ 51 w 61"/>
                <a:gd name="T3" fmla="*/ 19 h 25"/>
                <a:gd name="T4" fmla="*/ 51 w 61"/>
                <a:gd name="T5" fmla="*/ 4 h 25"/>
                <a:gd name="T6" fmla="*/ 31 w 61"/>
                <a:gd name="T7" fmla="*/ 3 h 25"/>
                <a:gd name="T8" fmla="*/ 11 w 61"/>
                <a:gd name="T9" fmla="*/ 7 h 25"/>
                <a:gd name="T10" fmla="*/ 0 w 61"/>
                <a:gd name="T11" fmla="*/ 16 h 25"/>
                <a:gd name="T12" fmla="*/ 15 w 61"/>
                <a:gd name="T13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5">
                  <a:moveTo>
                    <a:pt x="15" y="21"/>
                  </a:moveTo>
                  <a:cubicBezTo>
                    <a:pt x="23" y="21"/>
                    <a:pt x="46" y="25"/>
                    <a:pt x="51" y="19"/>
                  </a:cubicBezTo>
                  <a:cubicBezTo>
                    <a:pt x="56" y="13"/>
                    <a:pt x="61" y="6"/>
                    <a:pt x="51" y="4"/>
                  </a:cubicBezTo>
                  <a:cubicBezTo>
                    <a:pt x="41" y="2"/>
                    <a:pt x="48" y="2"/>
                    <a:pt x="31" y="3"/>
                  </a:cubicBezTo>
                  <a:cubicBezTo>
                    <a:pt x="31" y="3"/>
                    <a:pt x="19" y="0"/>
                    <a:pt x="11" y="7"/>
                  </a:cubicBezTo>
                  <a:cubicBezTo>
                    <a:pt x="3" y="14"/>
                    <a:pt x="0" y="7"/>
                    <a:pt x="0" y="16"/>
                  </a:cubicBezTo>
                  <a:cubicBezTo>
                    <a:pt x="0" y="25"/>
                    <a:pt x="7" y="21"/>
                    <a:pt x="15" y="2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6" name="Freeform 576">
              <a:extLst>
                <a:ext uri="{FF2B5EF4-FFF2-40B4-BE49-F238E27FC236}">
                  <a16:creationId xmlns:a16="http://schemas.microsoft.com/office/drawing/2014/main" id="{DC024C34-5170-A544-A59D-CB7C83071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" y="1581"/>
              <a:ext cx="49" cy="24"/>
            </a:xfrm>
            <a:custGeom>
              <a:avLst/>
              <a:gdLst>
                <a:gd name="T0" fmla="*/ 152 w 191"/>
                <a:gd name="T1" fmla="*/ 23 h 93"/>
                <a:gd name="T2" fmla="*/ 129 w 191"/>
                <a:gd name="T3" fmla="*/ 22 h 93"/>
                <a:gd name="T4" fmla="*/ 108 w 191"/>
                <a:gd name="T5" fmla="*/ 9 h 93"/>
                <a:gd name="T6" fmla="*/ 93 w 191"/>
                <a:gd name="T7" fmla="*/ 7 h 93"/>
                <a:gd name="T8" fmla="*/ 80 w 191"/>
                <a:gd name="T9" fmla="*/ 2 h 93"/>
                <a:gd name="T10" fmla="*/ 66 w 191"/>
                <a:gd name="T11" fmla="*/ 1 h 93"/>
                <a:gd name="T12" fmla="*/ 86 w 191"/>
                <a:gd name="T13" fmla="*/ 27 h 93"/>
                <a:gd name="T14" fmla="*/ 27 w 191"/>
                <a:gd name="T15" fmla="*/ 24 h 93"/>
                <a:gd name="T16" fmla="*/ 0 w 191"/>
                <a:gd name="T17" fmla="*/ 58 h 93"/>
                <a:gd name="T18" fmla="*/ 14 w 191"/>
                <a:gd name="T19" fmla="*/ 71 h 93"/>
                <a:gd name="T20" fmla="*/ 37 w 191"/>
                <a:gd name="T21" fmla="*/ 87 h 93"/>
                <a:gd name="T22" fmla="*/ 72 w 191"/>
                <a:gd name="T23" fmla="*/ 86 h 93"/>
                <a:gd name="T24" fmla="*/ 100 w 191"/>
                <a:gd name="T25" fmla="*/ 91 h 93"/>
                <a:gd name="T26" fmla="*/ 138 w 191"/>
                <a:gd name="T27" fmla="*/ 85 h 93"/>
                <a:gd name="T28" fmla="*/ 185 w 191"/>
                <a:gd name="T29" fmla="*/ 81 h 93"/>
                <a:gd name="T30" fmla="*/ 184 w 191"/>
                <a:gd name="T31" fmla="*/ 81 h 93"/>
                <a:gd name="T32" fmla="*/ 187 w 191"/>
                <a:gd name="T33" fmla="*/ 53 h 93"/>
                <a:gd name="T34" fmla="*/ 180 w 191"/>
                <a:gd name="T35" fmla="*/ 31 h 93"/>
                <a:gd name="T36" fmla="*/ 152 w 191"/>
                <a:gd name="T37" fmla="*/ 2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1" h="93">
                  <a:moveTo>
                    <a:pt x="152" y="23"/>
                  </a:moveTo>
                  <a:cubicBezTo>
                    <a:pt x="145" y="23"/>
                    <a:pt x="138" y="21"/>
                    <a:pt x="129" y="22"/>
                  </a:cubicBezTo>
                  <a:cubicBezTo>
                    <a:pt x="121" y="24"/>
                    <a:pt x="111" y="15"/>
                    <a:pt x="108" y="9"/>
                  </a:cubicBezTo>
                  <a:cubicBezTo>
                    <a:pt x="105" y="4"/>
                    <a:pt x="96" y="4"/>
                    <a:pt x="93" y="7"/>
                  </a:cubicBezTo>
                  <a:cubicBezTo>
                    <a:pt x="90" y="10"/>
                    <a:pt x="85" y="6"/>
                    <a:pt x="80" y="2"/>
                  </a:cubicBezTo>
                  <a:cubicBezTo>
                    <a:pt x="77" y="0"/>
                    <a:pt x="71" y="0"/>
                    <a:pt x="66" y="1"/>
                  </a:cubicBezTo>
                  <a:cubicBezTo>
                    <a:pt x="62" y="18"/>
                    <a:pt x="99" y="4"/>
                    <a:pt x="86" y="27"/>
                  </a:cubicBezTo>
                  <a:cubicBezTo>
                    <a:pt x="78" y="42"/>
                    <a:pt x="56" y="27"/>
                    <a:pt x="27" y="24"/>
                  </a:cubicBezTo>
                  <a:cubicBezTo>
                    <a:pt x="3" y="22"/>
                    <a:pt x="5" y="43"/>
                    <a:pt x="0" y="58"/>
                  </a:cubicBezTo>
                  <a:cubicBezTo>
                    <a:pt x="5" y="60"/>
                    <a:pt x="11" y="64"/>
                    <a:pt x="14" y="71"/>
                  </a:cubicBezTo>
                  <a:cubicBezTo>
                    <a:pt x="19" y="85"/>
                    <a:pt x="27" y="86"/>
                    <a:pt x="37" y="87"/>
                  </a:cubicBezTo>
                  <a:cubicBezTo>
                    <a:pt x="48" y="88"/>
                    <a:pt x="60" y="79"/>
                    <a:pt x="72" y="86"/>
                  </a:cubicBezTo>
                  <a:cubicBezTo>
                    <a:pt x="85" y="93"/>
                    <a:pt x="92" y="93"/>
                    <a:pt x="100" y="91"/>
                  </a:cubicBezTo>
                  <a:cubicBezTo>
                    <a:pt x="107" y="89"/>
                    <a:pt x="123" y="85"/>
                    <a:pt x="138" y="85"/>
                  </a:cubicBezTo>
                  <a:cubicBezTo>
                    <a:pt x="150" y="84"/>
                    <a:pt x="171" y="86"/>
                    <a:pt x="185" y="81"/>
                  </a:cubicBezTo>
                  <a:cubicBezTo>
                    <a:pt x="185" y="81"/>
                    <a:pt x="185" y="81"/>
                    <a:pt x="184" y="81"/>
                  </a:cubicBezTo>
                  <a:cubicBezTo>
                    <a:pt x="176" y="77"/>
                    <a:pt x="183" y="64"/>
                    <a:pt x="187" y="53"/>
                  </a:cubicBezTo>
                  <a:cubicBezTo>
                    <a:pt x="191" y="42"/>
                    <a:pt x="186" y="38"/>
                    <a:pt x="180" y="31"/>
                  </a:cubicBezTo>
                  <a:cubicBezTo>
                    <a:pt x="175" y="24"/>
                    <a:pt x="159" y="23"/>
                    <a:pt x="152" y="23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7" name="Freeform 577">
              <a:extLst>
                <a:ext uri="{FF2B5EF4-FFF2-40B4-BE49-F238E27FC236}">
                  <a16:creationId xmlns:a16="http://schemas.microsoft.com/office/drawing/2014/main" id="{14BC081E-3370-FF49-8849-F651979FD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" y="1011"/>
              <a:ext cx="8" cy="8"/>
            </a:xfrm>
            <a:custGeom>
              <a:avLst/>
              <a:gdLst>
                <a:gd name="T0" fmla="*/ 22 w 34"/>
                <a:gd name="T1" fmla="*/ 2 h 30"/>
                <a:gd name="T2" fmla="*/ 10 w 34"/>
                <a:gd name="T3" fmla="*/ 9 h 30"/>
                <a:gd name="T4" fmla="*/ 14 w 34"/>
                <a:gd name="T5" fmla="*/ 27 h 30"/>
                <a:gd name="T6" fmla="*/ 29 w 34"/>
                <a:gd name="T7" fmla="*/ 18 h 30"/>
                <a:gd name="T8" fmla="*/ 22 w 34"/>
                <a:gd name="T9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0">
                  <a:moveTo>
                    <a:pt x="22" y="2"/>
                  </a:moveTo>
                  <a:cubicBezTo>
                    <a:pt x="22" y="2"/>
                    <a:pt x="14" y="0"/>
                    <a:pt x="10" y="9"/>
                  </a:cubicBezTo>
                  <a:cubicBezTo>
                    <a:pt x="6" y="18"/>
                    <a:pt x="0" y="24"/>
                    <a:pt x="14" y="27"/>
                  </a:cubicBezTo>
                  <a:cubicBezTo>
                    <a:pt x="28" y="30"/>
                    <a:pt x="29" y="26"/>
                    <a:pt x="29" y="18"/>
                  </a:cubicBezTo>
                  <a:cubicBezTo>
                    <a:pt x="29" y="10"/>
                    <a:pt x="34" y="1"/>
                    <a:pt x="22" y="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8" name="Freeform 578">
              <a:extLst>
                <a:ext uri="{FF2B5EF4-FFF2-40B4-BE49-F238E27FC236}">
                  <a16:creationId xmlns:a16="http://schemas.microsoft.com/office/drawing/2014/main" id="{0347CE26-C9DF-844D-A430-25DCC6641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1112"/>
              <a:ext cx="8" cy="6"/>
            </a:xfrm>
            <a:custGeom>
              <a:avLst/>
              <a:gdLst>
                <a:gd name="T0" fmla="*/ 1 w 30"/>
                <a:gd name="T1" fmla="*/ 7 h 22"/>
                <a:gd name="T2" fmla="*/ 20 w 30"/>
                <a:gd name="T3" fmla="*/ 15 h 22"/>
                <a:gd name="T4" fmla="*/ 20 w 30"/>
                <a:gd name="T5" fmla="*/ 4 h 22"/>
                <a:gd name="T6" fmla="*/ 1 w 30"/>
                <a:gd name="T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2">
                  <a:moveTo>
                    <a:pt x="1" y="7"/>
                  </a:moveTo>
                  <a:cubicBezTo>
                    <a:pt x="2" y="14"/>
                    <a:pt x="20" y="22"/>
                    <a:pt x="20" y="15"/>
                  </a:cubicBezTo>
                  <a:cubicBezTo>
                    <a:pt x="20" y="8"/>
                    <a:pt x="30" y="4"/>
                    <a:pt x="20" y="4"/>
                  </a:cubicBezTo>
                  <a:cubicBezTo>
                    <a:pt x="20" y="4"/>
                    <a:pt x="0" y="0"/>
                    <a:pt x="1" y="7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49" name="Freeform 579">
              <a:extLst>
                <a:ext uri="{FF2B5EF4-FFF2-40B4-BE49-F238E27FC236}">
                  <a16:creationId xmlns:a16="http://schemas.microsoft.com/office/drawing/2014/main" id="{7B190C0E-D18A-DD4A-80A9-128B8C305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1170"/>
              <a:ext cx="15" cy="11"/>
            </a:xfrm>
            <a:custGeom>
              <a:avLst/>
              <a:gdLst>
                <a:gd name="T0" fmla="*/ 57 w 61"/>
                <a:gd name="T1" fmla="*/ 18 h 44"/>
                <a:gd name="T2" fmla="*/ 39 w 61"/>
                <a:gd name="T3" fmla="*/ 13 h 44"/>
                <a:gd name="T4" fmla="*/ 11 w 61"/>
                <a:gd name="T5" fmla="*/ 1 h 44"/>
                <a:gd name="T6" fmla="*/ 10 w 61"/>
                <a:gd name="T7" fmla="*/ 20 h 44"/>
                <a:gd name="T8" fmla="*/ 50 w 61"/>
                <a:gd name="T9" fmla="*/ 37 h 44"/>
                <a:gd name="T10" fmla="*/ 57 w 61"/>
                <a:gd name="T11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44">
                  <a:moveTo>
                    <a:pt x="57" y="18"/>
                  </a:moveTo>
                  <a:cubicBezTo>
                    <a:pt x="52" y="13"/>
                    <a:pt x="48" y="18"/>
                    <a:pt x="39" y="13"/>
                  </a:cubicBezTo>
                  <a:cubicBezTo>
                    <a:pt x="39" y="13"/>
                    <a:pt x="22" y="0"/>
                    <a:pt x="11" y="1"/>
                  </a:cubicBezTo>
                  <a:cubicBezTo>
                    <a:pt x="1" y="1"/>
                    <a:pt x="0" y="12"/>
                    <a:pt x="10" y="20"/>
                  </a:cubicBezTo>
                  <a:cubicBezTo>
                    <a:pt x="21" y="28"/>
                    <a:pt x="47" y="44"/>
                    <a:pt x="50" y="37"/>
                  </a:cubicBezTo>
                  <a:cubicBezTo>
                    <a:pt x="52" y="31"/>
                    <a:pt x="61" y="23"/>
                    <a:pt x="57" y="18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50" name="Freeform 580">
              <a:extLst>
                <a:ext uri="{FF2B5EF4-FFF2-40B4-BE49-F238E27FC236}">
                  <a16:creationId xmlns:a16="http://schemas.microsoft.com/office/drawing/2014/main" id="{F886D52C-1BD2-B144-AB3D-955212A8E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" y="1580"/>
              <a:ext cx="16" cy="17"/>
            </a:xfrm>
            <a:custGeom>
              <a:avLst/>
              <a:gdLst>
                <a:gd name="T0" fmla="*/ 37 w 64"/>
                <a:gd name="T1" fmla="*/ 21 h 65"/>
                <a:gd name="T2" fmla="*/ 24 w 64"/>
                <a:gd name="T3" fmla="*/ 0 h 65"/>
                <a:gd name="T4" fmla="*/ 8 w 64"/>
                <a:gd name="T5" fmla="*/ 11 h 65"/>
                <a:gd name="T6" fmla="*/ 29 w 64"/>
                <a:gd name="T7" fmla="*/ 38 h 65"/>
                <a:gd name="T8" fmla="*/ 52 w 64"/>
                <a:gd name="T9" fmla="*/ 56 h 65"/>
                <a:gd name="T10" fmla="*/ 59 w 64"/>
                <a:gd name="T11" fmla="*/ 46 h 65"/>
                <a:gd name="T12" fmla="*/ 37 w 64"/>
                <a:gd name="T13" fmla="*/ 2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5">
                  <a:moveTo>
                    <a:pt x="37" y="21"/>
                  </a:moveTo>
                  <a:cubicBezTo>
                    <a:pt x="37" y="21"/>
                    <a:pt x="39" y="0"/>
                    <a:pt x="24" y="0"/>
                  </a:cubicBezTo>
                  <a:cubicBezTo>
                    <a:pt x="9" y="0"/>
                    <a:pt x="0" y="5"/>
                    <a:pt x="8" y="11"/>
                  </a:cubicBezTo>
                  <a:cubicBezTo>
                    <a:pt x="17" y="17"/>
                    <a:pt x="17" y="36"/>
                    <a:pt x="29" y="38"/>
                  </a:cubicBezTo>
                  <a:cubicBezTo>
                    <a:pt x="40" y="40"/>
                    <a:pt x="46" y="47"/>
                    <a:pt x="52" y="56"/>
                  </a:cubicBezTo>
                  <a:cubicBezTo>
                    <a:pt x="59" y="65"/>
                    <a:pt x="64" y="54"/>
                    <a:pt x="59" y="46"/>
                  </a:cubicBezTo>
                  <a:cubicBezTo>
                    <a:pt x="53" y="39"/>
                    <a:pt x="38" y="27"/>
                    <a:pt x="37" y="21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  <p:sp>
          <p:nvSpPr>
            <p:cNvPr id="2451" name="Freeform 581">
              <a:extLst>
                <a:ext uri="{FF2B5EF4-FFF2-40B4-BE49-F238E27FC236}">
                  <a16:creationId xmlns:a16="http://schemas.microsoft.com/office/drawing/2014/main" id="{C9A8895B-8819-8343-BC20-962225FFA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" y="1590"/>
              <a:ext cx="13" cy="11"/>
            </a:xfrm>
            <a:custGeom>
              <a:avLst/>
              <a:gdLst>
                <a:gd name="T0" fmla="*/ 22 w 52"/>
                <a:gd name="T1" fmla="*/ 12 h 42"/>
                <a:gd name="T2" fmla="*/ 2 w 52"/>
                <a:gd name="T3" fmla="*/ 4 h 42"/>
                <a:gd name="T4" fmla="*/ 14 w 52"/>
                <a:gd name="T5" fmla="*/ 20 h 42"/>
                <a:gd name="T6" fmla="*/ 35 w 52"/>
                <a:gd name="T7" fmla="*/ 34 h 42"/>
                <a:gd name="T8" fmla="*/ 42 w 52"/>
                <a:gd name="T9" fmla="*/ 29 h 42"/>
                <a:gd name="T10" fmla="*/ 22 w 52"/>
                <a:gd name="T11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42">
                  <a:moveTo>
                    <a:pt x="22" y="12"/>
                  </a:moveTo>
                  <a:cubicBezTo>
                    <a:pt x="22" y="12"/>
                    <a:pt x="4" y="0"/>
                    <a:pt x="2" y="4"/>
                  </a:cubicBezTo>
                  <a:cubicBezTo>
                    <a:pt x="0" y="8"/>
                    <a:pt x="4" y="14"/>
                    <a:pt x="14" y="20"/>
                  </a:cubicBezTo>
                  <a:cubicBezTo>
                    <a:pt x="23" y="27"/>
                    <a:pt x="30" y="27"/>
                    <a:pt x="35" y="34"/>
                  </a:cubicBezTo>
                  <a:cubicBezTo>
                    <a:pt x="40" y="42"/>
                    <a:pt x="52" y="38"/>
                    <a:pt x="42" y="29"/>
                  </a:cubicBezTo>
                  <a:cubicBezTo>
                    <a:pt x="33" y="19"/>
                    <a:pt x="34" y="23"/>
                    <a:pt x="22" y="12"/>
                  </a:cubicBezTo>
                  <a:close/>
                </a:path>
              </a:pathLst>
            </a:custGeom>
            <a:grpFill/>
            <a:ln w="1270" cap="rnd" cmpd="sng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133"/>
            </a:p>
          </p:txBody>
        </p:sp>
      </p:grpSp>
      <p:sp>
        <p:nvSpPr>
          <p:cNvPr id="2853" name="Content Placeholder 2">
            <a:extLst>
              <a:ext uri="{FF2B5EF4-FFF2-40B4-BE49-F238E27FC236}">
                <a16:creationId xmlns:a16="http://schemas.microsoft.com/office/drawing/2014/main" id="{A8C6DD5D-2A80-8F40-BDC6-737A0239CF20}"/>
              </a:ext>
            </a:extLst>
          </p:cNvPr>
          <p:cNvSpPr txBox="1">
            <a:spLocks/>
          </p:cNvSpPr>
          <p:nvPr/>
        </p:nvSpPr>
        <p:spPr>
          <a:xfrm>
            <a:off x="8714997" y="4241801"/>
            <a:ext cx="3578604" cy="70967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US" sz="1467" b="1" dirty="0">
                <a:solidFill>
                  <a:srgbClr val="000000"/>
                </a:solidFill>
              </a:rPr>
              <a:t>HS má obrovský dopad na kvalitu života pacientů (QoL)</a:t>
            </a:r>
            <a:r>
              <a:rPr lang="cs-CZ" sz="1467" b="1" dirty="0">
                <a:solidFill>
                  <a:srgbClr val="000000"/>
                </a:solidFill>
              </a:rPr>
              <a:t> </a:t>
            </a:r>
            <a:r>
              <a:rPr lang="en-US" sz="1467" b="1" baseline="30000" dirty="0">
                <a:solidFill>
                  <a:srgbClr val="000000"/>
                </a:solidFill>
              </a:rPr>
              <a:t>9,10</a:t>
            </a:r>
            <a:endParaRPr lang="en-US" sz="1467" b="1" dirty="0">
              <a:solidFill>
                <a:srgbClr val="000000"/>
              </a:solidFill>
            </a:endParaRPr>
          </a:p>
        </p:txBody>
      </p:sp>
      <p:grpSp>
        <p:nvGrpSpPr>
          <p:cNvPr id="2854" name="Group 2853">
            <a:extLst>
              <a:ext uri="{FF2B5EF4-FFF2-40B4-BE49-F238E27FC236}">
                <a16:creationId xmlns:a16="http://schemas.microsoft.com/office/drawing/2014/main" id="{8355DA39-C363-0240-86C7-4FA8886F6F95}"/>
              </a:ext>
            </a:extLst>
          </p:cNvPr>
          <p:cNvGrpSpPr/>
          <p:nvPr/>
        </p:nvGrpSpPr>
        <p:grpSpPr>
          <a:xfrm>
            <a:off x="8015159" y="4243328"/>
            <a:ext cx="709672" cy="709672"/>
            <a:chOff x="7991946" y="3760025"/>
            <a:chExt cx="532254" cy="532254"/>
          </a:xfrm>
        </p:grpSpPr>
        <p:sp>
          <p:nvSpPr>
            <p:cNvPr id="2855" name="Oval 2854">
              <a:extLst>
                <a:ext uri="{FF2B5EF4-FFF2-40B4-BE49-F238E27FC236}">
                  <a16:creationId xmlns:a16="http://schemas.microsoft.com/office/drawing/2014/main" id="{C23EA530-DD60-974C-9156-8D8E31D4D15C}"/>
                </a:ext>
              </a:extLst>
            </p:cNvPr>
            <p:cNvSpPr/>
            <p:nvPr/>
          </p:nvSpPr>
          <p:spPr>
            <a:xfrm>
              <a:off x="7991946" y="3760025"/>
              <a:ext cx="532254" cy="532254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856" name="Group 2855">
              <a:extLst>
                <a:ext uri="{FF2B5EF4-FFF2-40B4-BE49-F238E27FC236}">
                  <a16:creationId xmlns:a16="http://schemas.microsoft.com/office/drawing/2014/main" id="{65C0799E-1608-1B43-8823-3A518D1CAEFB}"/>
                </a:ext>
              </a:extLst>
            </p:cNvPr>
            <p:cNvGrpSpPr/>
            <p:nvPr/>
          </p:nvGrpSpPr>
          <p:grpSpPr>
            <a:xfrm>
              <a:off x="8066730" y="3834810"/>
              <a:ext cx="382685" cy="382685"/>
              <a:chOff x="1428777" y="1230576"/>
              <a:chExt cx="165324" cy="165324"/>
            </a:xfrm>
          </p:grpSpPr>
          <p:sp>
            <p:nvSpPr>
              <p:cNvPr id="2857" name="Freeform: Shape 58">
                <a:extLst>
                  <a:ext uri="{FF2B5EF4-FFF2-40B4-BE49-F238E27FC236}">
                    <a16:creationId xmlns:a16="http://schemas.microsoft.com/office/drawing/2014/main" id="{4BCA4E7F-1B73-984F-BE8A-1CBFBF6CC60E}"/>
                  </a:ext>
                </a:extLst>
              </p:cNvPr>
              <p:cNvSpPr/>
              <p:nvPr/>
            </p:nvSpPr>
            <p:spPr>
              <a:xfrm>
                <a:off x="1428777" y="1230576"/>
                <a:ext cx="165324" cy="165324"/>
              </a:xfrm>
              <a:custGeom>
                <a:avLst/>
                <a:gdLst>
                  <a:gd name="connsiteX0" fmla="*/ 158075 w 165323"/>
                  <a:gd name="connsiteY0" fmla="*/ 83806 h 165323"/>
                  <a:gd name="connsiteX1" fmla="*/ 83806 w 165323"/>
                  <a:gd name="connsiteY1" fmla="*/ 158075 h 165323"/>
                  <a:gd name="connsiteX2" fmla="*/ 9538 w 165323"/>
                  <a:gd name="connsiteY2" fmla="*/ 83806 h 165323"/>
                  <a:gd name="connsiteX3" fmla="*/ 83806 w 165323"/>
                  <a:gd name="connsiteY3" fmla="*/ 9538 h 165323"/>
                  <a:gd name="connsiteX4" fmla="*/ 158075 w 165323"/>
                  <a:gd name="connsiteY4" fmla="*/ 83806 h 165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323" h="165323">
                    <a:moveTo>
                      <a:pt x="158075" y="83806"/>
                    </a:moveTo>
                    <a:cubicBezTo>
                      <a:pt x="158075" y="124824"/>
                      <a:pt x="124824" y="158075"/>
                      <a:pt x="83806" y="158075"/>
                    </a:cubicBezTo>
                    <a:cubicBezTo>
                      <a:pt x="42789" y="158075"/>
                      <a:pt x="9538" y="124824"/>
                      <a:pt x="9538" y="83806"/>
                    </a:cubicBezTo>
                    <a:cubicBezTo>
                      <a:pt x="9538" y="42789"/>
                      <a:pt x="42789" y="9538"/>
                      <a:pt x="83806" y="9538"/>
                    </a:cubicBezTo>
                    <a:cubicBezTo>
                      <a:pt x="124824" y="9538"/>
                      <a:pt x="158075" y="42789"/>
                      <a:pt x="158075" y="838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8" name="Freeform: Shape 55">
                <a:extLst>
                  <a:ext uri="{FF2B5EF4-FFF2-40B4-BE49-F238E27FC236}">
                    <a16:creationId xmlns:a16="http://schemas.microsoft.com/office/drawing/2014/main" id="{45F6388B-2E79-8F40-A8F1-A0A396142672}"/>
                  </a:ext>
                </a:extLst>
              </p:cNvPr>
              <p:cNvSpPr/>
              <p:nvPr/>
            </p:nvSpPr>
            <p:spPr>
              <a:xfrm>
                <a:off x="1464640" y="1278902"/>
                <a:ext cx="25434" cy="25434"/>
              </a:xfrm>
              <a:custGeom>
                <a:avLst/>
                <a:gdLst>
                  <a:gd name="connsiteX0" fmla="*/ 26070 w 25434"/>
                  <a:gd name="connsiteY0" fmla="*/ 17804 h 25434"/>
                  <a:gd name="connsiteX1" fmla="*/ 17804 w 25434"/>
                  <a:gd name="connsiteY1" fmla="*/ 26070 h 25434"/>
                  <a:gd name="connsiteX2" fmla="*/ 9538 w 25434"/>
                  <a:gd name="connsiteY2" fmla="*/ 17804 h 25434"/>
                  <a:gd name="connsiteX3" fmla="*/ 17804 w 25434"/>
                  <a:gd name="connsiteY3" fmla="*/ 9538 h 25434"/>
                  <a:gd name="connsiteX4" fmla="*/ 26070 w 25434"/>
                  <a:gd name="connsiteY4" fmla="*/ 17804 h 2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34" h="25434">
                    <a:moveTo>
                      <a:pt x="26070" y="17804"/>
                    </a:moveTo>
                    <a:cubicBezTo>
                      <a:pt x="26070" y="22369"/>
                      <a:pt x="22369" y="26070"/>
                      <a:pt x="17804" y="26070"/>
                    </a:cubicBezTo>
                    <a:cubicBezTo>
                      <a:pt x="13239" y="26070"/>
                      <a:pt x="9538" y="22369"/>
                      <a:pt x="9538" y="17804"/>
                    </a:cubicBezTo>
                    <a:cubicBezTo>
                      <a:pt x="9538" y="13239"/>
                      <a:pt x="13239" y="9538"/>
                      <a:pt x="17804" y="9538"/>
                    </a:cubicBezTo>
                    <a:cubicBezTo>
                      <a:pt x="22369" y="9538"/>
                      <a:pt x="26070" y="13239"/>
                      <a:pt x="26070" y="17804"/>
                    </a:cubicBezTo>
                    <a:close/>
                  </a:path>
                </a:pathLst>
              </a:custGeom>
              <a:solidFill>
                <a:srgbClr val="0460A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9170">
                  <a:defRPr/>
                </a:pPr>
                <a:endParaRPr lang="en-GB" sz="240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9" name="Freeform: Shape 56">
                <a:extLst>
                  <a:ext uri="{FF2B5EF4-FFF2-40B4-BE49-F238E27FC236}">
                    <a16:creationId xmlns:a16="http://schemas.microsoft.com/office/drawing/2014/main" id="{664F4AFC-FC14-9F4C-9D27-5A2D371FE96F}"/>
                  </a:ext>
                </a:extLst>
              </p:cNvPr>
              <p:cNvSpPr/>
              <p:nvPr/>
            </p:nvSpPr>
            <p:spPr>
              <a:xfrm>
                <a:off x="1525046" y="1278902"/>
                <a:ext cx="25434" cy="25434"/>
              </a:xfrm>
              <a:custGeom>
                <a:avLst/>
                <a:gdLst>
                  <a:gd name="connsiteX0" fmla="*/ 26070 w 25434"/>
                  <a:gd name="connsiteY0" fmla="*/ 17804 h 25434"/>
                  <a:gd name="connsiteX1" fmla="*/ 17804 w 25434"/>
                  <a:gd name="connsiteY1" fmla="*/ 26070 h 25434"/>
                  <a:gd name="connsiteX2" fmla="*/ 9538 w 25434"/>
                  <a:gd name="connsiteY2" fmla="*/ 17804 h 25434"/>
                  <a:gd name="connsiteX3" fmla="*/ 17804 w 25434"/>
                  <a:gd name="connsiteY3" fmla="*/ 9538 h 25434"/>
                  <a:gd name="connsiteX4" fmla="*/ 26070 w 25434"/>
                  <a:gd name="connsiteY4" fmla="*/ 17804 h 2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34" h="25434">
                    <a:moveTo>
                      <a:pt x="26070" y="17804"/>
                    </a:moveTo>
                    <a:cubicBezTo>
                      <a:pt x="26070" y="22369"/>
                      <a:pt x="22369" y="26070"/>
                      <a:pt x="17804" y="26070"/>
                    </a:cubicBezTo>
                    <a:cubicBezTo>
                      <a:pt x="13239" y="26070"/>
                      <a:pt x="9538" y="22369"/>
                      <a:pt x="9538" y="17804"/>
                    </a:cubicBezTo>
                    <a:cubicBezTo>
                      <a:pt x="9538" y="13239"/>
                      <a:pt x="13239" y="9538"/>
                      <a:pt x="17804" y="9538"/>
                    </a:cubicBezTo>
                    <a:cubicBezTo>
                      <a:pt x="22369" y="9538"/>
                      <a:pt x="26070" y="13239"/>
                      <a:pt x="26070" y="17804"/>
                    </a:cubicBezTo>
                    <a:close/>
                  </a:path>
                </a:pathLst>
              </a:custGeom>
              <a:solidFill>
                <a:srgbClr val="0460A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0" name="Freeform: Shape 57">
                <a:extLst>
                  <a:ext uri="{FF2B5EF4-FFF2-40B4-BE49-F238E27FC236}">
                    <a16:creationId xmlns:a16="http://schemas.microsoft.com/office/drawing/2014/main" id="{0A8B106B-AA36-374C-A509-87BCFB2FB719}"/>
                  </a:ext>
                </a:extLst>
              </p:cNvPr>
              <p:cNvSpPr/>
              <p:nvPr/>
            </p:nvSpPr>
            <p:spPr>
              <a:xfrm>
                <a:off x="1477484" y="1329389"/>
                <a:ext cx="63586" cy="25434"/>
              </a:xfrm>
              <a:custGeom>
                <a:avLst/>
                <a:gdLst>
                  <a:gd name="connsiteX0" fmla="*/ 9538 w 63586"/>
                  <a:gd name="connsiteY0" fmla="*/ 20093 h 25434"/>
                  <a:gd name="connsiteX1" fmla="*/ 35100 w 63586"/>
                  <a:gd name="connsiteY1" fmla="*/ 9538 h 25434"/>
                  <a:gd name="connsiteX2" fmla="*/ 60661 w 63586"/>
                  <a:gd name="connsiteY2" fmla="*/ 20093 h 2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86" h="25434">
                    <a:moveTo>
                      <a:pt x="9538" y="20093"/>
                    </a:moveTo>
                    <a:cubicBezTo>
                      <a:pt x="16151" y="13480"/>
                      <a:pt x="25180" y="9538"/>
                      <a:pt x="35100" y="9538"/>
                    </a:cubicBezTo>
                    <a:cubicBezTo>
                      <a:pt x="45146" y="9538"/>
                      <a:pt x="54175" y="13607"/>
                      <a:pt x="60661" y="20093"/>
                    </a:cubicBezTo>
                  </a:path>
                </a:pathLst>
              </a:custGeom>
              <a:noFill/>
              <a:ln w="15875" cap="rnd">
                <a:solidFill>
                  <a:srgbClr val="0460A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862" name="Rectangle 2861">
            <a:extLst>
              <a:ext uri="{FF2B5EF4-FFF2-40B4-BE49-F238E27FC236}">
                <a16:creationId xmlns:a16="http://schemas.microsoft.com/office/drawing/2014/main" id="{D7BE253A-5069-0947-BB79-744101DC3B7C}"/>
              </a:ext>
            </a:extLst>
          </p:cNvPr>
          <p:cNvSpPr/>
          <p:nvPr/>
        </p:nvSpPr>
        <p:spPr>
          <a:xfrm>
            <a:off x="8713928" y="5171453"/>
            <a:ext cx="3285577" cy="1305548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ts val="1333"/>
              </a:spcBef>
            </a:pPr>
            <a:r>
              <a:rPr lang="en-US" sz="1467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S přispívá ke značné </a:t>
            </a:r>
            <a:r>
              <a:rPr lang="en-US" sz="1467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ční</a:t>
            </a:r>
            <a:r>
              <a:rPr lang="en-US" sz="1467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67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átěži</a:t>
            </a:r>
            <a:r>
              <a:rPr lang="cs-CZ" sz="1467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67" b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11</a:t>
            </a:r>
          </a:p>
        </p:txBody>
      </p:sp>
      <p:sp>
        <p:nvSpPr>
          <p:cNvPr id="2866" name="TextBox 2865"/>
          <p:cNvSpPr txBox="1"/>
          <p:nvPr/>
        </p:nvSpPr>
        <p:spPr>
          <a:xfrm>
            <a:off x="413240" y="3890612"/>
            <a:ext cx="3832571" cy="707694"/>
          </a:xfrm>
          <a:prstGeom prst="rect">
            <a:avLst/>
          </a:prstGeom>
          <a:solidFill>
            <a:srgbClr val="0460A9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333" dirty="0">
                <a:solidFill>
                  <a:schemeClr val="bg1"/>
                </a:solidFill>
                <a:latin typeface="arial" panose="020B0604020202020204" pitchFamily="34" charset="0"/>
              </a:rPr>
              <a:t>HS je </a:t>
            </a:r>
            <a:r>
              <a:rPr lang="en-US" sz="1333" dirty="0" err="1">
                <a:solidFill>
                  <a:schemeClr val="bg1"/>
                </a:solidFill>
                <a:latin typeface="arial" panose="020B0604020202020204" pitchFamily="34" charset="0"/>
              </a:rPr>
              <a:t>charakterizována</a:t>
            </a:r>
            <a:r>
              <a:rPr lang="en-US" sz="1333" dirty="0">
                <a:solidFill>
                  <a:schemeClr val="bg1"/>
                </a:solidFill>
                <a:latin typeface="arial" panose="020B0604020202020204" pitchFamily="34" charset="0"/>
              </a:rPr>
              <a:t> opakovanými zánětlivými </a:t>
            </a:r>
            <a:r>
              <a:rPr lang="en-US" sz="1333" dirty="0" err="1">
                <a:solidFill>
                  <a:schemeClr val="bg1"/>
                </a:solidFill>
                <a:latin typeface="arial" panose="020B0604020202020204" pitchFamily="34" charset="0"/>
              </a:rPr>
              <a:t>lézemi</a:t>
            </a:r>
            <a:r>
              <a:rPr lang="en-US" sz="1333" dirty="0">
                <a:solidFill>
                  <a:schemeClr val="bg1"/>
                </a:solidFill>
                <a:latin typeface="arial" panose="020B0604020202020204" pitchFamily="34" charset="0"/>
              </a:rPr>
              <a:t> v </a:t>
            </a:r>
            <a:r>
              <a:rPr lang="en-US" sz="1333" dirty="0" err="1">
                <a:solidFill>
                  <a:schemeClr val="bg1"/>
                </a:solidFill>
                <a:latin typeface="arial" panose="020B0604020202020204" pitchFamily="34" charset="0"/>
              </a:rPr>
              <a:t>oblastech</a:t>
            </a:r>
            <a:r>
              <a:rPr lang="en-US" sz="1333" dirty="0">
                <a:solidFill>
                  <a:schemeClr val="bg1"/>
                </a:solidFill>
                <a:latin typeface="arial" panose="020B0604020202020204" pitchFamily="34" charset="0"/>
              </a:rPr>
              <a:t>, jako jsou axily, </a:t>
            </a:r>
            <a:r>
              <a:rPr lang="en-US" sz="1333" dirty="0" err="1">
                <a:solidFill>
                  <a:schemeClr val="bg1"/>
                </a:solidFill>
                <a:latin typeface="arial" panose="020B0604020202020204" pitchFamily="34" charset="0"/>
              </a:rPr>
              <a:t>třísla</a:t>
            </a:r>
            <a:r>
              <a:rPr lang="cs-CZ" sz="1333" dirty="0">
                <a:solidFill>
                  <a:schemeClr val="bg1"/>
                </a:solidFill>
                <a:latin typeface="arial" panose="020B0604020202020204" pitchFamily="34" charset="0"/>
              </a:rPr>
              <a:t>,</a:t>
            </a:r>
            <a:r>
              <a:rPr lang="en-US" sz="1333" dirty="0">
                <a:solidFill>
                  <a:schemeClr val="bg1"/>
                </a:solidFill>
                <a:latin typeface="arial" panose="020B0604020202020204" pitchFamily="34" charset="0"/>
              </a:rPr>
              <a:t> perineum</a:t>
            </a:r>
            <a:r>
              <a:rPr lang="cs-CZ" sz="1333" dirty="0">
                <a:solidFill>
                  <a:schemeClr val="bg1"/>
                </a:solidFill>
                <a:latin typeface="arial" panose="020B0604020202020204" pitchFamily="34" charset="0"/>
              </a:rPr>
              <a:t>, gluteální partie </a:t>
            </a:r>
            <a:r>
              <a:rPr lang="en-US" sz="1333" baseline="30000" dirty="0">
                <a:solidFill>
                  <a:schemeClr val="bg1"/>
                </a:solidFill>
                <a:latin typeface="arial" panose="020B0604020202020204" pitchFamily="34" charset="0"/>
              </a:rPr>
              <a:t>1,4</a:t>
            </a:r>
            <a:endParaRPr lang="en-GB" sz="1333" kern="0" baseline="30000" dirty="0">
              <a:solidFill>
                <a:schemeClr val="bg1"/>
              </a:solidFill>
            </a:endParaRPr>
          </a:p>
        </p:txBody>
      </p:sp>
      <p:sp>
        <p:nvSpPr>
          <p:cNvPr id="854" name="TextBox 853"/>
          <p:cNvSpPr txBox="1"/>
          <p:nvPr/>
        </p:nvSpPr>
        <p:spPr>
          <a:xfrm>
            <a:off x="587195" y="5695315"/>
            <a:ext cx="69312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HS, hidradenitis suppurativa</a:t>
            </a:r>
          </a:p>
          <a:p>
            <a:r>
              <a:rPr lang="en-US" sz="800" dirty="0"/>
              <a:t>1. </a:t>
            </a:r>
            <a:r>
              <a:rPr lang="en-US" sz="800" dirty="0" err="1">
                <a:hlinkClick r:id="rId6"/>
              </a:rPr>
              <a:t>Zouboulis </a:t>
            </a:r>
            <a:r>
              <a:rPr lang="en-US" sz="800" dirty="0">
                <a:hlinkClick r:id="rId6"/>
              </a:rPr>
              <a:t>CC, et al. </a:t>
            </a:r>
            <a:r>
              <a:rPr lang="en-US" sz="800" i="1" dirty="0">
                <a:hlinkClick r:id="rId6"/>
              </a:rPr>
              <a:t>J Eur </a:t>
            </a:r>
            <a:r>
              <a:rPr lang="en-US" sz="800" i="1" dirty="0" err="1">
                <a:hlinkClick r:id="rId6"/>
              </a:rPr>
              <a:t>Acad Dermatol Venereol</a:t>
            </a:r>
            <a:r>
              <a:rPr lang="en-US" sz="800" dirty="0">
                <a:hlinkClick r:id="rId6"/>
              </a:rPr>
              <a:t>. 2015;29(4):619-644</a:t>
            </a:r>
            <a:r>
              <a:rPr lang="en-US" sz="800" dirty="0"/>
              <a:t>; 2. </a:t>
            </a:r>
            <a:r>
              <a:rPr lang="en-US" sz="800" dirty="0">
                <a:hlinkClick r:id="rId7"/>
              </a:rPr>
              <a:t>Layton A. </a:t>
            </a:r>
            <a:r>
              <a:rPr lang="en-US" sz="800" i="1" dirty="0">
                <a:hlinkClick r:id="rId7"/>
              </a:rPr>
              <a:t>Pathology of Hidradenitis suppurativa</a:t>
            </a:r>
            <a:r>
              <a:rPr lang="en-US" sz="800" dirty="0">
                <a:hlinkClick r:id="rId7"/>
              </a:rPr>
              <a:t>. 2006</a:t>
            </a:r>
            <a:r>
              <a:rPr lang="en-US" sz="800" dirty="0"/>
              <a:t>; 3. </a:t>
            </a:r>
            <a:r>
              <a:rPr lang="en-US" sz="800" i="1" dirty="0">
                <a:hlinkClick r:id="rId8"/>
              </a:rPr>
              <a:t>American Academy of Dermatology Association</a:t>
            </a:r>
            <a:r>
              <a:rPr lang="en-US" sz="800" dirty="0">
                <a:hlinkClick r:id="rId8"/>
              </a:rPr>
              <a:t>. https://www.aad.org/public/diseases/a-z/hidradenitis-suppurativa-causes. Dostupné v dubnu 2019; </a:t>
            </a:r>
            <a:r>
              <a:rPr lang="en-US" sz="800" dirty="0"/>
              <a:t>4. </a:t>
            </a:r>
            <a:r>
              <a:rPr lang="en-US" sz="800" dirty="0" err="1">
                <a:hlinkClick r:id="rId9"/>
              </a:rPr>
              <a:t>Sabat </a:t>
            </a:r>
            <a:r>
              <a:rPr lang="en-US" sz="800" dirty="0">
                <a:hlinkClick r:id="rId9"/>
              </a:rPr>
              <a:t>R, et al. </a:t>
            </a:r>
            <a:r>
              <a:rPr lang="en-US" sz="800" i="1" dirty="0">
                <a:hlinkClick r:id="rId9"/>
              </a:rPr>
              <a:t>Nat Rev Dis Primers</a:t>
            </a:r>
            <a:r>
              <a:rPr lang="en-US" sz="800" dirty="0">
                <a:hlinkClick r:id="rId9"/>
              </a:rPr>
              <a:t>. 2020;6(1):18</a:t>
            </a:r>
            <a:r>
              <a:rPr lang="en-US" sz="800" dirty="0"/>
              <a:t>; 5. </a:t>
            </a:r>
            <a:r>
              <a:rPr lang="en-US" sz="800" dirty="0">
                <a:hlinkClick r:id="rId10"/>
              </a:rPr>
              <a:t>Ingram J, et al. </a:t>
            </a:r>
            <a:r>
              <a:rPr lang="en-US" sz="800" i="1" dirty="0">
                <a:hlinkClick r:id="rId10"/>
              </a:rPr>
              <a:t>Br J </a:t>
            </a:r>
            <a:r>
              <a:rPr lang="en-US" sz="800" i="1" dirty="0" err="1">
                <a:hlinkClick r:id="rId10"/>
              </a:rPr>
              <a:t>Dermatol</a:t>
            </a:r>
            <a:r>
              <a:rPr lang="en-US" sz="800" i="1" dirty="0">
                <a:hlinkClick r:id="rId10"/>
              </a:rPr>
              <a:t>. </a:t>
            </a:r>
            <a:r>
              <a:rPr lang="en-US" sz="800" dirty="0">
                <a:hlinkClick r:id="rId10"/>
              </a:rPr>
              <a:t>2018;178:917-924</a:t>
            </a:r>
            <a:r>
              <a:rPr lang="en-US" sz="800" dirty="0"/>
              <a:t>; 6. </a:t>
            </a:r>
            <a:r>
              <a:rPr lang="en-US" sz="800" dirty="0">
                <a:hlinkClick r:id="rId11"/>
              </a:rPr>
              <a:t>Delany E, et al. </a:t>
            </a:r>
            <a:r>
              <a:rPr lang="en-US" sz="800" i="1" dirty="0">
                <a:hlinkClick r:id="rId11"/>
              </a:rPr>
              <a:t>J </a:t>
            </a:r>
            <a:r>
              <a:rPr lang="en-US" sz="800" i="1" dirty="0" err="1">
                <a:hlinkClick r:id="rId11"/>
              </a:rPr>
              <a:t>Eur Acad Dermatol Venereol</a:t>
            </a:r>
            <a:r>
              <a:rPr lang="en-US" sz="800" dirty="0">
                <a:hlinkClick r:id="rId11"/>
              </a:rPr>
              <a:t>. 2018;32(3):467-473</a:t>
            </a:r>
            <a:r>
              <a:rPr lang="en-US" sz="800" dirty="0"/>
              <a:t>; 7. </a:t>
            </a:r>
            <a:r>
              <a:rPr lang="en-US" sz="800" dirty="0" err="1">
                <a:hlinkClick r:id="rId12"/>
              </a:rPr>
              <a:t>Jemec </a:t>
            </a:r>
            <a:r>
              <a:rPr lang="en-US" sz="800" dirty="0">
                <a:hlinkClick r:id="rId12"/>
              </a:rPr>
              <a:t>GB a Kimball AB. </a:t>
            </a:r>
            <a:r>
              <a:rPr lang="en-US" sz="800" i="1" dirty="0">
                <a:hlinkClick r:id="rId12"/>
              </a:rPr>
              <a:t>J Am </a:t>
            </a:r>
            <a:r>
              <a:rPr lang="en-US" sz="800" i="1" dirty="0" err="1">
                <a:hlinkClick r:id="rId12"/>
              </a:rPr>
              <a:t>Acad Dermatol</a:t>
            </a:r>
            <a:r>
              <a:rPr lang="en-US" sz="800" dirty="0">
                <a:hlinkClick r:id="rId12"/>
              </a:rPr>
              <a:t>. 2015;73(5 </a:t>
            </a:r>
            <a:r>
              <a:rPr lang="en-US" sz="800" dirty="0" err="1">
                <a:hlinkClick r:id="rId12"/>
              </a:rPr>
              <a:t>Suppl </a:t>
            </a:r>
            <a:r>
              <a:rPr lang="en-US" sz="800" dirty="0">
                <a:hlinkClick r:id="rId12"/>
              </a:rPr>
              <a:t>1):S4-S7</a:t>
            </a:r>
            <a:r>
              <a:rPr lang="en-US" sz="800" dirty="0"/>
              <a:t>; 8. </a:t>
            </a:r>
            <a:r>
              <a:rPr lang="en-US" sz="800" dirty="0" err="1">
                <a:hlinkClick r:id="rId13"/>
              </a:rPr>
              <a:t>Saunte </a:t>
            </a:r>
            <a:r>
              <a:rPr lang="en-US" sz="800" dirty="0">
                <a:hlinkClick r:id="rId13"/>
              </a:rPr>
              <a:t>DM a </a:t>
            </a:r>
            <a:r>
              <a:rPr lang="en-US" sz="800" dirty="0" err="1">
                <a:hlinkClick r:id="rId13"/>
              </a:rPr>
              <a:t>Jemec </a:t>
            </a:r>
            <a:r>
              <a:rPr lang="en-US" sz="800" dirty="0">
                <a:hlinkClick r:id="rId13"/>
              </a:rPr>
              <a:t>GB. </a:t>
            </a:r>
            <a:r>
              <a:rPr lang="en-US" sz="800" i="1" dirty="0">
                <a:hlinkClick r:id="rId13"/>
              </a:rPr>
              <a:t>JAMA</a:t>
            </a:r>
            <a:r>
              <a:rPr lang="en-US" sz="800" dirty="0">
                <a:hlinkClick r:id="rId13"/>
              </a:rPr>
              <a:t>. 2017;318(20):2019-2032</a:t>
            </a:r>
            <a:r>
              <a:rPr lang="en-US" sz="800" dirty="0"/>
              <a:t>; 9. </a:t>
            </a:r>
            <a:r>
              <a:rPr lang="en-US" sz="800" dirty="0">
                <a:hlinkClick r:id="rId14"/>
              </a:rPr>
              <a:t>von der Werth JM a </a:t>
            </a:r>
            <a:r>
              <a:rPr lang="en-US" sz="800" dirty="0" err="1">
                <a:hlinkClick r:id="rId14"/>
              </a:rPr>
              <a:t>Jemec </a:t>
            </a:r>
            <a:r>
              <a:rPr lang="en-US" sz="800" dirty="0">
                <a:hlinkClick r:id="rId14"/>
              </a:rPr>
              <a:t>GB. </a:t>
            </a:r>
            <a:r>
              <a:rPr lang="en-US" sz="800" i="1" dirty="0">
                <a:hlinkClick r:id="rId14"/>
              </a:rPr>
              <a:t>Br J </a:t>
            </a:r>
            <a:r>
              <a:rPr lang="en-US" sz="800" i="1" dirty="0" err="1">
                <a:hlinkClick r:id="rId14"/>
              </a:rPr>
              <a:t>Dermatol</a:t>
            </a:r>
            <a:r>
              <a:rPr lang="en-US" sz="800" dirty="0">
                <a:hlinkClick r:id="rId14"/>
              </a:rPr>
              <a:t>. 2001;144(4):809-813</a:t>
            </a:r>
            <a:r>
              <a:rPr lang="en-US" sz="800" dirty="0"/>
              <a:t>; 10. </a:t>
            </a:r>
            <a:r>
              <a:rPr lang="en-US" sz="800" dirty="0" err="1">
                <a:hlinkClick r:id="rId15"/>
              </a:rPr>
              <a:t>Alikhan </a:t>
            </a:r>
            <a:r>
              <a:rPr lang="en-US" sz="800" dirty="0">
                <a:hlinkClick r:id="rId15"/>
              </a:rPr>
              <a:t>A a kol. </a:t>
            </a:r>
            <a:r>
              <a:rPr lang="en-US" sz="800" i="1" dirty="0">
                <a:hlinkClick r:id="rId15"/>
              </a:rPr>
              <a:t>J Am </a:t>
            </a:r>
            <a:r>
              <a:rPr lang="en-US" sz="800" i="1" dirty="0" err="1">
                <a:hlinkClick r:id="rId15"/>
              </a:rPr>
              <a:t>Acad Dermatol</a:t>
            </a:r>
            <a:r>
              <a:rPr lang="en-US" sz="800" dirty="0">
                <a:hlinkClick r:id="rId15"/>
              </a:rPr>
              <a:t>. 2009;60(4):539-563</a:t>
            </a:r>
            <a:r>
              <a:rPr lang="en-US" sz="800" dirty="0"/>
              <a:t>; 11. </a:t>
            </a:r>
            <a:r>
              <a:rPr lang="en-US" sz="800" dirty="0" err="1">
                <a:hlinkClick r:id="rId16"/>
              </a:rPr>
              <a:t>Tzellos </a:t>
            </a:r>
            <a:r>
              <a:rPr lang="en-US" sz="800" dirty="0">
                <a:hlinkClick r:id="rId16"/>
              </a:rPr>
              <a:t>T a kol. </a:t>
            </a:r>
            <a:r>
              <a:rPr lang="en-US" sz="800" i="1" dirty="0">
                <a:hlinkClick r:id="rId16"/>
              </a:rPr>
              <a:t>Br J </a:t>
            </a:r>
            <a:r>
              <a:rPr lang="en-US" sz="800" i="1" dirty="0" err="1">
                <a:hlinkClick r:id="rId16"/>
              </a:rPr>
              <a:t>Dermatol</a:t>
            </a:r>
            <a:r>
              <a:rPr lang="en-US" sz="800" i="1" dirty="0">
                <a:hlinkClick r:id="rId16"/>
              </a:rPr>
              <a:t>. </a:t>
            </a:r>
            <a:r>
              <a:rPr lang="en-US" sz="800" dirty="0">
                <a:hlinkClick r:id="rId16"/>
              </a:rPr>
              <a:t>2019;181(1):147-154</a:t>
            </a:r>
            <a:r>
              <a:rPr lang="en-US" sz="800" dirty="0"/>
              <a:t>.</a:t>
            </a:r>
          </a:p>
        </p:txBody>
      </p:sp>
      <p:sp>
        <p:nvSpPr>
          <p:cNvPr id="2" name="Rectangle 1"/>
          <p:cNvSpPr/>
          <p:nvPr/>
        </p:nvSpPr>
        <p:spPr>
          <a:xfrm>
            <a:off x="7704189" y="2666102"/>
            <a:ext cx="4487811" cy="1323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67" b="1" i="1" dirty="0"/>
              <a:t>Přesná prevalence HS </a:t>
            </a:r>
            <a:r>
              <a:rPr lang="en-US" sz="1467" b="1" i="1" dirty="0" err="1"/>
              <a:t>není</a:t>
            </a:r>
            <a:r>
              <a:rPr lang="en-US" sz="1467" b="1" i="1" dirty="0"/>
              <a:t> </a:t>
            </a:r>
            <a:r>
              <a:rPr lang="en-US" sz="1467" b="1" i="1" dirty="0" err="1"/>
              <a:t>známa</a:t>
            </a:r>
            <a:r>
              <a:rPr lang="cs-CZ" sz="1467" b="1" i="1" dirty="0"/>
              <a:t>, v literatuře se značně liší a kolísá od 0,03 do 4%. </a:t>
            </a:r>
            <a:r>
              <a:rPr lang="en-US" sz="1467" b="1" i="1" baseline="30000" dirty="0"/>
              <a:t>5-8</a:t>
            </a:r>
            <a:r>
              <a:rPr lang="cs-CZ" sz="1467" b="1" i="1" dirty="0"/>
              <a:t> </a:t>
            </a:r>
            <a:endParaRPr lang="en-US" sz="1467" b="1" i="1" dirty="0"/>
          </a:p>
          <a:p>
            <a:pPr algn="ctr">
              <a:spcAft>
                <a:spcPts val="800"/>
              </a:spcAft>
            </a:pPr>
            <a:r>
              <a:rPr lang="en-US" sz="1467" b="1" i="1" dirty="0"/>
              <a:t>Vzhledem k tomu, že neexistuje žádný test, který by diagnózu usnadnil, je HS definována pouze na základě klinických příznaků a chronicity.</a:t>
            </a:r>
            <a:endParaRPr lang="en-US" sz="1467" b="1" dirty="0"/>
          </a:p>
        </p:txBody>
      </p:sp>
      <p:grpSp>
        <p:nvGrpSpPr>
          <p:cNvPr id="842" name="Group 841">
            <a:extLst>
              <a:ext uri="{FF2B5EF4-FFF2-40B4-BE49-F238E27FC236}">
                <a16:creationId xmlns:a16="http://schemas.microsoft.com/office/drawing/2014/main" id="{76A4B920-BE27-FD4D-BF66-0DC0376D3CB1}"/>
              </a:ext>
            </a:extLst>
          </p:cNvPr>
          <p:cNvGrpSpPr/>
          <p:nvPr/>
        </p:nvGrpSpPr>
        <p:grpSpPr>
          <a:xfrm>
            <a:off x="8027571" y="5058664"/>
            <a:ext cx="707136" cy="707136"/>
            <a:chOff x="719156" y="5381203"/>
            <a:chExt cx="532254" cy="532254"/>
          </a:xfrm>
        </p:grpSpPr>
        <p:sp>
          <p:nvSpPr>
            <p:cNvPr id="853" name="Oval 852">
              <a:extLst>
                <a:ext uri="{FF2B5EF4-FFF2-40B4-BE49-F238E27FC236}">
                  <a16:creationId xmlns:a16="http://schemas.microsoft.com/office/drawing/2014/main" id="{A8CADBA1-0CE7-C243-B448-08FFC5768807}"/>
                </a:ext>
              </a:extLst>
            </p:cNvPr>
            <p:cNvSpPr/>
            <p:nvPr/>
          </p:nvSpPr>
          <p:spPr>
            <a:xfrm>
              <a:off x="719156" y="5381203"/>
              <a:ext cx="532254" cy="532254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55" name="Freeform 137">
              <a:extLst>
                <a:ext uri="{FF2B5EF4-FFF2-40B4-BE49-F238E27FC236}">
                  <a16:creationId xmlns:a16="http://schemas.microsoft.com/office/drawing/2014/main" id="{EA27E180-BEE3-9C42-B60D-A70C6DE7CE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8604" y="5495102"/>
              <a:ext cx="304456" cy="304456"/>
            </a:xfrm>
            <a:custGeom>
              <a:avLst/>
              <a:gdLst>
                <a:gd name="T0" fmla="*/ 68 w 171"/>
                <a:gd name="T1" fmla="*/ 27 h 171"/>
                <a:gd name="T2" fmla="*/ 79 w 171"/>
                <a:gd name="T3" fmla="*/ 9 h 171"/>
                <a:gd name="T4" fmla="*/ 159 w 171"/>
                <a:gd name="T5" fmla="*/ 8 h 171"/>
                <a:gd name="T6" fmla="*/ 170 w 171"/>
                <a:gd name="T7" fmla="*/ 41 h 171"/>
                <a:gd name="T8" fmla="*/ 170 w 171"/>
                <a:gd name="T9" fmla="*/ 115 h 171"/>
                <a:gd name="T10" fmla="*/ 107 w 171"/>
                <a:gd name="T11" fmla="*/ 136 h 171"/>
                <a:gd name="T12" fmla="*/ 102 w 171"/>
                <a:gd name="T13" fmla="*/ 149 h 171"/>
                <a:gd name="T14" fmla="*/ 45 w 171"/>
                <a:gd name="T15" fmla="*/ 170 h 171"/>
                <a:gd name="T16" fmla="*/ 0 w 171"/>
                <a:gd name="T17" fmla="*/ 148 h 171"/>
                <a:gd name="T18" fmla="*/ 0 w 171"/>
                <a:gd name="T19" fmla="*/ 79 h 171"/>
                <a:gd name="T20" fmla="*/ 55 w 171"/>
                <a:gd name="T21" fmla="*/ 58 h 171"/>
                <a:gd name="T22" fmla="*/ 134 w 171"/>
                <a:gd name="T23" fmla="*/ 34 h 171"/>
                <a:gd name="T24" fmla="*/ 162 w 171"/>
                <a:gd name="T25" fmla="*/ 17 h 171"/>
                <a:gd name="T26" fmla="*/ 130 w 171"/>
                <a:gd name="T27" fmla="*/ 8 h 171"/>
                <a:gd name="T28" fmla="*/ 78 w 171"/>
                <a:gd name="T29" fmla="*/ 26 h 171"/>
                <a:gd name="T30" fmla="*/ 51 w 171"/>
                <a:gd name="T31" fmla="*/ 93 h 171"/>
                <a:gd name="T32" fmla="*/ 94 w 171"/>
                <a:gd name="T33" fmla="*/ 82 h 171"/>
                <a:gd name="T34" fmla="*/ 82 w 171"/>
                <a:gd name="T35" fmla="*/ 69 h 171"/>
                <a:gd name="T36" fmla="*/ 10 w 171"/>
                <a:gd name="T37" fmla="*/ 83 h 171"/>
                <a:gd name="T38" fmla="*/ 96 w 171"/>
                <a:gd name="T39" fmla="*/ 89 h 171"/>
                <a:gd name="T40" fmla="*/ 7 w 171"/>
                <a:gd name="T41" fmla="*/ 101 h 171"/>
                <a:gd name="T42" fmla="*/ 45 w 171"/>
                <a:gd name="T43" fmla="*/ 116 h 171"/>
                <a:gd name="T44" fmla="*/ 96 w 171"/>
                <a:gd name="T45" fmla="*/ 103 h 171"/>
                <a:gd name="T46" fmla="*/ 7 w 171"/>
                <a:gd name="T47" fmla="*/ 147 h 171"/>
                <a:gd name="T48" fmla="*/ 61 w 171"/>
                <a:gd name="T49" fmla="*/ 163 h 171"/>
                <a:gd name="T50" fmla="*/ 95 w 171"/>
                <a:gd name="T51" fmla="*/ 151 h 171"/>
                <a:gd name="T52" fmla="*/ 7 w 171"/>
                <a:gd name="T53" fmla="*/ 137 h 171"/>
                <a:gd name="T54" fmla="*/ 79 w 171"/>
                <a:gd name="T55" fmla="*/ 50 h 171"/>
                <a:gd name="T56" fmla="*/ 151 w 171"/>
                <a:gd name="T57" fmla="*/ 54 h 171"/>
                <a:gd name="T58" fmla="*/ 164 w 171"/>
                <a:gd name="T59" fmla="*/ 33 h 171"/>
                <a:gd name="T60" fmla="*/ 75 w 171"/>
                <a:gd name="T61" fmla="*/ 31 h 171"/>
                <a:gd name="T62" fmla="*/ 7 w 171"/>
                <a:gd name="T63" fmla="*/ 113 h 171"/>
                <a:gd name="T64" fmla="*/ 19 w 171"/>
                <a:gd name="T65" fmla="*/ 135 h 171"/>
                <a:gd name="T66" fmla="*/ 93 w 171"/>
                <a:gd name="T67" fmla="*/ 131 h 171"/>
                <a:gd name="T68" fmla="*/ 164 w 171"/>
                <a:gd name="T69" fmla="*/ 55 h 171"/>
                <a:gd name="T70" fmla="*/ 75 w 171"/>
                <a:gd name="T71" fmla="*/ 59 h 171"/>
                <a:gd name="T72" fmla="*/ 102 w 171"/>
                <a:gd name="T73" fmla="*/ 81 h 171"/>
                <a:gd name="T74" fmla="*/ 160 w 171"/>
                <a:gd name="T75" fmla="*/ 74 h 171"/>
                <a:gd name="T76" fmla="*/ 102 w 171"/>
                <a:gd name="T77" fmla="*/ 105 h 171"/>
                <a:gd name="T78" fmla="*/ 160 w 171"/>
                <a:gd name="T79" fmla="*/ 98 h 171"/>
                <a:gd name="T80" fmla="*/ 163 w 171"/>
                <a:gd name="T81" fmla="*/ 79 h 171"/>
                <a:gd name="T82" fmla="*/ 164 w 171"/>
                <a:gd name="T83" fmla="*/ 103 h 171"/>
                <a:gd name="T84" fmla="*/ 103 w 171"/>
                <a:gd name="T85" fmla="*/ 129 h 171"/>
                <a:gd name="T86" fmla="*/ 160 w 171"/>
                <a:gd name="T87" fmla="*/ 1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1" h="171">
                  <a:moveTo>
                    <a:pt x="68" y="59"/>
                  </a:moveTo>
                  <a:cubicBezTo>
                    <a:pt x="68" y="58"/>
                    <a:pt x="68" y="58"/>
                    <a:pt x="68" y="57"/>
                  </a:cubicBezTo>
                  <a:cubicBezTo>
                    <a:pt x="68" y="47"/>
                    <a:pt x="68" y="37"/>
                    <a:pt x="68" y="27"/>
                  </a:cubicBezTo>
                  <a:cubicBezTo>
                    <a:pt x="68" y="25"/>
                    <a:pt x="68" y="23"/>
                    <a:pt x="68" y="21"/>
                  </a:cubicBezTo>
                  <a:cubicBezTo>
                    <a:pt x="68" y="18"/>
                    <a:pt x="69" y="16"/>
                    <a:pt x="71" y="14"/>
                  </a:cubicBezTo>
                  <a:cubicBezTo>
                    <a:pt x="74" y="12"/>
                    <a:pt x="76" y="10"/>
                    <a:pt x="79" y="9"/>
                  </a:cubicBezTo>
                  <a:cubicBezTo>
                    <a:pt x="87" y="4"/>
                    <a:pt x="96" y="3"/>
                    <a:pt x="105" y="2"/>
                  </a:cubicBezTo>
                  <a:cubicBezTo>
                    <a:pt x="119" y="0"/>
                    <a:pt x="132" y="0"/>
                    <a:pt x="146" y="4"/>
                  </a:cubicBezTo>
                  <a:cubicBezTo>
                    <a:pt x="151" y="5"/>
                    <a:pt x="155" y="7"/>
                    <a:pt x="159" y="8"/>
                  </a:cubicBezTo>
                  <a:cubicBezTo>
                    <a:pt x="161" y="9"/>
                    <a:pt x="163" y="10"/>
                    <a:pt x="164" y="11"/>
                  </a:cubicBezTo>
                  <a:cubicBezTo>
                    <a:pt x="168" y="14"/>
                    <a:pt x="171" y="17"/>
                    <a:pt x="170" y="23"/>
                  </a:cubicBezTo>
                  <a:cubicBezTo>
                    <a:pt x="170" y="29"/>
                    <a:pt x="170" y="35"/>
                    <a:pt x="170" y="41"/>
                  </a:cubicBezTo>
                  <a:cubicBezTo>
                    <a:pt x="170" y="50"/>
                    <a:pt x="170" y="58"/>
                    <a:pt x="170" y="66"/>
                  </a:cubicBezTo>
                  <a:cubicBezTo>
                    <a:pt x="170" y="74"/>
                    <a:pt x="170" y="81"/>
                    <a:pt x="170" y="89"/>
                  </a:cubicBezTo>
                  <a:cubicBezTo>
                    <a:pt x="170" y="97"/>
                    <a:pt x="170" y="106"/>
                    <a:pt x="170" y="115"/>
                  </a:cubicBezTo>
                  <a:cubicBezTo>
                    <a:pt x="171" y="119"/>
                    <a:pt x="169" y="122"/>
                    <a:pt x="166" y="124"/>
                  </a:cubicBezTo>
                  <a:cubicBezTo>
                    <a:pt x="161" y="128"/>
                    <a:pt x="156" y="131"/>
                    <a:pt x="150" y="132"/>
                  </a:cubicBezTo>
                  <a:cubicBezTo>
                    <a:pt x="136" y="136"/>
                    <a:pt x="121" y="137"/>
                    <a:pt x="107" y="136"/>
                  </a:cubicBezTo>
                  <a:cubicBezTo>
                    <a:pt x="105" y="136"/>
                    <a:pt x="104" y="136"/>
                    <a:pt x="103" y="135"/>
                  </a:cubicBezTo>
                  <a:cubicBezTo>
                    <a:pt x="102" y="136"/>
                    <a:pt x="102" y="137"/>
                    <a:pt x="102" y="137"/>
                  </a:cubicBezTo>
                  <a:cubicBezTo>
                    <a:pt x="102" y="141"/>
                    <a:pt x="102" y="145"/>
                    <a:pt x="102" y="149"/>
                  </a:cubicBezTo>
                  <a:cubicBezTo>
                    <a:pt x="102" y="152"/>
                    <a:pt x="101" y="155"/>
                    <a:pt x="99" y="157"/>
                  </a:cubicBezTo>
                  <a:cubicBezTo>
                    <a:pt x="95" y="161"/>
                    <a:pt x="91" y="163"/>
                    <a:pt x="86" y="165"/>
                  </a:cubicBezTo>
                  <a:cubicBezTo>
                    <a:pt x="73" y="170"/>
                    <a:pt x="59" y="171"/>
                    <a:pt x="45" y="170"/>
                  </a:cubicBezTo>
                  <a:cubicBezTo>
                    <a:pt x="36" y="170"/>
                    <a:pt x="27" y="168"/>
                    <a:pt x="18" y="165"/>
                  </a:cubicBezTo>
                  <a:cubicBezTo>
                    <a:pt x="14" y="164"/>
                    <a:pt x="9" y="162"/>
                    <a:pt x="6" y="159"/>
                  </a:cubicBezTo>
                  <a:cubicBezTo>
                    <a:pt x="2" y="156"/>
                    <a:pt x="0" y="153"/>
                    <a:pt x="0" y="148"/>
                  </a:cubicBezTo>
                  <a:cubicBezTo>
                    <a:pt x="1" y="135"/>
                    <a:pt x="0" y="121"/>
                    <a:pt x="0" y="108"/>
                  </a:cubicBezTo>
                  <a:cubicBezTo>
                    <a:pt x="0" y="100"/>
                    <a:pt x="0" y="92"/>
                    <a:pt x="0" y="84"/>
                  </a:cubicBezTo>
                  <a:cubicBezTo>
                    <a:pt x="0" y="82"/>
                    <a:pt x="0" y="80"/>
                    <a:pt x="0" y="79"/>
                  </a:cubicBezTo>
                  <a:cubicBezTo>
                    <a:pt x="0" y="76"/>
                    <a:pt x="2" y="73"/>
                    <a:pt x="4" y="71"/>
                  </a:cubicBezTo>
                  <a:cubicBezTo>
                    <a:pt x="7" y="68"/>
                    <a:pt x="11" y="66"/>
                    <a:pt x="15" y="64"/>
                  </a:cubicBezTo>
                  <a:cubicBezTo>
                    <a:pt x="28" y="59"/>
                    <a:pt x="41" y="58"/>
                    <a:pt x="55" y="58"/>
                  </a:cubicBezTo>
                  <a:cubicBezTo>
                    <a:pt x="59" y="59"/>
                    <a:pt x="64" y="59"/>
                    <a:pt x="68" y="59"/>
                  </a:cubicBezTo>
                  <a:close/>
                  <a:moveTo>
                    <a:pt x="120" y="35"/>
                  </a:moveTo>
                  <a:cubicBezTo>
                    <a:pt x="124" y="34"/>
                    <a:pt x="129" y="34"/>
                    <a:pt x="134" y="34"/>
                  </a:cubicBezTo>
                  <a:cubicBezTo>
                    <a:pt x="142" y="33"/>
                    <a:pt x="149" y="32"/>
                    <a:pt x="156" y="29"/>
                  </a:cubicBezTo>
                  <a:cubicBezTo>
                    <a:pt x="158" y="28"/>
                    <a:pt x="160" y="26"/>
                    <a:pt x="162" y="25"/>
                  </a:cubicBezTo>
                  <a:cubicBezTo>
                    <a:pt x="164" y="22"/>
                    <a:pt x="164" y="20"/>
                    <a:pt x="162" y="17"/>
                  </a:cubicBezTo>
                  <a:cubicBezTo>
                    <a:pt x="161" y="16"/>
                    <a:pt x="160" y="15"/>
                    <a:pt x="158" y="15"/>
                  </a:cubicBezTo>
                  <a:cubicBezTo>
                    <a:pt x="156" y="14"/>
                    <a:pt x="154" y="13"/>
                    <a:pt x="151" y="12"/>
                  </a:cubicBezTo>
                  <a:cubicBezTo>
                    <a:pt x="144" y="9"/>
                    <a:pt x="137" y="8"/>
                    <a:pt x="130" y="8"/>
                  </a:cubicBezTo>
                  <a:cubicBezTo>
                    <a:pt x="117" y="7"/>
                    <a:pt x="104" y="7"/>
                    <a:pt x="91" y="11"/>
                  </a:cubicBezTo>
                  <a:cubicBezTo>
                    <a:pt x="87" y="12"/>
                    <a:pt x="82" y="13"/>
                    <a:pt x="78" y="16"/>
                  </a:cubicBezTo>
                  <a:cubicBezTo>
                    <a:pt x="74" y="19"/>
                    <a:pt x="74" y="23"/>
                    <a:pt x="78" y="26"/>
                  </a:cubicBezTo>
                  <a:cubicBezTo>
                    <a:pt x="81" y="28"/>
                    <a:pt x="85" y="29"/>
                    <a:pt x="88" y="30"/>
                  </a:cubicBezTo>
                  <a:cubicBezTo>
                    <a:pt x="98" y="34"/>
                    <a:pt x="109" y="35"/>
                    <a:pt x="120" y="35"/>
                  </a:cubicBezTo>
                  <a:close/>
                  <a:moveTo>
                    <a:pt x="51" y="93"/>
                  </a:moveTo>
                  <a:cubicBezTo>
                    <a:pt x="58" y="92"/>
                    <a:pt x="64" y="92"/>
                    <a:pt x="70" y="91"/>
                  </a:cubicBezTo>
                  <a:cubicBezTo>
                    <a:pt x="76" y="90"/>
                    <a:pt x="83" y="89"/>
                    <a:pt x="89" y="86"/>
                  </a:cubicBezTo>
                  <a:cubicBezTo>
                    <a:pt x="91" y="85"/>
                    <a:pt x="93" y="83"/>
                    <a:pt x="94" y="82"/>
                  </a:cubicBezTo>
                  <a:cubicBezTo>
                    <a:pt x="96" y="80"/>
                    <a:pt x="96" y="78"/>
                    <a:pt x="94" y="76"/>
                  </a:cubicBezTo>
                  <a:cubicBezTo>
                    <a:pt x="94" y="75"/>
                    <a:pt x="92" y="74"/>
                    <a:pt x="91" y="73"/>
                  </a:cubicBezTo>
                  <a:cubicBezTo>
                    <a:pt x="88" y="71"/>
                    <a:pt x="85" y="70"/>
                    <a:pt x="82" y="69"/>
                  </a:cubicBezTo>
                  <a:cubicBezTo>
                    <a:pt x="62" y="64"/>
                    <a:pt x="42" y="64"/>
                    <a:pt x="22" y="69"/>
                  </a:cubicBezTo>
                  <a:cubicBezTo>
                    <a:pt x="18" y="70"/>
                    <a:pt x="13" y="71"/>
                    <a:pt x="10" y="74"/>
                  </a:cubicBezTo>
                  <a:cubicBezTo>
                    <a:pt x="6" y="77"/>
                    <a:pt x="6" y="81"/>
                    <a:pt x="10" y="83"/>
                  </a:cubicBezTo>
                  <a:cubicBezTo>
                    <a:pt x="13" y="85"/>
                    <a:pt x="16" y="87"/>
                    <a:pt x="19" y="88"/>
                  </a:cubicBezTo>
                  <a:cubicBezTo>
                    <a:pt x="29" y="91"/>
                    <a:pt x="40" y="92"/>
                    <a:pt x="51" y="93"/>
                  </a:cubicBezTo>
                  <a:close/>
                  <a:moveTo>
                    <a:pt x="96" y="89"/>
                  </a:moveTo>
                  <a:cubicBezTo>
                    <a:pt x="82" y="97"/>
                    <a:pt x="67" y="99"/>
                    <a:pt x="51" y="99"/>
                  </a:cubicBezTo>
                  <a:cubicBezTo>
                    <a:pt x="36" y="99"/>
                    <a:pt x="21" y="97"/>
                    <a:pt x="7" y="89"/>
                  </a:cubicBezTo>
                  <a:cubicBezTo>
                    <a:pt x="7" y="93"/>
                    <a:pt x="7" y="97"/>
                    <a:pt x="7" y="101"/>
                  </a:cubicBezTo>
                  <a:cubicBezTo>
                    <a:pt x="7" y="104"/>
                    <a:pt x="8" y="106"/>
                    <a:pt x="10" y="107"/>
                  </a:cubicBezTo>
                  <a:cubicBezTo>
                    <a:pt x="13" y="109"/>
                    <a:pt x="15" y="110"/>
                    <a:pt x="18" y="111"/>
                  </a:cubicBezTo>
                  <a:cubicBezTo>
                    <a:pt x="27" y="114"/>
                    <a:pt x="36" y="116"/>
                    <a:pt x="45" y="116"/>
                  </a:cubicBezTo>
                  <a:cubicBezTo>
                    <a:pt x="57" y="116"/>
                    <a:pt x="70" y="116"/>
                    <a:pt x="81" y="112"/>
                  </a:cubicBezTo>
                  <a:cubicBezTo>
                    <a:pt x="85" y="111"/>
                    <a:pt x="89" y="109"/>
                    <a:pt x="92" y="108"/>
                  </a:cubicBezTo>
                  <a:cubicBezTo>
                    <a:pt x="94" y="107"/>
                    <a:pt x="95" y="105"/>
                    <a:pt x="96" y="103"/>
                  </a:cubicBezTo>
                  <a:cubicBezTo>
                    <a:pt x="96" y="98"/>
                    <a:pt x="96" y="94"/>
                    <a:pt x="96" y="89"/>
                  </a:cubicBezTo>
                  <a:close/>
                  <a:moveTo>
                    <a:pt x="7" y="137"/>
                  </a:moveTo>
                  <a:cubicBezTo>
                    <a:pt x="7" y="140"/>
                    <a:pt x="7" y="144"/>
                    <a:pt x="7" y="147"/>
                  </a:cubicBezTo>
                  <a:cubicBezTo>
                    <a:pt x="7" y="152"/>
                    <a:pt x="9" y="154"/>
                    <a:pt x="12" y="156"/>
                  </a:cubicBezTo>
                  <a:cubicBezTo>
                    <a:pt x="16" y="158"/>
                    <a:pt x="20" y="160"/>
                    <a:pt x="25" y="161"/>
                  </a:cubicBezTo>
                  <a:cubicBezTo>
                    <a:pt x="37" y="164"/>
                    <a:pt x="49" y="164"/>
                    <a:pt x="61" y="163"/>
                  </a:cubicBezTo>
                  <a:cubicBezTo>
                    <a:pt x="70" y="163"/>
                    <a:pt x="78" y="162"/>
                    <a:pt x="85" y="159"/>
                  </a:cubicBezTo>
                  <a:cubicBezTo>
                    <a:pt x="88" y="157"/>
                    <a:pt x="91" y="156"/>
                    <a:pt x="93" y="154"/>
                  </a:cubicBezTo>
                  <a:cubicBezTo>
                    <a:pt x="94" y="153"/>
                    <a:pt x="95" y="152"/>
                    <a:pt x="95" y="151"/>
                  </a:cubicBezTo>
                  <a:cubicBezTo>
                    <a:pt x="96" y="146"/>
                    <a:pt x="96" y="141"/>
                    <a:pt x="96" y="137"/>
                  </a:cubicBezTo>
                  <a:cubicBezTo>
                    <a:pt x="82" y="144"/>
                    <a:pt x="67" y="146"/>
                    <a:pt x="52" y="147"/>
                  </a:cubicBezTo>
                  <a:cubicBezTo>
                    <a:pt x="36" y="147"/>
                    <a:pt x="21" y="145"/>
                    <a:pt x="7" y="137"/>
                  </a:cubicBezTo>
                  <a:close/>
                  <a:moveTo>
                    <a:pt x="75" y="31"/>
                  </a:moveTo>
                  <a:cubicBezTo>
                    <a:pt x="75" y="35"/>
                    <a:pt x="75" y="39"/>
                    <a:pt x="75" y="43"/>
                  </a:cubicBezTo>
                  <a:cubicBezTo>
                    <a:pt x="75" y="46"/>
                    <a:pt x="76" y="49"/>
                    <a:pt x="79" y="50"/>
                  </a:cubicBezTo>
                  <a:cubicBezTo>
                    <a:pt x="83" y="52"/>
                    <a:pt x="86" y="54"/>
                    <a:pt x="90" y="55"/>
                  </a:cubicBezTo>
                  <a:cubicBezTo>
                    <a:pt x="103" y="58"/>
                    <a:pt x="116" y="59"/>
                    <a:pt x="129" y="58"/>
                  </a:cubicBezTo>
                  <a:cubicBezTo>
                    <a:pt x="136" y="58"/>
                    <a:pt x="144" y="57"/>
                    <a:pt x="151" y="54"/>
                  </a:cubicBezTo>
                  <a:cubicBezTo>
                    <a:pt x="154" y="53"/>
                    <a:pt x="157" y="52"/>
                    <a:pt x="160" y="50"/>
                  </a:cubicBezTo>
                  <a:cubicBezTo>
                    <a:pt x="163" y="49"/>
                    <a:pt x="164" y="46"/>
                    <a:pt x="164" y="43"/>
                  </a:cubicBezTo>
                  <a:cubicBezTo>
                    <a:pt x="163" y="40"/>
                    <a:pt x="164" y="36"/>
                    <a:pt x="164" y="33"/>
                  </a:cubicBezTo>
                  <a:cubicBezTo>
                    <a:pt x="164" y="33"/>
                    <a:pt x="164" y="32"/>
                    <a:pt x="163" y="32"/>
                  </a:cubicBezTo>
                  <a:cubicBezTo>
                    <a:pt x="150" y="39"/>
                    <a:pt x="135" y="41"/>
                    <a:pt x="119" y="41"/>
                  </a:cubicBezTo>
                  <a:cubicBezTo>
                    <a:pt x="104" y="41"/>
                    <a:pt x="89" y="39"/>
                    <a:pt x="75" y="31"/>
                  </a:cubicBezTo>
                  <a:close/>
                  <a:moveTo>
                    <a:pt x="96" y="113"/>
                  </a:moveTo>
                  <a:cubicBezTo>
                    <a:pt x="82" y="121"/>
                    <a:pt x="67" y="123"/>
                    <a:pt x="51" y="123"/>
                  </a:cubicBezTo>
                  <a:cubicBezTo>
                    <a:pt x="36" y="123"/>
                    <a:pt x="21" y="121"/>
                    <a:pt x="7" y="113"/>
                  </a:cubicBezTo>
                  <a:cubicBezTo>
                    <a:pt x="7" y="117"/>
                    <a:pt x="7" y="121"/>
                    <a:pt x="7" y="125"/>
                  </a:cubicBezTo>
                  <a:cubicBezTo>
                    <a:pt x="7" y="128"/>
                    <a:pt x="8" y="130"/>
                    <a:pt x="10" y="131"/>
                  </a:cubicBezTo>
                  <a:cubicBezTo>
                    <a:pt x="13" y="133"/>
                    <a:pt x="16" y="134"/>
                    <a:pt x="19" y="135"/>
                  </a:cubicBezTo>
                  <a:cubicBezTo>
                    <a:pt x="27" y="138"/>
                    <a:pt x="35" y="139"/>
                    <a:pt x="43" y="140"/>
                  </a:cubicBezTo>
                  <a:cubicBezTo>
                    <a:pt x="57" y="140"/>
                    <a:pt x="70" y="140"/>
                    <a:pt x="83" y="136"/>
                  </a:cubicBezTo>
                  <a:cubicBezTo>
                    <a:pt x="86" y="135"/>
                    <a:pt x="90" y="133"/>
                    <a:pt x="93" y="131"/>
                  </a:cubicBezTo>
                  <a:cubicBezTo>
                    <a:pt x="94" y="130"/>
                    <a:pt x="95" y="128"/>
                    <a:pt x="95" y="127"/>
                  </a:cubicBezTo>
                  <a:cubicBezTo>
                    <a:pt x="96" y="122"/>
                    <a:pt x="96" y="118"/>
                    <a:pt x="96" y="113"/>
                  </a:cubicBezTo>
                  <a:close/>
                  <a:moveTo>
                    <a:pt x="164" y="55"/>
                  </a:moveTo>
                  <a:cubicBezTo>
                    <a:pt x="150" y="63"/>
                    <a:pt x="135" y="65"/>
                    <a:pt x="119" y="65"/>
                  </a:cubicBezTo>
                  <a:cubicBezTo>
                    <a:pt x="104" y="65"/>
                    <a:pt x="89" y="63"/>
                    <a:pt x="75" y="55"/>
                  </a:cubicBezTo>
                  <a:cubicBezTo>
                    <a:pt x="75" y="56"/>
                    <a:pt x="75" y="58"/>
                    <a:pt x="75" y="59"/>
                  </a:cubicBezTo>
                  <a:cubicBezTo>
                    <a:pt x="75" y="60"/>
                    <a:pt x="76" y="61"/>
                    <a:pt x="77" y="61"/>
                  </a:cubicBezTo>
                  <a:cubicBezTo>
                    <a:pt x="83" y="63"/>
                    <a:pt x="89" y="64"/>
                    <a:pt x="94" y="68"/>
                  </a:cubicBezTo>
                  <a:cubicBezTo>
                    <a:pt x="99" y="71"/>
                    <a:pt x="103" y="74"/>
                    <a:pt x="102" y="81"/>
                  </a:cubicBezTo>
                  <a:cubicBezTo>
                    <a:pt x="104" y="81"/>
                    <a:pt x="106" y="81"/>
                    <a:pt x="108" y="82"/>
                  </a:cubicBezTo>
                  <a:cubicBezTo>
                    <a:pt x="121" y="83"/>
                    <a:pt x="134" y="82"/>
                    <a:pt x="147" y="79"/>
                  </a:cubicBezTo>
                  <a:cubicBezTo>
                    <a:pt x="151" y="78"/>
                    <a:pt x="156" y="77"/>
                    <a:pt x="160" y="74"/>
                  </a:cubicBezTo>
                  <a:cubicBezTo>
                    <a:pt x="161" y="73"/>
                    <a:pt x="163" y="71"/>
                    <a:pt x="163" y="69"/>
                  </a:cubicBezTo>
                  <a:cubicBezTo>
                    <a:pt x="164" y="64"/>
                    <a:pt x="164" y="60"/>
                    <a:pt x="164" y="55"/>
                  </a:cubicBezTo>
                  <a:close/>
                  <a:moveTo>
                    <a:pt x="102" y="105"/>
                  </a:moveTo>
                  <a:cubicBezTo>
                    <a:pt x="103" y="105"/>
                    <a:pt x="103" y="105"/>
                    <a:pt x="104" y="105"/>
                  </a:cubicBezTo>
                  <a:cubicBezTo>
                    <a:pt x="119" y="107"/>
                    <a:pt x="134" y="106"/>
                    <a:pt x="149" y="102"/>
                  </a:cubicBezTo>
                  <a:cubicBezTo>
                    <a:pt x="153" y="101"/>
                    <a:pt x="156" y="99"/>
                    <a:pt x="160" y="98"/>
                  </a:cubicBezTo>
                  <a:cubicBezTo>
                    <a:pt x="163" y="96"/>
                    <a:pt x="164" y="94"/>
                    <a:pt x="164" y="91"/>
                  </a:cubicBezTo>
                  <a:cubicBezTo>
                    <a:pt x="163" y="87"/>
                    <a:pt x="164" y="84"/>
                    <a:pt x="164" y="81"/>
                  </a:cubicBezTo>
                  <a:cubicBezTo>
                    <a:pt x="164" y="80"/>
                    <a:pt x="164" y="80"/>
                    <a:pt x="163" y="79"/>
                  </a:cubicBezTo>
                  <a:cubicBezTo>
                    <a:pt x="144" y="89"/>
                    <a:pt x="124" y="90"/>
                    <a:pt x="102" y="88"/>
                  </a:cubicBezTo>
                  <a:cubicBezTo>
                    <a:pt x="102" y="94"/>
                    <a:pt x="102" y="99"/>
                    <a:pt x="102" y="105"/>
                  </a:cubicBezTo>
                  <a:close/>
                  <a:moveTo>
                    <a:pt x="164" y="103"/>
                  </a:moveTo>
                  <a:cubicBezTo>
                    <a:pt x="144" y="113"/>
                    <a:pt x="124" y="114"/>
                    <a:pt x="102" y="112"/>
                  </a:cubicBezTo>
                  <a:cubicBezTo>
                    <a:pt x="102" y="117"/>
                    <a:pt x="102" y="123"/>
                    <a:pt x="102" y="128"/>
                  </a:cubicBezTo>
                  <a:cubicBezTo>
                    <a:pt x="103" y="128"/>
                    <a:pt x="103" y="128"/>
                    <a:pt x="103" y="129"/>
                  </a:cubicBezTo>
                  <a:cubicBezTo>
                    <a:pt x="105" y="129"/>
                    <a:pt x="107" y="129"/>
                    <a:pt x="109" y="129"/>
                  </a:cubicBezTo>
                  <a:cubicBezTo>
                    <a:pt x="122" y="130"/>
                    <a:pt x="136" y="130"/>
                    <a:pt x="149" y="126"/>
                  </a:cubicBezTo>
                  <a:cubicBezTo>
                    <a:pt x="153" y="125"/>
                    <a:pt x="157" y="123"/>
                    <a:pt x="160" y="121"/>
                  </a:cubicBezTo>
                  <a:cubicBezTo>
                    <a:pt x="162" y="120"/>
                    <a:pt x="163" y="119"/>
                    <a:pt x="164" y="116"/>
                  </a:cubicBezTo>
                  <a:cubicBezTo>
                    <a:pt x="164" y="112"/>
                    <a:pt x="164" y="107"/>
                    <a:pt x="164" y="1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GB" sz="2400" kern="0">
                <a:solidFill>
                  <a:srgbClr val="000000"/>
                </a:solidFill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532009" y="3540231"/>
            <a:ext cx="2332811" cy="2317120"/>
          </a:xfrm>
          <a:prstGeom prst="rect">
            <a:avLst/>
          </a:prstGeom>
        </p:spPr>
      </p:pic>
      <p:sp>
        <p:nvSpPr>
          <p:cNvPr id="833" name="Slide Number Placeholder 4">
            <a:extLst>
              <a:ext uri="{FF2B5EF4-FFF2-40B4-BE49-F238E27FC236}">
                <a16:creationId xmlns:a16="http://schemas.microsoft.com/office/drawing/2014/main" id="{DFDB87E9-6B06-4254-855B-14379C8281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145934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95"/>
          <p:cNvSpPr/>
          <p:nvPr/>
        </p:nvSpPr>
        <p:spPr>
          <a:xfrm>
            <a:off x="761538" y="1313882"/>
            <a:ext cx="10814058" cy="61555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tIns="121920" rIns="121920" bIns="121920">
            <a:spAutoFit/>
          </a:bodyPr>
          <a:lstStyle/>
          <a:p>
            <a:pPr algn="ctr"/>
            <a:r>
              <a:rPr lang="en-US" sz="2400" b="1" dirty="0">
                <a:solidFill>
                  <a:srgbClr val="0460A9"/>
                </a:solidFill>
              </a:rPr>
              <a:t>Nejčastější skupinou komorbidit u pacientů s HS jsou psychiatrické poruchy (57 %).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74847" y="88366"/>
            <a:ext cx="667725" cy="595836"/>
            <a:chOff x="2942087" y="1851188"/>
            <a:chExt cx="1066800" cy="990600"/>
          </a:xfrm>
        </p:grpSpPr>
        <p:sp>
          <p:nvSpPr>
            <p:cNvPr id="50" name="Oval 49"/>
            <p:cNvSpPr/>
            <p:nvPr/>
          </p:nvSpPr>
          <p:spPr>
            <a:xfrm>
              <a:off x="2942087" y="1851188"/>
              <a:ext cx="1066800" cy="9906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  <a:reflection stA="45000" endPos="0" dist="508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51" name="Oval 50"/>
            <p:cNvSpPr/>
            <p:nvPr/>
          </p:nvSpPr>
          <p:spPr>
            <a:xfrm>
              <a:off x="3431488" y="2333535"/>
              <a:ext cx="27432" cy="274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13536" y="2334422"/>
              <a:ext cx="8313" cy="8313"/>
            </a:xfrm>
            <a:prstGeom prst="ellipse">
              <a:avLst/>
            </a:prstGeom>
            <a:solidFill>
              <a:schemeClr val="bg1"/>
            </a:solidFill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07959" y="2275246"/>
              <a:ext cx="54864" cy="54864"/>
            </a:xfrm>
            <a:prstGeom prst="ellipse">
              <a:avLst/>
            </a:prstGeom>
            <a:solidFill>
              <a:schemeClr val="bg1"/>
            </a:solidFill>
          </p:spPr>
        </p:pic>
      </p:grpSp>
      <p:grpSp>
        <p:nvGrpSpPr>
          <p:cNvPr id="54" name="Group 53"/>
          <p:cNvGrpSpPr/>
          <p:nvPr/>
        </p:nvGrpSpPr>
        <p:grpSpPr>
          <a:xfrm>
            <a:off x="285953" y="170926"/>
            <a:ext cx="423483" cy="434485"/>
            <a:chOff x="3059641" y="1714790"/>
            <a:chExt cx="842159" cy="838631"/>
          </a:xfrm>
        </p:grpSpPr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3367176" y="2144320"/>
              <a:ext cx="225423" cy="409101"/>
            </a:xfrm>
            <a:custGeom>
              <a:avLst/>
              <a:gdLst>
                <a:gd name="T0" fmla="*/ 31 w 135"/>
                <a:gd name="T1" fmla="*/ 136 h 245"/>
                <a:gd name="T2" fmla="*/ 31 w 135"/>
                <a:gd name="T3" fmla="*/ 43 h 245"/>
                <a:gd name="T4" fmla="*/ 31 w 135"/>
                <a:gd name="T5" fmla="*/ 40 h 245"/>
                <a:gd name="T6" fmla="*/ 28 w 135"/>
                <a:gd name="T7" fmla="*/ 37 h 245"/>
                <a:gd name="T8" fmla="*/ 25 w 135"/>
                <a:gd name="T9" fmla="*/ 40 h 245"/>
                <a:gd name="T10" fmla="*/ 25 w 135"/>
                <a:gd name="T11" fmla="*/ 45 h 245"/>
                <a:gd name="T12" fmla="*/ 25 w 135"/>
                <a:gd name="T13" fmla="*/ 116 h 245"/>
                <a:gd name="T14" fmla="*/ 21 w 135"/>
                <a:gd name="T15" fmla="*/ 126 h 245"/>
                <a:gd name="T16" fmla="*/ 8 w 135"/>
                <a:gd name="T17" fmla="*/ 129 h 245"/>
                <a:gd name="T18" fmla="*/ 0 w 135"/>
                <a:gd name="T19" fmla="*/ 118 h 245"/>
                <a:gd name="T20" fmla="*/ 0 w 135"/>
                <a:gd name="T21" fmla="*/ 33 h 245"/>
                <a:gd name="T22" fmla="*/ 33 w 135"/>
                <a:gd name="T23" fmla="*/ 0 h 245"/>
                <a:gd name="T24" fmla="*/ 102 w 135"/>
                <a:gd name="T25" fmla="*/ 0 h 245"/>
                <a:gd name="T26" fmla="*/ 134 w 135"/>
                <a:gd name="T27" fmla="*/ 34 h 245"/>
                <a:gd name="T28" fmla="*/ 134 w 135"/>
                <a:gd name="T29" fmla="*/ 117 h 245"/>
                <a:gd name="T30" fmla="*/ 122 w 135"/>
                <a:gd name="T31" fmla="*/ 129 h 245"/>
                <a:gd name="T32" fmla="*/ 110 w 135"/>
                <a:gd name="T33" fmla="*/ 117 h 245"/>
                <a:gd name="T34" fmla="*/ 110 w 135"/>
                <a:gd name="T35" fmla="*/ 53 h 245"/>
                <a:gd name="T36" fmla="*/ 110 w 135"/>
                <a:gd name="T37" fmla="*/ 41 h 245"/>
                <a:gd name="T38" fmla="*/ 107 w 135"/>
                <a:gd name="T39" fmla="*/ 37 h 245"/>
                <a:gd name="T40" fmla="*/ 104 w 135"/>
                <a:gd name="T41" fmla="*/ 41 h 245"/>
                <a:gd name="T42" fmla="*/ 104 w 135"/>
                <a:gd name="T43" fmla="*/ 143 h 245"/>
                <a:gd name="T44" fmla="*/ 104 w 135"/>
                <a:gd name="T45" fmla="*/ 230 h 245"/>
                <a:gd name="T46" fmla="*/ 89 w 135"/>
                <a:gd name="T47" fmla="*/ 245 h 245"/>
                <a:gd name="T48" fmla="*/ 73 w 135"/>
                <a:gd name="T49" fmla="*/ 230 h 245"/>
                <a:gd name="T50" fmla="*/ 73 w 135"/>
                <a:gd name="T51" fmla="*/ 139 h 245"/>
                <a:gd name="T52" fmla="*/ 73 w 135"/>
                <a:gd name="T53" fmla="*/ 135 h 245"/>
                <a:gd name="T54" fmla="*/ 67 w 135"/>
                <a:gd name="T55" fmla="*/ 128 h 245"/>
                <a:gd name="T56" fmla="*/ 61 w 135"/>
                <a:gd name="T57" fmla="*/ 135 h 245"/>
                <a:gd name="T58" fmla="*/ 61 w 135"/>
                <a:gd name="T59" fmla="*/ 168 h 245"/>
                <a:gd name="T60" fmla="*/ 61 w 135"/>
                <a:gd name="T61" fmla="*/ 229 h 245"/>
                <a:gd name="T62" fmla="*/ 46 w 135"/>
                <a:gd name="T63" fmla="*/ 245 h 245"/>
                <a:gd name="T64" fmla="*/ 31 w 135"/>
                <a:gd name="T65" fmla="*/ 229 h 245"/>
                <a:gd name="T66" fmla="*/ 31 w 135"/>
                <a:gd name="T67" fmla="*/ 13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5" h="245">
                  <a:moveTo>
                    <a:pt x="31" y="136"/>
                  </a:moveTo>
                  <a:cubicBezTo>
                    <a:pt x="31" y="105"/>
                    <a:pt x="31" y="74"/>
                    <a:pt x="31" y="43"/>
                  </a:cubicBezTo>
                  <a:cubicBezTo>
                    <a:pt x="31" y="42"/>
                    <a:pt x="31" y="41"/>
                    <a:pt x="31" y="40"/>
                  </a:cubicBezTo>
                  <a:cubicBezTo>
                    <a:pt x="30" y="39"/>
                    <a:pt x="29" y="37"/>
                    <a:pt x="28" y="37"/>
                  </a:cubicBezTo>
                  <a:cubicBezTo>
                    <a:pt x="27" y="37"/>
                    <a:pt x="25" y="39"/>
                    <a:pt x="25" y="40"/>
                  </a:cubicBezTo>
                  <a:cubicBezTo>
                    <a:pt x="24" y="42"/>
                    <a:pt x="25" y="43"/>
                    <a:pt x="25" y="45"/>
                  </a:cubicBezTo>
                  <a:cubicBezTo>
                    <a:pt x="25" y="69"/>
                    <a:pt x="24" y="92"/>
                    <a:pt x="25" y="116"/>
                  </a:cubicBezTo>
                  <a:cubicBezTo>
                    <a:pt x="25" y="120"/>
                    <a:pt x="24" y="123"/>
                    <a:pt x="21" y="126"/>
                  </a:cubicBezTo>
                  <a:cubicBezTo>
                    <a:pt x="17" y="130"/>
                    <a:pt x="13" y="130"/>
                    <a:pt x="8" y="129"/>
                  </a:cubicBezTo>
                  <a:cubicBezTo>
                    <a:pt x="3" y="127"/>
                    <a:pt x="0" y="123"/>
                    <a:pt x="0" y="118"/>
                  </a:cubicBezTo>
                  <a:cubicBezTo>
                    <a:pt x="0" y="89"/>
                    <a:pt x="0" y="61"/>
                    <a:pt x="0" y="33"/>
                  </a:cubicBezTo>
                  <a:cubicBezTo>
                    <a:pt x="0" y="16"/>
                    <a:pt x="16" y="1"/>
                    <a:pt x="33" y="0"/>
                  </a:cubicBezTo>
                  <a:cubicBezTo>
                    <a:pt x="56" y="0"/>
                    <a:pt x="79" y="0"/>
                    <a:pt x="102" y="0"/>
                  </a:cubicBezTo>
                  <a:cubicBezTo>
                    <a:pt x="119" y="1"/>
                    <a:pt x="134" y="16"/>
                    <a:pt x="134" y="34"/>
                  </a:cubicBezTo>
                  <a:cubicBezTo>
                    <a:pt x="135" y="62"/>
                    <a:pt x="135" y="89"/>
                    <a:pt x="134" y="117"/>
                  </a:cubicBezTo>
                  <a:cubicBezTo>
                    <a:pt x="134" y="124"/>
                    <a:pt x="129" y="129"/>
                    <a:pt x="122" y="129"/>
                  </a:cubicBezTo>
                  <a:cubicBezTo>
                    <a:pt x="116" y="129"/>
                    <a:pt x="110" y="124"/>
                    <a:pt x="110" y="117"/>
                  </a:cubicBezTo>
                  <a:cubicBezTo>
                    <a:pt x="110" y="96"/>
                    <a:pt x="110" y="74"/>
                    <a:pt x="110" y="53"/>
                  </a:cubicBezTo>
                  <a:cubicBezTo>
                    <a:pt x="110" y="49"/>
                    <a:pt x="110" y="45"/>
                    <a:pt x="110" y="41"/>
                  </a:cubicBezTo>
                  <a:cubicBezTo>
                    <a:pt x="110" y="39"/>
                    <a:pt x="110" y="37"/>
                    <a:pt x="107" y="37"/>
                  </a:cubicBezTo>
                  <a:cubicBezTo>
                    <a:pt x="104" y="37"/>
                    <a:pt x="104" y="39"/>
                    <a:pt x="104" y="41"/>
                  </a:cubicBezTo>
                  <a:cubicBezTo>
                    <a:pt x="104" y="75"/>
                    <a:pt x="104" y="109"/>
                    <a:pt x="104" y="143"/>
                  </a:cubicBezTo>
                  <a:cubicBezTo>
                    <a:pt x="104" y="172"/>
                    <a:pt x="104" y="201"/>
                    <a:pt x="104" y="230"/>
                  </a:cubicBezTo>
                  <a:cubicBezTo>
                    <a:pt x="104" y="238"/>
                    <a:pt x="97" y="245"/>
                    <a:pt x="89" y="245"/>
                  </a:cubicBezTo>
                  <a:cubicBezTo>
                    <a:pt x="80" y="245"/>
                    <a:pt x="73" y="238"/>
                    <a:pt x="73" y="230"/>
                  </a:cubicBezTo>
                  <a:cubicBezTo>
                    <a:pt x="73" y="199"/>
                    <a:pt x="73" y="169"/>
                    <a:pt x="73" y="139"/>
                  </a:cubicBezTo>
                  <a:cubicBezTo>
                    <a:pt x="73" y="137"/>
                    <a:pt x="73" y="136"/>
                    <a:pt x="73" y="135"/>
                  </a:cubicBezTo>
                  <a:cubicBezTo>
                    <a:pt x="73" y="131"/>
                    <a:pt x="71" y="128"/>
                    <a:pt x="67" y="128"/>
                  </a:cubicBezTo>
                  <a:cubicBezTo>
                    <a:pt x="64" y="128"/>
                    <a:pt x="61" y="131"/>
                    <a:pt x="61" y="135"/>
                  </a:cubicBezTo>
                  <a:cubicBezTo>
                    <a:pt x="61" y="146"/>
                    <a:pt x="61" y="157"/>
                    <a:pt x="61" y="168"/>
                  </a:cubicBezTo>
                  <a:cubicBezTo>
                    <a:pt x="61" y="188"/>
                    <a:pt x="61" y="209"/>
                    <a:pt x="61" y="229"/>
                  </a:cubicBezTo>
                  <a:cubicBezTo>
                    <a:pt x="61" y="238"/>
                    <a:pt x="55" y="245"/>
                    <a:pt x="46" y="245"/>
                  </a:cubicBezTo>
                  <a:cubicBezTo>
                    <a:pt x="37" y="245"/>
                    <a:pt x="31" y="238"/>
                    <a:pt x="31" y="229"/>
                  </a:cubicBezTo>
                  <a:cubicBezTo>
                    <a:pt x="31" y="198"/>
                    <a:pt x="31" y="167"/>
                    <a:pt x="31" y="136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3438094" y="2038350"/>
              <a:ext cx="81105" cy="82297"/>
            </a:xfrm>
            <a:custGeom>
              <a:avLst/>
              <a:gdLst>
                <a:gd name="T0" fmla="*/ 49 w 49"/>
                <a:gd name="T1" fmla="*/ 25 h 49"/>
                <a:gd name="T2" fmla="*/ 24 w 49"/>
                <a:gd name="T3" fmla="*/ 49 h 49"/>
                <a:gd name="T4" fmla="*/ 0 w 49"/>
                <a:gd name="T5" fmla="*/ 24 h 49"/>
                <a:gd name="T6" fmla="*/ 25 w 49"/>
                <a:gd name="T7" fmla="*/ 0 h 49"/>
                <a:gd name="T8" fmla="*/ 49 w 49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25"/>
                  </a:moveTo>
                  <a:cubicBezTo>
                    <a:pt x="49" y="38"/>
                    <a:pt x="38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57" name="Graphic 62" descr="Network">
              <a:extLst>
                <a:ext uri="{FF2B5EF4-FFF2-40B4-BE49-F238E27FC236}">
                  <a16:creationId xmlns:a16="http://schemas.microsoft.com/office/drawing/2014/main" id="{2B168095-83EF-417A-AA54-9CC537B5F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7130" y="2167078"/>
              <a:ext cx="134346" cy="134346"/>
            </a:xfrm>
            <a:prstGeom prst="rect">
              <a:avLst/>
            </a:prstGeom>
          </p:spPr>
        </p:pic>
        <p:grpSp>
          <p:nvGrpSpPr>
            <p:cNvPr id="58" name="Group 57"/>
            <p:cNvGrpSpPr/>
            <p:nvPr/>
          </p:nvGrpSpPr>
          <p:grpSpPr>
            <a:xfrm>
              <a:off x="3080859" y="1849909"/>
              <a:ext cx="240001" cy="251310"/>
              <a:chOff x="3037091" y="1854615"/>
              <a:chExt cx="240001" cy="251310"/>
            </a:xfrm>
          </p:grpSpPr>
          <p:grpSp>
            <p:nvGrpSpPr>
              <p:cNvPr id="72" name="Graphic 226">
                <a:extLst>
                  <a:ext uri="{FF2B5EF4-FFF2-40B4-BE49-F238E27FC236}">
                    <a16:creationId xmlns:a16="http://schemas.microsoft.com/office/drawing/2014/main" id="{526FC5E6-4062-BF4C-8C4B-E04DFD843677}"/>
                  </a:ext>
                </a:extLst>
              </p:cNvPr>
              <p:cNvGrpSpPr/>
              <p:nvPr/>
            </p:nvGrpSpPr>
            <p:grpSpPr>
              <a:xfrm>
                <a:off x="3083626" y="1867585"/>
                <a:ext cx="136569" cy="212600"/>
                <a:chOff x="5912639" y="3117055"/>
                <a:chExt cx="361950" cy="614162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81" name="Freeform: Shape 228">
                  <a:extLst>
                    <a:ext uri="{FF2B5EF4-FFF2-40B4-BE49-F238E27FC236}">
                      <a16:creationId xmlns:a16="http://schemas.microsoft.com/office/drawing/2014/main" id="{AD78A312-3E01-E046-A249-F6F83622510A}"/>
                    </a:ext>
                  </a:extLst>
                </p:cNvPr>
                <p:cNvSpPr/>
                <p:nvPr/>
              </p:nvSpPr>
              <p:spPr>
                <a:xfrm>
                  <a:off x="5912639" y="3245442"/>
                  <a:ext cx="361950" cy="485775"/>
                </a:xfrm>
                <a:custGeom>
                  <a:avLst/>
                  <a:gdLst>
                    <a:gd name="connsiteX0" fmla="*/ 196124 w 361950"/>
                    <a:gd name="connsiteY0" fmla="*/ 270616 h 485775"/>
                    <a:gd name="connsiteX1" fmla="*/ 185170 w 361950"/>
                    <a:gd name="connsiteY1" fmla="*/ 270616 h 485775"/>
                    <a:gd name="connsiteX2" fmla="*/ 184599 w 361950"/>
                    <a:gd name="connsiteY2" fmla="*/ 277569 h 485775"/>
                    <a:gd name="connsiteX3" fmla="*/ 184504 w 361950"/>
                    <a:gd name="connsiteY3" fmla="*/ 453496 h 485775"/>
                    <a:gd name="connsiteX4" fmla="*/ 157929 w 361950"/>
                    <a:gd name="connsiteY4" fmla="*/ 485310 h 485775"/>
                    <a:gd name="connsiteX5" fmla="*/ 131354 w 361950"/>
                    <a:gd name="connsiteY5" fmla="*/ 462259 h 485775"/>
                    <a:gd name="connsiteX6" fmla="*/ 111637 w 361950"/>
                    <a:gd name="connsiteY6" fmla="*/ 345387 h 485775"/>
                    <a:gd name="connsiteX7" fmla="*/ 87730 w 361950"/>
                    <a:gd name="connsiteY7" fmla="*/ 203751 h 485775"/>
                    <a:gd name="connsiteX8" fmla="*/ 74395 w 361950"/>
                    <a:gd name="connsiteY8" fmla="*/ 162793 h 485775"/>
                    <a:gd name="connsiteX9" fmla="*/ 57726 w 361950"/>
                    <a:gd name="connsiteY9" fmla="*/ 195654 h 485775"/>
                    <a:gd name="connsiteX10" fmla="*/ 21531 w 361950"/>
                    <a:gd name="connsiteY10" fmla="*/ 207084 h 485775"/>
                    <a:gd name="connsiteX11" fmla="*/ 10768 w 361950"/>
                    <a:gd name="connsiteY11" fmla="*/ 171461 h 485775"/>
                    <a:gd name="connsiteX12" fmla="*/ 74299 w 361950"/>
                    <a:gd name="connsiteY12" fmla="*/ 49065 h 485775"/>
                    <a:gd name="connsiteX13" fmla="*/ 142022 w 361950"/>
                    <a:gd name="connsiteY13" fmla="*/ 7250 h 485775"/>
                    <a:gd name="connsiteX14" fmla="*/ 234605 w 361950"/>
                    <a:gd name="connsiteY14" fmla="*/ 7155 h 485775"/>
                    <a:gd name="connsiteX15" fmla="*/ 292136 w 361950"/>
                    <a:gd name="connsiteY15" fmla="*/ 37730 h 485775"/>
                    <a:gd name="connsiteX16" fmla="*/ 333665 w 361950"/>
                    <a:gd name="connsiteY16" fmla="*/ 114978 h 485775"/>
                    <a:gd name="connsiteX17" fmla="*/ 358144 w 361950"/>
                    <a:gd name="connsiteY17" fmla="*/ 162603 h 485775"/>
                    <a:gd name="connsiteX18" fmla="*/ 362240 w 361950"/>
                    <a:gd name="connsiteY18" fmla="*/ 183367 h 485775"/>
                    <a:gd name="connsiteX19" fmla="*/ 342619 w 361950"/>
                    <a:gd name="connsiteY19" fmla="*/ 206799 h 485775"/>
                    <a:gd name="connsiteX20" fmla="*/ 316520 w 361950"/>
                    <a:gd name="connsiteY20" fmla="*/ 190892 h 485775"/>
                    <a:gd name="connsiteX21" fmla="*/ 301947 w 361950"/>
                    <a:gd name="connsiteY21" fmla="*/ 161269 h 485775"/>
                    <a:gd name="connsiteX22" fmla="*/ 301852 w 361950"/>
                    <a:gd name="connsiteY22" fmla="*/ 161174 h 485775"/>
                    <a:gd name="connsiteX23" fmla="*/ 287278 w 361950"/>
                    <a:gd name="connsiteY23" fmla="*/ 220896 h 485775"/>
                    <a:gd name="connsiteX24" fmla="*/ 248988 w 361950"/>
                    <a:gd name="connsiteY24" fmla="*/ 460640 h 485775"/>
                    <a:gd name="connsiteX25" fmla="*/ 221461 w 361950"/>
                    <a:gd name="connsiteY25" fmla="*/ 485214 h 485775"/>
                    <a:gd name="connsiteX26" fmla="*/ 196124 w 361950"/>
                    <a:gd name="connsiteY26" fmla="*/ 458449 h 485775"/>
                    <a:gd name="connsiteX27" fmla="*/ 196219 w 361950"/>
                    <a:gd name="connsiteY27" fmla="*/ 284808 h 485775"/>
                    <a:gd name="connsiteX28" fmla="*/ 196124 w 361950"/>
                    <a:gd name="connsiteY28" fmla="*/ 270616 h 485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61950" h="485775">
                      <a:moveTo>
                        <a:pt x="196124" y="270616"/>
                      </a:moveTo>
                      <a:cubicBezTo>
                        <a:pt x="191647" y="270616"/>
                        <a:pt x="188695" y="270616"/>
                        <a:pt x="185170" y="270616"/>
                      </a:cubicBezTo>
                      <a:cubicBezTo>
                        <a:pt x="184980" y="273188"/>
                        <a:pt x="184599" y="275379"/>
                        <a:pt x="184599" y="277569"/>
                      </a:cubicBezTo>
                      <a:cubicBezTo>
                        <a:pt x="184599" y="336243"/>
                        <a:pt x="184599" y="394917"/>
                        <a:pt x="184504" y="453496"/>
                      </a:cubicBezTo>
                      <a:cubicBezTo>
                        <a:pt x="184504" y="473308"/>
                        <a:pt x="174312" y="485119"/>
                        <a:pt x="157929" y="485310"/>
                      </a:cubicBezTo>
                      <a:cubicBezTo>
                        <a:pt x="143927" y="485405"/>
                        <a:pt x="133926" y="477309"/>
                        <a:pt x="131354" y="462259"/>
                      </a:cubicBezTo>
                      <a:cubicBezTo>
                        <a:pt x="124591" y="423302"/>
                        <a:pt x="118114" y="384345"/>
                        <a:pt x="111637" y="345387"/>
                      </a:cubicBezTo>
                      <a:cubicBezTo>
                        <a:pt x="103732" y="298143"/>
                        <a:pt x="96302" y="250804"/>
                        <a:pt x="87730" y="203751"/>
                      </a:cubicBezTo>
                      <a:cubicBezTo>
                        <a:pt x="85253" y="190035"/>
                        <a:pt x="79157" y="176890"/>
                        <a:pt x="74395" y="162793"/>
                      </a:cubicBezTo>
                      <a:cubicBezTo>
                        <a:pt x="68965" y="173652"/>
                        <a:pt x="63441" y="184701"/>
                        <a:pt x="57726" y="195654"/>
                      </a:cubicBezTo>
                      <a:cubicBezTo>
                        <a:pt x="49915" y="210704"/>
                        <a:pt x="36199" y="214990"/>
                        <a:pt x="21531" y="207084"/>
                      </a:cubicBezTo>
                      <a:cubicBezTo>
                        <a:pt x="7529" y="199560"/>
                        <a:pt x="3338" y="185748"/>
                        <a:pt x="10768" y="171461"/>
                      </a:cubicBezTo>
                      <a:cubicBezTo>
                        <a:pt x="31913" y="130694"/>
                        <a:pt x="53154" y="89927"/>
                        <a:pt x="74299" y="49065"/>
                      </a:cubicBezTo>
                      <a:cubicBezTo>
                        <a:pt x="88492" y="21537"/>
                        <a:pt x="110685" y="7155"/>
                        <a:pt x="142022" y="7250"/>
                      </a:cubicBezTo>
                      <a:cubicBezTo>
                        <a:pt x="172883" y="7440"/>
                        <a:pt x="203744" y="7631"/>
                        <a:pt x="234605" y="7155"/>
                      </a:cubicBezTo>
                      <a:cubicBezTo>
                        <a:pt x="259656" y="6774"/>
                        <a:pt x="279563" y="16489"/>
                        <a:pt x="292136" y="37730"/>
                      </a:cubicBezTo>
                      <a:cubicBezTo>
                        <a:pt x="306995" y="62876"/>
                        <a:pt x="319949" y="89165"/>
                        <a:pt x="333665" y="114978"/>
                      </a:cubicBezTo>
                      <a:cubicBezTo>
                        <a:pt x="342047" y="130789"/>
                        <a:pt x="350620" y="146410"/>
                        <a:pt x="358144" y="162603"/>
                      </a:cubicBezTo>
                      <a:cubicBezTo>
                        <a:pt x="361002" y="168889"/>
                        <a:pt x="362716" y="176509"/>
                        <a:pt x="362240" y="183367"/>
                      </a:cubicBezTo>
                      <a:cubicBezTo>
                        <a:pt x="361383" y="196702"/>
                        <a:pt x="353477" y="204989"/>
                        <a:pt x="342619" y="206799"/>
                      </a:cubicBezTo>
                      <a:cubicBezTo>
                        <a:pt x="331951" y="208704"/>
                        <a:pt x="322616" y="203084"/>
                        <a:pt x="316520" y="190892"/>
                      </a:cubicBezTo>
                      <a:cubicBezTo>
                        <a:pt x="311567" y="181081"/>
                        <a:pt x="306805" y="171175"/>
                        <a:pt x="301947" y="161269"/>
                      </a:cubicBezTo>
                      <a:cubicBezTo>
                        <a:pt x="301661" y="160793"/>
                        <a:pt x="300709" y="160602"/>
                        <a:pt x="301852" y="161174"/>
                      </a:cubicBezTo>
                      <a:cubicBezTo>
                        <a:pt x="296994" y="180795"/>
                        <a:pt x="290612" y="200607"/>
                        <a:pt x="287278" y="220896"/>
                      </a:cubicBezTo>
                      <a:cubicBezTo>
                        <a:pt x="274039" y="300715"/>
                        <a:pt x="261561" y="380725"/>
                        <a:pt x="248988" y="460640"/>
                      </a:cubicBezTo>
                      <a:cubicBezTo>
                        <a:pt x="246511" y="476451"/>
                        <a:pt x="236605" y="485691"/>
                        <a:pt x="221461" y="485214"/>
                      </a:cubicBezTo>
                      <a:cubicBezTo>
                        <a:pt x="206887" y="484833"/>
                        <a:pt x="196219" y="474356"/>
                        <a:pt x="196124" y="458449"/>
                      </a:cubicBezTo>
                      <a:cubicBezTo>
                        <a:pt x="195838" y="400537"/>
                        <a:pt x="196124" y="342720"/>
                        <a:pt x="196219" y="284808"/>
                      </a:cubicBezTo>
                      <a:cubicBezTo>
                        <a:pt x="196124" y="280427"/>
                        <a:pt x="196124" y="275950"/>
                        <a:pt x="196124" y="27061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82" name="Freeform: Shape 229">
                  <a:extLst>
                    <a:ext uri="{FF2B5EF4-FFF2-40B4-BE49-F238E27FC236}">
                      <a16:creationId xmlns:a16="http://schemas.microsoft.com/office/drawing/2014/main" id="{D75B5440-CA8A-2840-84C0-87C787CE1148}"/>
                    </a:ext>
                  </a:extLst>
                </p:cNvPr>
                <p:cNvSpPr/>
                <p:nvPr/>
              </p:nvSpPr>
              <p:spPr>
                <a:xfrm>
                  <a:off x="6047795" y="3117055"/>
                  <a:ext cx="104775" cy="104775"/>
                </a:xfrm>
                <a:custGeom>
                  <a:avLst/>
                  <a:gdLst>
                    <a:gd name="connsiteX0" fmla="*/ 54396 w 104775"/>
                    <a:gd name="connsiteY0" fmla="*/ 102300 h 104775"/>
                    <a:gd name="connsiteX1" fmla="*/ 7152 w 104775"/>
                    <a:gd name="connsiteY1" fmla="*/ 53913 h 104775"/>
                    <a:gd name="connsiteX2" fmla="*/ 54872 w 104775"/>
                    <a:gd name="connsiteY2" fmla="*/ 7145 h 104775"/>
                    <a:gd name="connsiteX3" fmla="*/ 102116 w 104775"/>
                    <a:gd name="connsiteY3" fmla="*/ 54389 h 104775"/>
                    <a:gd name="connsiteX4" fmla="*/ 54396 w 104775"/>
                    <a:gd name="connsiteY4" fmla="*/ 102300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775" h="104775">
                      <a:moveTo>
                        <a:pt x="54396" y="102300"/>
                      </a:moveTo>
                      <a:cubicBezTo>
                        <a:pt x="28011" y="102109"/>
                        <a:pt x="6675" y="80297"/>
                        <a:pt x="7152" y="53913"/>
                      </a:cubicBezTo>
                      <a:cubicBezTo>
                        <a:pt x="7723" y="27910"/>
                        <a:pt x="29059" y="6955"/>
                        <a:pt x="54872" y="7145"/>
                      </a:cubicBezTo>
                      <a:cubicBezTo>
                        <a:pt x="80780" y="7240"/>
                        <a:pt x="102021" y="28481"/>
                        <a:pt x="102116" y="54389"/>
                      </a:cubicBezTo>
                      <a:cubicBezTo>
                        <a:pt x="102211" y="80773"/>
                        <a:pt x="80685" y="102395"/>
                        <a:pt x="54396" y="102300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78" name="Oval 77"/>
              <p:cNvSpPr/>
              <p:nvPr/>
            </p:nvSpPr>
            <p:spPr>
              <a:xfrm>
                <a:off x="3037091" y="1854615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59" name="Freeform: Shape 158">
              <a:extLst>
                <a:ext uri="{FF2B5EF4-FFF2-40B4-BE49-F238E27FC236}">
                  <a16:creationId xmlns:a16="http://schemas.microsoft.com/office/drawing/2014/main" id="{8F6C0738-72C5-6A42-9776-24C72905AA14}"/>
                </a:ext>
              </a:extLst>
            </p:cNvPr>
            <p:cNvSpPr/>
            <p:nvPr/>
          </p:nvSpPr>
          <p:spPr>
            <a:xfrm>
              <a:off x="3672568" y="1891169"/>
              <a:ext cx="164805" cy="185143"/>
            </a:xfrm>
            <a:custGeom>
              <a:avLst/>
              <a:gdLst>
                <a:gd name="connsiteX0" fmla="*/ 441960 w 447675"/>
                <a:gd name="connsiteY0" fmla="*/ 233023 h 457200"/>
                <a:gd name="connsiteX1" fmla="*/ 433959 w 447675"/>
                <a:gd name="connsiteY1" fmla="*/ 201400 h 457200"/>
                <a:gd name="connsiteX2" fmla="*/ 445199 w 447675"/>
                <a:gd name="connsiteY2" fmla="*/ 171016 h 457200"/>
                <a:gd name="connsiteX3" fmla="*/ 445199 w 447675"/>
                <a:gd name="connsiteY3" fmla="*/ 170730 h 457200"/>
                <a:gd name="connsiteX4" fmla="*/ 434626 w 447675"/>
                <a:gd name="connsiteY4" fmla="*/ 140059 h 457200"/>
                <a:gd name="connsiteX5" fmla="*/ 443008 w 447675"/>
                <a:gd name="connsiteY5" fmla="*/ 108532 h 457200"/>
                <a:gd name="connsiteX6" fmla="*/ 442913 w 447675"/>
                <a:gd name="connsiteY6" fmla="*/ 107579 h 457200"/>
                <a:gd name="connsiteX7" fmla="*/ 427196 w 447675"/>
                <a:gd name="connsiteY7" fmla="*/ 76432 h 457200"/>
                <a:gd name="connsiteX8" fmla="*/ 428149 w 447675"/>
                <a:gd name="connsiteY8" fmla="*/ 37189 h 457200"/>
                <a:gd name="connsiteX9" fmla="*/ 427577 w 447675"/>
                <a:gd name="connsiteY9" fmla="*/ 35856 h 457200"/>
                <a:gd name="connsiteX10" fmla="*/ 365379 w 447675"/>
                <a:gd name="connsiteY10" fmla="*/ 11567 h 457200"/>
                <a:gd name="connsiteX11" fmla="*/ 361474 w 447675"/>
                <a:gd name="connsiteY11" fmla="*/ 13472 h 457200"/>
                <a:gd name="connsiteX12" fmla="*/ 306991 w 447675"/>
                <a:gd name="connsiteY12" fmla="*/ 18425 h 457200"/>
                <a:gd name="connsiteX13" fmla="*/ 306610 w 447675"/>
                <a:gd name="connsiteY13" fmla="*/ 18806 h 457200"/>
                <a:gd name="connsiteX14" fmla="*/ 290322 w 447675"/>
                <a:gd name="connsiteY14" fmla="*/ 45952 h 457200"/>
                <a:gd name="connsiteX15" fmla="*/ 266033 w 447675"/>
                <a:gd name="connsiteY15" fmla="*/ 54906 h 457200"/>
                <a:gd name="connsiteX16" fmla="*/ 265176 w 447675"/>
                <a:gd name="connsiteY16" fmla="*/ 55573 h 457200"/>
                <a:gd name="connsiteX17" fmla="*/ 251651 w 447675"/>
                <a:gd name="connsiteY17" fmla="*/ 70813 h 457200"/>
                <a:gd name="connsiteX18" fmla="*/ 234506 w 447675"/>
                <a:gd name="connsiteY18" fmla="*/ 70241 h 457200"/>
                <a:gd name="connsiteX19" fmla="*/ 232410 w 447675"/>
                <a:gd name="connsiteY19" fmla="*/ 70622 h 457200"/>
                <a:gd name="connsiteX20" fmla="*/ 232315 w 447675"/>
                <a:gd name="connsiteY20" fmla="*/ 70622 h 457200"/>
                <a:gd name="connsiteX21" fmla="*/ 213931 w 447675"/>
                <a:gd name="connsiteY21" fmla="*/ 78052 h 457200"/>
                <a:gd name="connsiteX22" fmla="*/ 194786 w 447675"/>
                <a:gd name="connsiteY22" fmla="*/ 68622 h 457200"/>
                <a:gd name="connsiteX23" fmla="*/ 194024 w 447675"/>
                <a:gd name="connsiteY23" fmla="*/ 68431 h 457200"/>
                <a:gd name="connsiteX24" fmla="*/ 172879 w 447675"/>
                <a:gd name="connsiteY24" fmla="*/ 68146 h 457200"/>
                <a:gd name="connsiteX25" fmla="*/ 156591 w 447675"/>
                <a:gd name="connsiteY25" fmla="*/ 51191 h 457200"/>
                <a:gd name="connsiteX26" fmla="*/ 156686 w 447675"/>
                <a:gd name="connsiteY26" fmla="*/ 50905 h 457200"/>
                <a:gd name="connsiteX27" fmla="*/ 121253 w 447675"/>
                <a:gd name="connsiteY27" fmla="*/ 43762 h 457200"/>
                <a:gd name="connsiteX28" fmla="*/ 74009 w 447675"/>
                <a:gd name="connsiteY28" fmla="*/ 19473 h 457200"/>
                <a:gd name="connsiteX29" fmla="*/ 71533 w 447675"/>
                <a:gd name="connsiteY29" fmla="*/ 19759 h 457200"/>
                <a:gd name="connsiteX30" fmla="*/ 30861 w 447675"/>
                <a:gd name="connsiteY30" fmla="*/ 71575 h 457200"/>
                <a:gd name="connsiteX31" fmla="*/ 7144 w 447675"/>
                <a:gd name="connsiteY31" fmla="*/ 112818 h 457200"/>
                <a:gd name="connsiteX32" fmla="*/ 7144 w 447675"/>
                <a:gd name="connsiteY32" fmla="*/ 113770 h 457200"/>
                <a:gd name="connsiteX33" fmla="*/ 16764 w 447675"/>
                <a:gd name="connsiteY33" fmla="*/ 142345 h 457200"/>
                <a:gd name="connsiteX34" fmla="*/ 7144 w 447675"/>
                <a:gd name="connsiteY34" fmla="*/ 171016 h 457200"/>
                <a:gd name="connsiteX35" fmla="*/ 7144 w 447675"/>
                <a:gd name="connsiteY35" fmla="*/ 171968 h 457200"/>
                <a:gd name="connsiteX36" fmla="*/ 16764 w 447675"/>
                <a:gd name="connsiteY36" fmla="*/ 200543 h 457200"/>
                <a:gd name="connsiteX37" fmla="*/ 7144 w 447675"/>
                <a:gd name="connsiteY37" fmla="*/ 229309 h 457200"/>
                <a:gd name="connsiteX38" fmla="*/ 7144 w 447675"/>
                <a:gd name="connsiteY38" fmla="*/ 230261 h 457200"/>
                <a:gd name="connsiteX39" fmla="*/ 16955 w 447675"/>
                <a:gd name="connsiteY39" fmla="*/ 258931 h 457200"/>
                <a:gd name="connsiteX40" fmla="*/ 7144 w 447675"/>
                <a:gd name="connsiteY40" fmla="*/ 287506 h 457200"/>
                <a:gd name="connsiteX41" fmla="*/ 7144 w 447675"/>
                <a:gd name="connsiteY41" fmla="*/ 287983 h 457200"/>
                <a:gd name="connsiteX42" fmla="*/ 54769 w 447675"/>
                <a:gd name="connsiteY42" fmla="*/ 335417 h 457200"/>
                <a:gd name="connsiteX43" fmla="*/ 102394 w 447675"/>
                <a:gd name="connsiteY43" fmla="*/ 287506 h 457200"/>
                <a:gd name="connsiteX44" fmla="*/ 92583 w 447675"/>
                <a:gd name="connsiteY44" fmla="*/ 258836 h 457200"/>
                <a:gd name="connsiteX45" fmla="*/ 102394 w 447675"/>
                <a:gd name="connsiteY45" fmla="*/ 230261 h 457200"/>
                <a:gd name="connsiteX46" fmla="*/ 102394 w 447675"/>
                <a:gd name="connsiteY46" fmla="*/ 229309 h 457200"/>
                <a:gd name="connsiteX47" fmla="*/ 92488 w 447675"/>
                <a:gd name="connsiteY47" fmla="*/ 200257 h 457200"/>
                <a:gd name="connsiteX48" fmla="*/ 102394 w 447675"/>
                <a:gd name="connsiteY48" fmla="*/ 171016 h 457200"/>
                <a:gd name="connsiteX49" fmla="*/ 92488 w 447675"/>
                <a:gd name="connsiteY49" fmla="*/ 141964 h 457200"/>
                <a:gd name="connsiteX50" fmla="*/ 100108 w 447675"/>
                <a:gd name="connsiteY50" fmla="*/ 127391 h 457200"/>
                <a:gd name="connsiteX51" fmla="*/ 103823 w 447675"/>
                <a:gd name="connsiteY51" fmla="*/ 130153 h 457200"/>
                <a:gd name="connsiteX52" fmla="*/ 105918 w 447675"/>
                <a:gd name="connsiteY52" fmla="*/ 131487 h 457200"/>
                <a:gd name="connsiteX53" fmla="*/ 141351 w 447675"/>
                <a:gd name="connsiteY53" fmla="*/ 137678 h 457200"/>
                <a:gd name="connsiteX54" fmla="*/ 171736 w 447675"/>
                <a:gd name="connsiteY54" fmla="*/ 160824 h 457200"/>
                <a:gd name="connsiteX55" fmla="*/ 172784 w 447675"/>
                <a:gd name="connsiteY55" fmla="*/ 161110 h 457200"/>
                <a:gd name="connsiteX56" fmla="*/ 210312 w 447675"/>
                <a:gd name="connsiteY56" fmla="*/ 154347 h 457200"/>
                <a:gd name="connsiteX57" fmla="*/ 248603 w 447675"/>
                <a:gd name="connsiteY57" fmla="*/ 164348 h 457200"/>
                <a:gd name="connsiteX58" fmla="*/ 283178 w 447675"/>
                <a:gd name="connsiteY58" fmla="*/ 140440 h 457200"/>
                <a:gd name="connsiteX59" fmla="*/ 321278 w 447675"/>
                <a:gd name="connsiteY59" fmla="*/ 132439 h 457200"/>
                <a:gd name="connsiteX60" fmla="*/ 322040 w 447675"/>
                <a:gd name="connsiteY60" fmla="*/ 131868 h 457200"/>
                <a:gd name="connsiteX61" fmla="*/ 340709 w 447675"/>
                <a:gd name="connsiteY61" fmla="*/ 102817 h 457200"/>
                <a:gd name="connsiteX62" fmla="*/ 349282 w 447675"/>
                <a:gd name="connsiteY62" fmla="*/ 101293 h 457200"/>
                <a:gd name="connsiteX63" fmla="*/ 348139 w 447675"/>
                <a:gd name="connsiteY63" fmla="*/ 116818 h 457200"/>
                <a:gd name="connsiteX64" fmla="*/ 358521 w 447675"/>
                <a:gd name="connsiteY64" fmla="*/ 142536 h 457200"/>
                <a:gd name="connsiteX65" fmla="*/ 349949 w 447675"/>
                <a:gd name="connsiteY65" fmla="*/ 169111 h 457200"/>
                <a:gd name="connsiteX66" fmla="*/ 349949 w 447675"/>
                <a:gd name="connsiteY66" fmla="*/ 170730 h 457200"/>
                <a:gd name="connsiteX67" fmla="*/ 358045 w 447675"/>
                <a:gd name="connsiteY67" fmla="*/ 197305 h 457200"/>
                <a:gd name="connsiteX68" fmla="*/ 347091 w 447675"/>
                <a:gd name="connsiteY68" fmla="*/ 223117 h 457200"/>
                <a:gd name="connsiteX69" fmla="*/ 346900 w 447675"/>
                <a:gd name="connsiteY69" fmla="*/ 224737 h 457200"/>
                <a:gd name="connsiteX70" fmla="*/ 352425 w 447675"/>
                <a:gd name="connsiteY70" fmla="*/ 251502 h 457200"/>
                <a:gd name="connsiteX71" fmla="*/ 338900 w 447675"/>
                <a:gd name="connsiteY71" fmla="*/ 274933 h 457200"/>
                <a:gd name="connsiteX72" fmla="*/ 337471 w 447675"/>
                <a:gd name="connsiteY72" fmla="*/ 287316 h 457200"/>
                <a:gd name="connsiteX73" fmla="*/ 330422 w 447675"/>
                <a:gd name="connsiteY73" fmla="*/ 290650 h 457200"/>
                <a:gd name="connsiteX74" fmla="*/ 311753 w 447675"/>
                <a:gd name="connsiteY74" fmla="*/ 279791 h 457200"/>
                <a:gd name="connsiteX75" fmla="*/ 310610 w 447675"/>
                <a:gd name="connsiteY75" fmla="*/ 279410 h 457200"/>
                <a:gd name="connsiteX76" fmla="*/ 281464 w 447675"/>
                <a:gd name="connsiteY76" fmla="*/ 279886 h 457200"/>
                <a:gd name="connsiteX77" fmla="*/ 255175 w 447675"/>
                <a:gd name="connsiteY77" fmla="*/ 261408 h 457200"/>
                <a:gd name="connsiteX78" fmla="*/ 213074 w 447675"/>
                <a:gd name="connsiteY78" fmla="*/ 268742 h 457200"/>
                <a:gd name="connsiteX79" fmla="*/ 158306 w 447675"/>
                <a:gd name="connsiteY79" fmla="*/ 269123 h 457200"/>
                <a:gd name="connsiteX80" fmla="*/ 154781 w 447675"/>
                <a:gd name="connsiteY80" fmla="*/ 271790 h 457200"/>
                <a:gd name="connsiteX81" fmla="*/ 148590 w 447675"/>
                <a:gd name="connsiteY81" fmla="*/ 338846 h 457200"/>
                <a:gd name="connsiteX82" fmla="*/ 149924 w 447675"/>
                <a:gd name="connsiteY82" fmla="*/ 340370 h 457200"/>
                <a:gd name="connsiteX83" fmla="*/ 151257 w 447675"/>
                <a:gd name="connsiteY83" fmla="*/ 382566 h 457200"/>
                <a:gd name="connsiteX84" fmla="*/ 152019 w 447675"/>
                <a:gd name="connsiteY84" fmla="*/ 383900 h 457200"/>
                <a:gd name="connsiteX85" fmla="*/ 174498 w 447675"/>
                <a:gd name="connsiteY85" fmla="*/ 404474 h 457200"/>
                <a:gd name="connsiteX86" fmla="*/ 203930 w 447675"/>
                <a:gd name="connsiteY86" fmla="*/ 427619 h 457200"/>
                <a:gd name="connsiteX87" fmla="*/ 207931 w 447675"/>
                <a:gd name="connsiteY87" fmla="*/ 453813 h 457200"/>
                <a:gd name="connsiteX88" fmla="*/ 223171 w 447675"/>
                <a:gd name="connsiteY88" fmla="*/ 398282 h 457200"/>
                <a:gd name="connsiteX89" fmla="*/ 240983 w 447675"/>
                <a:gd name="connsiteY89" fmla="*/ 354848 h 457200"/>
                <a:gd name="connsiteX90" fmla="*/ 258032 w 447675"/>
                <a:gd name="connsiteY90" fmla="*/ 352277 h 457200"/>
                <a:gd name="connsiteX91" fmla="*/ 283274 w 447675"/>
                <a:gd name="connsiteY91" fmla="*/ 370564 h 457200"/>
                <a:gd name="connsiteX92" fmla="*/ 284036 w 447675"/>
                <a:gd name="connsiteY92" fmla="*/ 370755 h 457200"/>
                <a:gd name="connsiteX93" fmla="*/ 321564 w 447675"/>
                <a:gd name="connsiteY93" fmla="*/ 366659 h 457200"/>
                <a:gd name="connsiteX94" fmla="*/ 366808 w 447675"/>
                <a:gd name="connsiteY94" fmla="*/ 377994 h 457200"/>
                <a:gd name="connsiteX95" fmla="*/ 367760 w 447675"/>
                <a:gd name="connsiteY95" fmla="*/ 377708 h 457200"/>
                <a:gd name="connsiteX96" fmla="*/ 402908 w 447675"/>
                <a:gd name="connsiteY96" fmla="*/ 330845 h 457200"/>
                <a:gd name="connsiteX97" fmla="*/ 431673 w 447675"/>
                <a:gd name="connsiteY97" fmla="*/ 298079 h 457200"/>
                <a:gd name="connsiteX98" fmla="*/ 431959 w 447675"/>
                <a:gd name="connsiteY98" fmla="*/ 296841 h 457200"/>
                <a:gd name="connsiteX99" fmla="*/ 427577 w 447675"/>
                <a:gd name="connsiteY99" fmla="*/ 263218 h 457200"/>
                <a:gd name="connsiteX100" fmla="*/ 442055 w 447675"/>
                <a:gd name="connsiteY100" fmla="*/ 233309 h 457200"/>
                <a:gd name="connsiteX101" fmla="*/ 441960 w 447675"/>
                <a:gd name="connsiteY101" fmla="*/ 23302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47675" h="457200">
                  <a:moveTo>
                    <a:pt x="441960" y="233023"/>
                  </a:moveTo>
                  <a:cubicBezTo>
                    <a:pt x="443198" y="221403"/>
                    <a:pt x="440055" y="210354"/>
                    <a:pt x="433959" y="201400"/>
                  </a:cubicBezTo>
                  <a:cubicBezTo>
                    <a:pt x="440912" y="193209"/>
                    <a:pt x="445103" y="182541"/>
                    <a:pt x="445199" y="171016"/>
                  </a:cubicBezTo>
                  <a:lnTo>
                    <a:pt x="445199" y="170730"/>
                  </a:lnTo>
                  <a:cubicBezTo>
                    <a:pt x="445389" y="159109"/>
                    <a:pt x="441389" y="148441"/>
                    <a:pt x="434626" y="140059"/>
                  </a:cubicBezTo>
                  <a:cubicBezTo>
                    <a:pt x="440817" y="131201"/>
                    <a:pt x="444056" y="120152"/>
                    <a:pt x="443008" y="108532"/>
                  </a:cubicBezTo>
                  <a:lnTo>
                    <a:pt x="442913" y="107579"/>
                  </a:lnTo>
                  <a:cubicBezTo>
                    <a:pt x="441770" y="95006"/>
                    <a:pt x="435864" y="84052"/>
                    <a:pt x="427196" y="76432"/>
                  </a:cubicBezTo>
                  <a:cubicBezTo>
                    <a:pt x="432911" y="64526"/>
                    <a:pt x="433673" y="50334"/>
                    <a:pt x="428149" y="37189"/>
                  </a:cubicBezTo>
                  <a:cubicBezTo>
                    <a:pt x="428054" y="36999"/>
                    <a:pt x="427673" y="35951"/>
                    <a:pt x="427577" y="35856"/>
                  </a:cubicBezTo>
                  <a:cubicBezTo>
                    <a:pt x="417100" y="11853"/>
                    <a:pt x="389382" y="1185"/>
                    <a:pt x="365379" y="11567"/>
                  </a:cubicBezTo>
                  <a:cubicBezTo>
                    <a:pt x="364046" y="12139"/>
                    <a:pt x="362712" y="12805"/>
                    <a:pt x="361474" y="13472"/>
                  </a:cubicBezTo>
                  <a:cubicBezTo>
                    <a:pt x="344615" y="3757"/>
                    <a:pt x="322707" y="5090"/>
                    <a:pt x="306991" y="18425"/>
                  </a:cubicBezTo>
                  <a:lnTo>
                    <a:pt x="306610" y="18806"/>
                  </a:lnTo>
                  <a:cubicBezTo>
                    <a:pt x="297942" y="26045"/>
                    <a:pt x="292418" y="35665"/>
                    <a:pt x="290322" y="45952"/>
                  </a:cubicBezTo>
                  <a:cubicBezTo>
                    <a:pt x="281845" y="46619"/>
                    <a:pt x="273463" y="49572"/>
                    <a:pt x="266033" y="54906"/>
                  </a:cubicBezTo>
                  <a:cubicBezTo>
                    <a:pt x="265938" y="55001"/>
                    <a:pt x="265367" y="55382"/>
                    <a:pt x="265176" y="55573"/>
                  </a:cubicBezTo>
                  <a:cubicBezTo>
                    <a:pt x="259461" y="59764"/>
                    <a:pt x="254889" y="65002"/>
                    <a:pt x="251651" y="70813"/>
                  </a:cubicBezTo>
                  <a:cubicBezTo>
                    <a:pt x="246221" y="69574"/>
                    <a:pt x="240411" y="69384"/>
                    <a:pt x="234506" y="70241"/>
                  </a:cubicBezTo>
                  <a:cubicBezTo>
                    <a:pt x="234125" y="70336"/>
                    <a:pt x="232791" y="70527"/>
                    <a:pt x="232410" y="70622"/>
                  </a:cubicBezTo>
                  <a:lnTo>
                    <a:pt x="232315" y="70622"/>
                  </a:lnTo>
                  <a:cubicBezTo>
                    <a:pt x="225552" y="71860"/>
                    <a:pt x="219361" y="74432"/>
                    <a:pt x="213931" y="78052"/>
                  </a:cubicBezTo>
                  <a:cubicBezTo>
                    <a:pt x="208502" y="73670"/>
                    <a:pt x="202025" y="70336"/>
                    <a:pt x="194786" y="68622"/>
                  </a:cubicBezTo>
                  <a:lnTo>
                    <a:pt x="194024" y="68431"/>
                  </a:lnTo>
                  <a:cubicBezTo>
                    <a:pt x="186881" y="66717"/>
                    <a:pt x="179642" y="66717"/>
                    <a:pt x="172879" y="68146"/>
                  </a:cubicBezTo>
                  <a:cubicBezTo>
                    <a:pt x="169069" y="61478"/>
                    <a:pt x="163640" y="55573"/>
                    <a:pt x="156591" y="51191"/>
                  </a:cubicBezTo>
                  <a:lnTo>
                    <a:pt x="156686" y="50905"/>
                  </a:lnTo>
                  <a:cubicBezTo>
                    <a:pt x="145828" y="43666"/>
                    <a:pt x="133160" y="41476"/>
                    <a:pt x="121253" y="43762"/>
                  </a:cubicBezTo>
                  <a:cubicBezTo>
                    <a:pt x="112205" y="27283"/>
                    <a:pt x="93821" y="17282"/>
                    <a:pt x="74009" y="19473"/>
                  </a:cubicBezTo>
                  <a:lnTo>
                    <a:pt x="71533" y="19759"/>
                  </a:lnTo>
                  <a:cubicBezTo>
                    <a:pt x="46292" y="23569"/>
                    <a:pt x="28385" y="46429"/>
                    <a:pt x="30861" y="71575"/>
                  </a:cubicBezTo>
                  <a:cubicBezTo>
                    <a:pt x="16669" y="79861"/>
                    <a:pt x="7144" y="95197"/>
                    <a:pt x="7144" y="112818"/>
                  </a:cubicBezTo>
                  <a:lnTo>
                    <a:pt x="7144" y="113770"/>
                  </a:lnTo>
                  <a:cubicBezTo>
                    <a:pt x="7144" y="124534"/>
                    <a:pt x="10763" y="134440"/>
                    <a:pt x="16764" y="142345"/>
                  </a:cubicBezTo>
                  <a:cubicBezTo>
                    <a:pt x="10763" y="150251"/>
                    <a:pt x="7144" y="160252"/>
                    <a:pt x="7144" y="171016"/>
                  </a:cubicBezTo>
                  <a:lnTo>
                    <a:pt x="7144" y="171968"/>
                  </a:lnTo>
                  <a:cubicBezTo>
                    <a:pt x="7144" y="182731"/>
                    <a:pt x="10763" y="192637"/>
                    <a:pt x="16764" y="200543"/>
                  </a:cubicBezTo>
                  <a:cubicBezTo>
                    <a:pt x="10763" y="208544"/>
                    <a:pt x="7144" y="218450"/>
                    <a:pt x="7144" y="229309"/>
                  </a:cubicBezTo>
                  <a:lnTo>
                    <a:pt x="7144" y="230261"/>
                  </a:lnTo>
                  <a:cubicBezTo>
                    <a:pt x="7144" y="241024"/>
                    <a:pt x="10859" y="250930"/>
                    <a:pt x="16955" y="258931"/>
                  </a:cubicBezTo>
                  <a:cubicBezTo>
                    <a:pt x="10859" y="266837"/>
                    <a:pt x="7144" y="276743"/>
                    <a:pt x="7144" y="287506"/>
                  </a:cubicBezTo>
                  <a:lnTo>
                    <a:pt x="7144" y="287983"/>
                  </a:lnTo>
                  <a:cubicBezTo>
                    <a:pt x="7144" y="314272"/>
                    <a:pt x="28480" y="335417"/>
                    <a:pt x="54769" y="335417"/>
                  </a:cubicBezTo>
                  <a:cubicBezTo>
                    <a:pt x="81058" y="335417"/>
                    <a:pt x="102394" y="313891"/>
                    <a:pt x="102394" y="287506"/>
                  </a:cubicBezTo>
                  <a:cubicBezTo>
                    <a:pt x="102394" y="276743"/>
                    <a:pt x="98679" y="266837"/>
                    <a:pt x="92583" y="258836"/>
                  </a:cubicBezTo>
                  <a:cubicBezTo>
                    <a:pt x="98679" y="250930"/>
                    <a:pt x="102394" y="241024"/>
                    <a:pt x="102394" y="230261"/>
                  </a:cubicBezTo>
                  <a:lnTo>
                    <a:pt x="102394" y="229309"/>
                  </a:lnTo>
                  <a:cubicBezTo>
                    <a:pt x="102394" y="218355"/>
                    <a:pt x="98679" y="208354"/>
                    <a:pt x="92488" y="200257"/>
                  </a:cubicBezTo>
                  <a:cubicBezTo>
                    <a:pt x="98679" y="192066"/>
                    <a:pt x="102394" y="181969"/>
                    <a:pt x="102394" y="171016"/>
                  </a:cubicBezTo>
                  <a:cubicBezTo>
                    <a:pt x="102394" y="160062"/>
                    <a:pt x="98679" y="149965"/>
                    <a:pt x="92488" y="141964"/>
                  </a:cubicBezTo>
                  <a:cubicBezTo>
                    <a:pt x="95822" y="137583"/>
                    <a:pt x="98393" y="132725"/>
                    <a:pt x="100108" y="127391"/>
                  </a:cubicBezTo>
                  <a:cubicBezTo>
                    <a:pt x="101251" y="128344"/>
                    <a:pt x="102489" y="129296"/>
                    <a:pt x="103823" y="130153"/>
                  </a:cubicBezTo>
                  <a:lnTo>
                    <a:pt x="105918" y="131487"/>
                  </a:lnTo>
                  <a:cubicBezTo>
                    <a:pt x="116872" y="138250"/>
                    <a:pt x="129635" y="140155"/>
                    <a:pt x="141351" y="137678"/>
                  </a:cubicBezTo>
                  <a:cubicBezTo>
                    <a:pt x="147542" y="148918"/>
                    <a:pt x="158306" y="157585"/>
                    <a:pt x="171736" y="160824"/>
                  </a:cubicBezTo>
                  <a:lnTo>
                    <a:pt x="172784" y="161110"/>
                  </a:lnTo>
                  <a:cubicBezTo>
                    <a:pt x="186214" y="164348"/>
                    <a:pt x="199739" y="161491"/>
                    <a:pt x="210312" y="154347"/>
                  </a:cubicBezTo>
                  <a:cubicBezTo>
                    <a:pt x="220599" y="162824"/>
                    <a:pt x="234410" y="166825"/>
                    <a:pt x="248603" y="164348"/>
                  </a:cubicBezTo>
                  <a:cubicBezTo>
                    <a:pt x="263747" y="162062"/>
                    <a:pt x="276225" y="152918"/>
                    <a:pt x="283178" y="140440"/>
                  </a:cubicBezTo>
                  <a:cubicBezTo>
                    <a:pt x="295942" y="143203"/>
                    <a:pt x="309848" y="140726"/>
                    <a:pt x="321278" y="132439"/>
                  </a:cubicBezTo>
                  <a:lnTo>
                    <a:pt x="322040" y="131868"/>
                  </a:lnTo>
                  <a:cubicBezTo>
                    <a:pt x="332042" y="124534"/>
                    <a:pt x="338423" y="114056"/>
                    <a:pt x="340709" y="102817"/>
                  </a:cubicBezTo>
                  <a:cubicBezTo>
                    <a:pt x="343567" y="102626"/>
                    <a:pt x="346520" y="102055"/>
                    <a:pt x="349282" y="101293"/>
                  </a:cubicBezTo>
                  <a:cubicBezTo>
                    <a:pt x="348044" y="106246"/>
                    <a:pt x="347663" y="111484"/>
                    <a:pt x="348139" y="116818"/>
                  </a:cubicBezTo>
                  <a:cubicBezTo>
                    <a:pt x="348996" y="126629"/>
                    <a:pt x="352806" y="135487"/>
                    <a:pt x="358521" y="142536"/>
                  </a:cubicBezTo>
                  <a:cubicBezTo>
                    <a:pt x="353187" y="150061"/>
                    <a:pt x="350044" y="159205"/>
                    <a:pt x="349949" y="169111"/>
                  </a:cubicBezTo>
                  <a:cubicBezTo>
                    <a:pt x="349949" y="169301"/>
                    <a:pt x="349949" y="170539"/>
                    <a:pt x="349949" y="170730"/>
                  </a:cubicBezTo>
                  <a:cubicBezTo>
                    <a:pt x="349949" y="180636"/>
                    <a:pt x="352901" y="189780"/>
                    <a:pt x="358045" y="197305"/>
                  </a:cubicBezTo>
                  <a:cubicBezTo>
                    <a:pt x="352139" y="204353"/>
                    <a:pt x="348139" y="213211"/>
                    <a:pt x="347091" y="223117"/>
                  </a:cubicBezTo>
                  <a:lnTo>
                    <a:pt x="346900" y="224737"/>
                  </a:lnTo>
                  <a:cubicBezTo>
                    <a:pt x="346043" y="234357"/>
                    <a:pt x="348139" y="243596"/>
                    <a:pt x="352425" y="251502"/>
                  </a:cubicBezTo>
                  <a:cubicBezTo>
                    <a:pt x="345948" y="257693"/>
                    <a:pt x="341186" y="265694"/>
                    <a:pt x="338900" y="274933"/>
                  </a:cubicBezTo>
                  <a:cubicBezTo>
                    <a:pt x="337852" y="279029"/>
                    <a:pt x="337375" y="283220"/>
                    <a:pt x="337471" y="287316"/>
                  </a:cubicBezTo>
                  <a:cubicBezTo>
                    <a:pt x="334994" y="288268"/>
                    <a:pt x="332613" y="289316"/>
                    <a:pt x="330422" y="290650"/>
                  </a:cubicBezTo>
                  <a:cubicBezTo>
                    <a:pt x="325279" y="285792"/>
                    <a:pt x="318992" y="281982"/>
                    <a:pt x="311753" y="279791"/>
                  </a:cubicBezTo>
                  <a:lnTo>
                    <a:pt x="310610" y="279410"/>
                  </a:lnTo>
                  <a:cubicBezTo>
                    <a:pt x="300704" y="276457"/>
                    <a:pt x="290608" y="276743"/>
                    <a:pt x="281464" y="279886"/>
                  </a:cubicBezTo>
                  <a:cubicBezTo>
                    <a:pt x="275368" y="271123"/>
                    <a:pt x="266224" y="264456"/>
                    <a:pt x="255175" y="261408"/>
                  </a:cubicBezTo>
                  <a:cubicBezTo>
                    <a:pt x="240221" y="256836"/>
                    <a:pt x="224695" y="260074"/>
                    <a:pt x="213074" y="268742"/>
                  </a:cubicBezTo>
                  <a:cubicBezTo>
                    <a:pt x="196977" y="257598"/>
                    <a:pt x="175069" y="257122"/>
                    <a:pt x="158306" y="269123"/>
                  </a:cubicBezTo>
                  <a:cubicBezTo>
                    <a:pt x="157067" y="269980"/>
                    <a:pt x="155924" y="270838"/>
                    <a:pt x="154781" y="271790"/>
                  </a:cubicBezTo>
                  <a:cubicBezTo>
                    <a:pt x="134588" y="288554"/>
                    <a:pt x="131731" y="318653"/>
                    <a:pt x="148590" y="338846"/>
                  </a:cubicBezTo>
                  <a:cubicBezTo>
                    <a:pt x="149066" y="339323"/>
                    <a:pt x="149447" y="339894"/>
                    <a:pt x="149924" y="340370"/>
                  </a:cubicBezTo>
                  <a:cubicBezTo>
                    <a:pt x="144018" y="353419"/>
                    <a:pt x="143923" y="368945"/>
                    <a:pt x="151257" y="382566"/>
                  </a:cubicBezTo>
                  <a:cubicBezTo>
                    <a:pt x="151352" y="382756"/>
                    <a:pt x="151924" y="383804"/>
                    <a:pt x="152019" y="383900"/>
                  </a:cubicBezTo>
                  <a:cubicBezTo>
                    <a:pt x="157258" y="393425"/>
                    <a:pt x="165259" y="400378"/>
                    <a:pt x="174498" y="404474"/>
                  </a:cubicBezTo>
                  <a:cubicBezTo>
                    <a:pt x="177165" y="417237"/>
                    <a:pt x="195167" y="420761"/>
                    <a:pt x="203930" y="427619"/>
                  </a:cubicBezTo>
                  <a:cubicBezTo>
                    <a:pt x="215075" y="436382"/>
                    <a:pt x="207931" y="453813"/>
                    <a:pt x="207931" y="453813"/>
                  </a:cubicBezTo>
                  <a:cubicBezTo>
                    <a:pt x="228981" y="436478"/>
                    <a:pt x="227838" y="414094"/>
                    <a:pt x="223171" y="398282"/>
                  </a:cubicBezTo>
                  <a:cubicBezTo>
                    <a:pt x="236411" y="387805"/>
                    <a:pt x="242983" y="371231"/>
                    <a:pt x="240983" y="354848"/>
                  </a:cubicBezTo>
                  <a:cubicBezTo>
                    <a:pt x="246793" y="355039"/>
                    <a:pt x="252603" y="354181"/>
                    <a:pt x="258032" y="352277"/>
                  </a:cubicBezTo>
                  <a:cubicBezTo>
                    <a:pt x="263938" y="360754"/>
                    <a:pt x="272606" y="367326"/>
                    <a:pt x="283274" y="370564"/>
                  </a:cubicBezTo>
                  <a:lnTo>
                    <a:pt x="284036" y="370755"/>
                  </a:lnTo>
                  <a:cubicBezTo>
                    <a:pt x="297085" y="374755"/>
                    <a:pt x="310610" y="372851"/>
                    <a:pt x="321564" y="366659"/>
                  </a:cubicBezTo>
                  <a:cubicBezTo>
                    <a:pt x="333280" y="377613"/>
                    <a:pt x="350234" y="382471"/>
                    <a:pt x="366808" y="377994"/>
                  </a:cubicBezTo>
                  <a:lnTo>
                    <a:pt x="367760" y="377708"/>
                  </a:lnTo>
                  <a:cubicBezTo>
                    <a:pt x="389287" y="371803"/>
                    <a:pt x="403289" y="352181"/>
                    <a:pt x="402908" y="330845"/>
                  </a:cubicBezTo>
                  <a:cubicBezTo>
                    <a:pt x="416719" y="325416"/>
                    <a:pt x="427863" y="313605"/>
                    <a:pt x="431673" y="298079"/>
                  </a:cubicBezTo>
                  <a:lnTo>
                    <a:pt x="431959" y="296841"/>
                  </a:lnTo>
                  <a:cubicBezTo>
                    <a:pt x="434816" y="284935"/>
                    <a:pt x="433007" y="273124"/>
                    <a:pt x="427577" y="263218"/>
                  </a:cubicBezTo>
                  <a:cubicBezTo>
                    <a:pt x="435578" y="255598"/>
                    <a:pt x="440912" y="245120"/>
                    <a:pt x="442055" y="233309"/>
                  </a:cubicBezTo>
                  <a:lnTo>
                    <a:pt x="441960" y="233023"/>
                  </a:lnTo>
                  <a:close/>
                </a:path>
              </a:pathLst>
            </a:custGeom>
            <a:solidFill>
              <a:srgbClr val="1E70B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sz="1467" dirty="0">
                <a:latin typeface="Arial" panose="020B0604020202020204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3635956" y="1852813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3661799" y="2198513"/>
              <a:ext cx="240001" cy="251310"/>
              <a:chOff x="3656928" y="2244240"/>
              <a:chExt cx="240001" cy="251310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AB1F0595-EDB1-E140-8678-83C6ACDF320C}"/>
                  </a:ext>
                </a:extLst>
              </p:cNvPr>
              <p:cNvGrpSpPr/>
              <p:nvPr/>
            </p:nvGrpSpPr>
            <p:grpSpPr>
              <a:xfrm>
                <a:off x="3724599" y="2281411"/>
                <a:ext cx="105751" cy="168566"/>
                <a:chOff x="7356475" y="1863725"/>
                <a:chExt cx="842977" cy="1290635"/>
              </a:xfrm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63500" sx="102000" sy="102000" algn="ctr" rotWithShape="0">
                  <a:schemeClr val="tx2">
                    <a:alpha val="16000"/>
                  </a:schemeClr>
                </a:outerShdw>
              </a:effectLst>
            </p:grpSpPr>
            <p:sp>
              <p:nvSpPr>
                <p:cNvPr id="69" name="Freeform 84">
                  <a:extLst>
                    <a:ext uri="{FF2B5EF4-FFF2-40B4-BE49-F238E27FC236}">
                      <a16:creationId xmlns:a16="http://schemas.microsoft.com/office/drawing/2014/main" id="{24139977-DB1A-1847-AC7E-616EF836A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2841" y="2068516"/>
                  <a:ext cx="836611" cy="1085844"/>
                </a:xfrm>
                <a:custGeom>
                  <a:avLst/>
                  <a:gdLst>
                    <a:gd name="T0" fmla="*/ 798 w 1101"/>
                    <a:gd name="T1" fmla="*/ 286 h 1430"/>
                    <a:gd name="T2" fmla="*/ 907 w 1101"/>
                    <a:gd name="T3" fmla="*/ 196 h 1430"/>
                    <a:gd name="T4" fmla="*/ 980 w 1101"/>
                    <a:gd name="T5" fmla="*/ 84 h 1430"/>
                    <a:gd name="T6" fmla="*/ 892 w 1101"/>
                    <a:gd name="T7" fmla="*/ 14 h 1430"/>
                    <a:gd name="T8" fmla="*/ 444 w 1101"/>
                    <a:gd name="T9" fmla="*/ 465 h 1430"/>
                    <a:gd name="T10" fmla="*/ 128 w 1101"/>
                    <a:gd name="T11" fmla="*/ 733 h 1430"/>
                    <a:gd name="T12" fmla="*/ 85 w 1101"/>
                    <a:gd name="T13" fmla="*/ 911 h 1430"/>
                    <a:gd name="T14" fmla="*/ 858 w 1101"/>
                    <a:gd name="T15" fmla="*/ 1418 h 1430"/>
                    <a:gd name="T16" fmla="*/ 1086 w 1101"/>
                    <a:gd name="T17" fmla="*/ 974 h 1430"/>
                    <a:gd name="T18" fmla="*/ 798 w 1101"/>
                    <a:gd name="T19" fmla="*/ 286 h 1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01" h="1430">
                      <a:moveTo>
                        <a:pt x="798" y="286"/>
                      </a:moveTo>
                      <a:cubicBezTo>
                        <a:pt x="810" y="269"/>
                        <a:pt x="866" y="215"/>
                        <a:pt x="907" y="196"/>
                      </a:cubicBezTo>
                      <a:cubicBezTo>
                        <a:pt x="948" y="177"/>
                        <a:pt x="997" y="169"/>
                        <a:pt x="980" y="84"/>
                      </a:cubicBezTo>
                      <a:cubicBezTo>
                        <a:pt x="963" y="0"/>
                        <a:pt x="892" y="14"/>
                        <a:pt x="892" y="14"/>
                      </a:cubicBezTo>
                      <a:cubicBezTo>
                        <a:pt x="635" y="58"/>
                        <a:pt x="490" y="334"/>
                        <a:pt x="444" y="465"/>
                      </a:cubicBezTo>
                      <a:cubicBezTo>
                        <a:pt x="398" y="596"/>
                        <a:pt x="257" y="683"/>
                        <a:pt x="128" y="733"/>
                      </a:cubicBezTo>
                      <a:cubicBezTo>
                        <a:pt x="0" y="784"/>
                        <a:pt x="85" y="911"/>
                        <a:pt x="85" y="911"/>
                      </a:cubicBezTo>
                      <a:cubicBezTo>
                        <a:pt x="359" y="1345"/>
                        <a:pt x="708" y="1406"/>
                        <a:pt x="858" y="1418"/>
                      </a:cubicBezTo>
                      <a:cubicBezTo>
                        <a:pt x="1009" y="1430"/>
                        <a:pt x="1072" y="1376"/>
                        <a:pt x="1086" y="974"/>
                      </a:cubicBezTo>
                      <a:cubicBezTo>
                        <a:pt x="1101" y="572"/>
                        <a:pt x="798" y="286"/>
                        <a:pt x="798" y="28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70" name="Freeform 85">
                  <a:extLst>
                    <a:ext uri="{FF2B5EF4-FFF2-40B4-BE49-F238E27FC236}">
                      <a16:creationId xmlns:a16="http://schemas.microsoft.com/office/drawing/2014/main" id="{D1585969-832E-9045-8B44-66F08B70DF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475" y="2106613"/>
                  <a:ext cx="241300" cy="544513"/>
                </a:xfrm>
                <a:custGeom>
                  <a:avLst/>
                  <a:gdLst>
                    <a:gd name="T0" fmla="*/ 139 w 317"/>
                    <a:gd name="T1" fmla="*/ 632 h 716"/>
                    <a:gd name="T2" fmla="*/ 317 w 317"/>
                    <a:gd name="T3" fmla="*/ 529 h 716"/>
                    <a:gd name="T4" fmla="*/ 252 w 317"/>
                    <a:gd name="T5" fmla="*/ 238 h 716"/>
                    <a:gd name="T6" fmla="*/ 220 w 317"/>
                    <a:gd name="T7" fmla="*/ 10 h 716"/>
                    <a:gd name="T8" fmla="*/ 121 w 317"/>
                    <a:gd name="T9" fmla="*/ 78 h 716"/>
                    <a:gd name="T10" fmla="*/ 157 w 317"/>
                    <a:gd name="T11" fmla="*/ 182 h 716"/>
                    <a:gd name="T12" fmla="*/ 121 w 317"/>
                    <a:gd name="T13" fmla="*/ 361 h 716"/>
                    <a:gd name="T14" fmla="*/ 36 w 317"/>
                    <a:gd name="T15" fmla="*/ 716 h 716"/>
                    <a:gd name="T16" fmla="*/ 139 w 317"/>
                    <a:gd name="T17" fmla="*/ 632 h 7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7" h="716">
                      <a:moveTo>
                        <a:pt x="139" y="632"/>
                      </a:moveTo>
                      <a:cubicBezTo>
                        <a:pt x="237" y="593"/>
                        <a:pt x="317" y="529"/>
                        <a:pt x="317" y="529"/>
                      </a:cubicBezTo>
                      <a:cubicBezTo>
                        <a:pt x="317" y="529"/>
                        <a:pt x="232" y="350"/>
                        <a:pt x="252" y="238"/>
                      </a:cubicBezTo>
                      <a:cubicBezTo>
                        <a:pt x="271" y="127"/>
                        <a:pt x="261" y="20"/>
                        <a:pt x="220" y="10"/>
                      </a:cubicBezTo>
                      <a:cubicBezTo>
                        <a:pt x="179" y="0"/>
                        <a:pt x="111" y="5"/>
                        <a:pt x="121" y="78"/>
                      </a:cubicBezTo>
                      <a:cubicBezTo>
                        <a:pt x="121" y="78"/>
                        <a:pt x="184" y="97"/>
                        <a:pt x="157" y="182"/>
                      </a:cubicBezTo>
                      <a:cubicBezTo>
                        <a:pt x="130" y="267"/>
                        <a:pt x="111" y="331"/>
                        <a:pt x="121" y="361"/>
                      </a:cubicBezTo>
                      <a:cubicBezTo>
                        <a:pt x="121" y="361"/>
                        <a:pt x="0" y="541"/>
                        <a:pt x="36" y="716"/>
                      </a:cubicBezTo>
                      <a:cubicBezTo>
                        <a:pt x="36" y="716"/>
                        <a:pt x="49" y="668"/>
                        <a:pt x="139" y="632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71" name="Freeform 86">
                  <a:extLst>
                    <a:ext uri="{FF2B5EF4-FFF2-40B4-BE49-F238E27FC236}">
                      <a16:creationId xmlns:a16="http://schemas.microsoft.com/office/drawing/2014/main" id="{33C54B1A-1670-4043-B393-8D0093E88D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7613" y="1863725"/>
                  <a:ext cx="420688" cy="611188"/>
                </a:xfrm>
                <a:custGeom>
                  <a:avLst/>
                  <a:gdLst>
                    <a:gd name="T0" fmla="*/ 143 w 555"/>
                    <a:gd name="T1" fmla="*/ 679 h 805"/>
                    <a:gd name="T2" fmla="*/ 272 w 555"/>
                    <a:gd name="T3" fmla="*/ 454 h 805"/>
                    <a:gd name="T4" fmla="*/ 332 w 555"/>
                    <a:gd name="T5" fmla="*/ 254 h 805"/>
                    <a:gd name="T6" fmla="*/ 463 w 555"/>
                    <a:gd name="T7" fmla="*/ 277 h 805"/>
                    <a:gd name="T8" fmla="*/ 555 w 555"/>
                    <a:gd name="T9" fmla="*/ 236 h 805"/>
                    <a:gd name="T10" fmla="*/ 400 w 555"/>
                    <a:gd name="T11" fmla="*/ 105 h 805"/>
                    <a:gd name="T12" fmla="*/ 386 w 555"/>
                    <a:gd name="T13" fmla="*/ 39 h 805"/>
                    <a:gd name="T14" fmla="*/ 349 w 555"/>
                    <a:gd name="T15" fmla="*/ 44 h 805"/>
                    <a:gd name="T16" fmla="*/ 306 w 555"/>
                    <a:gd name="T17" fmla="*/ 119 h 805"/>
                    <a:gd name="T18" fmla="*/ 272 w 555"/>
                    <a:gd name="T19" fmla="*/ 34 h 805"/>
                    <a:gd name="T20" fmla="*/ 231 w 555"/>
                    <a:gd name="T21" fmla="*/ 42 h 805"/>
                    <a:gd name="T22" fmla="*/ 209 w 555"/>
                    <a:gd name="T23" fmla="*/ 136 h 805"/>
                    <a:gd name="T24" fmla="*/ 146 w 555"/>
                    <a:gd name="T25" fmla="*/ 93 h 805"/>
                    <a:gd name="T26" fmla="*/ 80 w 555"/>
                    <a:gd name="T27" fmla="*/ 93 h 805"/>
                    <a:gd name="T28" fmla="*/ 88 w 555"/>
                    <a:gd name="T29" fmla="*/ 238 h 805"/>
                    <a:gd name="T30" fmla="*/ 15 w 555"/>
                    <a:gd name="T31" fmla="*/ 514 h 805"/>
                    <a:gd name="T32" fmla="*/ 85 w 555"/>
                    <a:gd name="T33" fmla="*/ 805 h 805"/>
                    <a:gd name="T34" fmla="*/ 143 w 555"/>
                    <a:gd name="T35" fmla="*/ 679 h 8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5" h="805">
                      <a:moveTo>
                        <a:pt x="143" y="679"/>
                      </a:moveTo>
                      <a:cubicBezTo>
                        <a:pt x="177" y="575"/>
                        <a:pt x="272" y="454"/>
                        <a:pt x="272" y="454"/>
                      </a:cubicBezTo>
                      <a:cubicBezTo>
                        <a:pt x="272" y="454"/>
                        <a:pt x="267" y="274"/>
                        <a:pt x="332" y="254"/>
                      </a:cubicBezTo>
                      <a:cubicBezTo>
                        <a:pt x="398" y="234"/>
                        <a:pt x="463" y="277"/>
                        <a:pt x="463" y="277"/>
                      </a:cubicBezTo>
                      <a:cubicBezTo>
                        <a:pt x="555" y="236"/>
                        <a:pt x="555" y="236"/>
                        <a:pt x="555" y="236"/>
                      </a:cubicBezTo>
                      <a:cubicBezTo>
                        <a:pt x="517" y="148"/>
                        <a:pt x="422" y="119"/>
                        <a:pt x="400" y="105"/>
                      </a:cubicBezTo>
                      <a:cubicBezTo>
                        <a:pt x="378" y="90"/>
                        <a:pt x="386" y="39"/>
                        <a:pt x="386" y="39"/>
                      </a:cubicBezTo>
                      <a:cubicBezTo>
                        <a:pt x="378" y="10"/>
                        <a:pt x="345" y="20"/>
                        <a:pt x="349" y="44"/>
                      </a:cubicBezTo>
                      <a:cubicBezTo>
                        <a:pt x="354" y="68"/>
                        <a:pt x="342" y="119"/>
                        <a:pt x="306" y="119"/>
                      </a:cubicBezTo>
                      <a:cubicBezTo>
                        <a:pt x="269" y="119"/>
                        <a:pt x="272" y="34"/>
                        <a:pt x="272" y="34"/>
                      </a:cubicBezTo>
                      <a:cubicBezTo>
                        <a:pt x="238" y="0"/>
                        <a:pt x="231" y="42"/>
                        <a:pt x="231" y="42"/>
                      </a:cubicBezTo>
                      <a:cubicBezTo>
                        <a:pt x="231" y="42"/>
                        <a:pt x="243" y="127"/>
                        <a:pt x="209" y="136"/>
                      </a:cubicBezTo>
                      <a:cubicBezTo>
                        <a:pt x="175" y="146"/>
                        <a:pt x="146" y="93"/>
                        <a:pt x="146" y="93"/>
                      </a:cubicBezTo>
                      <a:cubicBezTo>
                        <a:pt x="146" y="93"/>
                        <a:pt x="122" y="42"/>
                        <a:pt x="80" y="93"/>
                      </a:cubicBezTo>
                      <a:cubicBezTo>
                        <a:pt x="39" y="144"/>
                        <a:pt x="80" y="168"/>
                        <a:pt x="88" y="238"/>
                      </a:cubicBezTo>
                      <a:cubicBezTo>
                        <a:pt x="95" y="308"/>
                        <a:pt x="29" y="391"/>
                        <a:pt x="15" y="514"/>
                      </a:cubicBezTo>
                      <a:cubicBezTo>
                        <a:pt x="0" y="638"/>
                        <a:pt x="85" y="805"/>
                        <a:pt x="85" y="805"/>
                      </a:cubicBezTo>
                      <a:cubicBezTo>
                        <a:pt x="85" y="805"/>
                        <a:pt x="109" y="783"/>
                        <a:pt x="143" y="679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68" name="Oval 67"/>
              <p:cNvSpPr/>
              <p:nvPr/>
            </p:nvSpPr>
            <p:spPr>
              <a:xfrm>
                <a:off x="3656928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59641" y="2193111"/>
              <a:ext cx="240001" cy="251310"/>
              <a:chOff x="3037091" y="2244240"/>
              <a:chExt cx="240001" cy="251310"/>
            </a:xfrm>
          </p:grpSpPr>
          <p:pic>
            <p:nvPicPr>
              <p:cNvPr id="65" name="Graphic 64">
                <a:extLst>
                  <a:ext uri="{FF2B5EF4-FFF2-40B4-BE49-F238E27FC236}">
                    <a16:creationId xmlns:a16="http://schemas.microsoft.com/office/drawing/2014/main" id="{66551585-9E95-3745-8A00-10D3B69019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97559" y="2298538"/>
                <a:ext cx="112896" cy="161057"/>
              </a:xfrm>
              <a:prstGeom prst="rect">
                <a:avLst/>
              </a:prstGeom>
              <a:solidFill>
                <a:srgbClr val="1E70B2"/>
              </a:solidFill>
            </p:spPr>
          </p:pic>
          <p:sp>
            <p:nvSpPr>
              <p:cNvPr id="66" name="Oval 65"/>
              <p:cNvSpPr/>
              <p:nvPr/>
            </p:nvSpPr>
            <p:spPr>
              <a:xfrm>
                <a:off x="3037091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63" name="Oval 62"/>
            <p:cNvSpPr/>
            <p:nvPr/>
          </p:nvSpPr>
          <p:spPr>
            <a:xfrm>
              <a:off x="3365205" y="1714790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64" name="Graphic 55">
              <a:extLst>
                <a:ext uri="{FF2B5EF4-FFF2-40B4-BE49-F238E27FC236}">
                  <a16:creationId xmlns:a16="http://schemas.microsoft.com/office/drawing/2014/main" id="{69EC1B32-3E55-1F48-8A7A-2353834E1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27954" y="1766468"/>
              <a:ext cx="113860" cy="139958"/>
            </a:xfrm>
            <a:prstGeom prst="rect">
              <a:avLst/>
            </a:prstGeom>
            <a:solidFill>
              <a:srgbClr val="1E70B2"/>
            </a:solidFill>
          </p:spPr>
        </p:pic>
      </p:grpSp>
      <p:sp>
        <p:nvSpPr>
          <p:cNvPr id="93" name="Rectangle 92">
            <a:hlinkClick r:id="" action="ppaction://noaction"/>
          </p:cNvPr>
          <p:cNvSpPr/>
          <p:nvPr/>
        </p:nvSpPr>
        <p:spPr>
          <a:xfrm>
            <a:off x="163690" y="0"/>
            <a:ext cx="854221" cy="889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/>
          </a:p>
        </p:txBody>
      </p:sp>
      <p:sp>
        <p:nvSpPr>
          <p:cNvPr id="95" name="Rectangle 94"/>
          <p:cNvSpPr/>
          <p:nvPr/>
        </p:nvSpPr>
        <p:spPr>
          <a:xfrm>
            <a:off x="1436458" y="2350744"/>
            <a:ext cx="1047251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Psychiatrické diagnózy jsou u pacientů s HS </a:t>
            </a:r>
            <a:r>
              <a:rPr lang="en-US" b="1" dirty="0">
                <a:solidFill>
                  <a:schemeClr val="accent1"/>
                </a:solidFill>
              </a:rPr>
              <a:t>častější než </a:t>
            </a:r>
            <a:r>
              <a:rPr lang="en-US" dirty="0"/>
              <a:t>u pacientů s psoriázou.</a:t>
            </a:r>
            <a:r>
              <a:rPr lang="en-US" baseline="30000" dirty="0"/>
              <a:t>1</a:t>
            </a:r>
          </a:p>
          <a:p>
            <a:pPr marL="838179" lvl="1" indent="-228594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Alespoň jedna duševní porucha byla diagnostikována u </a:t>
            </a:r>
            <a:r>
              <a:rPr lang="en-US" b="1" dirty="0">
                <a:solidFill>
                  <a:schemeClr val="accent1"/>
                </a:solidFill>
              </a:rPr>
              <a:t>24 %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/>
              <a:t>pacientů s HS ve srovnání s </a:t>
            </a:r>
            <a:r>
              <a:rPr lang="en-US" b="1" dirty="0">
                <a:solidFill>
                  <a:schemeClr val="accent1"/>
                </a:solidFill>
              </a:rPr>
              <a:t>19 %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cs-CZ" dirty="0"/>
              <a:t> s </a:t>
            </a:r>
            <a:r>
              <a:rPr lang="cs-CZ" dirty="0" err="1"/>
              <a:t>PsO</a:t>
            </a:r>
            <a:r>
              <a:rPr lang="en-US" dirty="0"/>
              <a:t>.</a:t>
            </a:r>
            <a:r>
              <a:rPr lang="en-US" baseline="30000" dirty="0"/>
              <a:t>1</a:t>
            </a: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dirty="0" err="1">
                <a:solidFill>
                  <a:schemeClr val="accent1"/>
                </a:solidFill>
              </a:rPr>
              <a:t>Schizo</a:t>
            </a:r>
            <a:r>
              <a:rPr lang="cs-CZ" b="1" dirty="0" err="1">
                <a:solidFill>
                  <a:schemeClr val="accent1"/>
                </a:solidFill>
              </a:rPr>
              <a:t>frenie</a:t>
            </a:r>
            <a:r>
              <a:rPr lang="cs-CZ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 a bipolární porucha </a:t>
            </a:r>
            <a:r>
              <a:rPr lang="en-US" dirty="0"/>
              <a:t>se </a:t>
            </a:r>
            <a:r>
              <a:rPr lang="cs-CZ" dirty="0"/>
              <a:t>také </a:t>
            </a:r>
            <a:r>
              <a:rPr lang="en-US" dirty="0" err="1"/>
              <a:t>vyskytují</a:t>
            </a:r>
            <a:r>
              <a:rPr lang="en-US" dirty="0"/>
              <a:t> častěji ve skupině HS než u pacientů s psoriázou.</a:t>
            </a:r>
            <a:r>
              <a:rPr lang="en-US" baseline="30000" dirty="0"/>
              <a:t>1</a:t>
            </a:r>
          </a:p>
          <a:p>
            <a:pPr>
              <a:buClr>
                <a:schemeClr val="tx1"/>
              </a:buClr>
            </a:pPr>
            <a:endParaRPr lang="en-US" baseline="30000" dirty="0"/>
          </a:p>
          <a:p>
            <a:pPr marL="230712" indent="-230712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U pacientů s HS jsou častěji hlášeny </a:t>
            </a:r>
            <a:r>
              <a:rPr lang="en-US" b="1" dirty="0">
                <a:solidFill>
                  <a:schemeClr val="accent1"/>
                </a:solidFill>
              </a:rPr>
              <a:t>deprese a </a:t>
            </a:r>
            <a:r>
              <a:rPr lang="en-US" b="1" dirty="0" err="1">
                <a:solidFill>
                  <a:schemeClr val="accent1"/>
                </a:solidFill>
              </a:rPr>
              <a:t>úzkost</a:t>
            </a:r>
            <a:r>
              <a:rPr lang="cs-CZ" b="1" dirty="0">
                <a:solidFill>
                  <a:schemeClr val="accent1"/>
                </a:solidFill>
              </a:rPr>
              <a:t>i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ve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/>
              <a:t>srovnání s pacienty bez HS.</a:t>
            </a:r>
            <a:r>
              <a:rPr lang="en-US" baseline="30000" dirty="0"/>
              <a:t>2</a:t>
            </a:r>
          </a:p>
          <a:p>
            <a:pPr>
              <a:buClr>
                <a:schemeClr val="tx1"/>
              </a:buClr>
            </a:pPr>
            <a:endParaRPr lang="en-US" baseline="30000" dirty="0"/>
          </a:p>
          <a:p>
            <a:pPr marL="230712" indent="-230712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43 % </a:t>
            </a:r>
            <a:r>
              <a:rPr lang="en-US" dirty="0"/>
              <a:t>pacientů s HS má diagnostikovanou </a:t>
            </a:r>
            <a:r>
              <a:rPr lang="en-US" b="1" dirty="0">
                <a:solidFill>
                  <a:schemeClr val="accent1"/>
                </a:solidFill>
              </a:rPr>
              <a:t>depresi.</a:t>
            </a:r>
            <a:r>
              <a:rPr lang="en-US" baseline="30000" dirty="0"/>
              <a:t>3</a:t>
            </a: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Prevalence </a:t>
            </a:r>
            <a:r>
              <a:rPr lang="en-US" b="1" dirty="0">
                <a:solidFill>
                  <a:schemeClr val="accent1"/>
                </a:solidFill>
              </a:rPr>
              <a:t>poruch způsobených užíváním návykových látek </a:t>
            </a:r>
            <a:r>
              <a:rPr lang="en-US" dirty="0"/>
              <a:t>u pacientů s HS byla </a:t>
            </a:r>
            <a:r>
              <a:rPr lang="en-US" b="1" dirty="0">
                <a:solidFill>
                  <a:schemeClr val="accent1"/>
                </a:solidFill>
              </a:rPr>
              <a:t>4,0 %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/>
              <a:t>oproti </a:t>
            </a:r>
            <a:r>
              <a:rPr lang="en-US" b="1" dirty="0">
                <a:solidFill>
                  <a:schemeClr val="accent1"/>
                </a:solidFill>
              </a:rPr>
              <a:t>2,0 %</a:t>
            </a:r>
            <a:endParaRPr lang="cs-CZ" b="1" dirty="0">
              <a:solidFill>
                <a:schemeClr val="accent1"/>
              </a:solidFill>
            </a:endParaRPr>
          </a:p>
          <a:p>
            <a:pPr>
              <a:buClr>
                <a:schemeClr val="tx1"/>
              </a:buClr>
            </a:pPr>
            <a:r>
              <a:rPr lang="cs-CZ" b="1" dirty="0">
                <a:solidFill>
                  <a:schemeClr val="accent1"/>
                </a:solidFill>
              </a:rPr>
              <a:t>     </a:t>
            </a:r>
            <a:r>
              <a:rPr lang="en-US" dirty="0"/>
              <a:t>u </a:t>
            </a:r>
            <a:r>
              <a:rPr lang="en-US" dirty="0" err="1"/>
              <a:t>pacientů</a:t>
            </a:r>
            <a:r>
              <a:rPr lang="cs-CZ" dirty="0"/>
              <a:t> </a:t>
            </a:r>
            <a:r>
              <a:rPr lang="en-US" dirty="0"/>
              <a:t>bez HS.</a:t>
            </a:r>
            <a:r>
              <a:rPr lang="en-US" baseline="30000" dirty="0"/>
              <a:t>4</a:t>
            </a:r>
          </a:p>
          <a:p>
            <a:pPr>
              <a:buClr>
                <a:schemeClr val="tx1"/>
              </a:buClr>
            </a:pPr>
            <a:endParaRPr lang="en-US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Pacienti s HS jsou vystaveni většímu riziku </a:t>
            </a:r>
            <a:r>
              <a:rPr lang="en-US" b="1" dirty="0">
                <a:solidFill>
                  <a:schemeClr val="accent1"/>
                </a:solidFill>
              </a:rPr>
              <a:t>dokončení sebevraždy </a:t>
            </a:r>
            <a:r>
              <a:rPr lang="en-US" dirty="0"/>
              <a:t>než běžná populace.</a:t>
            </a:r>
            <a:r>
              <a:rPr lang="en-US" baseline="30000" dirty="0"/>
              <a:t>5</a:t>
            </a:r>
          </a:p>
        </p:txBody>
      </p:sp>
      <p:sp>
        <p:nvSpPr>
          <p:cNvPr id="48" name="Title 1"/>
          <p:cNvSpPr txBox="1">
            <a:spLocks/>
          </p:cNvSpPr>
          <p:nvPr/>
        </p:nvSpPr>
        <p:spPr>
          <a:xfrm>
            <a:off x="2682909" y="276901"/>
            <a:ext cx="9365433" cy="12812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sz="4000" b="1" spc="0" dirty="0"/>
              <a:t>Psychologické komorbidity</a:t>
            </a:r>
            <a:endParaRPr lang="en-US" sz="4000" b="1" dirty="0"/>
          </a:p>
        </p:txBody>
      </p:sp>
      <p:grpSp>
        <p:nvGrpSpPr>
          <p:cNvPr id="8" name="Group 7"/>
          <p:cNvGrpSpPr/>
          <p:nvPr/>
        </p:nvGrpSpPr>
        <p:grpSpPr>
          <a:xfrm>
            <a:off x="809511" y="3823661"/>
            <a:ext cx="573024" cy="573024"/>
            <a:chOff x="579823" y="3054961"/>
            <a:chExt cx="548558" cy="533209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6D847917-0115-8A4A-B479-A30D49D76E85}"/>
                </a:ext>
              </a:extLst>
            </p:cNvPr>
            <p:cNvSpPr/>
            <p:nvPr/>
          </p:nvSpPr>
          <p:spPr>
            <a:xfrm>
              <a:off x="579823" y="3054961"/>
              <a:ext cx="548558" cy="533209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682035" y="3127839"/>
              <a:ext cx="344133" cy="352582"/>
              <a:chOff x="583201" y="2323241"/>
              <a:chExt cx="344133" cy="352582"/>
            </a:xfrm>
            <a:solidFill>
              <a:srgbClr val="FFFFFF"/>
            </a:solidFill>
          </p:grpSpPr>
          <p:grpSp>
            <p:nvGrpSpPr>
              <p:cNvPr id="85" name="Group 84"/>
              <p:cNvGrpSpPr/>
              <p:nvPr/>
            </p:nvGrpSpPr>
            <p:grpSpPr>
              <a:xfrm>
                <a:off x="664536" y="2323241"/>
                <a:ext cx="181570" cy="229070"/>
                <a:chOff x="6397625" y="3052763"/>
                <a:chExt cx="273051" cy="344488"/>
              </a:xfrm>
              <a:grpFill/>
            </p:grpSpPr>
            <p:sp>
              <p:nvSpPr>
                <p:cNvPr id="87" name="Freeform 19"/>
                <p:cNvSpPr>
                  <a:spLocks/>
                </p:cNvSpPr>
                <p:nvPr/>
              </p:nvSpPr>
              <p:spPr bwMode="auto">
                <a:xfrm>
                  <a:off x="6397625" y="3105150"/>
                  <a:ext cx="73025" cy="101600"/>
                </a:xfrm>
                <a:custGeom>
                  <a:avLst/>
                  <a:gdLst>
                    <a:gd name="T0" fmla="*/ 150 w 296"/>
                    <a:gd name="T1" fmla="*/ 402 h 407"/>
                    <a:gd name="T2" fmla="*/ 158 w 296"/>
                    <a:gd name="T3" fmla="*/ 352 h 407"/>
                    <a:gd name="T4" fmla="*/ 168 w 296"/>
                    <a:gd name="T5" fmla="*/ 274 h 407"/>
                    <a:gd name="T6" fmla="*/ 169 w 296"/>
                    <a:gd name="T7" fmla="*/ 237 h 407"/>
                    <a:gd name="T8" fmla="*/ 84 w 296"/>
                    <a:gd name="T9" fmla="*/ 215 h 407"/>
                    <a:gd name="T10" fmla="*/ 0 w 296"/>
                    <a:gd name="T11" fmla="*/ 188 h 407"/>
                    <a:gd name="T12" fmla="*/ 139 w 296"/>
                    <a:gd name="T13" fmla="*/ 2 h 407"/>
                    <a:gd name="T14" fmla="*/ 143 w 296"/>
                    <a:gd name="T15" fmla="*/ 12 h 407"/>
                    <a:gd name="T16" fmla="*/ 137 w 296"/>
                    <a:gd name="T17" fmla="*/ 92 h 407"/>
                    <a:gd name="T18" fmla="*/ 133 w 296"/>
                    <a:gd name="T19" fmla="*/ 159 h 407"/>
                    <a:gd name="T20" fmla="*/ 214 w 296"/>
                    <a:gd name="T21" fmla="*/ 184 h 407"/>
                    <a:gd name="T22" fmla="*/ 296 w 296"/>
                    <a:gd name="T23" fmla="*/ 211 h 407"/>
                    <a:gd name="T24" fmla="*/ 155 w 296"/>
                    <a:gd name="T25" fmla="*/ 404 h 407"/>
                    <a:gd name="T26" fmla="*/ 150 w 296"/>
                    <a:gd name="T27" fmla="*/ 402 h 4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96" h="407">
                      <a:moveTo>
                        <a:pt x="150" y="402"/>
                      </a:moveTo>
                      <a:cubicBezTo>
                        <a:pt x="150" y="397"/>
                        <a:pt x="154" y="375"/>
                        <a:pt x="158" y="352"/>
                      </a:cubicBezTo>
                      <a:cubicBezTo>
                        <a:pt x="163" y="329"/>
                        <a:pt x="167" y="293"/>
                        <a:pt x="168" y="274"/>
                      </a:cubicBezTo>
                      <a:lnTo>
                        <a:pt x="169" y="237"/>
                      </a:lnTo>
                      <a:lnTo>
                        <a:pt x="84" y="215"/>
                      </a:lnTo>
                      <a:cubicBezTo>
                        <a:pt x="38" y="203"/>
                        <a:pt x="0" y="190"/>
                        <a:pt x="0" y="188"/>
                      </a:cubicBezTo>
                      <a:cubicBezTo>
                        <a:pt x="0" y="182"/>
                        <a:pt x="131" y="7"/>
                        <a:pt x="139" y="2"/>
                      </a:cubicBezTo>
                      <a:cubicBezTo>
                        <a:pt x="143" y="0"/>
                        <a:pt x="144" y="3"/>
                        <a:pt x="143" y="12"/>
                      </a:cubicBezTo>
                      <a:cubicBezTo>
                        <a:pt x="141" y="19"/>
                        <a:pt x="138" y="55"/>
                        <a:pt x="137" y="92"/>
                      </a:cubicBezTo>
                      <a:lnTo>
                        <a:pt x="133" y="159"/>
                      </a:lnTo>
                      <a:lnTo>
                        <a:pt x="214" y="184"/>
                      </a:lnTo>
                      <a:cubicBezTo>
                        <a:pt x="259" y="197"/>
                        <a:pt x="296" y="209"/>
                        <a:pt x="296" y="211"/>
                      </a:cubicBezTo>
                      <a:cubicBezTo>
                        <a:pt x="296" y="219"/>
                        <a:pt x="200" y="351"/>
                        <a:pt x="155" y="404"/>
                      </a:cubicBezTo>
                      <a:cubicBezTo>
                        <a:pt x="152" y="407"/>
                        <a:pt x="150" y="406"/>
                        <a:pt x="150" y="40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8" name="Freeform 20"/>
                <p:cNvSpPr>
                  <a:spLocks/>
                </p:cNvSpPr>
                <p:nvPr/>
              </p:nvSpPr>
              <p:spPr bwMode="auto">
                <a:xfrm>
                  <a:off x="6499225" y="3052763"/>
                  <a:ext cx="76200" cy="106363"/>
                </a:xfrm>
                <a:custGeom>
                  <a:avLst/>
                  <a:gdLst>
                    <a:gd name="T0" fmla="*/ 146 w 305"/>
                    <a:gd name="T1" fmla="*/ 420 h 428"/>
                    <a:gd name="T2" fmla="*/ 155 w 305"/>
                    <a:gd name="T3" fmla="*/ 374 h 428"/>
                    <a:gd name="T4" fmla="*/ 162 w 305"/>
                    <a:gd name="T5" fmla="*/ 297 h 428"/>
                    <a:gd name="T6" fmla="*/ 160 w 305"/>
                    <a:gd name="T7" fmla="*/ 258 h 428"/>
                    <a:gd name="T8" fmla="*/ 89 w 305"/>
                    <a:gd name="T9" fmla="*/ 235 h 428"/>
                    <a:gd name="T10" fmla="*/ 9 w 305"/>
                    <a:gd name="T11" fmla="*/ 203 h 428"/>
                    <a:gd name="T12" fmla="*/ 59 w 305"/>
                    <a:gd name="T13" fmla="*/ 111 h 428"/>
                    <a:gd name="T14" fmla="*/ 129 w 305"/>
                    <a:gd name="T15" fmla="*/ 14 h 428"/>
                    <a:gd name="T16" fmla="*/ 140 w 305"/>
                    <a:gd name="T17" fmla="*/ 0 h 428"/>
                    <a:gd name="T18" fmla="*/ 140 w 305"/>
                    <a:gd name="T19" fmla="*/ 14 h 428"/>
                    <a:gd name="T20" fmla="*/ 127 w 305"/>
                    <a:gd name="T21" fmla="*/ 95 h 428"/>
                    <a:gd name="T22" fmla="*/ 115 w 305"/>
                    <a:gd name="T23" fmla="*/ 162 h 428"/>
                    <a:gd name="T24" fmla="*/ 137 w 305"/>
                    <a:gd name="T25" fmla="*/ 177 h 428"/>
                    <a:gd name="T26" fmla="*/ 219 w 305"/>
                    <a:gd name="T27" fmla="*/ 202 h 428"/>
                    <a:gd name="T28" fmla="*/ 220 w 305"/>
                    <a:gd name="T29" fmla="*/ 329 h 428"/>
                    <a:gd name="T30" fmla="*/ 148 w 305"/>
                    <a:gd name="T31" fmla="*/ 427 h 428"/>
                    <a:gd name="T32" fmla="*/ 146 w 305"/>
                    <a:gd name="T33" fmla="*/ 420 h 4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05" h="428">
                      <a:moveTo>
                        <a:pt x="146" y="420"/>
                      </a:moveTo>
                      <a:cubicBezTo>
                        <a:pt x="146" y="415"/>
                        <a:pt x="150" y="395"/>
                        <a:pt x="155" y="374"/>
                      </a:cubicBezTo>
                      <a:cubicBezTo>
                        <a:pt x="160" y="354"/>
                        <a:pt x="163" y="320"/>
                        <a:pt x="162" y="297"/>
                      </a:cubicBezTo>
                      <a:lnTo>
                        <a:pt x="160" y="258"/>
                      </a:lnTo>
                      <a:lnTo>
                        <a:pt x="89" y="235"/>
                      </a:lnTo>
                      <a:cubicBezTo>
                        <a:pt x="50" y="223"/>
                        <a:pt x="14" y="208"/>
                        <a:pt x="9" y="203"/>
                      </a:cubicBezTo>
                      <a:cubicBezTo>
                        <a:pt x="0" y="194"/>
                        <a:pt x="3" y="188"/>
                        <a:pt x="59" y="111"/>
                      </a:cubicBezTo>
                      <a:cubicBezTo>
                        <a:pt x="92" y="65"/>
                        <a:pt x="123" y="22"/>
                        <a:pt x="129" y="14"/>
                      </a:cubicBezTo>
                      <a:lnTo>
                        <a:pt x="140" y="0"/>
                      </a:lnTo>
                      <a:lnTo>
                        <a:pt x="140" y="14"/>
                      </a:lnTo>
                      <a:cubicBezTo>
                        <a:pt x="140" y="22"/>
                        <a:pt x="134" y="58"/>
                        <a:pt x="127" y="95"/>
                      </a:cubicBezTo>
                      <a:lnTo>
                        <a:pt x="115" y="162"/>
                      </a:lnTo>
                      <a:lnTo>
                        <a:pt x="137" y="177"/>
                      </a:lnTo>
                      <a:cubicBezTo>
                        <a:pt x="153" y="188"/>
                        <a:pt x="174" y="194"/>
                        <a:pt x="219" y="202"/>
                      </a:cubicBezTo>
                      <a:cubicBezTo>
                        <a:pt x="305" y="216"/>
                        <a:pt x="305" y="213"/>
                        <a:pt x="220" y="329"/>
                      </a:cubicBezTo>
                      <a:cubicBezTo>
                        <a:pt x="181" y="382"/>
                        <a:pt x="149" y="426"/>
                        <a:pt x="148" y="427"/>
                      </a:cubicBezTo>
                      <a:cubicBezTo>
                        <a:pt x="147" y="428"/>
                        <a:pt x="146" y="425"/>
                        <a:pt x="146" y="4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9" name="Freeform 21"/>
                <p:cNvSpPr>
                  <a:spLocks/>
                </p:cNvSpPr>
                <p:nvPr/>
              </p:nvSpPr>
              <p:spPr bwMode="auto">
                <a:xfrm>
                  <a:off x="6599238" y="3103563"/>
                  <a:ext cx="71438" cy="107950"/>
                </a:xfrm>
                <a:custGeom>
                  <a:avLst/>
                  <a:gdLst>
                    <a:gd name="T0" fmla="*/ 138 w 289"/>
                    <a:gd name="T1" fmla="*/ 431 h 441"/>
                    <a:gd name="T2" fmla="*/ 163 w 289"/>
                    <a:gd name="T3" fmla="*/ 278 h 441"/>
                    <a:gd name="T4" fmla="*/ 161 w 289"/>
                    <a:gd name="T5" fmla="*/ 242 h 441"/>
                    <a:gd name="T6" fmla="*/ 80 w 289"/>
                    <a:gd name="T7" fmla="*/ 222 h 441"/>
                    <a:gd name="T8" fmla="*/ 1 w 289"/>
                    <a:gd name="T9" fmla="*/ 196 h 441"/>
                    <a:gd name="T10" fmla="*/ 133 w 289"/>
                    <a:gd name="T11" fmla="*/ 6 h 441"/>
                    <a:gd name="T12" fmla="*/ 139 w 289"/>
                    <a:gd name="T13" fmla="*/ 86 h 441"/>
                    <a:gd name="T14" fmla="*/ 139 w 289"/>
                    <a:gd name="T15" fmla="*/ 173 h 441"/>
                    <a:gd name="T16" fmla="*/ 214 w 289"/>
                    <a:gd name="T17" fmla="*/ 194 h 441"/>
                    <a:gd name="T18" fmla="*/ 288 w 289"/>
                    <a:gd name="T19" fmla="*/ 222 h 441"/>
                    <a:gd name="T20" fmla="*/ 140 w 289"/>
                    <a:gd name="T21" fmla="*/ 437 h 441"/>
                    <a:gd name="T22" fmla="*/ 138 w 289"/>
                    <a:gd name="T23" fmla="*/ 431 h 4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89" h="441">
                      <a:moveTo>
                        <a:pt x="138" y="431"/>
                      </a:moveTo>
                      <a:cubicBezTo>
                        <a:pt x="154" y="370"/>
                        <a:pt x="164" y="309"/>
                        <a:pt x="163" y="278"/>
                      </a:cubicBezTo>
                      <a:lnTo>
                        <a:pt x="161" y="242"/>
                      </a:lnTo>
                      <a:lnTo>
                        <a:pt x="80" y="222"/>
                      </a:lnTo>
                      <a:cubicBezTo>
                        <a:pt x="36" y="211"/>
                        <a:pt x="0" y="199"/>
                        <a:pt x="1" y="196"/>
                      </a:cubicBezTo>
                      <a:cubicBezTo>
                        <a:pt x="2" y="192"/>
                        <a:pt x="97" y="55"/>
                        <a:pt x="133" y="6"/>
                      </a:cubicBezTo>
                      <a:cubicBezTo>
                        <a:pt x="137" y="0"/>
                        <a:pt x="139" y="25"/>
                        <a:pt x="139" y="86"/>
                      </a:cubicBezTo>
                      <a:lnTo>
                        <a:pt x="139" y="173"/>
                      </a:lnTo>
                      <a:lnTo>
                        <a:pt x="214" y="194"/>
                      </a:lnTo>
                      <a:cubicBezTo>
                        <a:pt x="264" y="208"/>
                        <a:pt x="289" y="217"/>
                        <a:pt x="288" y="222"/>
                      </a:cubicBezTo>
                      <a:cubicBezTo>
                        <a:pt x="286" y="229"/>
                        <a:pt x="151" y="427"/>
                        <a:pt x="140" y="437"/>
                      </a:cubicBezTo>
                      <a:cubicBezTo>
                        <a:pt x="137" y="441"/>
                        <a:pt x="136" y="439"/>
                        <a:pt x="138" y="4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0" name="Oval 23"/>
                <p:cNvSpPr>
                  <a:spLocks noChangeArrowheads="1"/>
                </p:cNvSpPr>
                <p:nvPr/>
              </p:nvSpPr>
              <p:spPr bwMode="auto">
                <a:xfrm>
                  <a:off x="6451600" y="3221038"/>
                  <a:ext cx="176213" cy="176213"/>
                </a:xfrm>
                <a:prstGeom prst="ellipse">
                  <a:avLst/>
                </a:prstGeom>
                <a:grpFill/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86" name="Freeform 22"/>
              <p:cNvSpPr>
                <a:spLocks/>
              </p:cNvSpPr>
              <p:nvPr/>
            </p:nvSpPr>
            <p:spPr bwMode="auto">
              <a:xfrm>
                <a:off x="583201" y="2417195"/>
                <a:ext cx="344133" cy="258628"/>
              </a:xfrm>
              <a:custGeom>
                <a:avLst/>
                <a:gdLst>
                  <a:gd name="T0" fmla="*/ 653 w 2100"/>
                  <a:gd name="T1" fmla="*/ 1365 h 1573"/>
                  <a:gd name="T2" fmla="*/ 653 w 2100"/>
                  <a:gd name="T3" fmla="*/ 1157 h 1573"/>
                  <a:gd name="T4" fmla="*/ 92 w 2100"/>
                  <a:gd name="T5" fmla="*/ 832 h 1573"/>
                  <a:gd name="T6" fmla="*/ 11 w 2100"/>
                  <a:gd name="T7" fmla="*/ 711 h 1573"/>
                  <a:gd name="T8" fmla="*/ 30 w 2100"/>
                  <a:gd name="T9" fmla="*/ 580 h 1573"/>
                  <a:gd name="T10" fmla="*/ 370 w 2100"/>
                  <a:gd name="T11" fmla="*/ 102 h 1573"/>
                  <a:gd name="T12" fmla="*/ 501 w 2100"/>
                  <a:gd name="T13" fmla="*/ 44 h 1573"/>
                  <a:gd name="T14" fmla="*/ 584 w 2100"/>
                  <a:gd name="T15" fmla="*/ 232 h 1573"/>
                  <a:gd name="T16" fmla="*/ 321 w 2100"/>
                  <a:gd name="T17" fmla="*/ 609 h 1573"/>
                  <a:gd name="T18" fmla="*/ 376 w 2100"/>
                  <a:gd name="T19" fmla="*/ 683 h 1573"/>
                  <a:gd name="T20" fmla="*/ 736 w 2100"/>
                  <a:gd name="T21" fmla="*/ 875 h 1573"/>
                  <a:gd name="T22" fmla="*/ 1357 w 2100"/>
                  <a:gd name="T23" fmla="*/ 875 h 1573"/>
                  <a:gd name="T24" fmla="*/ 1750 w 2100"/>
                  <a:gd name="T25" fmla="*/ 653 h 1573"/>
                  <a:gd name="T26" fmla="*/ 1658 w 2100"/>
                  <a:gd name="T27" fmla="*/ 446 h 1573"/>
                  <a:gd name="T28" fmla="*/ 1486 w 2100"/>
                  <a:gd name="T29" fmla="*/ 176 h 1573"/>
                  <a:gd name="T30" fmla="*/ 1534 w 2100"/>
                  <a:gd name="T31" fmla="*/ 47 h 1573"/>
                  <a:gd name="T32" fmla="*/ 1664 w 2100"/>
                  <a:gd name="T33" fmla="*/ 50 h 1573"/>
                  <a:gd name="T34" fmla="*/ 2066 w 2100"/>
                  <a:gd name="T35" fmla="*/ 584 h 1573"/>
                  <a:gd name="T36" fmla="*/ 2077 w 2100"/>
                  <a:gd name="T37" fmla="*/ 705 h 1573"/>
                  <a:gd name="T38" fmla="*/ 1866 w 2100"/>
                  <a:gd name="T39" fmla="*/ 913 h 1573"/>
                  <a:gd name="T40" fmla="*/ 1495 w 2100"/>
                  <a:gd name="T41" fmla="*/ 1158 h 1573"/>
                  <a:gd name="T42" fmla="*/ 1479 w 2100"/>
                  <a:gd name="T43" fmla="*/ 1573 h 1573"/>
                  <a:gd name="T44" fmla="*/ 653 w 2100"/>
                  <a:gd name="T45" fmla="*/ 1573 h 1573"/>
                  <a:gd name="T46" fmla="*/ 653 w 2100"/>
                  <a:gd name="T47" fmla="*/ 1365 h 15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00" h="1573">
                    <a:moveTo>
                      <a:pt x="653" y="1365"/>
                    </a:moveTo>
                    <a:lnTo>
                      <a:pt x="653" y="1157"/>
                    </a:lnTo>
                    <a:cubicBezTo>
                      <a:pt x="464" y="1051"/>
                      <a:pt x="278" y="942"/>
                      <a:pt x="92" y="832"/>
                    </a:cubicBezTo>
                    <a:cubicBezTo>
                      <a:pt x="66" y="792"/>
                      <a:pt x="32" y="754"/>
                      <a:pt x="11" y="711"/>
                    </a:cubicBezTo>
                    <a:cubicBezTo>
                      <a:pt x="14" y="667"/>
                      <a:pt x="0" y="618"/>
                      <a:pt x="30" y="580"/>
                    </a:cubicBezTo>
                    <a:cubicBezTo>
                      <a:pt x="129" y="411"/>
                      <a:pt x="246" y="253"/>
                      <a:pt x="370" y="102"/>
                    </a:cubicBezTo>
                    <a:cubicBezTo>
                      <a:pt x="399" y="66"/>
                      <a:pt x="452" y="17"/>
                      <a:pt x="501" y="44"/>
                    </a:cubicBezTo>
                    <a:cubicBezTo>
                      <a:pt x="579" y="61"/>
                      <a:pt x="633" y="162"/>
                      <a:pt x="584" y="232"/>
                    </a:cubicBezTo>
                    <a:cubicBezTo>
                      <a:pt x="505" y="364"/>
                      <a:pt x="400" y="478"/>
                      <a:pt x="321" y="609"/>
                    </a:cubicBezTo>
                    <a:cubicBezTo>
                      <a:pt x="299" y="653"/>
                      <a:pt x="348" y="664"/>
                      <a:pt x="376" y="683"/>
                    </a:cubicBezTo>
                    <a:cubicBezTo>
                      <a:pt x="493" y="751"/>
                      <a:pt x="612" y="821"/>
                      <a:pt x="736" y="875"/>
                    </a:cubicBezTo>
                    <a:lnTo>
                      <a:pt x="1357" y="875"/>
                    </a:lnTo>
                    <a:cubicBezTo>
                      <a:pt x="1497" y="803"/>
                      <a:pt x="1623" y="748"/>
                      <a:pt x="1750" y="653"/>
                    </a:cubicBezTo>
                    <a:cubicBezTo>
                      <a:pt x="1753" y="573"/>
                      <a:pt x="1696" y="511"/>
                      <a:pt x="1658" y="446"/>
                    </a:cubicBezTo>
                    <a:cubicBezTo>
                      <a:pt x="1596" y="359"/>
                      <a:pt x="1506" y="212"/>
                      <a:pt x="1486" y="176"/>
                    </a:cubicBezTo>
                    <a:cubicBezTo>
                      <a:pt x="1486" y="176"/>
                      <a:pt x="1441" y="109"/>
                      <a:pt x="1534" y="47"/>
                    </a:cubicBezTo>
                    <a:cubicBezTo>
                      <a:pt x="1598" y="0"/>
                      <a:pt x="1639" y="33"/>
                      <a:pt x="1664" y="50"/>
                    </a:cubicBezTo>
                    <a:cubicBezTo>
                      <a:pt x="1822" y="208"/>
                      <a:pt x="1949" y="395"/>
                      <a:pt x="2066" y="584"/>
                    </a:cubicBezTo>
                    <a:cubicBezTo>
                      <a:pt x="2081" y="623"/>
                      <a:pt x="2100" y="666"/>
                      <a:pt x="2077" y="705"/>
                    </a:cubicBezTo>
                    <a:cubicBezTo>
                      <a:pt x="2055" y="810"/>
                      <a:pt x="1948" y="861"/>
                      <a:pt x="1866" y="913"/>
                    </a:cubicBezTo>
                    <a:cubicBezTo>
                      <a:pt x="1727" y="995"/>
                      <a:pt x="1634" y="1073"/>
                      <a:pt x="1495" y="1158"/>
                    </a:cubicBezTo>
                    <a:cubicBezTo>
                      <a:pt x="1477" y="1295"/>
                      <a:pt x="1483" y="1435"/>
                      <a:pt x="1479" y="1573"/>
                    </a:cubicBezTo>
                    <a:lnTo>
                      <a:pt x="653" y="1573"/>
                    </a:lnTo>
                    <a:cubicBezTo>
                      <a:pt x="653" y="1504"/>
                      <a:pt x="653" y="1434"/>
                      <a:pt x="653" y="136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812800" y="4946317"/>
            <a:ext cx="573024" cy="573024"/>
            <a:chOff x="6718369" y="2834317"/>
            <a:chExt cx="429768" cy="429768"/>
          </a:xfrm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6D847917-0115-8A4A-B479-A30D49D76E85}"/>
                </a:ext>
              </a:extLst>
            </p:cNvPr>
            <p:cNvSpPr/>
            <p:nvPr/>
          </p:nvSpPr>
          <p:spPr>
            <a:xfrm>
              <a:off x="6718369" y="2834317"/>
              <a:ext cx="429768" cy="429768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04" name="Group 103"/>
            <p:cNvGrpSpPr/>
            <p:nvPr/>
          </p:nvGrpSpPr>
          <p:grpSpPr>
            <a:xfrm>
              <a:off x="6802777" y="2896595"/>
              <a:ext cx="260951" cy="291198"/>
              <a:chOff x="10271126" y="1027113"/>
              <a:chExt cx="698500" cy="779463"/>
            </a:xfrm>
            <a:solidFill>
              <a:schemeClr val="bg1"/>
            </a:solidFill>
          </p:grpSpPr>
          <p:sp>
            <p:nvSpPr>
              <p:cNvPr id="105" name="Freeform 57"/>
              <p:cNvSpPr>
                <a:spLocks noEditPoints="1"/>
              </p:cNvSpPr>
              <p:nvPr/>
            </p:nvSpPr>
            <p:spPr bwMode="auto">
              <a:xfrm>
                <a:off x="10302876" y="1382713"/>
                <a:ext cx="666750" cy="423863"/>
              </a:xfrm>
              <a:custGeom>
                <a:avLst/>
                <a:gdLst>
                  <a:gd name="T0" fmla="*/ 283 w 311"/>
                  <a:gd name="T1" fmla="*/ 29 h 198"/>
                  <a:gd name="T2" fmla="*/ 287 w 311"/>
                  <a:gd name="T3" fmla="*/ 0 h 198"/>
                  <a:gd name="T4" fmla="*/ 260 w 311"/>
                  <a:gd name="T5" fmla="*/ 0 h 198"/>
                  <a:gd name="T6" fmla="*/ 261 w 311"/>
                  <a:gd name="T7" fmla="*/ 34 h 198"/>
                  <a:gd name="T8" fmla="*/ 259 w 311"/>
                  <a:gd name="T9" fmla="*/ 48 h 198"/>
                  <a:gd name="T10" fmla="*/ 242 w 311"/>
                  <a:gd name="T11" fmla="*/ 34 h 198"/>
                  <a:gd name="T12" fmla="*/ 249 w 311"/>
                  <a:gd name="T13" fmla="*/ 2 h 198"/>
                  <a:gd name="T14" fmla="*/ 248 w 311"/>
                  <a:gd name="T15" fmla="*/ 0 h 198"/>
                  <a:gd name="T16" fmla="*/ 17 w 311"/>
                  <a:gd name="T17" fmla="*/ 0 h 198"/>
                  <a:gd name="T18" fmla="*/ 8 w 311"/>
                  <a:gd name="T19" fmla="*/ 8 h 198"/>
                  <a:gd name="T20" fmla="*/ 7 w 311"/>
                  <a:gd name="T21" fmla="*/ 12 h 198"/>
                  <a:gd name="T22" fmla="*/ 14 w 311"/>
                  <a:gd name="T23" fmla="*/ 34 h 198"/>
                  <a:gd name="T24" fmla="*/ 21 w 311"/>
                  <a:gd name="T25" fmla="*/ 37 h 198"/>
                  <a:gd name="T26" fmla="*/ 31 w 311"/>
                  <a:gd name="T27" fmla="*/ 32 h 198"/>
                  <a:gd name="T28" fmla="*/ 21 w 311"/>
                  <a:gd name="T29" fmla="*/ 28 h 198"/>
                  <a:gd name="T30" fmla="*/ 31 w 311"/>
                  <a:gd name="T31" fmla="*/ 26 h 198"/>
                  <a:gd name="T32" fmla="*/ 27 w 311"/>
                  <a:gd name="T33" fmla="*/ 21 h 198"/>
                  <a:gd name="T34" fmla="*/ 46 w 311"/>
                  <a:gd name="T35" fmla="*/ 9 h 198"/>
                  <a:gd name="T36" fmla="*/ 45 w 311"/>
                  <a:gd name="T37" fmla="*/ 13 h 198"/>
                  <a:gd name="T38" fmla="*/ 45 w 311"/>
                  <a:gd name="T39" fmla="*/ 52 h 198"/>
                  <a:gd name="T40" fmla="*/ 46 w 311"/>
                  <a:gd name="T41" fmla="*/ 58 h 198"/>
                  <a:gd name="T42" fmla="*/ 43 w 311"/>
                  <a:gd name="T43" fmla="*/ 103 h 198"/>
                  <a:gd name="T44" fmla="*/ 42 w 311"/>
                  <a:gd name="T45" fmla="*/ 114 h 198"/>
                  <a:gd name="T46" fmla="*/ 40 w 311"/>
                  <a:gd name="T47" fmla="*/ 137 h 198"/>
                  <a:gd name="T48" fmla="*/ 42 w 311"/>
                  <a:gd name="T49" fmla="*/ 161 h 198"/>
                  <a:gd name="T50" fmla="*/ 10 w 311"/>
                  <a:gd name="T51" fmla="*/ 174 h 198"/>
                  <a:gd name="T52" fmla="*/ 0 w 311"/>
                  <a:gd name="T53" fmla="*/ 188 h 198"/>
                  <a:gd name="T54" fmla="*/ 15 w 311"/>
                  <a:gd name="T55" fmla="*/ 189 h 198"/>
                  <a:gd name="T56" fmla="*/ 64 w 311"/>
                  <a:gd name="T57" fmla="*/ 185 h 198"/>
                  <a:gd name="T58" fmla="*/ 69 w 311"/>
                  <a:gd name="T59" fmla="*/ 186 h 198"/>
                  <a:gd name="T60" fmla="*/ 85 w 311"/>
                  <a:gd name="T61" fmla="*/ 194 h 198"/>
                  <a:gd name="T62" fmla="*/ 143 w 311"/>
                  <a:gd name="T63" fmla="*/ 192 h 198"/>
                  <a:gd name="T64" fmla="*/ 153 w 311"/>
                  <a:gd name="T65" fmla="*/ 193 h 198"/>
                  <a:gd name="T66" fmla="*/ 175 w 311"/>
                  <a:gd name="T67" fmla="*/ 191 h 198"/>
                  <a:gd name="T68" fmla="*/ 177 w 311"/>
                  <a:gd name="T69" fmla="*/ 188 h 198"/>
                  <a:gd name="T70" fmla="*/ 176 w 311"/>
                  <a:gd name="T71" fmla="*/ 165 h 198"/>
                  <a:gd name="T72" fmla="*/ 170 w 311"/>
                  <a:gd name="T73" fmla="*/ 143 h 198"/>
                  <a:gd name="T74" fmla="*/ 168 w 311"/>
                  <a:gd name="T75" fmla="*/ 138 h 198"/>
                  <a:gd name="T76" fmla="*/ 145 w 311"/>
                  <a:gd name="T77" fmla="*/ 100 h 198"/>
                  <a:gd name="T78" fmla="*/ 143 w 311"/>
                  <a:gd name="T79" fmla="*/ 67 h 198"/>
                  <a:gd name="T80" fmla="*/ 154 w 311"/>
                  <a:gd name="T81" fmla="*/ 62 h 198"/>
                  <a:gd name="T82" fmla="*/ 251 w 311"/>
                  <a:gd name="T83" fmla="*/ 75 h 198"/>
                  <a:gd name="T84" fmla="*/ 257 w 311"/>
                  <a:gd name="T85" fmla="*/ 80 h 198"/>
                  <a:gd name="T86" fmla="*/ 265 w 311"/>
                  <a:gd name="T87" fmla="*/ 108 h 198"/>
                  <a:gd name="T88" fmla="*/ 299 w 311"/>
                  <a:gd name="T89" fmla="*/ 185 h 198"/>
                  <a:gd name="T90" fmla="*/ 311 w 311"/>
                  <a:gd name="T91" fmla="*/ 190 h 198"/>
                  <a:gd name="T92" fmla="*/ 311 w 311"/>
                  <a:gd name="T93" fmla="*/ 188 h 198"/>
                  <a:gd name="T94" fmla="*/ 275 w 311"/>
                  <a:gd name="T95" fmla="*/ 103 h 198"/>
                  <a:gd name="T96" fmla="*/ 275 w 311"/>
                  <a:gd name="T97" fmla="*/ 51 h 198"/>
                  <a:gd name="T98" fmla="*/ 283 w 311"/>
                  <a:gd name="T99" fmla="*/ 29 h 198"/>
                  <a:gd name="T100" fmla="*/ 95 w 311"/>
                  <a:gd name="T101" fmla="*/ 156 h 198"/>
                  <a:gd name="T102" fmla="*/ 94 w 311"/>
                  <a:gd name="T103" fmla="*/ 144 h 198"/>
                  <a:gd name="T104" fmla="*/ 96 w 311"/>
                  <a:gd name="T105" fmla="*/ 114 h 198"/>
                  <a:gd name="T106" fmla="*/ 95 w 311"/>
                  <a:gd name="T107" fmla="*/ 156 h 198"/>
                  <a:gd name="T108" fmla="*/ 109 w 311"/>
                  <a:gd name="T109" fmla="*/ 173 h 198"/>
                  <a:gd name="T110" fmla="*/ 107 w 311"/>
                  <a:gd name="T111" fmla="*/ 171 h 198"/>
                  <a:gd name="T112" fmla="*/ 114 w 311"/>
                  <a:gd name="T113" fmla="*/ 150 h 198"/>
                  <a:gd name="T114" fmla="*/ 122 w 311"/>
                  <a:gd name="T115" fmla="*/ 164 h 198"/>
                  <a:gd name="T116" fmla="*/ 109 w 311"/>
                  <a:gd name="T117" fmla="*/ 173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11" h="198">
                    <a:moveTo>
                      <a:pt x="283" y="29"/>
                    </a:moveTo>
                    <a:cubicBezTo>
                      <a:pt x="285" y="19"/>
                      <a:pt x="286" y="9"/>
                      <a:pt x="287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58" y="11"/>
                      <a:pt x="258" y="22"/>
                      <a:pt x="261" y="34"/>
                    </a:cubicBezTo>
                    <a:cubicBezTo>
                      <a:pt x="262" y="38"/>
                      <a:pt x="260" y="43"/>
                      <a:pt x="259" y="48"/>
                    </a:cubicBezTo>
                    <a:cubicBezTo>
                      <a:pt x="255" y="37"/>
                      <a:pt x="255" y="37"/>
                      <a:pt x="242" y="34"/>
                    </a:cubicBezTo>
                    <a:cubicBezTo>
                      <a:pt x="249" y="24"/>
                      <a:pt x="249" y="13"/>
                      <a:pt x="249" y="2"/>
                    </a:cubicBezTo>
                    <a:cubicBezTo>
                      <a:pt x="248" y="1"/>
                      <a:pt x="248" y="1"/>
                      <a:pt x="248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4" y="3"/>
                      <a:pt x="11" y="5"/>
                      <a:pt x="8" y="8"/>
                    </a:cubicBezTo>
                    <a:cubicBezTo>
                      <a:pt x="7" y="9"/>
                      <a:pt x="7" y="10"/>
                      <a:pt x="7" y="12"/>
                    </a:cubicBezTo>
                    <a:cubicBezTo>
                      <a:pt x="4" y="20"/>
                      <a:pt x="11" y="27"/>
                      <a:pt x="14" y="34"/>
                    </a:cubicBezTo>
                    <a:cubicBezTo>
                      <a:pt x="14" y="36"/>
                      <a:pt x="19" y="37"/>
                      <a:pt x="21" y="37"/>
                    </a:cubicBezTo>
                    <a:cubicBezTo>
                      <a:pt x="24" y="36"/>
                      <a:pt x="27" y="34"/>
                      <a:pt x="31" y="32"/>
                    </a:cubicBezTo>
                    <a:cubicBezTo>
                      <a:pt x="28" y="31"/>
                      <a:pt x="25" y="30"/>
                      <a:pt x="21" y="28"/>
                    </a:cubicBezTo>
                    <a:cubicBezTo>
                      <a:pt x="25" y="27"/>
                      <a:pt x="28" y="27"/>
                      <a:pt x="31" y="26"/>
                    </a:cubicBezTo>
                    <a:cubicBezTo>
                      <a:pt x="29" y="24"/>
                      <a:pt x="28" y="23"/>
                      <a:pt x="27" y="21"/>
                    </a:cubicBezTo>
                    <a:cubicBezTo>
                      <a:pt x="33" y="17"/>
                      <a:pt x="34" y="5"/>
                      <a:pt x="46" y="9"/>
                    </a:cubicBezTo>
                    <a:cubicBezTo>
                      <a:pt x="45" y="10"/>
                      <a:pt x="45" y="12"/>
                      <a:pt x="45" y="13"/>
                    </a:cubicBezTo>
                    <a:cubicBezTo>
                      <a:pt x="40" y="26"/>
                      <a:pt x="41" y="39"/>
                      <a:pt x="45" y="52"/>
                    </a:cubicBezTo>
                    <a:cubicBezTo>
                      <a:pt x="46" y="54"/>
                      <a:pt x="46" y="56"/>
                      <a:pt x="46" y="58"/>
                    </a:cubicBezTo>
                    <a:cubicBezTo>
                      <a:pt x="45" y="73"/>
                      <a:pt x="44" y="88"/>
                      <a:pt x="43" y="103"/>
                    </a:cubicBezTo>
                    <a:cubicBezTo>
                      <a:pt x="43" y="107"/>
                      <a:pt x="43" y="111"/>
                      <a:pt x="42" y="114"/>
                    </a:cubicBezTo>
                    <a:cubicBezTo>
                      <a:pt x="41" y="122"/>
                      <a:pt x="40" y="129"/>
                      <a:pt x="40" y="137"/>
                    </a:cubicBezTo>
                    <a:cubicBezTo>
                      <a:pt x="40" y="145"/>
                      <a:pt x="41" y="152"/>
                      <a:pt x="42" y="161"/>
                    </a:cubicBezTo>
                    <a:cubicBezTo>
                      <a:pt x="31" y="165"/>
                      <a:pt x="21" y="170"/>
                      <a:pt x="10" y="174"/>
                    </a:cubicBezTo>
                    <a:cubicBezTo>
                      <a:pt x="3" y="176"/>
                      <a:pt x="0" y="180"/>
                      <a:pt x="0" y="188"/>
                    </a:cubicBezTo>
                    <a:cubicBezTo>
                      <a:pt x="5" y="188"/>
                      <a:pt x="10" y="189"/>
                      <a:pt x="15" y="189"/>
                    </a:cubicBezTo>
                    <a:cubicBezTo>
                      <a:pt x="31" y="192"/>
                      <a:pt x="48" y="188"/>
                      <a:pt x="64" y="185"/>
                    </a:cubicBezTo>
                    <a:cubicBezTo>
                      <a:pt x="66" y="185"/>
                      <a:pt x="68" y="185"/>
                      <a:pt x="69" y="186"/>
                    </a:cubicBezTo>
                    <a:cubicBezTo>
                      <a:pt x="75" y="188"/>
                      <a:pt x="79" y="193"/>
                      <a:pt x="85" y="194"/>
                    </a:cubicBezTo>
                    <a:cubicBezTo>
                      <a:pt x="104" y="197"/>
                      <a:pt x="124" y="198"/>
                      <a:pt x="143" y="192"/>
                    </a:cubicBezTo>
                    <a:cubicBezTo>
                      <a:pt x="146" y="191"/>
                      <a:pt x="150" y="193"/>
                      <a:pt x="153" y="193"/>
                    </a:cubicBezTo>
                    <a:cubicBezTo>
                      <a:pt x="161" y="192"/>
                      <a:pt x="168" y="191"/>
                      <a:pt x="175" y="191"/>
                    </a:cubicBezTo>
                    <a:cubicBezTo>
                      <a:pt x="176" y="190"/>
                      <a:pt x="177" y="189"/>
                      <a:pt x="177" y="188"/>
                    </a:cubicBezTo>
                    <a:cubicBezTo>
                      <a:pt x="177" y="180"/>
                      <a:pt x="177" y="172"/>
                      <a:pt x="176" y="165"/>
                    </a:cubicBezTo>
                    <a:cubicBezTo>
                      <a:pt x="175" y="157"/>
                      <a:pt x="172" y="150"/>
                      <a:pt x="170" y="143"/>
                    </a:cubicBezTo>
                    <a:cubicBezTo>
                      <a:pt x="169" y="141"/>
                      <a:pt x="169" y="139"/>
                      <a:pt x="168" y="138"/>
                    </a:cubicBezTo>
                    <a:cubicBezTo>
                      <a:pt x="160" y="125"/>
                      <a:pt x="154" y="112"/>
                      <a:pt x="145" y="100"/>
                    </a:cubicBezTo>
                    <a:cubicBezTo>
                      <a:pt x="137" y="89"/>
                      <a:pt x="136" y="79"/>
                      <a:pt x="143" y="67"/>
                    </a:cubicBezTo>
                    <a:cubicBezTo>
                      <a:pt x="146" y="63"/>
                      <a:pt x="148" y="61"/>
                      <a:pt x="154" y="62"/>
                    </a:cubicBezTo>
                    <a:cubicBezTo>
                      <a:pt x="186" y="69"/>
                      <a:pt x="218" y="74"/>
                      <a:pt x="251" y="75"/>
                    </a:cubicBezTo>
                    <a:cubicBezTo>
                      <a:pt x="255" y="75"/>
                      <a:pt x="256" y="76"/>
                      <a:pt x="257" y="80"/>
                    </a:cubicBezTo>
                    <a:cubicBezTo>
                      <a:pt x="259" y="90"/>
                      <a:pt x="261" y="100"/>
                      <a:pt x="265" y="108"/>
                    </a:cubicBezTo>
                    <a:cubicBezTo>
                      <a:pt x="275" y="134"/>
                      <a:pt x="288" y="159"/>
                      <a:pt x="299" y="185"/>
                    </a:cubicBezTo>
                    <a:cubicBezTo>
                      <a:pt x="301" y="191"/>
                      <a:pt x="305" y="193"/>
                      <a:pt x="311" y="190"/>
                    </a:cubicBezTo>
                    <a:cubicBezTo>
                      <a:pt x="311" y="189"/>
                      <a:pt x="311" y="189"/>
                      <a:pt x="311" y="188"/>
                    </a:cubicBezTo>
                    <a:cubicBezTo>
                      <a:pt x="299" y="159"/>
                      <a:pt x="287" y="131"/>
                      <a:pt x="275" y="103"/>
                    </a:cubicBezTo>
                    <a:cubicBezTo>
                      <a:pt x="268" y="85"/>
                      <a:pt x="265" y="69"/>
                      <a:pt x="275" y="51"/>
                    </a:cubicBezTo>
                    <a:cubicBezTo>
                      <a:pt x="280" y="45"/>
                      <a:pt x="282" y="36"/>
                      <a:pt x="283" y="29"/>
                    </a:cubicBezTo>
                    <a:close/>
                    <a:moveTo>
                      <a:pt x="95" y="156"/>
                    </a:moveTo>
                    <a:cubicBezTo>
                      <a:pt x="95" y="152"/>
                      <a:pt x="94" y="148"/>
                      <a:pt x="94" y="144"/>
                    </a:cubicBezTo>
                    <a:cubicBezTo>
                      <a:pt x="94" y="134"/>
                      <a:pt x="95" y="124"/>
                      <a:pt x="96" y="114"/>
                    </a:cubicBezTo>
                    <a:cubicBezTo>
                      <a:pt x="107" y="125"/>
                      <a:pt x="107" y="140"/>
                      <a:pt x="95" y="156"/>
                    </a:cubicBezTo>
                    <a:close/>
                    <a:moveTo>
                      <a:pt x="109" y="173"/>
                    </a:moveTo>
                    <a:cubicBezTo>
                      <a:pt x="108" y="172"/>
                      <a:pt x="108" y="172"/>
                      <a:pt x="107" y="171"/>
                    </a:cubicBezTo>
                    <a:cubicBezTo>
                      <a:pt x="109" y="164"/>
                      <a:pt x="112" y="158"/>
                      <a:pt x="114" y="150"/>
                    </a:cubicBezTo>
                    <a:cubicBezTo>
                      <a:pt x="117" y="155"/>
                      <a:pt x="119" y="159"/>
                      <a:pt x="122" y="164"/>
                    </a:cubicBezTo>
                    <a:cubicBezTo>
                      <a:pt x="117" y="167"/>
                      <a:pt x="113" y="170"/>
                      <a:pt x="109" y="173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6" name="Freeform 58"/>
              <p:cNvSpPr>
                <a:spLocks noEditPoints="1"/>
              </p:cNvSpPr>
              <p:nvPr/>
            </p:nvSpPr>
            <p:spPr bwMode="auto">
              <a:xfrm>
                <a:off x="10271126" y="1027113"/>
                <a:ext cx="563563" cy="355600"/>
              </a:xfrm>
              <a:custGeom>
                <a:avLst/>
                <a:gdLst>
                  <a:gd name="T0" fmla="*/ 246 w 263"/>
                  <a:gd name="T1" fmla="*/ 129 h 166"/>
                  <a:gd name="T2" fmla="*/ 209 w 263"/>
                  <a:gd name="T3" fmla="*/ 79 h 166"/>
                  <a:gd name="T4" fmla="*/ 149 w 263"/>
                  <a:gd name="T5" fmla="*/ 29 h 166"/>
                  <a:gd name="T6" fmla="*/ 95 w 263"/>
                  <a:gd name="T7" fmla="*/ 26 h 166"/>
                  <a:gd name="T8" fmla="*/ 77 w 263"/>
                  <a:gd name="T9" fmla="*/ 24 h 166"/>
                  <a:gd name="T10" fmla="*/ 72 w 263"/>
                  <a:gd name="T11" fmla="*/ 17 h 166"/>
                  <a:gd name="T12" fmla="*/ 34 w 263"/>
                  <a:gd name="T13" fmla="*/ 4 h 166"/>
                  <a:gd name="T14" fmla="*/ 0 w 263"/>
                  <a:gd name="T15" fmla="*/ 51 h 166"/>
                  <a:gd name="T16" fmla="*/ 9 w 263"/>
                  <a:gd name="T17" fmla="*/ 71 h 166"/>
                  <a:gd name="T18" fmla="*/ 29 w 263"/>
                  <a:gd name="T19" fmla="*/ 94 h 166"/>
                  <a:gd name="T20" fmla="*/ 69 w 263"/>
                  <a:gd name="T21" fmla="*/ 147 h 166"/>
                  <a:gd name="T22" fmla="*/ 72 w 263"/>
                  <a:gd name="T23" fmla="*/ 151 h 166"/>
                  <a:gd name="T24" fmla="*/ 51 w 263"/>
                  <a:gd name="T25" fmla="*/ 156 h 166"/>
                  <a:gd name="T26" fmla="*/ 32 w 263"/>
                  <a:gd name="T27" fmla="*/ 166 h 166"/>
                  <a:gd name="T28" fmla="*/ 263 w 263"/>
                  <a:gd name="T29" fmla="*/ 166 h 166"/>
                  <a:gd name="T30" fmla="*/ 246 w 263"/>
                  <a:gd name="T31" fmla="*/ 129 h 166"/>
                  <a:gd name="T32" fmla="*/ 80 w 263"/>
                  <a:gd name="T33" fmla="*/ 126 h 166"/>
                  <a:gd name="T34" fmla="*/ 44 w 263"/>
                  <a:gd name="T35" fmla="*/ 96 h 166"/>
                  <a:gd name="T36" fmla="*/ 42 w 263"/>
                  <a:gd name="T37" fmla="*/ 79 h 166"/>
                  <a:gd name="T38" fmla="*/ 47 w 263"/>
                  <a:gd name="T39" fmla="*/ 83 h 166"/>
                  <a:gd name="T40" fmla="*/ 55 w 263"/>
                  <a:gd name="T41" fmla="*/ 84 h 166"/>
                  <a:gd name="T42" fmla="*/ 69 w 263"/>
                  <a:gd name="T43" fmla="*/ 84 h 166"/>
                  <a:gd name="T44" fmla="*/ 79 w 263"/>
                  <a:gd name="T45" fmla="*/ 74 h 166"/>
                  <a:gd name="T46" fmla="*/ 80 w 263"/>
                  <a:gd name="T47" fmla="*/ 72 h 166"/>
                  <a:gd name="T48" fmla="*/ 80 w 263"/>
                  <a:gd name="T49" fmla="*/ 126 h 166"/>
                  <a:gd name="T50" fmla="*/ 162 w 263"/>
                  <a:gd name="T51" fmla="*/ 150 h 166"/>
                  <a:gd name="T52" fmla="*/ 133 w 263"/>
                  <a:gd name="T53" fmla="*/ 150 h 166"/>
                  <a:gd name="T54" fmla="*/ 137 w 263"/>
                  <a:gd name="T55" fmla="*/ 125 h 166"/>
                  <a:gd name="T56" fmla="*/ 140 w 263"/>
                  <a:gd name="T57" fmla="*/ 124 h 166"/>
                  <a:gd name="T58" fmla="*/ 164 w 263"/>
                  <a:gd name="T59" fmla="*/ 148 h 166"/>
                  <a:gd name="T60" fmla="*/ 162 w 263"/>
                  <a:gd name="T61" fmla="*/ 15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63" h="166">
                    <a:moveTo>
                      <a:pt x="246" y="129"/>
                    </a:moveTo>
                    <a:cubicBezTo>
                      <a:pt x="236" y="111"/>
                      <a:pt x="222" y="95"/>
                      <a:pt x="209" y="79"/>
                    </a:cubicBezTo>
                    <a:cubicBezTo>
                      <a:pt x="192" y="58"/>
                      <a:pt x="172" y="41"/>
                      <a:pt x="149" y="29"/>
                    </a:cubicBezTo>
                    <a:cubicBezTo>
                      <a:pt x="132" y="20"/>
                      <a:pt x="113" y="18"/>
                      <a:pt x="95" y="26"/>
                    </a:cubicBezTo>
                    <a:cubicBezTo>
                      <a:pt x="86" y="31"/>
                      <a:pt x="84" y="31"/>
                      <a:pt x="77" y="24"/>
                    </a:cubicBezTo>
                    <a:cubicBezTo>
                      <a:pt x="76" y="22"/>
                      <a:pt x="74" y="19"/>
                      <a:pt x="72" y="17"/>
                    </a:cubicBezTo>
                    <a:cubicBezTo>
                      <a:pt x="62" y="6"/>
                      <a:pt x="49" y="0"/>
                      <a:pt x="34" y="4"/>
                    </a:cubicBezTo>
                    <a:cubicBezTo>
                      <a:pt x="16" y="7"/>
                      <a:pt x="0" y="28"/>
                      <a:pt x="0" y="51"/>
                    </a:cubicBezTo>
                    <a:cubicBezTo>
                      <a:pt x="0" y="59"/>
                      <a:pt x="3" y="67"/>
                      <a:pt x="9" y="71"/>
                    </a:cubicBezTo>
                    <a:cubicBezTo>
                      <a:pt x="18" y="77"/>
                      <a:pt x="23" y="86"/>
                      <a:pt x="29" y="94"/>
                    </a:cubicBezTo>
                    <a:cubicBezTo>
                      <a:pt x="42" y="112"/>
                      <a:pt x="56" y="129"/>
                      <a:pt x="69" y="147"/>
                    </a:cubicBezTo>
                    <a:cubicBezTo>
                      <a:pt x="70" y="148"/>
                      <a:pt x="71" y="149"/>
                      <a:pt x="72" y="151"/>
                    </a:cubicBezTo>
                    <a:cubicBezTo>
                      <a:pt x="65" y="153"/>
                      <a:pt x="58" y="155"/>
                      <a:pt x="51" y="156"/>
                    </a:cubicBezTo>
                    <a:cubicBezTo>
                      <a:pt x="43" y="157"/>
                      <a:pt x="37" y="161"/>
                      <a:pt x="32" y="166"/>
                    </a:cubicBezTo>
                    <a:cubicBezTo>
                      <a:pt x="263" y="166"/>
                      <a:pt x="263" y="166"/>
                      <a:pt x="263" y="166"/>
                    </a:cubicBezTo>
                    <a:cubicBezTo>
                      <a:pt x="261" y="152"/>
                      <a:pt x="253" y="141"/>
                      <a:pt x="246" y="129"/>
                    </a:cubicBezTo>
                    <a:close/>
                    <a:moveTo>
                      <a:pt x="80" y="126"/>
                    </a:moveTo>
                    <a:cubicBezTo>
                      <a:pt x="67" y="115"/>
                      <a:pt x="55" y="106"/>
                      <a:pt x="44" y="96"/>
                    </a:cubicBezTo>
                    <a:cubicBezTo>
                      <a:pt x="40" y="92"/>
                      <a:pt x="39" y="85"/>
                      <a:pt x="42" y="79"/>
                    </a:cubicBezTo>
                    <a:cubicBezTo>
                      <a:pt x="44" y="80"/>
                      <a:pt x="46" y="81"/>
                      <a:pt x="47" y="83"/>
                    </a:cubicBezTo>
                    <a:cubicBezTo>
                      <a:pt x="49" y="85"/>
                      <a:pt x="51" y="86"/>
                      <a:pt x="55" y="84"/>
                    </a:cubicBezTo>
                    <a:cubicBezTo>
                      <a:pt x="59" y="83"/>
                      <a:pt x="64" y="83"/>
                      <a:pt x="69" y="84"/>
                    </a:cubicBezTo>
                    <a:cubicBezTo>
                      <a:pt x="77" y="85"/>
                      <a:pt x="80" y="81"/>
                      <a:pt x="79" y="74"/>
                    </a:cubicBezTo>
                    <a:cubicBezTo>
                      <a:pt x="79" y="73"/>
                      <a:pt x="80" y="72"/>
                      <a:pt x="80" y="72"/>
                    </a:cubicBezTo>
                    <a:cubicBezTo>
                      <a:pt x="80" y="89"/>
                      <a:pt x="80" y="106"/>
                      <a:pt x="80" y="126"/>
                    </a:cubicBezTo>
                    <a:close/>
                    <a:moveTo>
                      <a:pt x="162" y="150"/>
                    </a:moveTo>
                    <a:cubicBezTo>
                      <a:pt x="153" y="150"/>
                      <a:pt x="143" y="150"/>
                      <a:pt x="133" y="150"/>
                    </a:cubicBezTo>
                    <a:cubicBezTo>
                      <a:pt x="134" y="142"/>
                      <a:pt x="136" y="133"/>
                      <a:pt x="137" y="125"/>
                    </a:cubicBezTo>
                    <a:cubicBezTo>
                      <a:pt x="138" y="125"/>
                      <a:pt x="139" y="124"/>
                      <a:pt x="140" y="124"/>
                    </a:cubicBezTo>
                    <a:cubicBezTo>
                      <a:pt x="148" y="132"/>
                      <a:pt x="156" y="140"/>
                      <a:pt x="164" y="148"/>
                    </a:cubicBezTo>
                    <a:cubicBezTo>
                      <a:pt x="163" y="148"/>
                      <a:pt x="163" y="149"/>
                      <a:pt x="162" y="15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7" name="Freeform 59"/>
              <p:cNvSpPr>
                <a:spLocks/>
              </p:cNvSpPr>
              <p:nvPr/>
            </p:nvSpPr>
            <p:spPr bwMode="auto">
              <a:xfrm>
                <a:off x="10860088" y="1065213"/>
                <a:ext cx="92075" cy="317500"/>
              </a:xfrm>
              <a:custGeom>
                <a:avLst/>
                <a:gdLst>
                  <a:gd name="T0" fmla="*/ 43 w 43"/>
                  <a:gd name="T1" fmla="*/ 9 h 148"/>
                  <a:gd name="T2" fmla="*/ 38 w 43"/>
                  <a:gd name="T3" fmla="*/ 1 h 148"/>
                  <a:gd name="T4" fmla="*/ 30 w 43"/>
                  <a:gd name="T5" fmla="*/ 6 h 148"/>
                  <a:gd name="T6" fmla="*/ 26 w 43"/>
                  <a:gd name="T7" fmla="*/ 16 h 148"/>
                  <a:gd name="T8" fmla="*/ 2 w 43"/>
                  <a:gd name="T9" fmla="*/ 133 h 148"/>
                  <a:gd name="T10" fmla="*/ 0 w 43"/>
                  <a:gd name="T11" fmla="*/ 148 h 148"/>
                  <a:gd name="T12" fmla="*/ 27 w 43"/>
                  <a:gd name="T13" fmla="*/ 148 h 148"/>
                  <a:gd name="T14" fmla="*/ 36 w 43"/>
                  <a:gd name="T15" fmla="*/ 79 h 148"/>
                  <a:gd name="T16" fmla="*/ 43 w 43"/>
                  <a:gd name="T17" fmla="*/ 9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" h="148">
                    <a:moveTo>
                      <a:pt x="43" y="9"/>
                    </a:moveTo>
                    <a:cubicBezTo>
                      <a:pt x="43" y="4"/>
                      <a:pt x="41" y="2"/>
                      <a:pt x="38" y="1"/>
                    </a:cubicBezTo>
                    <a:cubicBezTo>
                      <a:pt x="33" y="0"/>
                      <a:pt x="31" y="2"/>
                      <a:pt x="30" y="6"/>
                    </a:cubicBezTo>
                    <a:cubicBezTo>
                      <a:pt x="28" y="9"/>
                      <a:pt x="27" y="13"/>
                      <a:pt x="26" y="16"/>
                    </a:cubicBezTo>
                    <a:cubicBezTo>
                      <a:pt x="18" y="55"/>
                      <a:pt x="10" y="94"/>
                      <a:pt x="2" y="133"/>
                    </a:cubicBezTo>
                    <a:cubicBezTo>
                      <a:pt x="1" y="138"/>
                      <a:pt x="1" y="143"/>
                      <a:pt x="0" y="148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30" y="125"/>
                      <a:pt x="33" y="102"/>
                      <a:pt x="36" y="79"/>
                    </a:cubicBezTo>
                    <a:cubicBezTo>
                      <a:pt x="39" y="55"/>
                      <a:pt x="41" y="32"/>
                      <a:pt x="43" y="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812800" y="2843165"/>
            <a:ext cx="573024" cy="573024"/>
            <a:chOff x="634487" y="1559463"/>
            <a:chExt cx="429768" cy="429768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6D847917-0115-8A4A-B479-A30D49D76E85}"/>
                </a:ext>
              </a:extLst>
            </p:cNvPr>
            <p:cNvSpPr/>
            <p:nvPr/>
          </p:nvSpPr>
          <p:spPr>
            <a:xfrm>
              <a:off x="634487" y="1559463"/>
              <a:ext cx="429768" cy="429768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10" name="Picture 109"/>
            <p:cNvPicPr>
              <a:picLocks noChangeAspect="1"/>
            </p:cNvPicPr>
            <p:nvPr/>
          </p:nvPicPr>
          <p:blipFill>
            <a:blip r:embed="rId10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25130" y="1642798"/>
              <a:ext cx="243548" cy="243548"/>
            </a:xfrm>
            <a:prstGeom prst="rect">
              <a:avLst/>
            </a:prstGeom>
          </p:spPr>
        </p:pic>
      </p:grpSp>
      <p:sp>
        <p:nvSpPr>
          <p:cNvPr id="79" name="TextBox 78"/>
          <p:cNvSpPr txBox="1"/>
          <p:nvPr/>
        </p:nvSpPr>
        <p:spPr>
          <a:xfrm>
            <a:off x="582072" y="6166247"/>
            <a:ext cx="68347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HS, hidradenitis suppurativa</a:t>
            </a:r>
          </a:p>
          <a:p>
            <a:r>
              <a:rPr lang="fr-FR" sz="800" dirty="0"/>
              <a:t>1. </a:t>
            </a:r>
            <a:r>
              <a:rPr lang="en-US" sz="800" dirty="0">
                <a:hlinkClick r:id="rId12"/>
              </a:rPr>
              <a:t>Huilaja L, et al. </a:t>
            </a:r>
            <a:r>
              <a:rPr lang="en-US" sz="800" i="1" dirty="0">
                <a:hlinkClick r:id="rId12"/>
              </a:rPr>
              <a:t>J Invest Dermatol</a:t>
            </a:r>
            <a:r>
              <a:rPr lang="en-US" sz="800" dirty="0">
                <a:hlinkClick r:id="rId12"/>
              </a:rPr>
              <a:t>. 2018;138(1):46-51</a:t>
            </a:r>
            <a:r>
              <a:rPr lang="en-US" sz="800" dirty="0"/>
              <a:t>; 2. </a:t>
            </a:r>
            <a:r>
              <a:rPr lang="en-US" sz="800" dirty="0">
                <a:hlinkClick r:id="rId13"/>
              </a:rPr>
              <a:t>Shavit E, et al. </a:t>
            </a:r>
            <a:r>
              <a:rPr lang="en-US" sz="800" i="1" dirty="0">
                <a:hlinkClick r:id="rId13"/>
              </a:rPr>
              <a:t>J Eur Acad Dermatol Venereol</a:t>
            </a:r>
            <a:r>
              <a:rPr lang="en-US" sz="800" dirty="0">
                <a:hlinkClick r:id="rId13"/>
              </a:rPr>
              <a:t>. 2015;29:371-376</a:t>
            </a:r>
            <a:r>
              <a:rPr lang="en-US" sz="800" dirty="0"/>
              <a:t>; 3. </a:t>
            </a:r>
            <a:r>
              <a:rPr lang="en-US" sz="800" dirty="0">
                <a:hlinkClick r:id="rId14"/>
              </a:rPr>
              <a:t>Vazquez BG, et al. </a:t>
            </a:r>
            <a:r>
              <a:rPr lang="en-US" sz="800" i="1" dirty="0">
                <a:hlinkClick r:id="rId14"/>
              </a:rPr>
              <a:t>J Invest Dermatol. </a:t>
            </a:r>
            <a:r>
              <a:rPr lang="en-US" sz="800" dirty="0">
                <a:hlinkClick r:id="rId14"/>
              </a:rPr>
              <a:t>2013;133(1):97-103</a:t>
            </a:r>
            <a:r>
              <a:rPr lang="en-US" sz="800" dirty="0"/>
              <a:t>; 4. </a:t>
            </a:r>
            <a:r>
              <a:rPr lang="pt-BR" sz="800" dirty="0" err="1">
                <a:hlinkClick r:id="rId15"/>
              </a:rPr>
              <a:t>Garg </a:t>
            </a:r>
            <a:r>
              <a:rPr lang="pt-BR" sz="800" dirty="0">
                <a:hlinkClick r:id="rId15"/>
              </a:rPr>
              <a:t>A, et al. </a:t>
            </a:r>
            <a:r>
              <a:rPr lang="pt-BR" sz="800" i="1" dirty="0">
                <a:hlinkClick r:id="rId15"/>
              </a:rPr>
              <a:t>J </a:t>
            </a:r>
            <a:r>
              <a:rPr lang="pt-BR" sz="800" i="1" dirty="0" err="1">
                <a:hlinkClick r:id="rId15"/>
              </a:rPr>
              <a:t>Am Acad Dermatol</a:t>
            </a:r>
            <a:r>
              <a:rPr lang="pt-BR" sz="800" dirty="0">
                <a:hlinkClick r:id="rId15"/>
              </a:rPr>
              <a:t>. 2018;79(3):495-500</a:t>
            </a:r>
            <a:r>
              <a:rPr lang="pt-BR" sz="800" dirty="0"/>
              <a:t>; 5. </a:t>
            </a:r>
            <a:r>
              <a:rPr lang="en-US" sz="800" dirty="0">
                <a:hlinkClick r:id="rId16"/>
              </a:rPr>
              <a:t>Thorlacius L, et al. </a:t>
            </a:r>
            <a:r>
              <a:rPr lang="en-US" sz="800" i="1" dirty="0">
                <a:hlinkClick r:id="rId16"/>
              </a:rPr>
              <a:t>J Invest Dermatol</a:t>
            </a:r>
            <a:r>
              <a:rPr lang="en-US" sz="800" dirty="0">
                <a:hlinkClick r:id="rId16"/>
              </a:rPr>
              <a:t>. 2018;138(1):52-57</a:t>
            </a:r>
            <a:r>
              <a:rPr lang="en-US" sz="800" dirty="0"/>
              <a:t>.</a:t>
            </a:r>
          </a:p>
        </p:txBody>
      </p:sp>
      <p:sp>
        <p:nvSpPr>
          <p:cNvPr id="74" name="Rectangle 73">
            <a:hlinkClick r:id="rId17" action="ppaction://hlinksldjump"/>
          </p:cNvPr>
          <p:cNvSpPr/>
          <p:nvPr/>
        </p:nvSpPr>
        <p:spPr>
          <a:xfrm>
            <a:off x="11593301" y="1"/>
            <a:ext cx="598699" cy="651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75" name="Slide Number Placeholder 4">
            <a:extLst>
              <a:ext uri="{FF2B5EF4-FFF2-40B4-BE49-F238E27FC236}">
                <a16:creationId xmlns:a16="http://schemas.microsoft.com/office/drawing/2014/main" id="{B68A0BFC-B294-4504-ABFE-24CDE0A4C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20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025363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95"/>
          <p:cNvSpPr/>
          <p:nvPr/>
        </p:nvSpPr>
        <p:spPr>
          <a:xfrm>
            <a:off x="842572" y="1074379"/>
            <a:ext cx="10599957" cy="61555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tIns="121920" rIns="121920" bIns="121920">
            <a:spAutoFit/>
          </a:bodyPr>
          <a:lstStyle/>
          <a:p>
            <a:pPr algn="ctr"/>
            <a:r>
              <a:rPr lang="en-US" sz="2400" b="1" dirty="0">
                <a:solidFill>
                  <a:srgbClr val="0460A9"/>
                </a:solidFill>
              </a:rPr>
              <a:t>U pacientů s HS existuje </a:t>
            </a:r>
            <a:r>
              <a:rPr lang="en-US" sz="2400" b="1" dirty="0">
                <a:solidFill>
                  <a:srgbClr val="2568B9"/>
                </a:solidFill>
              </a:rPr>
              <a:t>zvýšené </a:t>
            </a:r>
            <a:r>
              <a:rPr lang="en-US" sz="2400" b="1" dirty="0">
                <a:solidFill>
                  <a:srgbClr val="0460A9"/>
                </a:solidFill>
              </a:rPr>
              <a:t>riziko endokrinních komorbidit.</a:t>
            </a:r>
            <a:r>
              <a:rPr lang="en-US" sz="2400" b="1" baseline="30000" dirty="0">
                <a:solidFill>
                  <a:srgbClr val="0460A9"/>
                </a:solidFill>
              </a:rPr>
              <a:t>1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74847" y="88366"/>
            <a:ext cx="667725" cy="595836"/>
            <a:chOff x="2942087" y="1851188"/>
            <a:chExt cx="1066800" cy="990600"/>
          </a:xfrm>
        </p:grpSpPr>
        <p:sp>
          <p:nvSpPr>
            <p:cNvPr id="50" name="Oval 49"/>
            <p:cNvSpPr/>
            <p:nvPr/>
          </p:nvSpPr>
          <p:spPr>
            <a:xfrm>
              <a:off x="2942087" y="1851188"/>
              <a:ext cx="1066800" cy="9906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  <a:reflection stA="45000" endPos="0" dist="508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51" name="Oval 50"/>
            <p:cNvSpPr/>
            <p:nvPr/>
          </p:nvSpPr>
          <p:spPr>
            <a:xfrm>
              <a:off x="3431488" y="2333535"/>
              <a:ext cx="27432" cy="274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13536" y="2334422"/>
              <a:ext cx="8313" cy="8313"/>
            </a:xfrm>
            <a:prstGeom prst="ellipse">
              <a:avLst/>
            </a:prstGeom>
            <a:solidFill>
              <a:schemeClr val="bg1"/>
            </a:solidFill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07959" y="2275246"/>
              <a:ext cx="54864" cy="54864"/>
            </a:xfrm>
            <a:prstGeom prst="ellipse">
              <a:avLst/>
            </a:prstGeom>
            <a:solidFill>
              <a:schemeClr val="bg1"/>
            </a:solidFill>
          </p:spPr>
        </p:pic>
      </p:grpSp>
      <p:grpSp>
        <p:nvGrpSpPr>
          <p:cNvPr id="54" name="Group 53"/>
          <p:cNvGrpSpPr/>
          <p:nvPr/>
        </p:nvGrpSpPr>
        <p:grpSpPr>
          <a:xfrm>
            <a:off x="285959" y="170929"/>
            <a:ext cx="423484" cy="434487"/>
            <a:chOff x="3059641" y="1714790"/>
            <a:chExt cx="842159" cy="838631"/>
          </a:xfrm>
        </p:grpSpPr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3367176" y="2144320"/>
              <a:ext cx="225423" cy="409101"/>
            </a:xfrm>
            <a:custGeom>
              <a:avLst/>
              <a:gdLst>
                <a:gd name="T0" fmla="*/ 31 w 135"/>
                <a:gd name="T1" fmla="*/ 136 h 245"/>
                <a:gd name="T2" fmla="*/ 31 w 135"/>
                <a:gd name="T3" fmla="*/ 43 h 245"/>
                <a:gd name="T4" fmla="*/ 31 w 135"/>
                <a:gd name="T5" fmla="*/ 40 h 245"/>
                <a:gd name="T6" fmla="*/ 28 w 135"/>
                <a:gd name="T7" fmla="*/ 37 h 245"/>
                <a:gd name="T8" fmla="*/ 25 w 135"/>
                <a:gd name="T9" fmla="*/ 40 h 245"/>
                <a:gd name="T10" fmla="*/ 25 w 135"/>
                <a:gd name="T11" fmla="*/ 45 h 245"/>
                <a:gd name="T12" fmla="*/ 25 w 135"/>
                <a:gd name="T13" fmla="*/ 116 h 245"/>
                <a:gd name="T14" fmla="*/ 21 w 135"/>
                <a:gd name="T15" fmla="*/ 126 h 245"/>
                <a:gd name="T16" fmla="*/ 8 w 135"/>
                <a:gd name="T17" fmla="*/ 129 h 245"/>
                <a:gd name="T18" fmla="*/ 0 w 135"/>
                <a:gd name="T19" fmla="*/ 118 h 245"/>
                <a:gd name="T20" fmla="*/ 0 w 135"/>
                <a:gd name="T21" fmla="*/ 33 h 245"/>
                <a:gd name="T22" fmla="*/ 33 w 135"/>
                <a:gd name="T23" fmla="*/ 0 h 245"/>
                <a:gd name="T24" fmla="*/ 102 w 135"/>
                <a:gd name="T25" fmla="*/ 0 h 245"/>
                <a:gd name="T26" fmla="*/ 134 w 135"/>
                <a:gd name="T27" fmla="*/ 34 h 245"/>
                <a:gd name="T28" fmla="*/ 134 w 135"/>
                <a:gd name="T29" fmla="*/ 117 h 245"/>
                <a:gd name="T30" fmla="*/ 122 w 135"/>
                <a:gd name="T31" fmla="*/ 129 h 245"/>
                <a:gd name="T32" fmla="*/ 110 w 135"/>
                <a:gd name="T33" fmla="*/ 117 h 245"/>
                <a:gd name="T34" fmla="*/ 110 w 135"/>
                <a:gd name="T35" fmla="*/ 53 h 245"/>
                <a:gd name="T36" fmla="*/ 110 w 135"/>
                <a:gd name="T37" fmla="*/ 41 h 245"/>
                <a:gd name="T38" fmla="*/ 107 w 135"/>
                <a:gd name="T39" fmla="*/ 37 h 245"/>
                <a:gd name="T40" fmla="*/ 104 w 135"/>
                <a:gd name="T41" fmla="*/ 41 h 245"/>
                <a:gd name="T42" fmla="*/ 104 w 135"/>
                <a:gd name="T43" fmla="*/ 143 h 245"/>
                <a:gd name="T44" fmla="*/ 104 w 135"/>
                <a:gd name="T45" fmla="*/ 230 h 245"/>
                <a:gd name="T46" fmla="*/ 89 w 135"/>
                <a:gd name="T47" fmla="*/ 245 h 245"/>
                <a:gd name="T48" fmla="*/ 73 w 135"/>
                <a:gd name="T49" fmla="*/ 230 h 245"/>
                <a:gd name="T50" fmla="*/ 73 w 135"/>
                <a:gd name="T51" fmla="*/ 139 h 245"/>
                <a:gd name="T52" fmla="*/ 73 w 135"/>
                <a:gd name="T53" fmla="*/ 135 h 245"/>
                <a:gd name="T54" fmla="*/ 67 w 135"/>
                <a:gd name="T55" fmla="*/ 128 h 245"/>
                <a:gd name="T56" fmla="*/ 61 w 135"/>
                <a:gd name="T57" fmla="*/ 135 h 245"/>
                <a:gd name="T58" fmla="*/ 61 w 135"/>
                <a:gd name="T59" fmla="*/ 168 h 245"/>
                <a:gd name="T60" fmla="*/ 61 w 135"/>
                <a:gd name="T61" fmla="*/ 229 h 245"/>
                <a:gd name="T62" fmla="*/ 46 w 135"/>
                <a:gd name="T63" fmla="*/ 245 h 245"/>
                <a:gd name="T64" fmla="*/ 31 w 135"/>
                <a:gd name="T65" fmla="*/ 229 h 245"/>
                <a:gd name="T66" fmla="*/ 31 w 135"/>
                <a:gd name="T67" fmla="*/ 13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5" h="245">
                  <a:moveTo>
                    <a:pt x="31" y="136"/>
                  </a:moveTo>
                  <a:cubicBezTo>
                    <a:pt x="31" y="105"/>
                    <a:pt x="31" y="74"/>
                    <a:pt x="31" y="43"/>
                  </a:cubicBezTo>
                  <a:cubicBezTo>
                    <a:pt x="31" y="42"/>
                    <a:pt x="31" y="41"/>
                    <a:pt x="31" y="40"/>
                  </a:cubicBezTo>
                  <a:cubicBezTo>
                    <a:pt x="30" y="39"/>
                    <a:pt x="29" y="37"/>
                    <a:pt x="28" y="37"/>
                  </a:cubicBezTo>
                  <a:cubicBezTo>
                    <a:pt x="27" y="37"/>
                    <a:pt x="25" y="39"/>
                    <a:pt x="25" y="40"/>
                  </a:cubicBezTo>
                  <a:cubicBezTo>
                    <a:pt x="24" y="42"/>
                    <a:pt x="25" y="43"/>
                    <a:pt x="25" y="45"/>
                  </a:cubicBezTo>
                  <a:cubicBezTo>
                    <a:pt x="25" y="69"/>
                    <a:pt x="24" y="92"/>
                    <a:pt x="25" y="116"/>
                  </a:cubicBezTo>
                  <a:cubicBezTo>
                    <a:pt x="25" y="120"/>
                    <a:pt x="24" y="123"/>
                    <a:pt x="21" y="126"/>
                  </a:cubicBezTo>
                  <a:cubicBezTo>
                    <a:pt x="17" y="130"/>
                    <a:pt x="13" y="130"/>
                    <a:pt x="8" y="129"/>
                  </a:cubicBezTo>
                  <a:cubicBezTo>
                    <a:pt x="3" y="127"/>
                    <a:pt x="0" y="123"/>
                    <a:pt x="0" y="118"/>
                  </a:cubicBezTo>
                  <a:cubicBezTo>
                    <a:pt x="0" y="89"/>
                    <a:pt x="0" y="61"/>
                    <a:pt x="0" y="33"/>
                  </a:cubicBezTo>
                  <a:cubicBezTo>
                    <a:pt x="0" y="16"/>
                    <a:pt x="16" y="1"/>
                    <a:pt x="33" y="0"/>
                  </a:cubicBezTo>
                  <a:cubicBezTo>
                    <a:pt x="56" y="0"/>
                    <a:pt x="79" y="0"/>
                    <a:pt x="102" y="0"/>
                  </a:cubicBezTo>
                  <a:cubicBezTo>
                    <a:pt x="119" y="1"/>
                    <a:pt x="134" y="16"/>
                    <a:pt x="134" y="34"/>
                  </a:cubicBezTo>
                  <a:cubicBezTo>
                    <a:pt x="135" y="62"/>
                    <a:pt x="135" y="89"/>
                    <a:pt x="134" y="117"/>
                  </a:cubicBezTo>
                  <a:cubicBezTo>
                    <a:pt x="134" y="124"/>
                    <a:pt x="129" y="129"/>
                    <a:pt x="122" y="129"/>
                  </a:cubicBezTo>
                  <a:cubicBezTo>
                    <a:pt x="116" y="129"/>
                    <a:pt x="110" y="124"/>
                    <a:pt x="110" y="117"/>
                  </a:cubicBezTo>
                  <a:cubicBezTo>
                    <a:pt x="110" y="96"/>
                    <a:pt x="110" y="74"/>
                    <a:pt x="110" y="53"/>
                  </a:cubicBezTo>
                  <a:cubicBezTo>
                    <a:pt x="110" y="49"/>
                    <a:pt x="110" y="45"/>
                    <a:pt x="110" y="41"/>
                  </a:cubicBezTo>
                  <a:cubicBezTo>
                    <a:pt x="110" y="39"/>
                    <a:pt x="110" y="37"/>
                    <a:pt x="107" y="37"/>
                  </a:cubicBezTo>
                  <a:cubicBezTo>
                    <a:pt x="104" y="37"/>
                    <a:pt x="104" y="39"/>
                    <a:pt x="104" y="41"/>
                  </a:cubicBezTo>
                  <a:cubicBezTo>
                    <a:pt x="104" y="75"/>
                    <a:pt x="104" y="109"/>
                    <a:pt x="104" y="143"/>
                  </a:cubicBezTo>
                  <a:cubicBezTo>
                    <a:pt x="104" y="172"/>
                    <a:pt x="104" y="201"/>
                    <a:pt x="104" y="230"/>
                  </a:cubicBezTo>
                  <a:cubicBezTo>
                    <a:pt x="104" y="238"/>
                    <a:pt x="97" y="245"/>
                    <a:pt x="89" y="245"/>
                  </a:cubicBezTo>
                  <a:cubicBezTo>
                    <a:pt x="80" y="245"/>
                    <a:pt x="73" y="238"/>
                    <a:pt x="73" y="230"/>
                  </a:cubicBezTo>
                  <a:cubicBezTo>
                    <a:pt x="73" y="199"/>
                    <a:pt x="73" y="169"/>
                    <a:pt x="73" y="139"/>
                  </a:cubicBezTo>
                  <a:cubicBezTo>
                    <a:pt x="73" y="137"/>
                    <a:pt x="73" y="136"/>
                    <a:pt x="73" y="135"/>
                  </a:cubicBezTo>
                  <a:cubicBezTo>
                    <a:pt x="73" y="131"/>
                    <a:pt x="71" y="128"/>
                    <a:pt x="67" y="128"/>
                  </a:cubicBezTo>
                  <a:cubicBezTo>
                    <a:pt x="64" y="128"/>
                    <a:pt x="61" y="131"/>
                    <a:pt x="61" y="135"/>
                  </a:cubicBezTo>
                  <a:cubicBezTo>
                    <a:pt x="61" y="146"/>
                    <a:pt x="61" y="157"/>
                    <a:pt x="61" y="168"/>
                  </a:cubicBezTo>
                  <a:cubicBezTo>
                    <a:pt x="61" y="188"/>
                    <a:pt x="61" y="209"/>
                    <a:pt x="61" y="229"/>
                  </a:cubicBezTo>
                  <a:cubicBezTo>
                    <a:pt x="61" y="238"/>
                    <a:pt x="55" y="245"/>
                    <a:pt x="46" y="245"/>
                  </a:cubicBezTo>
                  <a:cubicBezTo>
                    <a:pt x="37" y="245"/>
                    <a:pt x="31" y="238"/>
                    <a:pt x="31" y="229"/>
                  </a:cubicBezTo>
                  <a:cubicBezTo>
                    <a:pt x="31" y="198"/>
                    <a:pt x="31" y="167"/>
                    <a:pt x="31" y="136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3438094" y="2038350"/>
              <a:ext cx="81105" cy="82297"/>
            </a:xfrm>
            <a:custGeom>
              <a:avLst/>
              <a:gdLst>
                <a:gd name="T0" fmla="*/ 49 w 49"/>
                <a:gd name="T1" fmla="*/ 25 h 49"/>
                <a:gd name="T2" fmla="*/ 24 w 49"/>
                <a:gd name="T3" fmla="*/ 49 h 49"/>
                <a:gd name="T4" fmla="*/ 0 w 49"/>
                <a:gd name="T5" fmla="*/ 24 h 49"/>
                <a:gd name="T6" fmla="*/ 25 w 49"/>
                <a:gd name="T7" fmla="*/ 0 h 49"/>
                <a:gd name="T8" fmla="*/ 49 w 49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25"/>
                  </a:moveTo>
                  <a:cubicBezTo>
                    <a:pt x="49" y="38"/>
                    <a:pt x="38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57" name="Graphic 62" descr="Network">
              <a:extLst>
                <a:ext uri="{FF2B5EF4-FFF2-40B4-BE49-F238E27FC236}">
                  <a16:creationId xmlns:a16="http://schemas.microsoft.com/office/drawing/2014/main" id="{2B168095-83EF-417A-AA54-9CC537B5F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7130" y="2167078"/>
              <a:ext cx="134346" cy="134346"/>
            </a:xfrm>
            <a:prstGeom prst="rect">
              <a:avLst/>
            </a:prstGeom>
          </p:spPr>
        </p:pic>
        <p:grpSp>
          <p:nvGrpSpPr>
            <p:cNvPr id="58" name="Group 57"/>
            <p:cNvGrpSpPr/>
            <p:nvPr/>
          </p:nvGrpSpPr>
          <p:grpSpPr>
            <a:xfrm>
              <a:off x="3080859" y="1849909"/>
              <a:ext cx="240001" cy="251310"/>
              <a:chOff x="3037091" y="1854615"/>
              <a:chExt cx="240001" cy="251310"/>
            </a:xfrm>
          </p:grpSpPr>
          <p:grpSp>
            <p:nvGrpSpPr>
              <p:cNvPr id="72" name="Graphic 226">
                <a:extLst>
                  <a:ext uri="{FF2B5EF4-FFF2-40B4-BE49-F238E27FC236}">
                    <a16:creationId xmlns:a16="http://schemas.microsoft.com/office/drawing/2014/main" id="{526FC5E6-4062-BF4C-8C4B-E04DFD843677}"/>
                  </a:ext>
                </a:extLst>
              </p:cNvPr>
              <p:cNvGrpSpPr/>
              <p:nvPr/>
            </p:nvGrpSpPr>
            <p:grpSpPr>
              <a:xfrm>
                <a:off x="3086322" y="1870054"/>
                <a:ext cx="132975" cy="211020"/>
                <a:chOff x="5919787" y="3124200"/>
                <a:chExt cx="352425" cy="609600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81" name="Freeform: Shape 228">
                  <a:extLst>
                    <a:ext uri="{FF2B5EF4-FFF2-40B4-BE49-F238E27FC236}">
                      <a16:creationId xmlns:a16="http://schemas.microsoft.com/office/drawing/2014/main" id="{AD78A312-3E01-E046-A249-F6F83622510A}"/>
                    </a:ext>
                  </a:extLst>
                </p:cNvPr>
                <p:cNvSpPr/>
                <p:nvPr/>
              </p:nvSpPr>
              <p:spPr>
                <a:xfrm>
                  <a:off x="5912639" y="3245442"/>
                  <a:ext cx="361950" cy="485775"/>
                </a:xfrm>
                <a:custGeom>
                  <a:avLst/>
                  <a:gdLst>
                    <a:gd name="connsiteX0" fmla="*/ 196124 w 361950"/>
                    <a:gd name="connsiteY0" fmla="*/ 270616 h 485775"/>
                    <a:gd name="connsiteX1" fmla="*/ 185170 w 361950"/>
                    <a:gd name="connsiteY1" fmla="*/ 270616 h 485775"/>
                    <a:gd name="connsiteX2" fmla="*/ 184599 w 361950"/>
                    <a:gd name="connsiteY2" fmla="*/ 277569 h 485775"/>
                    <a:gd name="connsiteX3" fmla="*/ 184504 w 361950"/>
                    <a:gd name="connsiteY3" fmla="*/ 453496 h 485775"/>
                    <a:gd name="connsiteX4" fmla="*/ 157929 w 361950"/>
                    <a:gd name="connsiteY4" fmla="*/ 485310 h 485775"/>
                    <a:gd name="connsiteX5" fmla="*/ 131354 w 361950"/>
                    <a:gd name="connsiteY5" fmla="*/ 462259 h 485775"/>
                    <a:gd name="connsiteX6" fmla="*/ 111637 w 361950"/>
                    <a:gd name="connsiteY6" fmla="*/ 345387 h 485775"/>
                    <a:gd name="connsiteX7" fmla="*/ 87730 w 361950"/>
                    <a:gd name="connsiteY7" fmla="*/ 203751 h 485775"/>
                    <a:gd name="connsiteX8" fmla="*/ 74395 w 361950"/>
                    <a:gd name="connsiteY8" fmla="*/ 162793 h 485775"/>
                    <a:gd name="connsiteX9" fmla="*/ 57726 w 361950"/>
                    <a:gd name="connsiteY9" fmla="*/ 195654 h 485775"/>
                    <a:gd name="connsiteX10" fmla="*/ 21531 w 361950"/>
                    <a:gd name="connsiteY10" fmla="*/ 207084 h 485775"/>
                    <a:gd name="connsiteX11" fmla="*/ 10768 w 361950"/>
                    <a:gd name="connsiteY11" fmla="*/ 171461 h 485775"/>
                    <a:gd name="connsiteX12" fmla="*/ 74299 w 361950"/>
                    <a:gd name="connsiteY12" fmla="*/ 49065 h 485775"/>
                    <a:gd name="connsiteX13" fmla="*/ 142022 w 361950"/>
                    <a:gd name="connsiteY13" fmla="*/ 7250 h 485775"/>
                    <a:gd name="connsiteX14" fmla="*/ 234605 w 361950"/>
                    <a:gd name="connsiteY14" fmla="*/ 7155 h 485775"/>
                    <a:gd name="connsiteX15" fmla="*/ 292136 w 361950"/>
                    <a:gd name="connsiteY15" fmla="*/ 37730 h 485775"/>
                    <a:gd name="connsiteX16" fmla="*/ 333665 w 361950"/>
                    <a:gd name="connsiteY16" fmla="*/ 114978 h 485775"/>
                    <a:gd name="connsiteX17" fmla="*/ 358144 w 361950"/>
                    <a:gd name="connsiteY17" fmla="*/ 162603 h 485775"/>
                    <a:gd name="connsiteX18" fmla="*/ 362240 w 361950"/>
                    <a:gd name="connsiteY18" fmla="*/ 183367 h 485775"/>
                    <a:gd name="connsiteX19" fmla="*/ 342619 w 361950"/>
                    <a:gd name="connsiteY19" fmla="*/ 206799 h 485775"/>
                    <a:gd name="connsiteX20" fmla="*/ 316520 w 361950"/>
                    <a:gd name="connsiteY20" fmla="*/ 190892 h 485775"/>
                    <a:gd name="connsiteX21" fmla="*/ 301947 w 361950"/>
                    <a:gd name="connsiteY21" fmla="*/ 161269 h 485775"/>
                    <a:gd name="connsiteX22" fmla="*/ 301852 w 361950"/>
                    <a:gd name="connsiteY22" fmla="*/ 161174 h 485775"/>
                    <a:gd name="connsiteX23" fmla="*/ 287278 w 361950"/>
                    <a:gd name="connsiteY23" fmla="*/ 220896 h 485775"/>
                    <a:gd name="connsiteX24" fmla="*/ 248988 w 361950"/>
                    <a:gd name="connsiteY24" fmla="*/ 460640 h 485775"/>
                    <a:gd name="connsiteX25" fmla="*/ 221461 w 361950"/>
                    <a:gd name="connsiteY25" fmla="*/ 485214 h 485775"/>
                    <a:gd name="connsiteX26" fmla="*/ 196124 w 361950"/>
                    <a:gd name="connsiteY26" fmla="*/ 458449 h 485775"/>
                    <a:gd name="connsiteX27" fmla="*/ 196219 w 361950"/>
                    <a:gd name="connsiteY27" fmla="*/ 284808 h 485775"/>
                    <a:gd name="connsiteX28" fmla="*/ 196124 w 361950"/>
                    <a:gd name="connsiteY28" fmla="*/ 270616 h 485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61950" h="485775">
                      <a:moveTo>
                        <a:pt x="196124" y="270616"/>
                      </a:moveTo>
                      <a:cubicBezTo>
                        <a:pt x="191647" y="270616"/>
                        <a:pt x="188695" y="270616"/>
                        <a:pt x="185170" y="270616"/>
                      </a:cubicBezTo>
                      <a:cubicBezTo>
                        <a:pt x="184980" y="273188"/>
                        <a:pt x="184599" y="275379"/>
                        <a:pt x="184599" y="277569"/>
                      </a:cubicBezTo>
                      <a:cubicBezTo>
                        <a:pt x="184599" y="336243"/>
                        <a:pt x="184599" y="394917"/>
                        <a:pt x="184504" y="453496"/>
                      </a:cubicBezTo>
                      <a:cubicBezTo>
                        <a:pt x="184504" y="473308"/>
                        <a:pt x="174312" y="485119"/>
                        <a:pt x="157929" y="485310"/>
                      </a:cubicBezTo>
                      <a:cubicBezTo>
                        <a:pt x="143927" y="485405"/>
                        <a:pt x="133926" y="477309"/>
                        <a:pt x="131354" y="462259"/>
                      </a:cubicBezTo>
                      <a:cubicBezTo>
                        <a:pt x="124591" y="423302"/>
                        <a:pt x="118114" y="384345"/>
                        <a:pt x="111637" y="345387"/>
                      </a:cubicBezTo>
                      <a:cubicBezTo>
                        <a:pt x="103732" y="298143"/>
                        <a:pt x="96302" y="250804"/>
                        <a:pt x="87730" y="203751"/>
                      </a:cubicBezTo>
                      <a:cubicBezTo>
                        <a:pt x="85253" y="190035"/>
                        <a:pt x="79157" y="176890"/>
                        <a:pt x="74395" y="162793"/>
                      </a:cubicBezTo>
                      <a:cubicBezTo>
                        <a:pt x="68965" y="173652"/>
                        <a:pt x="63441" y="184701"/>
                        <a:pt x="57726" y="195654"/>
                      </a:cubicBezTo>
                      <a:cubicBezTo>
                        <a:pt x="49915" y="210704"/>
                        <a:pt x="36199" y="214990"/>
                        <a:pt x="21531" y="207084"/>
                      </a:cubicBezTo>
                      <a:cubicBezTo>
                        <a:pt x="7529" y="199560"/>
                        <a:pt x="3338" y="185748"/>
                        <a:pt x="10768" y="171461"/>
                      </a:cubicBezTo>
                      <a:cubicBezTo>
                        <a:pt x="31913" y="130694"/>
                        <a:pt x="53154" y="89927"/>
                        <a:pt x="74299" y="49065"/>
                      </a:cubicBezTo>
                      <a:cubicBezTo>
                        <a:pt x="88492" y="21537"/>
                        <a:pt x="110685" y="7155"/>
                        <a:pt x="142022" y="7250"/>
                      </a:cubicBezTo>
                      <a:cubicBezTo>
                        <a:pt x="172883" y="7440"/>
                        <a:pt x="203744" y="7631"/>
                        <a:pt x="234605" y="7155"/>
                      </a:cubicBezTo>
                      <a:cubicBezTo>
                        <a:pt x="259656" y="6774"/>
                        <a:pt x="279563" y="16489"/>
                        <a:pt x="292136" y="37730"/>
                      </a:cubicBezTo>
                      <a:cubicBezTo>
                        <a:pt x="306995" y="62876"/>
                        <a:pt x="319949" y="89165"/>
                        <a:pt x="333665" y="114978"/>
                      </a:cubicBezTo>
                      <a:cubicBezTo>
                        <a:pt x="342047" y="130789"/>
                        <a:pt x="350620" y="146410"/>
                        <a:pt x="358144" y="162603"/>
                      </a:cubicBezTo>
                      <a:cubicBezTo>
                        <a:pt x="361002" y="168889"/>
                        <a:pt x="362716" y="176509"/>
                        <a:pt x="362240" y="183367"/>
                      </a:cubicBezTo>
                      <a:cubicBezTo>
                        <a:pt x="361383" y="196702"/>
                        <a:pt x="353477" y="204989"/>
                        <a:pt x="342619" y="206799"/>
                      </a:cubicBezTo>
                      <a:cubicBezTo>
                        <a:pt x="331951" y="208704"/>
                        <a:pt x="322616" y="203084"/>
                        <a:pt x="316520" y="190892"/>
                      </a:cubicBezTo>
                      <a:cubicBezTo>
                        <a:pt x="311567" y="181081"/>
                        <a:pt x="306805" y="171175"/>
                        <a:pt x="301947" y="161269"/>
                      </a:cubicBezTo>
                      <a:cubicBezTo>
                        <a:pt x="301661" y="160793"/>
                        <a:pt x="300709" y="160602"/>
                        <a:pt x="301852" y="161174"/>
                      </a:cubicBezTo>
                      <a:cubicBezTo>
                        <a:pt x="296994" y="180795"/>
                        <a:pt x="290612" y="200607"/>
                        <a:pt x="287278" y="220896"/>
                      </a:cubicBezTo>
                      <a:cubicBezTo>
                        <a:pt x="274039" y="300715"/>
                        <a:pt x="261561" y="380725"/>
                        <a:pt x="248988" y="460640"/>
                      </a:cubicBezTo>
                      <a:cubicBezTo>
                        <a:pt x="246511" y="476451"/>
                        <a:pt x="236605" y="485691"/>
                        <a:pt x="221461" y="485214"/>
                      </a:cubicBezTo>
                      <a:cubicBezTo>
                        <a:pt x="206887" y="484833"/>
                        <a:pt x="196219" y="474356"/>
                        <a:pt x="196124" y="458449"/>
                      </a:cubicBezTo>
                      <a:cubicBezTo>
                        <a:pt x="195838" y="400537"/>
                        <a:pt x="196124" y="342720"/>
                        <a:pt x="196219" y="284808"/>
                      </a:cubicBezTo>
                      <a:cubicBezTo>
                        <a:pt x="196124" y="280427"/>
                        <a:pt x="196124" y="275950"/>
                        <a:pt x="196124" y="27061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82" name="Freeform: Shape 229">
                  <a:extLst>
                    <a:ext uri="{FF2B5EF4-FFF2-40B4-BE49-F238E27FC236}">
                      <a16:creationId xmlns:a16="http://schemas.microsoft.com/office/drawing/2014/main" id="{D75B5440-CA8A-2840-84C0-87C787CE1148}"/>
                    </a:ext>
                  </a:extLst>
                </p:cNvPr>
                <p:cNvSpPr/>
                <p:nvPr/>
              </p:nvSpPr>
              <p:spPr>
                <a:xfrm>
                  <a:off x="6047795" y="3117055"/>
                  <a:ext cx="104775" cy="104775"/>
                </a:xfrm>
                <a:custGeom>
                  <a:avLst/>
                  <a:gdLst>
                    <a:gd name="connsiteX0" fmla="*/ 54396 w 104775"/>
                    <a:gd name="connsiteY0" fmla="*/ 102300 h 104775"/>
                    <a:gd name="connsiteX1" fmla="*/ 7152 w 104775"/>
                    <a:gd name="connsiteY1" fmla="*/ 53913 h 104775"/>
                    <a:gd name="connsiteX2" fmla="*/ 54872 w 104775"/>
                    <a:gd name="connsiteY2" fmla="*/ 7145 h 104775"/>
                    <a:gd name="connsiteX3" fmla="*/ 102116 w 104775"/>
                    <a:gd name="connsiteY3" fmla="*/ 54389 h 104775"/>
                    <a:gd name="connsiteX4" fmla="*/ 54396 w 104775"/>
                    <a:gd name="connsiteY4" fmla="*/ 102300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775" h="104775">
                      <a:moveTo>
                        <a:pt x="54396" y="102300"/>
                      </a:moveTo>
                      <a:cubicBezTo>
                        <a:pt x="28011" y="102109"/>
                        <a:pt x="6675" y="80297"/>
                        <a:pt x="7152" y="53913"/>
                      </a:cubicBezTo>
                      <a:cubicBezTo>
                        <a:pt x="7723" y="27910"/>
                        <a:pt x="29059" y="6955"/>
                        <a:pt x="54872" y="7145"/>
                      </a:cubicBezTo>
                      <a:cubicBezTo>
                        <a:pt x="80780" y="7240"/>
                        <a:pt x="102021" y="28481"/>
                        <a:pt x="102116" y="54389"/>
                      </a:cubicBezTo>
                      <a:cubicBezTo>
                        <a:pt x="102211" y="80773"/>
                        <a:pt x="80685" y="102395"/>
                        <a:pt x="54396" y="102300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78" name="Oval 77"/>
              <p:cNvSpPr/>
              <p:nvPr/>
            </p:nvSpPr>
            <p:spPr>
              <a:xfrm>
                <a:off x="3037091" y="1854615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59" name="Freeform: Shape 158">
              <a:extLst>
                <a:ext uri="{FF2B5EF4-FFF2-40B4-BE49-F238E27FC236}">
                  <a16:creationId xmlns:a16="http://schemas.microsoft.com/office/drawing/2014/main" id="{8F6C0738-72C5-6A42-9776-24C72905AA14}"/>
                </a:ext>
              </a:extLst>
            </p:cNvPr>
            <p:cNvSpPr/>
            <p:nvPr/>
          </p:nvSpPr>
          <p:spPr>
            <a:xfrm>
              <a:off x="3672568" y="1891169"/>
              <a:ext cx="164805" cy="185143"/>
            </a:xfrm>
            <a:custGeom>
              <a:avLst/>
              <a:gdLst>
                <a:gd name="connsiteX0" fmla="*/ 441960 w 447675"/>
                <a:gd name="connsiteY0" fmla="*/ 233023 h 457200"/>
                <a:gd name="connsiteX1" fmla="*/ 433959 w 447675"/>
                <a:gd name="connsiteY1" fmla="*/ 201400 h 457200"/>
                <a:gd name="connsiteX2" fmla="*/ 445199 w 447675"/>
                <a:gd name="connsiteY2" fmla="*/ 171016 h 457200"/>
                <a:gd name="connsiteX3" fmla="*/ 445199 w 447675"/>
                <a:gd name="connsiteY3" fmla="*/ 170730 h 457200"/>
                <a:gd name="connsiteX4" fmla="*/ 434626 w 447675"/>
                <a:gd name="connsiteY4" fmla="*/ 140059 h 457200"/>
                <a:gd name="connsiteX5" fmla="*/ 443008 w 447675"/>
                <a:gd name="connsiteY5" fmla="*/ 108532 h 457200"/>
                <a:gd name="connsiteX6" fmla="*/ 442913 w 447675"/>
                <a:gd name="connsiteY6" fmla="*/ 107579 h 457200"/>
                <a:gd name="connsiteX7" fmla="*/ 427196 w 447675"/>
                <a:gd name="connsiteY7" fmla="*/ 76432 h 457200"/>
                <a:gd name="connsiteX8" fmla="*/ 428149 w 447675"/>
                <a:gd name="connsiteY8" fmla="*/ 37189 h 457200"/>
                <a:gd name="connsiteX9" fmla="*/ 427577 w 447675"/>
                <a:gd name="connsiteY9" fmla="*/ 35856 h 457200"/>
                <a:gd name="connsiteX10" fmla="*/ 365379 w 447675"/>
                <a:gd name="connsiteY10" fmla="*/ 11567 h 457200"/>
                <a:gd name="connsiteX11" fmla="*/ 361474 w 447675"/>
                <a:gd name="connsiteY11" fmla="*/ 13472 h 457200"/>
                <a:gd name="connsiteX12" fmla="*/ 306991 w 447675"/>
                <a:gd name="connsiteY12" fmla="*/ 18425 h 457200"/>
                <a:gd name="connsiteX13" fmla="*/ 306610 w 447675"/>
                <a:gd name="connsiteY13" fmla="*/ 18806 h 457200"/>
                <a:gd name="connsiteX14" fmla="*/ 290322 w 447675"/>
                <a:gd name="connsiteY14" fmla="*/ 45952 h 457200"/>
                <a:gd name="connsiteX15" fmla="*/ 266033 w 447675"/>
                <a:gd name="connsiteY15" fmla="*/ 54906 h 457200"/>
                <a:gd name="connsiteX16" fmla="*/ 265176 w 447675"/>
                <a:gd name="connsiteY16" fmla="*/ 55573 h 457200"/>
                <a:gd name="connsiteX17" fmla="*/ 251651 w 447675"/>
                <a:gd name="connsiteY17" fmla="*/ 70813 h 457200"/>
                <a:gd name="connsiteX18" fmla="*/ 234506 w 447675"/>
                <a:gd name="connsiteY18" fmla="*/ 70241 h 457200"/>
                <a:gd name="connsiteX19" fmla="*/ 232410 w 447675"/>
                <a:gd name="connsiteY19" fmla="*/ 70622 h 457200"/>
                <a:gd name="connsiteX20" fmla="*/ 232315 w 447675"/>
                <a:gd name="connsiteY20" fmla="*/ 70622 h 457200"/>
                <a:gd name="connsiteX21" fmla="*/ 213931 w 447675"/>
                <a:gd name="connsiteY21" fmla="*/ 78052 h 457200"/>
                <a:gd name="connsiteX22" fmla="*/ 194786 w 447675"/>
                <a:gd name="connsiteY22" fmla="*/ 68622 h 457200"/>
                <a:gd name="connsiteX23" fmla="*/ 194024 w 447675"/>
                <a:gd name="connsiteY23" fmla="*/ 68431 h 457200"/>
                <a:gd name="connsiteX24" fmla="*/ 172879 w 447675"/>
                <a:gd name="connsiteY24" fmla="*/ 68146 h 457200"/>
                <a:gd name="connsiteX25" fmla="*/ 156591 w 447675"/>
                <a:gd name="connsiteY25" fmla="*/ 51191 h 457200"/>
                <a:gd name="connsiteX26" fmla="*/ 156686 w 447675"/>
                <a:gd name="connsiteY26" fmla="*/ 50905 h 457200"/>
                <a:gd name="connsiteX27" fmla="*/ 121253 w 447675"/>
                <a:gd name="connsiteY27" fmla="*/ 43762 h 457200"/>
                <a:gd name="connsiteX28" fmla="*/ 74009 w 447675"/>
                <a:gd name="connsiteY28" fmla="*/ 19473 h 457200"/>
                <a:gd name="connsiteX29" fmla="*/ 71533 w 447675"/>
                <a:gd name="connsiteY29" fmla="*/ 19759 h 457200"/>
                <a:gd name="connsiteX30" fmla="*/ 30861 w 447675"/>
                <a:gd name="connsiteY30" fmla="*/ 71575 h 457200"/>
                <a:gd name="connsiteX31" fmla="*/ 7144 w 447675"/>
                <a:gd name="connsiteY31" fmla="*/ 112818 h 457200"/>
                <a:gd name="connsiteX32" fmla="*/ 7144 w 447675"/>
                <a:gd name="connsiteY32" fmla="*/ 113770 h 457200"/>
                <a:gd name="connsiteX33" fmla="*/ 16764 w 447675"/>
                <a:gd name="connsiteY33" fmla="*/ 142345 h 457200"/>
                <a:gd name="connsiteX34" fmla="*/ 7144 w 447675"/>
                <a:gd name="connsiteY34" fmla="*/ 171016 h 457200"/>
                <a:gd name="connsiteX35" fmla="*/ 7144 w 447675"/>
                <a:gd name="connsiteY35" fmla="*/ 171968 h 457200"/>
                <a:gd name="connsiteX36" fmla="*/ 16764 w 447675"/>
                <a:gd name="connsiteY36" fmla="*/ 200543 h 457200"/>
                <a:gd name="connsiteX37" fmla="*/ 7144 w 447675"/>
                <a:gd name="connsiteY37" fmla="*/ 229309 h 457200"/>
                <a:gd name="connsiteX38" fmla="*/ 7144 w 447675"/>
                <a:gd name="connsiteY38" fmla="*/ 230261 h 457200"/>
                <a:gd name="connsiteX39" fmla="*/ 16955 w 447675"/>
                <a:gd name="connsiteY39" fmla="*/ 258931 h 457200"/>
                <a:gd name="connsiteX40" fmla="*/ 7144 w 447675"/>
                <a:gd name="connsiteY40" fmla="*/ 287506 h 457200"/>
                <a:gd name="connsiteX41" fmla="*/ 7144 w 447675"/>
                <a:gd name="connsiteY41" fmla="*/ 287983 h 457200"/>
                <a:gd name="connsiteX42" fmla="*/ 54769 w 447675"/>
                <a:gd name="connsiteY42" fmla="*/ 335417 h 457200"/>
                <a:gd name="connsiteX43" fmla="*/ 102394 w 447675"/>
                <a:gd name="connsiteY43" fmla="*/ 287506 h 457200"/>
                <a:gd name="connsiteX44" fmla="*/ 92583 w 447675"/>
                <a:gd name="connsiteY44" fmla="*/ 258836 h 457200"/>
                <a:gd name="connsiteX45" fmla="*/ 102394 w 447675"/>
                <a:gd name="connsiteY45" fmla="*/ 230261 h 457200"/>
                <a:gd name="connsiteX46" fmla="*/ 102394 w 447675"/>
                <a:gd name="connsiteY46" fmla="*/ 229309 h 457200"/>
                <a:gd name="connsiteX47" fmla="*/ 92488 w 447675"/>
                <a:gd name="connsiteY47" fmla="*/ 200257 h 457200"/>
                <a:gd name="connsiteX48" fmla="*/ 102394 w 447675"/>
                <a:gd name="connsiteY48" fmla="*/ 171016 h 457200"/>
                <a:gd name="connsiteX49" fmla="*/ 92488 w 447675"/>
                <a:gd name="connsiteY49" fmla="*/ 141964 h 457200"/>
                <a:gd name="connsiteX50" fmla="*/ 100108 w 447675"/>
                <a:gd name="connsiteY50" fmla="*/ 127391 h 457200"/>
                <a:gd name="connsiteX51" fmla="*/ 103823 w 447675"/>
                <a:gd name="connsiteY51" fmla="*/ 130153 h 457200"/>
                <a:gd name="connsiteX52" fmla="*/ 105918 w 447675"/>
                <a:gd name="connsiteY52" fmla="*/ 131487 h 457200"/>
                <a:gd name="connsiteX53" fmla="*/ 141351 w 447675"/>
                <a:gd name="connsiteY53" fmla="*/ 137678 h 457200"/>
                <a:gd name="connsiteX54" fmla="*/ 171736 w 447675"/>
                <a:gd name="connsiteY54" fmla="*/ 160824 h 457200"/>
                <a:gd name="connsiteX55" fmla="*/ 172784 w 447675"/>
                <a:gd name="connsiteY55" fmla="*/ 161110 h 457200"/>
                <a:gd name="connsiteX56" fmla="*/ 210312 w 447675"/>
                <a:gd name="connsiteY56" fmla="*/ 154347 h 457200"/>
                <a:gd name="connsiteX57" fmla="*/ 248603 w 447675"/>
                <a:gd name="connsiteY57" fmla="*/ 164348 h 457200"/>
                <a:gd name="connsiteX58" fmla="*/ 283178 w 447675"/>
                <a:gd name="connsiteY58" fmla="*/ 140440 h 457200"/>
                <a:gd name="connsiteX59" fmla="*/ 321278 w 447675"/>
                <a:gd name="connsiteY59" fmla="*/ 132439 h 457200"/>
                <a:gd name="connsiteX60" fmla="*/ 322040 w 447675"/>
                <a:gd name="connsiteY60" fmla="*/ 131868 h 457200"/>
                <a:gd name="connsiteX61" fmla="*/ 340709 w 447675"/>
                <a:gd name="connsiteY61" fmla="*/ 102817 h 457200"/>
                <a:gd name="connsiteX62" fmla="*/ 349282 w 447675"/>
                <a:gd name="connsiteY62" fmla="*/ 101293 h 457200"/>
                <a:gd name="connsiteX63" fmla="*/ 348139 w 447675"/>
                <a:gd name="connsiteY63" fmla="*/ 116818 h 457200"/>
                <a:gd name="connsiteX64" fmla="*/ 358521 w 447675"/>
                <a:gd name="connsiteY64" fmla="*/ 142536 h 457200"/>
                <a:gd name="connsiteX65" fmla="*/ 349949 w 447675"/>
                <a:gd name="connsiteY65" fmla="*/ 169111 h 457200"/>
                <a:gd name="connsiteX66" fmla="*/ 349949 w 447675"/>
                <a:gd name="connsiteY66" fmla="*/ 170730 h 457200"/>
                <a:gd name="connsiteX67" fmla="*/ 358045 w 447675"/>
                <a:gd name="connsiteY67" fmla="*/ 197305 h 457200"/>
                <a:gd name="connsiteX68" fmla="*/ 347091 w 447675"/>
                <a:gd name="connsiteY68" fmla="*/ 223117 h 457200"/>
                <a:gd name="connsiteX69" fmla="*/ 346900 w 447675"/>
                <a:gd name="connsiteY69" fmla="*/ 224737 h 457200"/>
                <a:gd name="connsiteX70" fmla="*/ 352425 w 447675"/>
                <a:gd name="connsiteY70" fmla="*/ 251502 h 457200"/>
                <a:gd name="connsiteX71" fmla="*/ 338900 w 447675"/>
                <a:gd name="connsiteY71" fmla="*/ 274933 h 457200"/>
                <a:gd name="connsiteX72" fmla="*/ 337471 w 447675"/>
                <a:gd name="connsiteY72" fmla="*/ 287316 h 457200"/>
                <a:gd name="connsiteX73" fmla="*/ 330422 w 447675"/>
                <a:gd name="connsiteY73" fmla="*/ 290650 h 457200"/>
                <a:gd name="connsiteX74" fmla="*/ 311753 w 447675"/>
                <a:gd name="connsiteY74" fmla="*/ 279791 h 457200"/>
                <a:gd name="connsiteX75" fmla="*/ 310610 w 447675"/>
                <a:gd name="connsiteY75" fmla="*/ 279410 h 457200"/>
                <a:gd name="connsiteX76" fmla="*/ 281464 w 447675"/>
                <a:gd name="connsiteY76" fmla="*/ 279886 h 457200"/>
                <a:gd name="connsiteX77" fmla="*/ 255175 w 447675"/>
                <a:gd name="connsiteY77" fmla="*/ 261408 h 457200"/>
                <a:gd name="connsiteX78" fmla="*/ 213074 w 447675"/>
                <a:gd name="connsiteY78" fmla="*/ 268742 h 457200"/>
                <a:gd name="connsiteX79" fmla="*/ 158306 w 447675"/>
                <a:gd name="connsiteY79" fmla="*/ 269123 h 457200"/>
                <a:gd name="connsiteX80" fmla="*/ 154781 w 447675"/>
                <a:gd name="connsiteY80" fmla="*/ 271790 h 457200"/>
                <a:gd name="connsiteX81" fmla="*/ 148590 w 447675"/>
                <a:gd name="connsiteY81" fmla="*/ 338846 h 457200"/>
                <a:gd name="connsiteX82" fmla="*/ 149924 w 447675"/>
                <a:gd name="connsiteY82" fmla="*/ 340370 h 457200"/>
                <a:gd name="connsiteX83" fmla="*/ 151257 w 447675"/>
                <a:gd name="connsiteY83" fmla="*/ 382566 h 457200"/>
                <a:gd name="connsiteX84" fmla="*/ 152019 w 447675"/>
                <a:gd name="connsiteY84" fmla="*/ 383900 h 457200"/>
                <a:gd name="connsiteX85" fmla="*/ 174498 w 447675"/>
                <a:gd name="connsiteY85" fmla="*/ 404474 h 457200"/>
                <a:gd name="connsiteX86" fmla="*/ 203930 w 447675"/>
                <a:gd name="connsiteY86" fmla="*/ 427619 h 457200"/>
                <a:gd name="connsiteX87" fmla="*/ 207931 w 447675"/>
                <a:gd name="connsiteY87" fmla="*/ 453813 h 457200"/>
                <a:gd name="connsiteX88" fmla="*/ 223171 w 447675"/>
                <a:gd name="connsiteY88" fmla="*/ 398282 h 457200"/>
                <a:gd name="connsiteX89" fmla="*/ 240983 w 447675"/>
                <a:gd name="connsiteY89" fmla="*/ 354848 h 457200"/>
                <a:gd name="connsiteX90" fmla="*/ 258032 w 447675"/>
                <a:gd name="connsiteY90" fmla="*/ 352277 h 457200"/>
                <a:gd name="connsiteX91" fmla="*/ 283274 w 447675"/>
                <a:gd name="connsiteY91" fmla="*/ 370564 h 457200"/>
                <a:gd name="connsiteX92" fmla="*/ 284036 w 447675"/>
                <a:gd name="connsiteY92" fmla="*/ 370755 h 457200"/>
                <a:gd name="connsiteX93" fmla="*/ 321564 w 447675"/>
                <a:gd name="connsiteY93" fmla="*/ 366659 h 457200"/>
                <a:gd name="connsiteX94" fmla="*/ 366808 w 447675"/>
                <a:gd name="connsiteY94" fmla="*/ 377994 h 457200"/>
                <a:gd name="connsiteX95" fmla="*/ 367760 w 447675"/>
                <a:gd name="connsiteY95" fmla="*/ 377708 h 457200"/>
                <a:gd name="connsiteX96" fmla="*/ 402908 w 447675"/>
                <a:gd name="connsiteY96" fmla="*/ 330845 h 457200"/>
                <a:gd name="connsiteX97" fmla="*/ 431673 w 447675"/>
                <a:gd name="connsiteY97" fmla="*/ 298079 h 457200"/>
                <a:gd name="connsiteX98" fmla="*/ 431959 w 447675"/>
                <a:gd name="connsiteY98" fmla="*/ 296841 h 457200"/>
                <a:gd name="connsiteX99" fmla="*/ 427577 w 447675"/>
                <a:gd name="connsiteY99" fmla="*/ 263218 h 457200"/>
                <a:gd name="connsiteX100" fmla="*/ 442055 w 447675"/>
                <a:gd name="connsiteY100" fmla="*/ 233309 h 457200"/>
                <a:gd name="connsiteX101" fmla="*/ 441960 w 447675"/>
                <a:gd name="connsiteY101" fmla="*/ 23302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47675" h="457200">
                  <a:moveTo>
                    <a:pt x="441960" y="233023"/>
                  </a:moveTo>
                  <a:cubicBezTo>
                    <a:pt x="443198" y="221403"/>
                    <a:pt x="440055" y="210354"/>
                    <a:pt x="433959" y="201400"/>
                  </a:cubicBezTo>
                  <a:cubicBezTo>
                    <a:pt x="440912" y="193209"/>
                    <a:pt x="445103" y="182541"/>
                    <a:pt x="445199" y="171016"/>
                  </a:cubicBezTo>
                  <a:lnTo>
                    <a:pt x="445199" y="170730"/>
                  </a:lnTo>
                  <a:cubicBezTo>
                    <a:pt x="445389" y="159109"/>
                    <a:pt x="441389" y="148441"/>
                    <a:pt x="434626" y="140059"/>
                  </a:cubicBezTo>
                  <a:cubicBezTo>
                    <a:pt x="440817" y="131201"/>
                    <a:pt x="444056" y="120152"/>
                    <a:pt x="443008" y="108532"/>
                  </a:cubicBezTo>
                  <a:lnTo>
                    <a:pt x="442913" y="107579"/>
                  </a:lnTo>
                  <a:cubicBezTo>
                    <a:pt x="441770" y="95006"/>
                    <a:pt x="435864" y="84052"/>
                    <a:pt x="427196" y="76432"/>
                  </a:cubicBezTo>
                  <a:cubicBezTo>
                    <a:pt x="432911" y="64526"/>
                    <a:pt x="433673" y="50334"/>
                    <a:pt x="428149" y="37189"/>
                  </a:cubicBezTo>
                  <a:cubicBezTo>
                    <a:pt x="428054" y="36999"/>
                    <a:pt x="427673" y="35951"/>
                    <a:pt x="427577" y="35856"/>
                  </a:cubicBezTo>
                  <a:cubicBezTo>
                    <a:pt x="417100" y="11853"/>
                    <a:pt x="389382" y="1185"/>
                    <a:pt x="365379" y="11567"/>
                  </a:cubicBezTo>
                  <a:cubicBezTo>
                    <a:pt x="364046" y="12139"/>
                    <a:pt x="362712" y="12805"/>
                    <a:pt x="361474" y="13472"/>
                  </a:cubicBezTo>
                  <a:cubicBezTo>
                    <a:pt x="344615" y="3757"/>
                    <a:pt x="322707" y="5090"/>
                    <a:pt x="306991" y="18425"/>
                  </a:cubicBezTo>
                  <a:lnTo>
                    <a:pt x="306610" y="18806"/>
                  </a:lnTo>
                  <a:cubicBezTo>
                    <a:pt x="297942" y="26045"/>
                    <a:pt x="292418" y="35665"/>
                    <a:pt x="290322" y="45952"/>
                  </a:cubicBezTo>
                  <a:cubicBezTo>
                    <a:pt x="281845" y="46619"/>
                    <a:pt x="273463" y="49572"/>
                    <a:pt x="266033" y="54906"/>
                  </a:cubicBezTo>
                  <a:cubicBezTo>
                    <a:pt x="265938" y="55001"/>
                    <a:pt x="265367" y="55382"/>
                    <a:pt x="265176" y="55573"/>
                  </a:cubicBezTo>
                  <a:cubicBezTo>
                    <a:pt x="259461" y="59764"/>
                    <a:pt x="254889" y="65002"/>
                    <a:pt x="251651" y="70813"/>
                  </a:cubicBezTo>
                  <a:cubicBezTo>
                    <a:pt x="246221" y="69574"/>
                    <a:pt x="240411" y="69384"/>
                    <a:pt x="234506" y="70241"/>
                  </a:cubicBezTo>
                  <a:cubicBezTo>
                    <a:pt x="234125" y="70336"/>
                    <a:pt x="232791" y="70527"/>
                    <a:pt x="232410" y="70622"/>
                  </a:cubicBezTo>
                  <a:lnTo>
                    <a:pt x="232315" y="70622"/>
                  </a:lnTo>
                  <a:cubicBezTo>
                    <a:pt x="225552" y="71860"/>
                    <a:pt x="219361" y="74432"/>
                    <a:pt x="213931" y="78052"/>
                  </a:cubicBezTo>
                  <a:cubicBezTo>
                    <a:pt x="208502" y="73670"/>
                    <a:pt x="202025" y="70336"/>
                    <a:pt x="194786" y="68622"/>
                  </a:cubicBezTo>
                  <a:lnTo>
                    <a:pt x="194024" y="68431"/>
                  </a:lnTo>
                  <a:cubicBezTo>
                    <a:pt x="186881" y="66717"/>
                    <a:pt x="179642" y="66717"/>
                    <a:pt x="172879" y="68146"/>
                  </a:cubicBezTo>
                  <a:cubicBezTo>
                    <a:pt x="169069" y="61478"/>
                    <a:pt x="163640" y="55573"/>
                    <a:pt x="156591" y="51191"/>
                  </a:cubicBezTo>
                  <a:lnTo>
                    <a:pt x="156686" y="50905"/>
                  </a:lnTo>
                  <a:cubicBezTo>
                    <a:pt x="145828" y="43666"/>
                    <a:pt x="133160" y="41476"/>
                    <a:pt x="121253" y="43762"/>
                  </a:cubicBezTo>
                  <a:cubicBezTo>
                    <a:pt x="112205" y="27283"/>
                    <a:pt x="93821" y="17282"/>
                    <a:pt x="74009" y="19473"/>
                  </a:cubicBezTo>
                  <a:lnTo>
                    <a:pt x="71533" y="19759"/>
                  </a:lnTo>
                  <a:cubicBezTo>
                    <a:pt x="46292" y="23569"/>
                    <a:pt x="28385" y="46429"/>
                    <a:pt x="30861" y="71575"/>
                  </a:cubicBezTo>
                  <a:cubicBezTo>
                    <a:pt x="16669" y="79861"/>
                    <a:pt x="7144" y="95197"/>
                    <a:pt x="7144" y="112818"/>
                  </a:cubicBezTo>
                  <a:lnTo>
                    <a:pt x="7144" y="113770"/>
                  </a:lnTo>
                  <a:cubicBezTo>
                    <a:pt x="7144" y="124534"/>
                    <a:pt x="10763" y="134440"/>
                    <a:pt x="16764" y="142345"/>
                  </a:cubicBezTo>
                  <a:cubicBezTo>
                    <a:pt x="10763" y="150251"/>
                    <a:pt x="7144" y="160252"/>
                    <a:pt x="7144" y="171016"/>
                  </a:cubicBezTo>
                  <a:lnTo>
                    <a:pt x="7144" y="171968"/>
                  </a:lnTo>
                  <a:cubicBezTo>
                    <a:pt x="7144" y="182731"/>
                    <a:pt x="10763" y="192637"/>
                    <a:pt x="16764" y="200543"/>
                  </a:cubicBezTo>
                  <a:cubicBezTo>
                    <a:pt x="10763" y="208544"/>
                    <a:pt x="7144" y="218450"/>
                    <a:pt x="7144" y="229309"/>
                  </a:cubicBezTo>
                  <a:lnTo>
                    <a:pt x="7144" y="230261"/>
                  </a:lnTo>
                  <a:cubicBezTo>
                    <a:pt x="7144" y="241024"/>
                    <a:pt x="10859" y="250930"/>
                    <a:pt x="16955" y="258931"/>
                  </a:cubicBezTo>
                  <a:cubicBezTo>
                    <a:pt x="10859" y="266837"/>
                    <a:pt x="7144" y="276743"/>
                    <a:pt x="7144" y="287506"/>
                  </a:cubicBezTo>
                  <a:lnTo>
                    <a:pt x="7144" y="287983"/>
                  </a:lnTo>
                  <a:cubicBezTo>
                    <a:pt x="7144" y="314272"/>
                    <a:pt x="28480" y="335417"/>
                    <a:pt x="54769" y="335417"/>
                  </a:cubicBezTo>
                  <a:cubicBezTo>
                    <a:pt x="81058" y="335417"/>
                    <a:pt x="102394" y="313891"/>
                    <a:pt x="102394" y="287506"/>
                  </a:cubicBezTo>
                  <a:cubicBezTo>
                    <a:pt x="102394" y="276743"/>
                    <a:pt x="98679" y="266837"/>
                    <a:pt x="92583" y="258836"/>
                  </a:cubicBezTo>
                  <a:cubicBezTo>
                    <a:pt x="98679" y="250930"/>
                    <a:pt x="102394" y="241024"/>
                    <a:pt x="102394" y="230261"/>
                  </a:cubicBezTo>
                  <a:lnTo>
                    <a:pt x="102394" y="229309"/>
                  </a:lnTo>
                  <a:cubicBezTo>
                    <a:pt x="102394" y="218355"/>
                    <a:pt x="98679" y="208354"/>
                    <a:pt x="92488" y="200257"/>
                  </a:cubicBezTo>
                  <a:cubicBezTo>
                    <a:pt x="98679" y="192066"/>
                    <a:pt x="102394" y="181969"/>
                    <a:pt x="102394" y="171016"/>
                  </a:cubicBezTo>
                  <a:cubicBezTo>
                    <a:pt x="102394" y="160062"/>
                    <a:pt x="98679" y="149965"/>
                    <a:pt x="92488" y="141964"/>
                  </a:cubicBezTo>
                  <a:cubicBezTo>
                    <a:pt x="95822" y="137583"/>
                    <a:pt x="98393" y="132725"/>
                    <a:pt x="100108" y="127391"/>
                  </a:cubicBezTo>
                  <a:cubicBezTo>
                    <a:pt x="101251" y="128344"/>
                    <a:pt x="102489" y="129296"/>
                    <a:pt x="103823" y="130153"/>
                  </a:cubicBezTo>
                  <a:lnTo>
                    <a:pt x="105918" y="131487"/>
                  </a:lnTo>
                  <a:cubicBezTo>
                    <a:pt x="116872" y="138250"/>
                    <a:pt x="129635" y="140155"/>
                    <a:pt x="141351" y="137678"/>
                  </a:cubicBezTo>
                  <a:cubicBezTo>
                    <a:pt x="147542" y="148918"/>
                    <a:pt x="158306" y="157585"/>
                    <a:pt x="171736" y="160824"/>
                  </a:cubicBezTo>
                  <a:lnTo>
                    <a:pt x="172784" y="161110"/>
                  </a:lnTo>
                  <a:cubicBezTo>
                    <a:pt x="186214" y="164348"/>
                    <a:pt x="199739" y="161491"/>
                    <a:pt x="210312" y="154347"/>
                  </a:cubicBezTo>
                  <a:cubicBezTo>
                    <a:pt x="220599" y="162824"/>
                    <a:pt x="234410" y="166825"/>
                    <a:pt x="248603" y="164348"/>
                  </a:cubicBezTo>
                  <a:cubicBezTo>
                    <a:pt x="263747" y="162062"/>
                    <a:pt x="276225" y="152918"/>
                    <a:pt x="283178" y="140440"/>
                  </a:cubicBezTo>
                  <a:cubicBezTo>
                    <a:pt x="295942" y="143203"/>
                    <a:pt x="309848" y="140726"/>
                    <a:pt x="321278" y="132439"/>
                  </a:cubicBezTo>
                  <a:lnTo>
                    <a:pt x="322040" y="131868"/>
                  </a:lnTo>
                  <a:cubicBezTo>
                    <a:pt x="332042" y="124534"/>
                    <a:pt x="338423" y="114056"/>
                    <a:pt x="340709" y="102817"/>
                  </a:cubicBezTo>
                  <a:cubicBezTo>
                    <a:pt x="343567" y="102626"/>
                    <a:pt x="346520" y="102055"/>
                    <a:pt x="349282" y="101293"/>
                  </a:cubicBezTo>
                  <a:cubicBezTo>
                    <a:pt x="348044" y="106246"/>
                    <a:pt x="347663" y="111484"/>
                    <a:pt x="348139" y="116818"/>
                  </a:cubicBezTo>
                  <a:cubicBezTo>
                    <a:pt x="348996" y="126629"/>
                    <a:pt x="352806" y="135487"/>
                    <a:pt x="358521" y="142536"/>
                  </a:cubicBezTo>
                  <a:cubicBezTo>
                    <a:pt x="353187" y="150061"/>
                    <a:pt x="350044" y="159205"/>
                    <a:pt x="349949" y="169111"/>
                  </a:cubicBezTo>
                  <a:cubicBezTo>
                    <a:pt x="349949" y="169301"/>
                    <a:pt x="349949" y="170539"/>
                    <a:pt x="349949" y="170730"/>
                  </a:cubicBezTo>
                  <a:cubicBezTo>
                    <a:pt x="349949" y="180636"/>
                    <a:pt x="352901" y="189780"/>
                    <a:pt x="358045" y="197305"/>
                  </a:cubicBezTo>
                  <a:cubicBezTo>
                    <a:pt x="352139" y="204353"/>
                    <a:pt x="348139" y="213211"/>
                    <a:pt x="347091" y="223117"/>
                  </a:cubicBezTo>
                  <a:lnTo>
                    <a:pt x="346900" y="224737"/>
                  </a:lnTo>
                  <a:cubicBezTo>
                    <a:pt x="346043" y="234357"/>
                    <a:pt x="348139" y="243596"/>
                    <a:pt x="352425" y="251502"/>
                  </a:cubicBezTo>
                  <a:cubicBezTo>
                    <a:pt x="345948" y="257693"/>
                    <a:pt x="341186" y="265694"/>
                    <a:pt x="338900" y="274933"/>
                  </a:cubicBezTo>
                  <a:cubicBezTo>
                    <a:pt x="337852" y="279029"/>
                    <a:pt x="337375" y="283220"/>
                    <a:pt x="337471" y="287316"/>
                  </a:cubicBezTo>
                  <a:cubicBezTo>
                    <a:pt x="334994" y="288268"/>
                    <a:pt x="332613" y="289316"/>
                    <a:pt x="330422" y="290650"/>
                  </a:cubicBezTo>
                  <a:cubicBezTo>
                    <a:pt x="325279" y="285792"/>
                    <a:pt x="318992" y="281982"/>
                    <a:pt x="311753" y="279791"/>
                  </a:cubicBezTo>
                  <a:lnTo>
                    <a:pt x="310610" y="279410"/>
                  </a:lnTo>
                  <a:cubicBezTo>
                    <a:pt x="300704" y="276457"/>
                    <a:pt x="290608" y="276743"/>
                    <a:pt x="281464" y="279886"/>
                  </a:cubicBezTo>
                  <a:cubicBezTo>
                    <a:pt x="275368" y="271123"/>
                    <a:pt x="266224" y="264456"/>
                    <a:pt x="255175" y="261408"/>
                  </a:cubicBezTo>
                  <a:cubicBezTo>
                    <a:pt x="240221" y="256836"/>
                    <a:pt x="224695" y="260074"/>
                    <a:pt x="213074" y="268742"/>
                  </a:cubicBezTo>
                  <a:cubicBezTo>
                    <a:pt x="196977" y="257598"/>
                    <a:pt x="175069" y="257122"/>
                    <a:pt x="158306" y="269123"/>
                  </a:cubicBezTo>
                  <a:cubicBezTo>
                    <a:pt x="157067" y="269980"/>
                    <a:pt x="155924" y="270838"/>
                    <a:pt x="154781" y="271790"/>
                  </a:cubicBezTo>
                  <a:cubicBezTo>
                    <a:pt x="134588" y="288554"/>
                    <a:pt x="131731" y="318653"/>
                    <a:pt x="148590" y="338846"/>
                  </a:cubicBezTo>
                  <a:cubicBezTo>
                    <a:pt x="149066" y="339323"/>
                    <a:pt x="149447" y="339894"/>
                    <a:pt x="149924" y="340370"/>
                  </a:cubicBezTo>
                  <a:cubicBezTo>
                    <a:pt x="144018" y="353419"/>
                    <a:pt x="143923" y="368945"/>
                    <a:pt x="151257" y="382566"/>
                  </a:cubicBezTo>
                  <a:cubicBezTo>
                    <a:pt x="151352" y="382756"/>
                    <a:pt x="151924" y="383804"/>
                    <a:pt x="152019" y="383900"/>
                  </a:cubicBezTo>
                  <a:cubicBezTo>
                    <a:pt x="157258" y="393425"/>
                    <a:pt x="165259" y="400378"/>
                    <a:pt x="174498" y="404474"/>
                  </a:cubicBezTo>
                  <a:cubicBezTo>
                    <a:pt x="177165" y="417237"/>
                    <a:pt x="195167" y="420761"/>
                    <a:pt x="203930" y="427619"/>
                  </a:cubicBezTo>
                  <a:cubicBezTo>
                    <a:pt x="215075" y="436382"/>
                    <a:pt x="207931" y="453813"/>
                    <a:pt x="207931" y="453813"/>
                  </a:cubicBezTo>
                  <a:cubicBezTo>
                    <a:pt x="228981" y="436478"/>
                    <a:pt x="227838" y="414094"/>
                    <a:pt x="223171" y="398282"/>
                  </a:cubicBezTo>
                  <a:cubicBezTo>
                    <a:pt x="236411" y="387805"/>
                    <a:pt x="242983" y="371231"/>
                    <a:pt x="240983" y="354848"/>
                  </a:cubicBezTo>
                  <a:cubicBezTo>
                    <a:pt x="246793" y="355039"/>
                    <a:pt x="252603" y="354181"/>
                    <a:pt x="258032" y="352277"/>
                  </a:cubicBezTo>
                  <a:cubicBezTo>
                    <a:pt x="263938" y="360754"/>
                    <a:pt x="272606" y="367326"/>
                    <a:pt x="283274" y="370564"/>
                  </a:cubicBezTo>
                  <a:lnTo>
                    <a:pt x="284036" y="370755"/>
                  </a:lnTo>
                  <a:cubicBezTo>
                    <a:pt x="297085" y="374755"/>
                    <a:pt x="310610" y="372851"/>
                    <a:pt x="321564" y="366659"/>
                  </a:cubicBezTo>
                  <a:cubicBezTo>
                    <a:pt x="333280" y="377613"/>
                    <a:pt x="350234" y="382471"/>
                    <a:pt x="366808" y="377994"/>
                  </a:cubicBezTo>
                  <a:lnTo>
                    <a:pt x="367760" y="377708"/>
                  </a:lnTo>
                  <a:cubicBezTo>
                    <a:pt x="389287" y="371803"/>
                    <a:pt x="403289" y="352181"/>
                    <a:pt x="402908" y="330845"/>
                  </a:cubicBezTo>
                  <a:cubicBezTo>
                    <a:pt x="416719" y="325416"/>
                    <a:pt x="427863" y="313605"/>
                    <a:pt x="431673" y="298079"/>
                  </a:cubicBezTo>
                  <a:lnTo>
                    <a:pt x="431959" y="296841"/>
                  </a:lnTo>
                  <a:cubicBezTo>
                    <a:pt x="434816" y="284935"/>
                    <a:pt x="433007" y="273124"/>
                    <a:pt x="427577" y="263218"/>
                  </a:cubicBezTo>
                  <a:cubicBezTo>
                    <a:pt x="435578" y="255598"/>
                    <a:pt x="440912" y="245120"/>
                    <a:pt x="442055" y="233309"/>
                  </a:cubicBezTo>
                  <a:lnTo>
                    <a:pt x="441960" y="233023"/>
                  </a:lnTo>
                  <a:close/>
                </a:path>
              </a:pathLst>
            </a:custGeom>
            <a:solidFill>
              <a:srgbClr val="1E70B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sz="1467" dirty="0">
                <a:latin typeface="Arial" panose="020B0604020202020204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3635956" y="1852813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3661799" y="2198513"/>
              <a:ext cx="240001" cy="251310"/>
              <a:chOff x="3656928" y="2244240"/>
              <a:chExt cx="240001" cy="251310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AB1F0595-EDB1-E140-8678-83C6ACDF320C}"/>
                  </a:ext>
                </a:extLst>
              </p:cNvPr>
              <p:cNvGrpSpPr/>
              <p:nvPr/>
            </p:nvGrpSpPr>
            <p:grpSpPr>
              <a:xfrm>
                <a:off x="3724599" y="2281411"/>
                <a:ext cx="105751" cy="168566"/>
                <a:chOff x="7356475" y="1863725"/>
                <a:chExt cx="842977" cy="1290635"/>
              </a:xfrm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63500" sx="102000" sy="102000" algn="ctr" rotWithShape="0">
                  <a:schemeClr val="tx2">
                    <a:alpha val="16000"/>
                  </a:schemeClr>
                </a:outerShdw>
              </a:effectLst>
            </p:grpSpPr>
            <p:sp>
              <p:nvSpPr>
                <p:cNvPr id="69" name="Freeform 84">
                  <a:extLst>
                    <a:ext uri="{FF2B5EF4-FFF2-40B4-BE49-F238E27FC236}">
                      <a16:creationId xmlns:a16="http://schemas.microsoft.com/office/drawing/2014/main" id="{24139977-DB1A-1847-AC7E-616EF836A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2841" y="2068516"/>
                  <a:ext cx="836611" cy="1085844"/>
                </a:xfrm>
                <a:custGeom>
                  <a:avLst/>
                  <a:gdLst>
                    <a:gd name="T0" fmla="*/ 798 w 1101"/>
                    <a:gd name="T1" fmla="*/ 286 h 1430"/>
                    <a:gd name="T2" fmla="*/ 907 w 1101"/>
                    <a:gd name="T3" fmla="*/ 196 h 1430"/>
                    <a:gd name="T4" fmla="*/ 980 w 1101"/>
                    <a:gd name="T5" fmla="*/ 84 h 1430"/>
                    <a:gd name="T6" fmla="*/ 892 w 1101"/>
                    <a:gd name="T7" fmla="*/ 14 h 1430"/>
                    <a:gd name="T8" fmla="*/ 444 w 1101"/>
                    <a:gd name="T9" fmla="*/ 465 h 1430"/>
                    <a:gd name="T10" fmla="*/ 128 w 1101"/>
                    <a:gd name="T11" fmla="*/ 733 h 1430"/>
                    <a:gd name="T12" fmla="*/ 85 w 1101"/>
                    <a:gd name="T13" fmla="*/ 911 h 1430"/>
                    <a:gd name="T14" fmla="*/ 858 w 1101"/>
                    <a:gd name="T15" fmla="*/ 1418 h 1430"/>
                    <a:gd name="T16" fmla="*/ 1086 w 1101"/>
                    <a:gd name="T17" fmla="*/ 974 h 1430"/>
                    <a:gd name="T18" fmla="*/ 798 w 1101"/>
                    <a:gd name="T19" fmla="*/ 286 h 1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01" h="1430">
                      <a:moveTo>
                        <a:pt x="798" y="286"/>
                      </a:moveTo>
                      <a:cubicBezTo>
                        <a:pt x="810" y="269"/>
                        <a:pt x="866" y="215"/>
                        <a:pt x="907" y="196"/>
                      </a:cubicBezTo>
                      <a:cubicBezTo>
                        <a:pt x="948" y="177"/>
                        <a:pt x="997" y="169"/>
                        <a:pt x="980" y="84"/>
                      </a:cubicBezTo>
                      <a:cubicBezTo>
                        <a:pt x="963" y="0"/>
                        <a:pt x="892" y="14"/>
                        <a:pt x="892" y="14"/>
                      </a:cubicBezTo>
                      <a:cubicBezTo>
                        <a:pt x="635" y="58"/>
                        <a:pt x="490" y="334"/>
                        <a:pt x="444" y="465"/>
                      </a:cubicBezTo>
                      <a:cubicBezTo>
                        <a:pt x="398" y="596"/>
                        <a:pt x="257" y="683"/>
                        <a:pt x="128" y="733"/>
                      </a:cubicBezTo>
                      <a:cubicBezTo>
                        <a:pt x="0" y="784"/>
                        <a:pt x="85" y="911"/>
                        <a:pt x="85" y="911"/>
                      </a:cubicBezTo>
                      <a:cubicBezTo>
                        <a:pt x="359" y="1345"/>
                        <a:pt x="708" y="1406"/>
                        <a:pt x="858" y="1418"/>
                      </a:cubicBezTo>
                      <a:cubicBezTo>
                        <a:pt x="1009" y="1430"/>
                        <a:pt x="1072" y="1376"/>
                        <a:pt x="1086" y="974"/>
                      </a:cubicBezTo>
                      <a:cubicBezTo>
                        <a:pt x="1101" y="572"/>
                        <a:pt x="798" y="286"/>
                        <a:pt x="798" y="28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70" name="Freeform 85">
                  <a:extLst>
                    <a:ext uri="{FF2B5EF4-FFF2-40B4-BE49-F238E27FC236}">
                      <a16:creationId xmlns:a16="http://schemas.microsoft.com/office/drawing/2014/main" id="{D1585969-832E-9045-8B44-66F08B70DF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475" y="2106613"/>
                  <a:ext cx="241300" cy="544513"/>
                </a:xfrm>
                <a:custGeom>
                  <a:avLst/>
                  <a:gdLst>
                    <a:gd name="T0" fmla="*/ 139 w 317"/>
                    <a:gd name="T1" fmla="*/ 632 h 716"/>
                    <a:gd name="T2" fmla="*/ 317 w 317"/>
                    <a:gd name="T3" fmla="*/ 529 h 716"/>
                    <a:gd name="T4" fmla="*/ 252 w 317"/>
                    <a:gd name="T5" fmla="*/ 238 h 716"/>
                    <a:gd name="T6" fmla="*/ 220 w 317"/>
                    <a:gd name="T7" fmla="*/ 10 h 716"/>
                    <a:gd name="T8" fmla="*/ 121 w 317"/>
                    <a:gd name="T9" fmla="*/ 78 h 716"/>
                    <a:gd name="T10" fmla="*/ 157 w 317"/>
                    <a:gd name="T11" fmla="*/ 182 h 716"/>
                    <a:gd name="T12" fmla="*/ 121 w 317"/>
                    <a:gd name="T13" fmla="*/ 361 h 716"/>
                    <a:gd name="T14" fmla="*/ 36 w 317"/>
                    <a:gd name="T15" fmla="*/ 716 h 716"/>
                    <a:gd name="T16" fmla="*/ 139 w 317"/>
                    <a:gd name="T17" fmla="*/ 632 h 7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7" h="716">
                      <a:moveTo>
                        <a:pt x="139" y="632"/>
                      </a:moveTo>
                      <a:cubicBezTo>
                        <a:pt x="237" y="593"/>
                        <a:pt x="317" y="529"/>
                        <a:pt x="317" y="529"/>
                      </a:cubicBezTo>
                      <a:cubicBezTo>
                        <a:pt x="317" y="529"/>
                        <a:pt x="232" y="350"/>
                        <a:pt x="252" y="238"/>
                      </a:cubicBezTo>
                      <a:cubicBezTo>
                        <a:pt x="271" y="127"/>
                        <a:pt x="261" y="20"/>
                        <a:pt x="220" y="10"/>
                      </a:cubicBezTo>
                      <a:cubicBezTo>
                        <a:pt x="179" y="0"/>
                        <a:pt x="111" y="5"/>
                        <a:pt x="121" y="78"/>
                      </a:cubicBezTo>
                      <a:cubicBezTo>
                        <a:pt x="121" y="78"/>
                        <a:pt x="184" y="97"/>
                        <a:pt x="157" y="182"/>
                      </a:cubicBezTo>
                      <a:cubicBezTo>
                        <a:pt x="130" y="267"/>
                        <a:pt x="111" y="331"/>
                        <a:pt x="121" y="361"/>
                      </a:cubicBezTo>
                      <a:cubicBezTo>
                        <a:pt x="121" y="361"/>
                        <a:pt x="0" y="541"/>
                        <a:pt x="36" y="716"/>
                      </a:cubicBezTo>
                      <a:cubicBezTo>
                        <a:pt x="36" y="716"/>
                        <a:pt x="49" y="668"/>
                        <a:pt x="139" y="632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71" name="Freeform 86">
                  <a:extLst>
                    <a:ext uri="{FF2B5EF4-FFF2-40B4-BE49-F238E27FC236}">
                      <a16:creationId xmlns:a16="http://schemas.microsoft.com/office/drawing/2014/main" id="{33C54B1A-1670-4043-B393-8D0093E88D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7613" y="1863725"/>
                  <a:ext cx="420688" cy="611188"/>
                </a:xfrm>
                <a:custGeom>
                  <a:avLst/>
                  <a:gdLst>
                    <a:gd name="T0" fmla="*/ 143 w 555"/>
                    <a:gd name="T1" fmla="*/ 679 h 805"/>
                    <a:gd name="T2" fmla="*/ 272 w 555"/>
                    <a:gd name="T3" fmla="*/ 454 h 805"/>
                    <a:gd name="T4" fmla="*/ 332 w 555"/>
                    <a:gd name="T5" fmla="*/ 254 h 805"/>
                    <a:gd name="T6" fmla="*/ 463 w 555"/>
                    <a:gd name="T7" fmla="*/ 277 h 805"/>
                    <a:gd name="T8" fmla="*/ 555 w 555"/>
                    <a:gd name="T9" fmla="*/ 236 h 805"/>
                    <a:gd name="T10" fmla="*/ 400 w 555"/>
                    <a:gd name="T11" fmla="*/ 105 h 805"/>
                    <a:gd name="T12" fmla="*/ 386 w 555"/>
                    <a:gd name="T13" fmla="*/ 39 h 805"/>
                    <a:gd name="T14" fmla="*/ 349 w 555"/>
                    <a:gd name="T15" fmla="*/ 44 h 805"/>
                    <a:gd name="T16" fmla="*/ 306 w 555"/>
                    <a:gd name="T17" fmla="*/ 119 h 805"/>
                    <a:gd name="T18" fmla="*/ 272 w 555"/>
                    <a:gd name="T19" fmla="*/ 34 h 805"/>
                    <a:gd name="T20" fmla="*/ 231 w 555"/>
                    <a:gd name="T21" fmla="*/ 42 h 805"/>
                    <a:gd name="T22" fmla="*/ 209 w 555"/>
                    <a:gd name="T23" fmla="*/ 136 h 805"/>
                    <a:gd name="T24" fmla="*/ 146 w 555"/>
                    <a:gd name="T25" fmla="*/ 93 h 805"/>
                    <a:gd name="T26" fmla="*/ 80 w 555"/>
                    <a:gd name="T27" fmla="*/ 93 h 805"/>
                    <a:gd name="T28" fmla="*/ 88 w 555"/>
                    <a:gd name="T29" fmla="*/ 238 h 805"/>
                    <a:gd name="T30" fmla="*/ 15 w 555"/>
                    <a:gd name="T31" fmla="*/ 514 h 805"/>
                    <a:gd name="T32" fmla="*/ 85 w 555"/>
                    <a:gd name="T33" fmla="*/ 805 h 805"/>
                    <a:gd name="T34" fmla="*/ 143 w 555"/>
                    <a:gd name="T35" fmla="*/ 679 h 8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5" h="805">
                      <a:moveTo>
                        <a:pt x="143" y="679"/>
                      </a:moveTo>
                      <a:cubicBezTo>
                        <a:pt x="177" y="575"/>
                        <a:pt x="272" y="454"/>
                        <a:pt x="272" y="454"/>
                      </a:cubicBezTo>
                      <a:cubicBezTo>
                        <a:pt x="272" y="454"/>
                        <a:pt x="267" y="274"/>
                        <a:pt x="332" y="254"/>
                      </a:cubicBezTo>
                      <a:cubicBezTo>
                        <a:pt x="398" y="234"/>
                        <a:pt x="463" y="277"/>
                        <a:pt x="463" y="277"/>
                      </a:cubicBezTo>
                      <a:cubicBezTo>
                        <a:pt x="555" y="236"/>
                        <a:pt x="555" y="236"/>
                        <a:pt x="555" y="236"/>
                      </a:cubicBezTo>
                      <a:cubicBezTo>
                        <a:pt x="517" y="148"/>
                        <a:pt x="422" y="119"/>
                        <a:pt x="400" y="105"/>
                      </a:cubicBezTo>
                      <a:cubicBezTo>
                        <a:pt x="378" y="90"/>
                        <a:pt x="386" y="39"/>
                        <a:pt x="386" y="39"/>
                      </a:cubicBezTo>
                      <a:cubicBezTo>
                        <a:pt x="378" y="10"/>
                        <a:pt x="345" y="20"/>
                        <a:pt x="349" y="44"/>
                      </a:cubicBezTo>
                      <a:cubicBezTo>
                        <a:pt x="354" y="68"/>
                        <a:pt x="342" y="119"/>
                        <a:pt x="306" y="119"/>
                      </a:cubicBezTo>
                      <a:cubicBezTo>
                        <a:pt x="269" y="119"/>
                        <a:pt x="272" y="34"/>
                        <a:pt x="272" y="34"/>
                      </a:cubicBezTo>
                      <a:cubicBezTo>
                        <a:pt x="238" y="0"/>
                        <a:pt x="231" y="42"/>
                        <a:pt x="231" y="42"/>
                      </a:cubicBezTo>
                      <a:cubicBezTo>
                        <a:pt x="231" y="42"/>
                        <a:pt x="243" y="127"/>
                        <a:pt x="209" y="136"/>
                      </a:cubicBezTo>
                      <a:cubicBezTo>
                        <a:pt x="175" y="146"/>
                        <a:pt x="146" y="93"/>
                        <a:pt x="146" y="93"/>
                      </a:cubicBezTo>
                      <a:cubicBezTo>
                        <a:pt x="146" y="93"/>
                        <a:pt x="122" y="42"/>
                        <a:pt x="80" y="93"/>
                      </a:cubicBezTo>
                      <a:cubicBezTo>
                        <a:pt x="39" y="144"/>
                        <a:pt x="80" y="168"/>
                        <a:pt x="88" y="238"/>
                      </a:cubicBezTo>
                      <a:cubicBezTo>
                        <a:pt x="95" y="308"/>
                        <a:pt x="29" y="391"/>
                        <a:pt x="15" y="514"/>
                      </a:cubicBezTo>
                      <a:cubicBezTo>
                        <a:pt x="0" y="638"/>
                        <a:pt x="85" y="805"/>
                        <a:pt x="85" y="805"/>
                      </a:cubicBezTo>
                      <a:cubicBezTo>
                        <a:pt x="85" y="805"/>
                        <a:pt x="109" y="783"/>
                        <a:pt x="143" y="679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68" name="Oval 67"/>
              <p:cNvSpPr/>
              <p:nvPr/>
            </p:nvSpPr>
            <p:spPr>
              <a:xfrm>
                <a:off x="3656928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59641" y="2193111"/>
              <a:ext cx="240001" cy="251310"/>
              <a:chOff x="3037091" y="2244240"/>
              <a:chExt cx="240001" cy="251310"/>
            </a:xfrm>
          </p:grpSpPr>
          <p:pic>
            <p:nvPicPr>
              <p:cNvPr id="65" name="Graphic 64">
                <a:extLst>
                  <a:ext uri="{FF2B5EF4-FFF2-40B4-BE49-F238E27FC236}">
                    <a16:creationId xmlns:a16="http://schemas.microsoft.com/office/drawing/2014/main" id="{66551585-9E95-3745-8A00-10D3B69019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97559" y="2298538"/>
                <a:ext cx="112896" cy="161057"/>
              </a:xfrm>
              <a:prstGeom prst="rect">
                <a:avLst/>
              </a:prstGeom>
              <a:solidFill>
                <a:srgbClr val="1E70B2"/>
              </a:solidFill>
            </p:spPr>
          </p:pic>
          <p:sp>
            <p:nvSpPr>
              <p:cNvPr id="66" name="Oval 65"/>
              <p:cNvSpPr/>
              <p:nvPr/>
            </p:nvSpPr>
            <p:spPr>
              <a:xfrm>
                <a:off x="3037091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63" name="Oval 62"/>
            <p:cNvSpPr/>
            <p:nvPr/>
          </p:nvSpPr>
          <p:spPr>
            <a:xfrm>
              <a:off x="3365205" y="1714790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64" name="Graphic 55">
              <a:extLst>
                <a:ext uri="{FF2B5EF4-FFF2-40B4-BE49-F238E27FC236}">
                  <a16:creationId xmlns:a16="http://schemas.microsoft.com/office/drawing/2014/main" id="{69EC1B32-3E55-1F48-8A7A-2353834E1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27954" y="1766468"/>
              <a:ext cx="113860" cy="139958"/>
            </a:xfrm>
            <a:prstGeom prst="rect">
              <a:avLst/>
            </a:prstGeom>
            <a:solidFill>
              <a:srgbClr val="1E70B2"/>
            </a:solidFill>
          </p:spPr>
        </p:pic>
      </p:grpSp>
      <p:sp>
        <p:nvSpPr>
          <p:cNvPr id="83" name="Title 1"/>
          <p:cNvSpPr txBox="1">
            <a:spLocks/>
          </p:cNvSpPr>
          <p:nvPr/>
        </p:nvSpPr>
        <p:spPr>
          <a:xfrm>
            <a:off x="3094891" y="276901"/>
            <a:ext cx="8953451" cy="12812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sz="3600" b="1" spc="0" dirty="0"/>
              <a:t>Endokrinní komorbidity</a:t>
            </a:r>
            <a:endParaRPr lang="en-US" sz="3600" b="1" dirty="0"/>
          </a:p>
        </p:txBody>
      </p:sp>
      <p:sp>
        <p:nvSpPr>
          <p:cNvPr id="93" name="Rectangle 92">
            <a:hlinkClick r:id="rId10" action="ppaction://hlinksldjump"/>
          </p:cNvPr>
          <p:cNvSpPr/>
          <p:nvPr/>
        </p:nvSpPr>
        <p:spPr>
          <a:xfrm>
            <a:off x="163690" y="0"/>
            <a:ext cx="854221" cy="889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/>
          </a:p>
        </p:txBody>
      </p:sp>
      <p:sp>
        <p:nvSpPr>
          <p:cNvPr id="95" name="Rectangle 94"/>
          <p:cNvSpPr/>
          <p:nvPr/>
        </p:nvSpPr>
        <p:spPr>
          <a:xfrm>
            <a:off x="1352029" y="1835026"/>
            <a:ext cx="10189028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</a:pPr>
            <a:r>
              <a:rPr lang="en-US" dirty="0"/>
              <a:t> </a:t>
            </a: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2568B9"/>
                </a:solidFill>
              </a:rPr>
              <a:t>Prevalence syndromu </a:t>
            </a:r>
            <a:r>
              <a:rPr lang="en-US" b="1" dirty="0" err="1">
                <a:solidFill>
                  <a:srgbClr val="2568B9"/>
                </a:solidFill>
              </a:rPr>
              <a:t>polycystických</a:t>
            </a:r>
            <a:r>
              <a:rPr lang="en-US" b="1" dirty="0">
                <a:solidFill>
                  <a:srgbClr val="2568B9"/>
                </a:solidFill>
              </a:rPr>
              <a:t> </a:t>
            </a:r>
            <a:r>
              <a:rPr lang="en-US" b="1" dirty="0" err="1">
                <a:solidFill>
                  <a:srgbClr val="2568B9"/>
                </a:solidFill>
              </a:rPr>
              <a:t>ovárií</a:t>
            </a:r>
            <a:r>
              <a:rPr lang="en-US" b="1" dirty="0">
                <a:solidFill>
                  <a:srgbClr val="2568B9"/>
                </a:solidFill>
              </a:rPr>
              <a:t> </a:t>
            </a:r>
            <a:r>
              <a:rPr lang="en-US" b="1" dirty="0">
                <a:solidFill>
                  <a:srgbClr val="0460A9"/>
                </a:solidFill>
              </a:rPr>
              <a:t>(PCO) </a:t>
            </a:r>
            <a:r>
              <a:rPr lang="en-US" dirty="0"/>
              <a:t>je spojena s HS ve všech podskupinách. Pravděpodobnost </a:t>
            </a:r>
            <a:r>
              <a:rPr lang="en-US" dirty="0" err="1"/>
              <a:t>výskytu</a:t>
            </a:r>
            <a:r>
              <a:rPr lang="en-US" dirty="0"/>
              <a:t> </a:t>
            </a:r>
            <a:r>
              <a:rPr lang="en-US" b="1" dirty="0">
                <a:solidFill>
                  <a:srgbClr val="2568B9"/>
                </a:solidFill>
              </a:rPr>
              <a:t>PCO </a:t>
            </a:r>
            <a:r>
              <a:rPr lang="en-US" dirty="0"/>
              <a:t>je </a:t>
            </a:r>
            <a:r>
              <a:rPr lang="en-US" b="1" dirty="0">
                <a:solidFill>
                  <a:srgbClr val="0070C0"/>
                </a:solidFill>
              </a:rPr>
              <a:t>2,14</a:t>
            </a:r>
            <a:r>
              <a:rPr lang="cs-CZ" b="1" dirty="0">
                <a:solidFill>
                  <a:srgbClr val="0070C0"/>
                </a:solidFill>
              </a:rPr>
              <a:t> x </a:t>
            </a:r>
            <a:r>
              <a:rPr lang="en-US" b="1" dirty="0" err="1">
                <a:solidFill>
                  <a:srgbClr val="0070C0"/>
                </a:solidFill>
              </a:rPr>
              <a:t>vyšší</a:t>
            </a:r>
            <a:r>
              <a:rPr lang="en-US" b="1" dirty="0">
                <a:solidFill>
                  <a:srgbClr val="0070C0"/>
                </a:solidFill>
              </a:rPr>
              <a:t> u pacientek s HS </a:t>
            </a:r>
            <a:r>
              <a:rPr lang="en-US" dirty="0"/>
              <a:t>ve srovnání s pacientkami bez HS.</a:t>
            </a:r>
            <a:r>
              <a:rPr lang="en-US" baseline="30000" dirty="0"/>
              <a:t>1</a:t>
            </a:r>
          </a:p>
          <a:p>
            <a:pPr>
              <a:buClr>
                <a:schemeClr val="tx1"/>
              </a:buClr>
            </a:pPr>
            <a:endParaRPr lang="en-US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="1" dirty="0">
              <a:solidFill>
                <a:srgbClr val="0460A9"/>
              </a:solidFill>
            </a:endParaRPr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0460A9"/>
                </a:solidFill>
              </a:rPr>
              <a:t>PCO </a:t>
            </a:r>
            <a:r>
              <a:rPr lang="en-US" dirty="0"/>
              <a:t>je </a:t>
            </a:r>
            <a:r>
              <a:rPr lang="en-US" b="1" dirty="0">
                <a:solidFill>
                  <a:srgbClr val="0460A9"/>
                </a:solidFill>
              </a:rPr>
              <a:t>významně </a:t>
            </a:r>
            <a:r>
              <a:rPr lang="en-US" b="1" dirty="0">
                <a:solidFill>
                  <a:srgbClr val="2568B9"/>
                </a:solidFill>
              </a:rPr>
              <a:t>vyšší (9 %) u </a:t>
            </a:r>
            <a:r>
              <a:rPr lang="en-US" b="1" dirty="0" err="1">
                <a:solidFill>
                  <a:srgbClr val="0460A9"/>
                </a:solidFill>
              </a:rPr>
              <a:t>pacient</a:t>
            </a:r>
            <a:r>
              <a:rPr lang="cs-CZ" b="1" dirty="0" err="1">
                <a:solidFill>
                  <a:srgbClr val="0460A9"/>
                </a:solidFill>
              </a:rPr>
              <a:t>ek</a:t>
            </a:r>
            <a:r>
              <a:rPr lang="en-US" b="1" dirty="0">
                <a:solidFill>
                  <a:srgbClr val="0460A9"/>
                </a:solidFill>
              </a:rPr>
              <a:t> s HS</a:t>
            </a:r>
            <a:r>
              <a:rPr lang="en-US" baseline="30000" dirty="0"/>
              <a:t>1</a:t>
            </a:r>
          </a:p>
          <a:p>
            <a:pPr>
              <a:buClr>
                <a:schemeClr val="tx1"/>
              </a:buClr>
            </a:pPr>
            <a:endParaRPr lang="en-US" baseline="30000" dirty="0"/>
          </a:p>
          <a:p>
            <a:pPr>
              <a:buClr>
                <a:schemeClr val="tx1"/>
              </a:buClr>
            </a:pPr>
            <a:endParaRPr lang="en-US" baseline="30000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aseline="30000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U pacientek s HS je </a:t>
            </a:r>
            <a:r>
              <a:rPr lang="cs-CZ" b="1" dirty="0">
                <a:solidFill>
                  <a:srgbClr val="0070C0"/>
                </a:solidFill>
              </a:rPr>
              <a:t>2 x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b="1" dirty="0">
                <a:solidFill>
                  <a:srgbClr val="0070C0"/>
                </a:solidFill>
              </a:rPr>
              <a:t>vyšší </a:t>
            </a:r>
            <a:r>
              <a:rPr lang="en-US" dirty="0"/>
              <a:t>pravděpodobnost, že se u nich </a:t>
            </a:r>
            <a:r>
              <a:rPr lang="en-US" dirty="0" err="1"/>
              <a:t>vyvine</a:t>
            </a:r>
            <a:r>
              <a:rPr lang="en-US" dirty="0"/>
              <a:t> PCO, než u zdravých kontrol, a pravděpodobnost je </a:t>
            </a:r>
            <a:r>
              <a:rPr lang="en-US" b="1" dirty="0">
                <a:solidFill>
                  <a:srgbClr val="0070C0"/>
                </a:solidFill>
              </a:rPr>
              <a:t>vyšší </a:t>
            </a:r>
            <a:r>
              <a:rPr lang="en-US" dirty="0"/>
              <a:t>u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/>
              <a:t>pacientek s </a:t>
            </a:r>
            <a:r>
              <a:rPr lang="en-US" b="1" dirty="0">
                <a:solidFill>
                  <a:schemeClr val="accent1"/>
                </a:solidFill>
              </a:rPr>
              <a:t>obezitou a/</a:t>
            </a:r>
            <a:r>
              <a:rPr lang="en-US" b="1" dirty="0" err="1">
                <a:solidFill>
                  <a:schemeClr val="accent1"/>
                </a:solidFill>
              </a:rPr>
              <a:t>nebo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cs-CZ" b="1" dirty="0">
                <a:solidFill>
                  <a:schemeClr val="accent1"/>
                </a:solidFill>
              </a:rPr>
              <a:t>diabetem</a:t>
            </a:r>
            <a:r>
              <a:rPr lang="en-US" b="1" dirty="0">
                <a:solidFill>
                  <a:schemeClr val="accent1"/>
                </a:solidFill>
              </a:rPr>
              <a:t>.</a:t>
            </a:r>
            <a:r>
              <a:rPr lang="en-US" baseline="30000" dirty="0"/>
              <a:t>1</a:t>
            </a:r>
          </a:p>
          <a:p>
            <a:pPr>
              <a:buClr>
                <a:schemeClr val="tx1"/>
              </a:buClr>
            </a:pPr>
            <a:endParaRPr lang="en-US" baseline="30000" dirty="0"/>
          </a:p>
          <a:p>
            <a:pPr>
              <a:buClr>
                <a:schemeClr val="tx1"/>
              </a:buClr>
            </a:pPr>
            <a:endParaRPr lang="en-US" dirty="0"/>
          </a:p>
          <a:p>
            <a:pPr marL="228594" indent="-228594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Pacienti s HS mají významně </a:t>
            </a:r>
            <a:r>
              <a:rPr lang="en-US" b="1" dirty="0">
                <a:solidFill>
                  <a:schemeClr val="accent1"/>
                </a:solidFill>
              </a:rPr>
              <a:t>vyšší hladinu </a:t>
            </a:r>
            <a:r>
              <a:rPr lang="en-US" b="1" dirty="0" err="1">
                <a:solidFill>
                  <a:schemeClr val="accent1"/>
                </a:solidFill>
              </a:rPr>
              <a:t>celkového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cs-CZ" b="1" dirty="0">
                <a:solidFill>
                  <a:schemeClr val="accent1"/>
                </a:solidFill>
              </a:rPr>
              <a:t>T3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a významně </a:t>
            </a:r>
            <a:r>
              <a:rPr lang="en-US" b="1" dirty="0">
                <a:solidFill>
                  <a:schemeClr val="accent1"/>
                </a:solidFill>
              </a:rPr>
              <a:t>nižší hladinu </a:t>
            </a:r>
            <a:r>
              <a:rPr lang="en-US" b="1" dirty="0" err="1">
                <a:solidFill>
                  <a:schemeClr val="accent1"/>
                </a:solidFill>
              </a:rPr>
              <a:t>hormonu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cs-CZ" b="1" dirty="0">
                <a:solidFill>
                  <a:schemeClr val="accent1"/>
                </a:solidFill>
              </a:rPr>
              <a:t>TSH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než kontrolní skupiny.</a:t>
            </a:r>
            <a:r>
              <a:rPr lang="en-US" baseline="30000" dirty="0"/>
              <a:t>2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812801" y="2846075"/>
            <a:ext cx="609600" cy="609600"/>
            <a:chOff x="685800" y="2141982"/>
            <a:chExt cx="457200" cy="457200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6D847917-0115-8A4A-B479-A30D49D76E85}"/>
                </a:ext>
              </a:extLst>
            </p:cNvPr>
            <p:cNvSpPr/>
            <p:nvPr/>
          </p:nvSpPr>
          <p:spPr>
            <a:xfrm>
              <a:off x="685800" y="2141982"/>
              <a:ext cx="457200" cy="457200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776790" y="2186101"/>
              <a:ext cx="290011" cy="352199"/>
              <a:chOff x="1049338" y="3027363"/>
              <a:chExt cx="769938" cy="935037"/>
            </a:xfrm>
          </p:grpSpPr>
          <p:sp>
            <p:nvSpPr>
              <p:cNvPr id="92" name="Freeform 39"/>
              <p:cNvSpPr>
                <a:spLocks/>
              </p:cNvSpPr>
              <p:nvPr/>
            </p:nvSpPr>
            <p:spPr bwMode="auto">
              <a:xfrm>
                <a:off x="1049338" y="3027363"/>
                <a:ext cx="446088" cy="695325"/>
              </a:xfrm>
              <a:custGeom>
                <a:avLst/>
                <a:gdLst>
                  <a:gd name="T0" fmla="*/ 148 w 221"/>
                  <a:gd name="T1" fmla="*/ 181 h 344"/>
                  <a:gd name="T2" fmla="*/ 115 w 221"/>
                  <a:gd name="T3" fmla="*/ 68 h 344"/>
                  <a:gd name="T4" fmla="*/ 96 w 221"/>
                  <a:gd name="T5" fmla="*/ 49 h 344"/>
                  <a:gd name="T6" fmla="*/ 118 w 221"/>
                  <a:gd name="T7" fmla="*/ 183 h 344"/>
                  <a:gd name="T8" fmla="*/ 156 w 221"/>
                  <a:gd name="T9" fmla="*/ 225 h 344"/>
                  <a:gd name="T10" fmla="*/ 70 w 221"/>
                  <a:gd name="T11" fmla="*/ 276 h 344"/>
                  <a:gd name="T12" fmla="*/ 58 w 221"/>
                  <a:gd name="T13" fmla="*/ 213 h 344"/>
                  <a:gd name="T14" fmla="*/ 39 w 221"/>
                  <a:gd name="T15" fmla="*/ 121 h 344"/>
                  <a:gd name="T16" fmla="*/ 67 w 221"/>
                  <a:gd name="T17" fmla="*/ 18 h 344"/>
                  <a:gd name="T18" fmla="*/ 50 w 221"/>
                  <a:gd name="T19" fmla="*/ 0 h 344"/>
                  <a:gd name="T20" fmla="*/ 25 w 221"/>
                  <a:gd name="T21" fmla="*/ 147 h 344"/>
                  <a:gd name="T22" fmla="*/ 32 w 221"/>
                  <a:gd name="T23" fmla="*/ 219 h 344"/>
                  <a:gd name="T24" fmla="*/ 69 w 221"/>
                  <a:gd name="T25" fmla="*/ 331 h 344"/>
                  <a:gd name="T26" fmla="*/ 205 w 221"/>
                  <a:gd name="T27" fmla="*/ 267 h 344"/>
                  <a:gd name="T28" fmla="*/ 148 w 221"/>
                  <a:gd name="T29" fmla="*/ 18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1" h="344">
                    <a:moveTo>
                      <a:pt x="148" y="181"/>
                    </a:moveTo>
                    <a:cubicBezTo>
                      <a:pt x="96" y="136"/>
                      <a:pt x="105" y="91"/>
                      <a:pt x="115" y="68"/>
                    </a:cubicBezTo>
                    <a:cubicBezTo>
                      <a:pt x="96" y="49"/>
                      <a:pt x="96" y="49"/>
                      <a:pt x="96" y="49"/>
                    </a:cubicBezTo>
                    <a:cubicBezTo>
                      <a:pt x="70" y="93"/>
                      <a:pt x="87" y="160"/>
                      <a:pt x="118" y="183"/>
                    </a:cubicBezTo>
                    <a:cubicBezTo>
                      <a:pt x="154" y="210"/>
                      <a:pt x="156" y="225"/>
                      <a:pt x="156" y="225"/>
                    </a:cubicBezTo>
                    <a:cubicBezTo>
                      <a:pt x="70" y="276"/>
                      <a:pt x="70" y="276"/>
                      <a:pt x="70" y="276"/>
                    </a:cubicBezTo>
                    <a:cubicBezTo>
                      <a:pt x="70" y="276"/>
                      <a:pt x="58" y="257"/>
                      <a:pt x="58" y="213"/>
                    </a:cubicBezTo>
                    <a:cubicBezTo>
                      <a:pt x="58" y="168"/>
                      <a:pt x="56" y="198"/>
                      <a:pt x="39" y="121"/>
                    </a:cubicBezTo>
                    <a:cubicBezTo>
                      <a:pt x="28" y="68"/>
                      <a:pt x="52" y="34"/>
                      <a:pt x="67" y="18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46" y="4"/>
                      <a:pt x="0" y="46"/>
                      <a:pt x="25" y="147"/>
                    </a:cubicBezTo>
                    <a:cubicBezTo>
                      <a:pt x="25" y="147"/>
                      <a:pt x="49" y="194"/>
                      <a:pt x="32" y="219"/>
                    </a:cubicBezTo>
                    <a:cubicBezTo>
                      <a:pt x="16" y="244"/>
                      <a:pt x="28" y="318"/>
                      <a:pt x="69" y="331"/>
                    </a:cubicBezTo>
                    <a:cubicBezTo>
                      <a:pt x="110" y="344"/>
                      <a:pt x="205" y="267"/>
                      <a:pt x="205" y="267"/>
                    </a:cubicBezTo>
                    <a:cubicBezTo>
                      <a:pt x="205" y="267"/>
                      <a:pt x="221" y="244"/>
                      <a:pt x="148" y="18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4" name="Freeform 40"/>
              <p:cNvSpPr>
                <a:spLocks/>
              </p:cNvSpPr>
              <p:nvPr/>
            </p:nvSpPr>
            <p:spPr bwMode="auto">
              <a:xfrm>
                <a:off x="1104901" y="3063875"/>
                <a:ext cx="258763" cy="522287"/>
              </a:xfrm>
              <a:custGeom>
                <a:avLst/>
                <a:gdLst>
                  <a:gd name="T0" fmla="*/ 11 w 128"/>
                  <a:gd name="T1" fmla="*/ 103 h 258"/>
                  <a:gd name="T2" fmla="*/ 30 w 128"/>
                  <a:gd name="T3" fmla="*/ 195 h 258"/>
                  <a:gd name="T4" fmla="*/ 42 w 128"/>
                  <a:gd name="T5" fmla="*/ 258 h 258"/>
                  <a:gd name="T6" fmla="*/ 128 w 128"/>
                  <a:gd name="T7" fmla="*/ 207 h 258"/>
                  <a:gd name="T8" fmla="*/ 90 w 128"/>
                  <a:gd name="T9" fmla="*/ 165 h 258"/>
                  <a:gd name="T10" fmla="*/ 68 w 128"/>
                  <a:gd name="T11" fmla="*/ 31 h 258"/>
                  <a:gd name="T12" fmla="*/ 39 w 128"/>
                  <a:gd name="T13" fmla="*/ 0 h 258"/>
                  <a:gd name="T14" fmla="*/ 11 w 128"/>
                  <a:gd name="T15" fmla="*/ 103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" h="258">
                    <a:moveTo>
                      <a:pt x="11" y="103"/>
                    </a:moveTo>
                    <a:cubicBezTo>
                      <a:pt x="28" y="180"/>
                      <a:pt x="30" y="150"/>
                      <a:pt x="30" y="195"/>
                    </a:cubicBezTo>
                    <a:cubicBezTo>
                      <a:pt x="30" y="239"/>
                      <a:pt x="42" y="258"/>
                      <a:pt x="42" y="258"/>
                    </a:cubicBezTo>
                    <a:cubicBezTo>
                      <a:pt x="128" y="207"/>
                      <a:pt x="128" y="207"/>
                      <a:pt x="128" y="207"/>
                    </a:cubicBezTo>
                    <a:cubicBezTo>
                      <a:pt x="128" y="207"/>
                      <a:pt x="126" y="192"/>
                      <a:pt x="90" y="165"/>
                    </a:cubicBezTo>
                    <a:cubicBezTo>
                      <a:pt x="59" y="142"/>
                      <a:pt x="42" y="75"/>
                      <a:pt x="68" y="31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24" y="16"/>
                      <a:pt x="0" y="50"/>
                      <a:pt x="11" y="103"/>
                    </a:cubicBez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7" name="Freeform 41"/>
              <p:cNvSpPr>
                <a:spLocks/>
              </p:cNvSpPr>
              <p:nvPr/>
            </p:nvSpPr>
            <p:spPr bwMode="auto">
              <a:xfrm>
                <a:off x="1355726" y="3667125"/>
                <a:ext cx="463550" cy="295275"/>
              </a:xfrm>
              <a:custGeom>
                <a:avLst/>
                <a:gdLst>
                  <a:gd name="T0" fmla="*/ 147 w 229"/>
                  <a:gd name="T1" fmla="*/ 91 h 146"/>
                  <a:gd name="T2" fmla="*/ 94 w 229"/>
                  <a:gd name="T3" fmla="*/ 29 h 146"/>
                  <a:gd name="T4" fmla="*/ 53 w 229"/>
                  <a:gd name="T5" fmla="*/ 117 h 146"/>
                  <a:gd name="T6" fmla="*/ 152 w 229"/>
                  <a:gd name="T7" fmla="*/ 136 h 146"/>
                  <a:gd name="T8" fmla="*/ 229 w 229"/>
                  <a:gd name="T9" fmla="*/ 27 h 146"/>
                  <a:gd name="T10" fmla="*/ 203 w 229"/>
                  <a:gd name="T11" fmla="*/ 0 h 146"/>
                  <a:gd name="T12" fmla="*/ 147 w 229"/>
                  <a:gd name="T13" fmla="*/ 91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9" h="146">
                    <a:moveTo>
                      <a:pt x="147" y="91"/>
                    </a:moveTo>
                    <a:cubicBezTo>
                      <a:pt x="99" y="99"/>
                      <a:pt x="94" y="29"/>
                      <a:pt x="94" y="29"/>
                    </a:cubicBezTo>
                    <a:cubicBezTo>
                      <a:pt x="94" y="29"/>
                      <a:pt x="0" y="88"/>
                      <a:pt x="53" y="117"/>
                    </a:cubicBezTo>
                    <a:cubicBezTo>
                      <a:pt x="107" y="146"/>
                      <a:pt x="152" y="136"/>
                      <a:pt x="152" y="136"/>
                    </a:cubicBezTo>
                    <a:cubicBezTo>
                      <a:pt x="224" y="125"/>
                      <a:pt x="229" y="54"/>
                      <a:pt x="229" y="27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204" y="96"/>
                      <a:pt x="158" y="89"/>
                      <a:pt x="147" y="9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8" name="Freeform 42"/>
              <p:cNvSpPr>
                <a:spLocks/>
              </p:cNvSpPr>
              <p:nvPr/>
            </p:nvSpPr>
            <p:spPr bwMode="auto">
              <a:xfrm>
                <a:off x="1422401" y="3713163"/>
                <a:ext cx="141288" cy="160337"/>
              </a:xfrm>
              <a:custGeom>
                <a:avLst/>
                <a:gdLst>
                  <a:gd name="T0" fmla="*/ 57 w 70"/>
                  <a:gd name="T1" fmla="*/ 24 h 79"/>
                  <a:gd name="T2" fmla="*/ 58 w 70"/>
                  <a:gd name="T3" fmla="*/ 70 h 79"/>
                  <a:gd name="T4" fmla="*/ 13 w 70"/>
                  <a:gd name="T5" fmla="*/ 56 h 79"/>
                  <a:gd name="T6" fmla="*/ 12 w 70"/>
                  <a:gd name="T7" fmla="*/ 9 h 79"/>
                  <a:gd name="T8" fmla="*/ 57 w 70"/>
                  <a:gd name="T9" fmla="*/ 2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79">
                    <a:moveTo>
                      <a:pt x="57" y="24"/>
                    </a:moveTo>
                    <a:cubicBezTo>
                      <a:pt x="69" y="40"/>
                      <a:pt x="70" y="61"/>
                      <a:pt x="58" y="70"/>
                    </a:cubicBezTo>
                    <a:cubicBezTo>
                      <a:pt x="46" y="79"/>
                      <a:pt x="26" y="73"/>
                      <a:pt x="13" y="56"/>
                    </a:cubicBezTo>
                    <a:cubicBezTo>
                      <a:pt x="1" y="39"/>
                      <a:pt x="0" y="18"/>
                      <a:pt x="12" y="9"/>
                    </a:cubicBezTo>
                    <a:cubicBezTo>
                      <a:pt x="24" y="0"/>
                      <a:pt x="44" y="7"/>
                      <a:pt x="57" y="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99" name="Freeform 43"/>
              <p:cNvSpPr>
                <a:spLocks/>
              </p:cNvSpPr>
              <p:nvPr/>
            </p:nvSpPr>
            <p:spPr bwMode="auto">
              <a:xfrm>
                <a:off x="1354138" y="3778250"/>
                <a:ext cx="157163" cy="179387"/>
              </a:xfrm>
              <a:custGeom>
                <a:avLst/>
                <a:gdLst>
                  <a:gd name="T0" fmla="*/ 63 w 78"/>
                  <a:gd name="T1" fmla="*/ 26 h 89"/>
                  <a:gd name="T2" fmla="*/ 65 w 78"/>
                  <a:gd name="T3" fmla="*/ 79 h 89"/>
                  <a:gd name="T4" fmla="*/ 15 w 78"/>
                  <a:gd name="T5" fmla="*/ 63 h 89"/>
                  <a:gd name="T6" fmla="*/ 13 w 78"/>
                  <a:gd name="T7" fmla="*/ 10 h 89"/>
                  <a:gd name="T8" fmla="*/ 63 w 78"/>
                  <a:gd name="T9" fmla="*/ 2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89">
                    <a:moveTo>
                      <a:pt x="63" y="26"/>
                    </a:moveTo>
                    <a:cubicBezTo>
                      <a:pt x="78" y="45"/>
                      <a:pt x="78" y="69"/>
                      <a:pt x="65" y="79"/>
                    </a:cubicBezTo>
                    <a:cubicBezTo>
                      <a:pt x="51" y="89"/>
                      <a:pt x="29" y="82"/>
                      <a:pt x="15" y="63"/>
                    </a:cubicBezTo>
                    <a:cubicBezTo>
                      <a:pt x="0" y="44"/>
                      <a:pt x="0" y="20"/>
                      <a:pt x="13" y="10"/>
                    </a:cubicBezTo>
                    <a:cubicBezTo>
                      <a:pt x="27" y="0"/>
                      <a:pt x="49" y="7"/>
                      <a:pt x="63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0" name="Freeform 44"/>
              <p:cNvSpPr>
                <a:spLocks/>
              </p:cNvSpPr>
              <p:nvPr/>
            </p:nvSpPr>
            <p:spPr bwMode="auto">
              <a:xfrm>
                <a:off x="1198563" y="3421063"/>
                <a:ext cx="184150" cy="212725"/>
              </a:xfrm>
              <a:custGeom>
                <a:avLst/>
                <a:gdLst>
                  <a:gd name="T0" fmla="*/ 72 w 91"/>
                  <a:gd name="T1" fmla="*/ 33 h 105"/>
                  <a:gd name="T2" fmla="*/ 77 w 91"/>
                  <a:gd name="T3" fmla="*/ 94 h 105"/>
                  <a:gd name="T4" fmla="*/ 20 w 91"/>
                  <a:gd name="T5" fmla="*/ 72 h 105"/>
                  <a:gd name="T6" fmla="*/ 15 w 91"/>
                  <a:gd name="T7" fmla="*/ 11 h 105"/>
                  <a:gd name="T8" fmla="*/ 72 w 91"/>
                  <a:gd name="T9" fmla="*/ 33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105">
                    <a:moveTo>
                      <a:pt x="72" y="33"/>
                    </a:moveTo>
                    <a:cubicBezTo>
                      <a:pt x="89" y="56"/>
                      <a:pt x="91" y="83"/>
                      <a:pt x="77" y="94"/>
                    </a:cubicBezTo>
                    <a:cubicBezTo>
                      <a:pt x="62" y="105"/>
                      <a:pt x="37" y="95"/>
                      <a:pt x="20" y="72"/>
                    </a:cubicBezTo>
                    <a:cubicBezTo>
                      <a:pt x="3" y="49"/>
                      <a:pt x="0" y="22"/>
                      <a:pt x="15" y="11"/>
                    </a:cubicBezTo>
                    <a:cubicBezTo>
                      <a:pt x="29" y="0"/>
                      <a:pt x="55" y="10"/>
                      <a:pt x="72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1" name="Freeform 45"/>
              <p:cNvSpPr>
                <a:spLocks/>
              </p:cNvSpPr>
              <p:nvPr/>
            </p:nvSpPr>
            <p:spPr bwMode="auto">
              <a:xfrm>
                <a:off x="1330326" y="3440113"/>
                <a:ext cx="141288" cy="160337"/>
              </a:xfrm>
              <a:custGeom>
                <a:avLst/>
                <a:gdLst>
                  <a:gd name="T0" fmla="*/ 57 w 70"/>
                  <a:gd name="T1" fmla="*/ 23 h 79"/>
                  <a:gd name="T2" fmla="*/ 58 w 70"/>
                  <a:gd name="T3" fmla="*/ 70 h 79"/>
                  <a:gd name="T4" fmla="*/ 13 w 70"/>
                  <a:gd name="T5" fmla="*/ 56 h 79"/>
                  <a:gd name="T6" fmla="*/ 12 w 70"/>
                  <a:gd name="T7" fmla="*/ 9 h 79"/>
                  <a:gd name="T8" fmla="*/ 57 w 70"/>
                  <a:gd name="T9" fmla="*/ 2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79">
                    <a:moveTo>
                      <a:pt x="57" y="23"/>
                    </a:moveTo>
                    <a:cubicBezTo>
                      <a:pt x="69" y="40"/>
                      <a:pt x="70" y="61"/>
                      <a:pt x="58" y="70"/>
                    </a:cubicBezTo>
                    <a:cubicBezTo>
                      <a:pt x="46" y="79"/>
                      <a:pt x="26" y="72"/>
                      <a:pt x="13" y="56"/>
                    </a:cubicBezTo>
                    <a:cubicBezTo>
                      <a:pt x="1" y="39"/>
                      <a:pt x="0" y="18"/>
                      <a:pt x="12" y="9"/>
                    </a:cubicBezTo>
                    <a:cubicBezTo>
                      <a:pt x="24" y="0"/>
                      <a:pt x="44" y="6"/>
                      <a:pt x="57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2" name="Freeform 46"/>
              <p:cNvSpPr>
                <a:spLocks/>
              </p:cNvSpPr>
              <p:nvPr/>
            </p:nvSpPr>
            <p:spPr bwMode="auto">
              <a:xfrm>
                <a:off x="1147763" y="3536950"/>
                <a:ext cx="139700" cy="160337"/>
              </a:xfrm>
              <a:custGeom>
                <a:avLst/>
                <a:gdLst>
                  <a:gd name="T0" fmla="*/ 56 w 69"/>
                  <a:gd name="T1" fmla="*/ 24 h 79"/>
                  <a:gd name="T2" fmla="*/ 58 w 69"/>
                  <a:gd name="T3" fmla="*/ 70 h 79"/>
                  <a:gd name="T4" fmla="*/ 13 w 69"/>
                  <a:gd name="T5" fmla="*/ 56 h 79"/>
                  <a:gd name="T6" fmla="*/ 12 w 69"/>
                  <a:gd name="T7" fmla="*/ 9 h 79"/>
                  <a:gd name="T8" fmla="*/ 56 w 69"/>
                  <a:gd name="T9" fmla="*/ 2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79">
                    <a:moveTo>
                      <a:pt x="56" y="24"/>
                    </a:moveTo>
                    <a:cubicBezTo>
                      <a:pt x="69" y="40"/>
                      <a:pt x="69" y="61"/>
                      <a:pt x="58" y="70"/>
                    </a:cubicBezTo>
                    <a:cubicBezTo>
                      <a:pt x="46" y="79"/>
                      <a:pt x="26" y="73"/>
                      <a:pt x="13" y="56"/>
                    </a:cubicBezTo>
                    <a:cubicBezTo>
                      <a:pt x="1" y="39"/>
                      <a:pt x="0" y="18"/>
                      <a:pt x="12" y="9"/>
                    </a:cubicBezTo>
                    <a:cubicBezTo>
                      <a:pt x="24" y="0"/>
                      <a:pt x="44" y="7"/>
                      <a:pt x="56" y="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3" name="Freeform 47"/>
              <p:cNvSpPr>
                <a:spLocks/>
              </p:cNvSpPr>
              <p:nvPr/>
            </p:nvSpPr>
            <p:spPr bwMode="auto">
              <a:xfrm>
                <a:off x="1404938" y="3516313"/>
                <a:ext cx="141288" cy="160337"/>
              </a:xfrm>
              <a:custGeom>
                <a:avLst/>
                <a:gdLst>
                  <a:gd name="T0" fmla="*/ 57 w 70"/>
                  <a:gd name="T1" fmla="*/ 23 h 79"/>
                  <a:gd name="T2" fmla="*/ 58 w 70"/>
                  <a:gd name="T3" fmla="*/ 70 h 79"/>
                  <a:gd name="T4" fmla="*/ 14 w 70"/>
                  <a:gd name="T5" fmla="*/ 56 h 79"/>
                  <a:gd name="T6" fmla="*/ 12 w 70"/>
                  <a:gd name="T7" fmla="*/ 9 h 79"/>
                  <a:gd name="T8" fmla="*/ 57 w 70"/>
                  <a:gd name="T9" fmla="*/ 2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79">
                    <a:moveTo>
                      <a:pt x="57" y="23"/>
                    </a:moveTo>
                    <a:cubicBezTo>
                      <a:pt x="69" y="40"/>
                      <a:pt x="70" y="61"/>
                      <a:pt x="58" y="70"/>
                    </a:cubicBezTo>
                    <a:cubicBezTo>
                      <a:pt x="46" y="79"/>
                      <a:pt x="26" y="72"/>
                      <a:pt x="14" y="56"/>
                    </a:cubicBezTo>
                    <a:cubicBezTo>
                      <a:pt x="1" y="39"/>
                      <a:pt x="0" y="18"/>
                      <a:pt x="12" y="9"/>
                    </a:cubicBezTo>
                    <a:cubicBezTo>
                      <a:pt x="24" y="0"/>
                      <a:pt x="44" y="6"/>
                      <a:pt x="57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4" name="Freeform 48"/>
              <p:cNvSpPr>
                <a:spLocks/>
              </p:cNvSpPr>
              <p:nvPr/>
            </p:nvSpPr>
            <p:spPr bwMode="auto">
              <a:xfrm>
                <a:off x="1406526" y="3611563"/>
                <a:ext cx="157163" cy="177800"/>
              </a:xfrm>
              <a:custGeom>
                <a:avLst/>
                <a:gdLst>
                  <a:gd name="T0" fmla="*/ 64 w 78"/>
                  <a:gd name="T1" fmla="*/ 26 h 88"/>
                  <a:gd name="T2" fmla="*/ 65 w 78"/>
                  <a:gd name="T3" fmla="*/ 78 h 88"/>
                  <a:gd name="T4" fmla="*/ 15 w 78"/>
                  <a:gd name="T5" fmla="*/ 62 h 88"/>
                  <a:gd name="T6" fmla="*/ 13 w 78"/>
                  <a:gd name="T7" fmla="*/ 10 h 88"/>
                  <a:gd name="T8" fmla="*/ 64 w 78"/>
                  <a:gd name="T9" fmla="*/ 2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88">
                    <a:moveTo>
                      <a:pt x="64" y="26"/>
                    </a:moveTo>
                    <a:cubicBezTo>
                      <a:pt x="78" y="45"/>
                      <a:pt x="78" y="68"/>
                      <a:pt x="65" y="78"/>
                    </a:cubicBezTo>
                    <a:cubicBezTo>
                      <a:pt x="51" y="88"/>
                      <a:pt x="29" y="81"/>
                      <a:pt x="15" y="62"/>
                    </a:cubicBezTo>
                    <a:cubicBezTo>
                      <a:pt x="1" y="43"/>
                      <a:pt x="0" y="20"/>
                      <a:pt x="13" y="10"/>
                    </a:cubicBezTo>
                    <a:cubicBezTo>
                      <a:pt x="27" y="0"/>
                      <a:pt x="49" y="7"/>
                      <a:pt x="64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5" name="Freeform 49"/>
              <p:cNvSpPr>
                <a:spLocks/>
              </p:cNvSpPr>
              <p:nvPr/>
            </p:nvSpPr>
            <p:spPr bwMode="auto">
              <a:xfrm>
                <a:off x="1176338" y="3638550"/>
                <a:ext cx="158750" cy="179387"/>
              </a:xfrm>
              <a:custGeom>
                <a:avLst/>
                <a:gdLst>
                  <a:gd name="T0" fmla="*/ 64 w 79"/>
                  <a:gd name="T1" fmla="*/ 26 h 89"/>
                  <a:gd name="T2" fmla="*/ 65 w 79"/>
                  <a:gd name="T3" fmla="*/ 78 h 89"/>
                  <a:gd name="T4" fmla="*/ 15 w 79"/>
                  <a:gd name="T5" fmla="*/ 62 h 89"/>
                  <a:gd name="T6" fmla="*/ 14 w 79"/>
                  <a:gd name="T7" fmla="*/ 10 h 89"/>
                  <a:gd name="T8" fmla="*/ 64 w 79"/>
                  <a:gd name="T9" fmla="*/ 2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" h="89">
                    <a:moveTo>
                      <a:pt x="64" y="26"/>
                    </a:moveTo>
                    <a:cubicBezTo>
                      <a:pt x="78" y="45"/>
                      <a:pt x="79" y="68"/>
                      <a:pt x="65" y="78"/>
                    </a:cubicBezTo>
                    <a:cubicBezTo>
                      <a:pt x="52" y="89"/>
                      <a:pt x="29" y="81"/>
                      <a:pt x="15" y="62"/>
                    </a:cubicBezTo>
                    <a:cubicBezTo>
                      <a:pt x="1" y="43"/>
                      <a:pt x="0" y="20"/>
                      <a:pt x="14" y="10"/>
                    </a:cubicBezTo>
                    <a:cubicBezTo>
                      <a:pt x="27" y="0"/>
                      <a:pt x="49" y="7"/>
                      <a:pt x="64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6" name="Freeform 50"/>
              <p:cNvSpPr>
                <a:spLocks/>
              </p:cNvSpPr>
              <p:nvPr/>
            </p:nvSpPr>
            <p:spPr bwMode="auto">
              <a:xfrm>
                <a:off x="1250951" y="3735388"/>
                <a:ext cx="141288" cy="157162"/>
              </a:xfrm>
              <a:custGeom>
                <a:avLst/>
                <a:gdLst>
                  <a:gd name="T0" fmla="*/ 56 w 70"/>
                  <a:gd name="T1" fmla="*/ 23 h 78"/>
                  <a:gd name="T2" fmla="*/ 58 w 70"/>
                  <a:gd name="T3" fmla="*/ 69 h 78"/>
                  <a:gd name="T4" fmla="*/ 13 w 70"/>
                  <a:gd name="T5" fmla="*/ 55 h 78"/>
                  <a:gd name="T6" fmla="*/ 12 w 70"/>
                  <a:gd name="T7" fmla="*/ 9 h 78"/>
                  <a:gd name="T8" fmla="*/ 56 w 70"/>
                  <a:gd name="T9" fmla="*/ 23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78">
                    <a:moveTo>
                      <a:pt x="56" y="23"/>
                    </a:moveTo>
                    <a:cubicBezTo>
                      <a:pt x="69" y="40"/>
                      <a:pt x="70" y="61"/>
                      <a:pt x="58" y="69"/>
                    </a:cubicBezTo>
                    <a:cubicBezTo>
                      <a:pt x="46" y="78"/>
                      <a:pt x="26" y="72"/>
                      <a:pt x="13" y="55"/>
                    </a:cubicBezTo>
                    <a:cubicBezTo>
                      <a:pt x="1" y="38"/>
                      <a:pt x="0" y="17"/>
                      <a:pt x="12" y="9"/>
                    </a:cubicBezTo>
                    <a:cubicBezTo>
                      <a:pt x="24" y="0"/>
                      <a:pt x="44" y="6"/>
                      <a:pt x="56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7" name="Freeform 51"/>
              <p:cNvSpPr>
                <a:spLocks/>
              </p:cNvSpPr>
              <p:nvPr/>
            </p:nvSpPr>
            <p:spPr bwMode="auto">
              <a:xfrm>
                <a:off x="1303338" y="3644900"/>
                <a:ext cx="157163" cy="179387"/>
              </a:xfrm>
              <a:custGeom>
                <a:avLst/>
                <a:gdLst>
                  <a:gd name="T0" fmla="*/ 63 w 78"/>
                  <a:gd name="T1" fmla="*/ 26 h 89"/>
                  <a:gd name="T2" fmla="*/ 65 w 78"/>
                  <a:gd name="T3" fmla="*/ 79 h 89"/>
                  <a:gd name="T4" fmla="*/ 15 w 78"/>
                  <a:gd name="T5" fmla="*/ 63 h 89"/>
                  <a:gd name="T6" fmla="*/ 13 w 78"/>
                  <a:gd name="T7" fmla="*/ 10 h 89"/>
                  <a:gd name="T8" fmla="*/ 63 w 78"/>
                  <a:gd name="T9" fmla="*/ 2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89">
                    <a:moveTo>
                      <a:pt x="63" y="26"/>
                    </a:moveTo>
                    <a:cubicBezTo>
                      <a:pt x="78" y="45"/>
                      <a:pt x="78" y="69"/>
                      <a:pt x="65" y="79"/>
                    </a:cubicBezTo>
                    <a:cubicBezTo>
                      <a:pt x="51" y="89"/>
                      <a:pt x="29" y="82"/>
                      <a:pt x="15" y="63"/>
                    </a:cubicBezTo>
                    <a:cubicBezTo>
                      <a:pt x="1" y="44"/>
                      <a:pt x="0" y="20"/>
                      <a:pt x="13" y="10"/>
                    </a:cubicBezTo>
                    <a:cubicBezTo>
                      <a:pt x="27" y="0"/>
                      <a:pt x="49" y="7"/>
                      <a:pt x="63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8" name="Freeform 52"/>
              <p:cNvSpPr>
                <a:spLocks/>
              </p:cNvSpPr>
              <p:nvPr/>
            </p:nvSpPr>
            <p:spPr bwMode="auto">
              <a:xfrm>
                <a:off x="1330326" y="3536950"/>
                <a:ext cx="138113" cy="160337"/>
              </a:xfrm>
              <a:custGeom>
                <a:avLst/>
                <a:gdLst>
                  <a:gd name="T0" fmla="*/ 56 w 69"/>
                  <a:gd name="T1" fmla="*/ 24 h 79"/>
                  <a:gd name="T2" fmla="*/ 57 w 69"/>
                  <a:gd name="T3" fmla="*/ 70 h 79"/>
                  <a:gd name="T4" fmla="*/ 13 w 69"/>
                  <a:gd name="T5" fmla="*/ 56 h 79"/>
                  <a:gd name="T6" fmla="*/ 12 w 69"/>
                  <a:gd name="T7" fmla="*/ 9 h 79"/>
                  <a:gd name="T8" fmla="*/ 56 w 69"/>
                  <a:gd name="T9" fmla="*/ 2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79">
                    <a:moveTo>
                      <a:pt x="56" y="24"/>
                    </a:moveTo>
                    <a:cubicBezTo>
                      <a:pt x="69" y="40"/>
                      <a:pt x="69" y="61"/>
                      <a:pt x="57" y="70"/>
                    </a:cubicBezTo>
                    <a:cubicBezTo>
                      <a:pt x="46" y="79"/>
                      <a:pt x="26" y="73"/>
                      <a:pt x="13" y="56"/>
                    </a:cubicBezTo>
                    <a:cubicBezTo>
                      <a:pt x="0" y="39"/>
                      <a:pt x="0" y="18"/>
                      <a:pt x="12" y="9"/>
                    </a:cubicBezTo>
                    <a:cubicBezTo>
                      <a:pt x="24" y="0"/>
                      <a:pt x="44" y="7"/>
                      <a:pt x="56" y="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9" name="Freeform 53"/>
              <p:cNvSpPr>
                <a:spLocks/>
              </p:cNvSpPr>
              <p:nvPr/>
            </p:nvSpPr>
            <p:spPr bwMode="auto">
              <a:xfrm>
                <a:off x="1241426" y="3579813"/>
                <a:ext cx="141288" cy="160337"/>
              </a:xfrm>
              <a:custGeom>
                <a:avLst/>
                <a:gdLst>
                  <a:gd name="T0" fmla="*/ 56 w 70"/>
                  <a:gd name="T1" fmla="*/ 23 h 79"/>
                  <a:gd name="T2" fmla="*/ 58 w 70"/>
                  <a:gd name="T3" fmla="*/ 70 h 79"/>
                  <a:gd name="T4" fmla="*/ 13 w 70"/>
                  <a:gd name="T5" fmla="*/ 55 h 79"/>
                  <a:gd name="T6" fmla="*/ 12 w 70"/>
                  <a:gd name="T7" fmla="*/ 9 h 79"/>
                  <a:gd name="T8" fmla="*/ 56 w 70"/>
                  <a:gd name="T9" fmla="*/ 2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79">
                    <a:moveTo>
                      <a:pt x="56" y="23"/>
                    </a:moveTo>
                    <a:cubicBezTo>
                      <a:pt x="69" y="40"/>
                      <a:pt x="70" y="61"/>
                      <a:pt x="58" y="70"/>
                    </a:cubicBezTo>
                    <a:cubicBezTo>
                      <a:pt x="46" y="79"/>
                      <a:pt x="26" y="72"/>
                      <a:pt x="13" y="55"/>
                    </a:cubicBezTo>
                    <a:cubicBezTo>
                      <a:pt x="1" y="38"/>
                      <a:pt x="0" y="18"/>
                      <a:pt x="12" y="9"/>
                    </a:cubicBezTo>
                    <a:cubicBezTo>
                      <a:pt x="24" y="0"/>
                      <a:pt x="44" y="6"/>
                      <a:pt x="56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2568B9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</p:grpSp>
      </p:grpSp>
      <p:sp>
        <p:nvSpPr>
          <p:cNvPr id="73" name="TextBox 72"/>
          <p:cNvSpPr txBox="1"/>
          <p:nvPr/>
        </p:nvSpPr>
        <p:spPr>
          <a:xfrm>
            <a:off x="582072" y="6209268"/>
            <a:ext cx="70902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HS, hidradenitis suppurativa; PCOS, syndrom polycystických vaječníků. </a:t>
            </a:r>
          </a:p>
          <a:p>
            <a:r>
              <a:rPr lang="en-US" sz="800" dirty="0"/>
              <a:t>1. </a:t>
            </a:r>
            <a:r>
              <a:rPr lang="en-US" sz="800" dirty="0">
                <a:hlinkClick r:id="rId11"/>
              </a:rPr>
              <a:t>Garg A, et al. </a:t>
            </a:r>
            <a:r>
              <a:rPr lang="en-US" sz="800" i="1" dirty="0">
                <a:hlinkClick r:id="rId11"/>
              </a:rPr>
              <a:t>J Invest Dermatol</a:t>
            </a:r>
            <a:r>
              <a:rPr lang="en-US" sz="800" dirty="0">
                <a:hlinkClick r:id="rId11"/>
              </a:rPr>
              <a:t>. 2018;138(6):1288-1292</a:t>
            </a:r>
            <a:r>
              <a:rPr lang="en-US" sz="800" dirty="0"/>
              <a:t>; 2. </a:t>
            </a:r>
            <a:r>
              <a:rPr lang="en-US" sz="800" dirty="0">
                <a:hlinkClick r:id="rId12"/>
              </a:rPr>
              <a:t>Miller IM, et al. </a:t>
            </a:r>
            <a:r>
              <a:rPr lang="en-US" sz="800" i="1" dirty="0">
                <a:hlinkClick r:id="rId12"/>
              </a:rPr>
              <a:t>Clin Exp Dermatol</a:t>
            </a:r>
            <a:r>
              <a:rPr lang="en-US" sz="800" dirty="0">
                <a:hlinkClick r:id="rId12"/>
              </a:rPr>
              <a:t>. 2018;43(8):899-905</a:t>
            </a:r>
            <a:r>
              <a:rPr lang="en-US" sz="800" dirty="0"/>
              <a:t>.</a:t>
            </a:r>
          </a:p>
        </p:txBody>
      </p:sp>
      <p:sp>
        <p:nvSpPr>
          <p:cNvPr id="75" name="Rectangle 74">
            <a:hlinkClick r:id="rId13" action="ppaction://hlinksldjump"/>
          </p:cNvPr>
          <p:cNvSpPr/>
          <p:nvPr/>
        </p:nvSpPr>
        <p:spPr>
          <a:xfrm>
            <a:off x="11593301" y="1"/>
            <a:ext cx="598699" cy="651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76" name="Slide Number Placeholder 4">
            <a:extLst>
              <a:ext uri="{FF2B5EF4-FFF2-40B4-BE49-F238E27FC236}">
                <a16:creationId xmlns:a16="http://schemas.microsoft.com/office/drawing/2014/main" id="{58D9D9AA-CF25-45DB-8B25-7B963E1FB6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21</a:t>
            </a:fld>
            <a:endParaRPr lang="uk-UA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25D5352-F9A1-53BE-85A4-93B8C726384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142550" y="3339419"/>
            <a:ext cx="6111770" cy="60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7519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E078D09-6DCC-75CF-FCF3-EC89892CCA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132" y="365125"/>
            <a:ext cx="7585668" cy="1325563"/>
          </a:xfrm>
        </p:spPr>
        <p:txBody>
          <a:bodyPr>
            <a:normAutofit/>
          </a:bodyPr>
          <a:lstStyle/>
          <a:p>
            <a:r>
              <a:rPr lang="cs-CZ" sz="3600" b="1" dirty="0"/>
              <a:t>Další asociace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DA3571B-E9E0-B734-55EB-E5BD37E0D7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0548"/>
              </p:ext>
            </p:extLst>
          </p:nvPr>
        </p:nvGraphicFramePr>
        <p:xfrm>
          <a:off x="1406769" y="1929283"/>
          <a:ext cx="9425354" cy="39311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2790">
                  <a:extLst>
                    <a:ext uri="{9D8B030D-6E8A-4147-A177-3AD203B41FA5}">
                      <a16:colId xmlns:a16="http://schemas.microsoft.com/office/drawing/2014/main" val="4191779097"/>
                    </a:ext>
                  </a:extLst>
                </a:gridCol>
                <a:gridCol w="3191282">
                  <a:extLst>
                    <a:ext uri="{9D8B030D-6E8A-4147-A177-3AD203B41FA5}">
                      <a16:colId xmlns:a16="http://schemas.microsoft.com/office/drawing/2014/main" val="216947107"/>
                    </a:ext>
                  </a:extLst>
                </a:gridCol>
                <a:gridCol w="3191282">
                  <a:extLst>
                    <a:ext uri="{9D8B030D-6E8A-4147-A177-3AD203B41FA5}">
                      <a16:colId xmlns:a16="http://schemas.microsoft.com/office/drawing/2014/main" val="3703836936"/>
                    </a:ext>
                  </a:extLst>
                </a:gridCol>
              </a:tblGrid>
              <a:tr h="676215">
                <a:tc>
                  <a:txBody>
                    <a:bodyPr/>
                    <a:lstStyle/>
                    <a:p>
                      <a:r>
                        <a:rPr lang="cs-CZ" sz="2000" dirty="0"/>
                        <a:t>Diagnóz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000" dirty="0"/>
                        <a:t>Míra rizik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000" dirty="0"/>
                        <a:t>Publika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715058"/>
                  </a:ext>
                </a:extLst>
              </a:tr>
              <a:tr h="810660">
                <a:tc>
                  <a:txBody>
                    <a:bodyPr/>
                    <a:lstStyle/>
                    <a:p>
                      <a:r>
                        <a:rPr lang="cs-CZ" sz="2400" b="1" dirty="0" err="1">
                          <a:solidFill>
                            <a:srgbClr val="002060"/>
                          </a:solidFill>
                        </a:rPr>
                        <a:t>Pilonidální</a:t>
                      </a:r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 sin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5.0, 5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Lee 2018, </a:t>
                      </a:r>
                      <a:r>
                        <a:rPr lang="cs-CZ" sz="2400" b="1" dirty="0" err="1">
                          <a:solidFill>
                            <a:srgbClr val="002060"/>
                          </a:solidFill>
                        </a:rPr>
                        <a:t>Ingram</a:t>
                      </a:r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 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6065253"/>
                  </a:ext>
                </a:extLst>
              </a:tr>
              <a:tr h="810660">
                <a:tc>
                  <a:txBody>
                    <a:bodyPr/>
                    <a:lstStyle/>
                    <a:p>
                      <a:r>
                        <a:rPr lang="cs-CZ" sz="2400" b="1" dirty="0" err="1">
                          <a:solidFill>
                            <a:srgbClr val="002060"/>
                          </a:solidFill>
                        </a:rPr>
                        <a:t>Acne</a:t>
                      </a:r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cs-CZ" sz="2400" b="1" dirty="0" err="1">
                          <a:solidFill>
                            <a:srgbClr val="002060"/>
                          </a:solidFill>
                        </a:rPr>
                        <a:t>vulgaris</a:t>
                      </a:r>
                      <a:endParaRPr lang="cs-CZ" sz="24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400" b="1" dirty="0" err="1">
                          <a:solidFill>
                            <a:srgbClr val="002060"/>
                          </a:solidFill>
                        </a:rPr>
                        <a:t>Ingram</a:t>
                      </a:r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 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6856717"/>
                  </a:ext>
                </a:extLst>
              </a:tr>
              <a:tr h="810660">
                <a:tc>
                  <a:txBody>
                    <a:bodyPr/>
                    <a:lstStyle/>
                    <a:p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Downův syndro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5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400" b="1" dirty="0" err="1">
                          <a:solidFill>
                            <a:srgbClr val="002060"/>
                          </a:solidFill>
                        </a:rPr>
                        <a:t>Garg</a:t>
                      </a:r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 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2287147"/>
                  </a:ext>
                </a:extLst>
              </a:tr>
              <a:tr h="810660">
                <a:tc>
                  <a:txBody>
                    <a:bodyPr/>
                    <a:lstStyle/>
                    <a:p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Obstruktivní spánková apno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2400" b="1" dirty="0" err="1">
                          <a:solidFill>
                            <a:srgbClr val="002060"/>
                          </a:solidFill>
                        </a:rPr>
                        <a:t>Wertenteil</a:t>
                      </a:r>
                      <a:r>
                        <a:rPr lang="cs-CZ" sz="2400" b="1" dirty="0">
                          <a:solidFill>
                            <a:srgbClr val="002060"/>
                          </a:solidFill>
                        </a:rPr>
                        <a:t> 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778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72433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CD210C-9788-E94C-3A5B-9031419E4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4698" y="365125"/>
            <a:ext cx="8299101" cy="1325563"/>
          </a:xfrm>
        </p:spPr>
        <p:txBody>
          <a:bodyPr>
            <a:normAutofit/>
          </a:bodyPr>
          <a:lstStyle/>
          <a:p>
            <a:r>
              <a:rPr lang="cs-CZ" sz="3600" b="1" dirty="0" err="1"/>
              <a:t>Autoinflamatorní</a:t>
            </a:r>
            <a:r>
              <a:rPr lang="cs-CZ" sz="3600" b="1" dirty="0"/>
              <a:t> syndromy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ECD1C797-C242-FE94-F3EF-B8E316CED8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9944" y="1792952"/>
            <a:ext cx="8332863" cy="408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7048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E0D362-617E-49CD-B844-DE92CB7131E2}"/>
              </a:ext>
            </a:extLst>
          </p:cNvPr>
          <p:cNvSpPr/>
          <p:nvPr/>
        </p:nvSpPr>
        <p:spPr>
          <a:xfrm>
            <a:off x="628201" y="6391670"/>
            <a:ext cx="6661625" cy="461665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defTabSz="914377" eaLnBrk="0" hangingPunct="0">
              <a:defRPr/>
            </a:pP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HS, hidradenitis suppurativa; LPLV, poslední návštěva pacienta; N, počet pacientů; Q2W, každé 2 týdny; Q4W, každé 4 týdny; SC, subkutánní; SEC, secukinumab 300 mg.</a:t>
            </a:r>
            <a:b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*Pacienti randomizovaní celkově;</a:t>
            </a:r>
            <a:r>
              <a:rPr lang="en-US" altLang="en-US" sz="800" baseline="300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†</a:t>
            </a: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 Počet míst celkově.</a:t>
            </a:r>
          </a:p>
        </p:txBody>
      </p:sp>
      <p:sp>
        <p:nvSpPr>
          <p:cNvPr id="36" name="Folded Corner 90">
            <a:extLst>
              <a:ext uri="{FF2B5EF4-FFF2-40B4-BE49-F238E27FC236}">
                <a16:creationId xmlns:a16="http://schemas.microsoft.com/office/drawing/2014/main" id="{7181666F-ABB5-42B0-8352-F6A451794B86}"/>
              </a:ext>
            </a:extLst>
          </p:cNvPr>
          <p:cNvSpPr/>
          <p:nvPr/>
        </p:nvSpPr>
        <p:spPr>
          <a:xfrm>
            <a:off x="786763" y="2260692"/>
            <a:ext cx="5040000" cy="3820792"/>
          </a:xfrm>
          <a:prstGeom prst="foldedCorner">
            <a:avLst/>
          </a:prstGeom>
          <a:gradFill>
            <a:gsLst>
              <a:gs pos="0">
                <a:srgbClr val="9D9D9C">
                  <a:lumMod val="50000"/>
                </a:srgbClr>
              </a:gs>
              <a:gs pos="99000">
                <a:srgbClr val="A4AFB8"/>
              </a:gs>
              <a:gs pos="100000">
                <a:srgbClr val="9D9D9C">
                  <a:lumMod val="40000"/>
                  <a:lumOff val="60000"/>
                </a:srgbClr>
              </a:gs>
              <a:gs pos="100000">
                <a:srgbClr val="FFFFFF">
                  <a:lumMod val="95000"/>
                </a:srgbClr>
              </a:gs>
              <a:gs pos="0">
                <a:srgbClr val="FFFFFF">
                  <a:lumMod val="85000"/>
                </a:srgbClr>
              </a:gs>
              <a:gs pos="98000">
                <a:srgbClr val="FFFFFF">
                  <a:lumMod val="95000"/>
                </a:srgbClr>
              </a:gs>
              <a:gs pos="100000">
                <a:srgbClr val="FFFFFF">
                  <a:lumMod val="95000"/>
                </a:srgbClr>
              </a:gs>
              <a:gs pos="100000">
                <a:srgbClr val="FFFFFF"/>
              </a:gs>
            </a:gsLst>
            <a:lin ang="600000" scaled="0"/>
          </a:gradFill>
          <a:ln w="12700" cap="sq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377">
              <a:defRPr/>
            </a:pPr>
            <a:endParaRPr lang="en-US" sz="1100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4FA3BD2-B67B-40F7-9C70-F29BADC9C4AB}"/>
              </a:ext>
            </a:extLst>
          </p:cNvPr>
          <p:cNvGrpSpPr/>
          <p:nvPr/>
        </p:nvGrpSpPr>
        <p:grpSpPr>
          <a:xfrm>
            <a:off x="847678" y="1899402"/>
            <a:ext cx="2278553" cy="413471"/>
            <a:chOff x="4354546" y="1731868"/>
            <a:chExt cx="1611428" cy="260622"/>
          </a:xfrm>
          <a:solidFill>
            <a:schemeClr val="bg1"/>
          </a:solidFill>
        </p:grpSpPr>
        <p:sp>
          <p:nvSpPr>
            <p:cNvPr id="38" name="Rectangle 91">
              <a:extLst>
                <a:ext uri="{FF2B5EF4-FFF2-40B4-BE49-F238E27FC236}">
                  <a16:creationId xmlns:a16="http://schemas.microsoft.com/office/drawing/2014/main" id="{07412BB5-BC87-41BE-899E-9A3846C6B222}"/>
                </a:ext>
              </a:extLst>
            </p:cNvPr>
            <p:cNvSpPr/>
            <p:nvPr/>
          </p:nvSpPr>
          <p:spPr>
            <a:xfrm rot="16200000" flipH="1">
              <a:off x="4828525" y="1929088"/>
              <a:ext cx="65268" cy="61022"/>
            </a:xfrm>
            <a:custGeom>
              <a:avLst/>
              <a:gdLst>
                <a:gd name="connsiteX0" fmla="*/ 0 w 157336"/>
                <a:gd name="connsiteY0" fmla="*/ 0 h 236220"/>
                <a:gd name="connsiteX1" fmla="*/ 157336 w 157336"/>
                <a:gd name="connsiteY1" fmla="*/ 0 h 236220"/>
                <a:gd name="connsiteX2" fmla="*/ 157336 w 157336"/>
                <a:gd name="connsiteY2" fmla="*/ 236220 h 236220"/>
                <a:gd name="connsiteX3" fmla="*/ 0 w 157336"/>
                <a:gd name="connsiteY3" fmla="*/ 236220 h 236220"/>
                <a:gd name="connsiteX4" fmla="*/ 0 w 157336"/>
                <a:gd name="connsiteY4" fmla="*/ 0 h 236220"/>
                <a:gd name="connsiteX0" fmla="*/ 0 w 157336"/>
                <a:gd name="connsiteY0" fmla="*/ 0 h 236220"/>
                <a:gd name="connsiteX1" fmla="*/ 157336 w 157336"/>
                <a:gd name="connsiteY1" fmla="*/ 236220 h 236220"/>
                <a:gd name="connsiteX2" fmla="*/ 0 w 157336"/>
                <a:gd name="connsiteY2" fmla="*/ 236220 h 236220"/>
                <a:gd name="connsiteX3" fmla="*/ 0 w 157336"/>
                <a:gd name="connsiteY3" fmla="*/ 0 h 23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336" h="236220">
                  <a:moveTo>
                    <a:pt x="0" y="0"/>
                  </a:moveTo>
                  <a:lnTo>
                    <a:pt x="157336" y="236220"/>
                  </a:lnTo>
                  <a:lnTo>
                    <a:pt x="0" y="23622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sq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Round Single Corner Rectangle 93">
              <a:extLst>
                <a:ext uri="{FF2B5EF4-FFF2-40B4-BE49-F238E27FC236}">
                  <a16:creationId xmlns:a16="http://schemas.microsoft.com/office/drawing/2014/main" id="{63C2C1F4-4F57-461E-BA5B-EAF36EAFEF78}"/>
                </a:ext>
              </a:extLst>
            </p:cNvPr>
            <p:cNvSpPr/>
            <p:nvPr/>
          </p:nvSpPr>
          <p:spPr>
            <a:xfrm flipH="1">
              <a:off x="4354546" y="1731868"/>
              <a:ext cx="1522930" cy="260622"/>
            </a:xfrm>
            <a:prstGeom prst="round1Rect">
              <a:avLst>
                <a:gd name="adj" fmla="val 34000"/>
              </a:avLst>
            </a:prstGeom>
            <a:solidFill>
              <a:schemeClr val="accent2"/>
            </a:solidFill>
            <a:ln w="12700" cap="sq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914377">
                <a:defRPr/>
              </a:pPr>
              <a:r>
                <a:rPr lang="en-US" sz="1867" b="1" kern="0" dirty="0">
                  <a:solidFill>
                    <a:srgbClr val="FFFFFF"/>
                  </a:solidFill>
                  <a:latin typeface="Arial"/>
                  <a:cs typeface="Arial" charset="0"/>
                </a:rPr>
                <a:t>Fáze 3</a:t>
              </a:r>
            </a:p>
          </p:txBody>
        </p:sp>
        <p:sp>
          <p:nvSpPr>
            <p:cNvPr id="40" name="Round Single Corner Rectangle 94">
              <a:extLst>
                <a:ext uri="{FF2B5EF4-FFF2-40B4-BE49-F238E27FC236}">
                  <a16:creationId xmlns:a16="http://schemas.microsoft.com/office/drawing/2014/main" id="{52F5FCEE-2AE8-435D-A55D-07E965E3AF35}"/>
                </a:ext>
              </a:extLst>
            </p:cNvPr>
            <p:cNvSpPr/>
            <p:nvPr/>
          </p:nvSpPr>
          <p:spPr>
            <a:xfrm>
              <a:off x="5868000" y="1731875"/>
              <a:ext cx="97974" cy="260392"/>
            </a:xfrm>
            <a:prstGeom prst="round1Rect">
              <a:avLst>
                <a:gd name="adj" fmla="val 34000"/>
              </a:avLst>
            </a:prstGeom>
            <a:grpFill/>
            <a:ln w="12700" cap="sq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914377">
                <a:defRPr/>
              </a:pPr>
              <a:endParaRPr lang="en-US" sz="1600" b="1" kern="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B69F4FD0-2DDD-403D-9342-948B9F3E3AF2}"/>
              </a:ext>
            </a:extLst>
          </p:cNvPr>
          <p:cNvSpPr/>
          <p:nvPr/>
        </p:nvSpPr>
        <p:spPr>
          <a:xfrm>
            <a:off x="1023896" y="2474091"/>
            <a:ext cx="4735971" cy="1958316"/>
          </a:xfrm>
          <a:prstGeom prst="rect">
            <a:avLst/>
          </a:prstGeom>
          <a:solidFill>
            <a:srgbClr val="FFFFFF"/>
          </a:solidFill>
          <a:ln w="12700" cap="sq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07950" defTabSz="914377">
              <a:defRPr/>
            </a:pPr>
            <a:r>
              <a:rPr lang="en-GB" sz="1867" kern="0" dirty="0">
                <a:solidFill>
                  <a:srgbClr val="000000"/>
                </a:solidFill>
                <a:latin typeface="Arial" panose="020B0604020202020204"/>
              </a:rPr>
              <a:t>Dvě </a:t>
            </a:r>
            <a:r>
              <a:rPr lang="en-GB" sz="1867" b="1" dirty="0">
                <a:solidFill>
                  <a:srgbClr val="0460A9"/>
                </a:solidFill>
                <a:latin typeface="Arial" panose="020B0604020202020204"/>
              </a:rPr>
              <a:t>randomizované, dvojitě zaslepené, multicentrické </a:t>
            </a:r>
            <a:r>
              <a:rPr lang="en-GB" sz="1867" kern="0" dirty="0">
                <a:solidFill>
                  <a:srgbClr val="000000"/>
                </a:solidFill>
                <a:latin typeface="Arial" panose="020B0604020202020204"/>
              </a:rPr>
              <a:t>studie </a:t>
            </a:r>
            <a:r>
              <a:rPr lang="en-GB" sz="1867" kern="0" dirty="0" err="1">
                <a:solidFill>
                  <a:srgbClr val="000000"/>
                </a:solidFill>
                <a:latin typeface="Arial" panose="020B0604020202020204"/>
              </a:rPr>
              <a:t>hodnotící</a:t>
            </a:r>
            <a:r>
              <a:rPr lang="en-GB" sz="1867" kern="0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GB" sz="1867" b="1" dirty="0" err="1">
                <a:solidFill>
                  <a:srgbClr val="0460A9"/>
                </a:solidFill>
                <a:latin typeface="Arial" panose="020B0604020202020204"/>
              </a:rPr>
              <a:t>krátkodobou</a:t>
            </a:r>
            <a:r>
              <a:rPr lang="cs-CZ" sz="1867" b="1" dirty="0">
                <a:solidFill>
                  <a:srgbClr val="0460A9"/>
                </a:solidFill>
                <a:latin typeface="Arial" panose="020B0604020202020204"/>
              </a:rPr>
              <a:t> </a:t>
            </a:r>
            <a:r>
              <a:rPr lang="en-GB" sz="1867" b="1" dirty="0">
                <a:solidFill>
                  <a:srgbClr val="0460A9"/>
                </a:solidFill>
                <a:latin typeface="Arial" panose="020B0604020202020204"/>
              </a:rPr>
              <a:t>(16 týdnů) </a:t>
            </a:r>
            <a:r>
              <a:rPr lang="en-GB" sz="1867" kern="0" dirty="0">
                <a:solidFill>
                  <a:srgbClr val="000000"/>
                </a:solidFill>
                <a:latin typeface="Arial" panose="020B0604020202020204"/>
              </a:rPr>
              <a:t>a </a:t>
            </a:r>
            <a:r>
              <a:rPr lang="en-GB" sz="1867" b="1" dirty="0">
                <a:solidFill>
                  <a:srgbClr val="0460A9"/>
                </a:solidFill>
                <a:latin typeface="Arial" panose="020B0604020202020204"/>
              </a:rPr>
              <a:t>dlouhodobou (až 1 rok) účinnost </a:t>
            </a:r>
            <a:r>
              <a:rPr lang="en-GB" sz="1867" kern="0" dirty="0">
                <a:solidFill>
                  <a:srgbClr val="000000"/>
                </a:solidFill>
                <a:latin typeface="Arial" panose="020B0604020202020204"/>
              </a:rPr>
              <a:t>a </a:t>
            </a:r>
            <a:r>
              <a:rPr lang="en-GB" sz="1867" b="1" dirty="0" err="1">
                <a:solidFill>
                  <a:srgbClr val="0460A9"/>
                </a:solidFill>
                <a:latin typeface="Arial" panose="020B0604020202020204"/>
              </a:rPr>
              <a:t>bezpečnost</a:t>
            </a:r>
            <a:r>
              <a:rPr lang="en-GB" sz="1867" b="1" dirty="0">
                <a:solidFill>
                  <a:srgbClr val="0460A9"/>
                </a:solidFill>
                <a:latin typeface="Arial" panose="020B0604020202020204"/>
              </a:rPr>
              <a:t> </a:t>
            </a:r>
            <a:r>
              <a:rPr lang="cs-CZ" sz="1867" b="1" dirty="0">
                <a:solidFill>
                  <a:srgbClr val="0460A9"/>
                </a:solidFill>
                <a:latin typeface="Arial" panose="020B0604020202020204"/>
              </a:rPr>
              <a:t>            </a:t>
            </a:r>
            <a:r>
              <a:rPr lang="en-GB" sz="1867" kern="0" dirty="0">
                <a:solidFill>
                  <a:srgbClr val="000000"/>
                </a:solidFill>
                <a:latin typeface="Arial" panose="020B0604020202020204"/>
              </a:rPr>
              <a:t>2 dávkovacích režimů SC </a:t>
            </a:r>
            <a:r>
              <a:rPr lang="en-GB" sz="1867" b="1" dirty="0">
                <a:solidFill>
                  <a:srgbClr val="0460A9"/>
                </a:solidFill>
                <a:latin typeface="Arial" panose="020B0604020202020204"/>
              </a:rPr>
              <a:t>SEC </a:t>
            </a:r>
            <a:r>
              <a:rPr lang="en-GB" sz="1867" b="1" kern="0" dirty="0">
                <a:solidFill>
                  <a:srgbClr val="007989"/>
                </a:solidFill>
                <a:latin typeface="Arial" panose="020B0604020202020204"/>
              </a:rPr>
              <a:t>u </a:t>
            </a:r>
            <a:r>
              <a:rPr lang="en-GB" sz="1867" kern="0" dirty="0">
                <a:solidFill>
                  <a:srgbClr val="000000"/>
                </a:solidFill>
                <a:latin typeface="Arial" panose="020B0604020202020204"/>
              </a:rPr>
              <a:t>dospělých pacientů se </a:t>
            </a:r>
            <a:r>
              <a:rPr lang="en-GB" sz="1867" b="1" dirty="0">
                <a:solidFill>
                  <a:srgbClr val="0460A9"/>
                </a:solidFill>
                <a:latin typeface="Arial" panose="020B0604020202020204"/>
              </a:rPr>
              <a:t>středně těžkou až těžkou </a:t>
            </a:r>
            <a:r>
              <a:rPr lang="en-GB" sz="1867" kern="0" dirty="0">
                <a:solidFill>
                  <a:srgbClr val="000000"/>
                </a:solidFill>
                <a:latin typeface="Arial" panose="020B0604020202020204"/>
              </a:rPr>
              <a:t>HS.</a:t>
            </a:r>
            <a:endParaRPr lang="en-US" dirty="0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B2C60C2-4B7B-4AEC-9172-32917EBCD342}"/>
              </a:ext>
            </a:extLst>
          </p:cNvPr>
          <p:cNvGrpSpPr/>
          <p:nvPr/>
        </p:nvGrpSpPr>
        <p:grpSpPr>
          <a:xfrm rot="1483941">
            <a:off x="1555691" y="4387051"/>
            <a:ext cx="494899" cy="571519"/>
            <a:chOff x="1281202" y="2330112"/>
            <a:chExt cx="396015" cy="590408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626F574-4149-4384-8266-9312382B02BD}"/>
                </a:ext>
              </a:extLst>
            </p:cNvPr>
            <p:cNvCxnSpPr>
              <a:cxnSpLocks noChangeAspect="1"/>
            </p:cNvCxnSpPr>
            <p:nvPr/>
          </p:nvCxnSpPr>
          <p:spPr>
            <a:xfrm rot="1873720">
              <a:off x="1674586" y="2330112"/>
              <a:ext cx="0" cy="130430"/>
            </a:xfrm>
            <a:prstGeom prst="line">
              <a:avLst/>
            </a:prstGeom>
            <a:noFill/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60" name="Pentagon 199">
              <a:extLst>
                <a:ext uri="{FF2B5EF4-FFF2-40B4-BE49-F238E27FC236}">
                  <a16:creationId xmlns:a16="http://schemas.microsoft.com/office/drawing/2014/main" id="{46C2596A-CCB5-4E02-982A-6167632166C9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331289" y="2612998"/>
              <a:ext cx="350121" cy="163562"/>
            </a:xfrm>
            <a:prstGeom prst="homePlate">
              <a:avLst>
                <a:gd name="adj" fmla="val 53979"/>
              </a:avLst>
            </a:prstGeom>
            <a:solidFill>
              <a:srgbClr val="FFFFFF"/>
            </a:solidFill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61" name="Pentagon 200">
              <a:extLst>
                <a:ext uri="{FF2B5EF4-FFF2-40B4-BE49-F238E27FC236}">
                  <a16:creationId xmlns:a16="http://schemas.microsoft.com/office/drawing/2014/main" id="{42C533DF-0F86-4128-A55F-DA84EAC82E88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496985" y="2457274"/>
              <a:ext cx="196902" cy="163562"/>
            </a:xfrm>
            <a:prstGeom prst="homePlate">
              <a:avLst>
                <a:gd name="adj" fmla="val 53979"/>
              </a:avLst>
            </a:prstGeom>
            <a:solidFill>
              <a:srgbClr val="C41425"/>
            </a:solidFill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9157C79-EF21-447E-8713-9AA5068E520B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352493" y="2825095"/>
              <a:ext cx="83906" cy="106943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8F016C0D-D95C-4E50-82B4-5BF10E8FBF46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371463" y="2820798"/>
              <a:ext cx="6919" cy="187442"/>
            </a:xfrm>
            <a:prstGeom prst="rect">
              <a:avLst/>
            </a:prstGeom>
            <a:solidFill>
              <a:srgbClr val="023761">
                <a:lumMod val="50000"/>
              </a:srgbClr>
            </a:solidFill>
            <a:ln w="635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EA30606-A67A-4EB5-A5A9-3F6708E27724}"/>
                </a:ext>
              </a:extLst>
            </p:cNvPr>
            <p:cNvGrpSpPr>
              <a:grpSpLocks noChangeAspect="1"/>
            </p:cNvGrpSpPr>
            <p:nvPr/>
          </p:nvGrpSpPr>
          <p:grpSpPr>
            <a:xfrm rot="1873720">
              <a:off x="1480351" y="2739404"/>
              <a:ext cx="49739" cy="94257"/>
              <a:chOff x="2389675" y="3872727"/>
              <a:chExt cx="91440" cy="264319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6F344FA-C74C-4D04-A79D-178C43298D0E}"/>
                  </a:ext>
                </a:extLst>
              </p:cNvPr>
              <p:cNvCxnSpPr/>
              <p:nvPr/>
            </p:nvCxnSpPr>
            <p:spPr>
              <a:xfrm rot="16200000">
                <a:off x="2435395" y="3827007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23CAEF6-B848-4E9C-9EE8-B19DDEF90F25}"/>
                  </a:ext>
                </a:extLst>
              </p:cNvPr>
              <p:cNvCxnSpPr/>
              <p:nvPr/>
            </p:nvCxnSpPr>
            <p:spPr>
              <a:xfrm rot="16200000">
                <a:off x="2435395" y="3879871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D0FD725-8C45-4ED9-BF84-D7EAC9939884}"/>
                  </a:ext>
                </a:extLst>
              </p:cNvPr>
              <p:cNvCxnSpPr/>
              <p:nvPr/>
            </p:nvCxnSpPr>
            <p:spPr>
              <a:xfrm rot="16200000">
                <a:off x="2435395" y="3932735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8DBE18E-A31A-45B7-98C8-B82F17CF59A9}"/>
                  </a:ext>
                </a:extLst>
              </p:cNvPr>
              <p:cNvCxnSpPr/>
              <p:nvPr/>
            </p:nvCxnSpPr>
            <p:spPr>
              <a:xfrm rot="16200000">
                <a:off x="2435395" y="3985599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F751265C-458E-44B7-9024-3F6A1A87285B}"/>
                  </a:ext>
                </a:extLst>
              </p:cNvPr>
              <p:cNvCxnSpPr/>
              <p:nvPr/>
            </p:nvCxnSpPr>
            <p:spPr>
              <a:xfrm rot="16200000">
                <a:off x="2435395" y="4038463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5D039AA2-6DD4-4968-BAF0-47E262D6D1FB}"/>
                  </a:ext>
                </a:extLst>
              </p:cNvPr>
              <p:cNvCxnSpPr/>
              <p:nvPr/>
            </p:nvCxnSpPr>
            <p:spPr>
              <a:xfrm rot="16200000">
                <a:off x="2435395" y="4091326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4AAB36B-F15A-4717-8A6B-7ECD38D7C3BA}"/>
                </a:ext>
              </a:extLst>
            </p:cNvPr>
            <p:cNvGrpSpPr>
              <a:grpSpLocks noChangeAspect="1"/>
            </p:cNvGrpSpPr>
            <p:nvPr/>
          </p:nvGrpSpPr>
          <p:grpSpPr>
            <a:xfrm rot="1873720">
              <a:off x="1592531" y="2553922"/>
              <a:ext cx="49739" cy="94257"/>
              <a:chOff x="2389675" y="3872727"/>
              <a:chExt cx="91440" cy="264319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6CAC7290-A247-4FA8-A731-7415FB4481AF}"/>
                  </a:ext>
                </a:extLst>
              </p:cNvPr>
              <p:cNvCxnSpPr/>
              <p:nvPr/>
            </p:nvCxnSpPr>
            <p:spPr>
              <a:xfrm rot="16200000">
                <a:off x="2435395" y="3827007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F93046DB-72CB-4F46-AC0D-0BB71347CE2B}"/>
                  </a:ext>
                </a:extLst>
              </p:cNvPr>
              <p:cNvCxnSpPr/>
              <p:nvPr/>
            </p:nvCxnSpPr>
            <p:spPr>
              <a:xfrm rot="16200000">
                <a:off x="2435395" y="3879871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5ACBA3CC-14A7-49AE-9FF4-570436F9E0E2}"/>
                  </a:ext>
                </a:extLst>
              </p:cNvPr>
              <p:cNvCxnSpPr/>
              <p:nvPr/>
            </p:nvCxnSpPr>
            <p:spPr>
              <a:xfrm rot="16200000">
                <a:off x="2435395" y="3932735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615D1D40-82BB-491F-837A-D5F989D25EC1}"/>
                  </a:ext>
                </a:extLst>
              </p:cNvPr>
              <p:cNvCxnSpPr/>
              <p:nvPr/>
            </p:nvCxnSpPr>
            <p:spPr>
              <a:xfrm rot="16200000">
                <a:off x="2435395" y="3985599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BB6A7A5E-EF58-4211-9EA6-37CF438E5CB9}"/>
                  </a:ext>
                </a:extLst>
              </p:cNvPr>
              <p:cNvCxnSpPr/>
              <p:nvPr/>
            </p:nvCxnSpPr>
            <p:spPr>
              <a:xfrm rot="16200000">
                <a:off x="2435395" y="4038463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40FB1449-8685-4E30-BA06-BAE47DB26333}"/>
                  </a:ext>
                </a:extLst>
              </p:cNvPr>
              <p:cNvCxnSpPr/>
              <p:nvPr/>
            </p:nvCxnSpPr>
            <p:spPr>
              <a:xfrm rot="16200000">
                <a:off x="2435395" y="4091326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</p:grp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54009E3-D3A9-4E08-98FD-979E35D8C0C1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416850" y="2750576"/>
              <a:ext cx="6919" cy="187442"/>
            </a:xfrm>
            <a:prstGeom prst="rect">
              <a:avLst/>
            </a:prstGeom>
            <a:solidFill>
              <a:srgbClr val="023761">
                <a:lumMod val="50000"/>
              </a:srgbClr>
            </a:solidFill>
            <a:ln w="635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C418824A-EEB7-49FD-B125-FF8D4A48F147}"/>
              </a:ext>
            </a:extLst>
          </p:cNvPr>
          <p:cNvSpPr/>
          <p:nvPr/>
        </p:nvSpPr>
        <p:spPr>
          <a:xfrm>
            <a:off x="1316283" y="5111623"/>
            <a:ext cx="138625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en-US" sz="1600" b="1" dirty="0">
                <a:solidFill>
                  <a:srgbClr val="C41425"/>
                </a:solidFill>
                <a:latin typeface="Arial" panose="020B0604020202020204"/>
              </a:rPr>
              <a:t>SEC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300 mg Q2W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32646B6-F9BE-4094-A835-1F2397E6D94D}"/>
              </a:ext>
            </a:extLst>
          </p:cNvPr>
          <p:cNvGrpSpPr/>
          <p:nvPr/>
        </p:nvGrpSpPr>
        <p:grpSpPr>
          <a:xfrm rot="1510419">
            <a:off x="4708176" y="4386677"/>
            <a:ext cx="494899" cy="571520"/>
            <a:chOff x="1281202" y="2330112"/>
            <a:chExt cx="396015" cy="590408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41195AEE-6C6C-4F95-8C23-E7D0E6794B91}"/>
                </a:ext>
              </a:extLst>
            </p:cNvPr>
            <p:cNvCxnSpPr>
              <a:cxnSpLocks noChangeAspect="1"/>
            </p:cNvCxnSpPr>
            <p:nvPr/>
          </p:nvCxnSpPr>
          <p:spPr>
            <a:xfrm rot="1873720">
              <a:off x="1674586" y="2330112"/>
              <a:ext cx="0" cy="130430"/>
            </a:xfrm>
            <a:prstGeom prst="line">
              <a:avLst/>
            </a:prstGeom>
            <a:noFill/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82" name="Pentagon 221">
              <a:extLst>
                <a:ext uri="{FF2B5EF4-FFF2-40B4-BE49-F238E27FC236}">
                  <a16:creationId xmlns:a16="http://schemas.microsoft.com/office/drawing/2014/main" id="{3C00C0B4-347F-4933-805A-4FFA1881A25B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331289" y="2612998"/>
              <a:ext cx="350121" cy="163562"/>
            </a:xfrm>
            <a:prstGeom prst="homePlate">
              <a:avLst>
                <a:gd name="adj" fmla="val 53979"/>
              </a:avLst>
            </a:prstGeom>
            <a:solidFill>
              <a:srgbClr val="FFFFFF"/>
            </a:solidFill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83" name="Pentagon 222">
              <a:extLst>
                <a:ext uri="{FF2B5EF4-FFF2-40B4-BE49-F238E27FC236}">
                  <a16:creationId xmlns:a16="http://schemas.microsoft.com/office/drawing/2014/main" id="{99ABF3A7-6C85-4572-B947-F9200BDB9FC0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496985" y="2457274"/>
              <a:ext cx="196902" cy="163562"/>
            </a:xfrm>
            <a:prstGeom prst="homePlate">
              <a:avLst>
                <a:gd name="adj" fmla="val 53979"/>
              </a:avLst>
            </a:prstGeom>
            <a:solidFill>
              <a:srgbClr val="A7A9AC"/>
            </a:solidFill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190B5B2D-3EA1-4AAD-9704-AD84AA88EDEE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352493" y="2825095"/>
              <a:ext cx="83906" cy="106943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3CDFF721-7F0F-4335-96C4-4F3B306ADD88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371463" y="2820798"/>
              <a:ext cx="6919" cy="187442"/>
            </a:xfrm>
            <a:prstGeom prst="rect">
              <a:avLst/>
            </a:prstGeom>
            <a:solidFill>
              <a:srgbClr val="023761">
                <a:lumMod val="50000"/>
              </a:srgbClr>
            </a:solidFill>
            <a:ln w="635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0262F47-D3DA-4A9D-A9B8-3295B13FB18F}"/>
                </a:ext>
              </a:extLst>
            </p:cNvPr>
            <p:cNvGrpSpPr>
              <a:grpSpLocks noChangeAspect="1"/>
            </p:cNvGrpSpPr>
            <p:nvPr/>
          </p:nvGrpSpPr>
          <p:grpSpPr>
            <a:xfrm rot="1873720">
              <a:off x="1480351" y="2739404"/>
              <a:ext cx="49739" cy="94257"/>
              <a:chOff x="2389675" y="3872727"/>
              <a:chExt cx="91440" cy="264319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A269A3C1-06FF-49D3-9B95-9223E332508B}"/>
                  </a:ext>
                </a:extLst>
              </p:cNvPr>
              <p:cNvCxnSpPr/>
              <p:nvPr/>
            </p:nvCxnSpPr>
            <p:spPr>
              <a:xfrm rot="16200000">
                <a:off x="2435395" y="3827007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11FC256C-0B01-408B-9911-8460C4581820}"/>
                  </a:ext>
                </a:extLst>
              </p:cNvPr>
              <p:cNvCxnSpPr/>
              <p:nvPr/>
            </p:nvCxnSpPr>
            <p:spPr>
              <a:xfrm rot="16200000">
                <a:off x="2435395" y="3879871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B230361C-EE93-4D3C-A8FA-38231CADCBC0}"/>
                  </a:ext>
                </a:extLst>
              </p:cNvPr>
              <p:cNvCxnSpPr/>
              <p:nvPr/>
            </p:nvCxnSpPr>
            <p:spPr>
              <a:xfrm rot="16200000">
                <a:off x="2435395" y="3932735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DBD41BC6-02E3-4B75-A77B-E200C8E78CB8}"/>
                  </a:ext>
                </a:extLst>
              </p:cNvPr>
              <p:cNvCxnSpPr/>
              <p:nvPr/>
            </p:nvCxnSpPr>
            <p:spPr>
              <a:xfrm rot="16200000">
                <a:off x="2435395" y="3985599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613692B0-3F12-4DF7-9914-84E2E60C86EC}"/>
                  </a:ext>
                </a:extLst>
              </p:cNvPr>
              <p:cNvCxnSpPr/>
              <p:nvPr/>
            </p:nvCxnSpPr>
            <p:spPr>
              <a:xfrm rot="16200000">
                <a:off x="2435395" y="4038463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966AF3EF-87E1-42C7-BACC-CF752217470B}"/>
                  </a:ext>
                </a:extLst>
              </p:cNvPr>
              <p:cNvCxnSpPr/>
              <p:nvPr/>
            </p:nvCxnSpPr>
            <p:spPr>
              <a:xfrm rot="16200000">
                <a:off x="2435395" y="4091326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050EA1CE-BD5A-4567-902C-888BEB21CAF7}"/>
                </a:ext>
              </a:extLst>
            </p:cNvPr>
            <p:cNvGrpSpPr>
              <a:grpSpLocks noChangeAspect="1"/>
            </p:cNvGrpSpPr>
            <p:nvPr/>
          </p:nvGrpSpPr>
          <p:grpSpPr>
            <a:xfrm rot="1873720">
              <a:off x="1592531" y="2553922"/>
              <a:ext cx="49739" cy="94257"/>
              <a:chOff x="2389675" y="3872727"/>
              <a:chExt cx="91440" cy="264319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6BC8965-ECB5-4E63-B2C6-930870159BAC}"/>
                  </a:ext>
                </a:extLst>
              </p:cNvPr>
              <p:cNvCxnSpPr/>
              <p:nvPr/>
            </p:nvCxnSpPr>
            <p:spPr>
              <a:xfrm rot="16200000">
                <a:off x="2435395" y="3827007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70FEDA6A-9266-4D47-8C22-68605D9FB2CB}"/>
                  </a:ext>
                </a:extLst>
              </p:cNvPr>
              <p:cNvCxnSpPr/>
              <p:nvPr/>
            </p:nvCxnSpPr>
            <p:spPr>
              <a:xfrm rot="16200000">
                <a:off x="2435395" y="3879871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94C6DCC-7FE0-4451-8B32-CCC4B7318167}"/>
                  </a:ext>
                </a:extLst>
              </p:cNvPr>
              <p:cNvCxnSpPr/>
              <p:nvPr/>
            </p:nvCxnSpPr>
            <p:spPr>
              <a:xfrm rot="16200000">
                <a:off x="2435395" y="3932735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11A5806C-3DD4-45BD-8E7D-D2F8523B780C}"/>
                  </a:ext>
                </a:extLst>
              </p:cNvPr>
              <p:cNvCxnSpPr/>
              <p:nvPr/>
            </p:nvCxnSpPr>
            <p:spPr>
              <a:xfrm rot="16200000">
                <a:off x="2435395" y="3985599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55B514E-4573-4F9A-A3A6-6DB9AABD2700}"/>
                  </a:ext>
                </a:extLst>
              </p:cNvPr>
              <p:cNvCxnSpPr/>
              <p:nvPr/>
            </p:nvCxnSpPr>
            <p:spPr>
              <a:xfrm rot="16200000">
                <a:off x="2435395" y="4038463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2908A810-5C0D-4C8B-A1D0-F0A9DAB15C92}"/>
                  </a:ext>
                </a:extLst>
              </p:cNvPr>
              <p:cNvCxnSpPr/>
              <p:nvPr/>
            </p:nvCxnSpPr>
            <p:spPr>
              <a:xfrm rot="16200000">
                <a:off x="2435395" y="4091326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1D6FFAE4-1E8A-45AC-8527-4B0ABAA816B7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416850" y="2750576"/>
              <a:ext cx="6919" cy="187442"/>
            </a:xfrm>
            <a:prstGeom prst="rect">
              <a:avLst/>
            </a:prstGeom>
            <a:solidFill>
              <a:srgbClr val="023761">
                <a:lumMod val="50000"/>
              </a:srgbClr>
            </a:solidFill>
            <a:ln w="635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8781D47-F318-4856-A942-E2A98C0E864C}"/>
              </a:ext>
            </a:extLst>
          </p:cNvPr>
          <p:cNvSpPr/>
          <p:nvPr/>
        </p:nvSpPr>
        <p:spPr>
          <a:xfrm>
            <a:off x="4598000" y="5118456"/>
            <a:ext cx="1410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/>
            <a:r>
              <a:rPr lang="en-US" sz="1600" b="1" dirty="0">
                <a:solidFill>
                  <a:srgbClr val="A7A9AC"/>
                </a:solidFill>
                <a:latin typeface="Arial" panose="020B0604020202020204"/>
              </a:rPr>
              <a:t>Placebo</a:t>
            </a:r>
            <a:endParaRPr lang="en-US" sz="1600" dirty="0">
              <a:solidFill>
                <a:srgbClr val="A7A9AC"/>
              </a:solidFill>
              <a:latin typeface="Arial" panose="020B0604020202020204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B3BA5532-A28D-42CC-BE7E-034E8F5B083F}"/>
              </a:ext>
            </a:extLst>
          </p:cNvPr>
          <p:cNvGrpSpPr/>
          <p:nvPr/>
        </p:nvGrpSpPr>
        <p:grpSpPr>
          <a:xfrm rot="1487314">
            <a:off x="3185647" y="4407107"/>
            <a:ext cx="494899" cy="571520"/>
            <a:chOff x="1281202" y="2330112"/>
            <a:chExt cx="396015" cy="590408"/>
          </a:xfrm>
        </p:grpSpPr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89974041-C49B-411C-B1D8-ED9D7AB36238}"/>
                </a:ext>
              </a:extLst>
            </p:cNvPr>
            <p:cNvCxnSpPr>
              <a:cxnSpLocks noChangeAspect="1"/>
            </p:cNvCxnSpPr>
            <p:nvPr/>
          </p:nvCxnSpPr>
          <p:spPr>
            <a:xfrm rot="1873720">
              <a:off x="1674586" y="2330112"/>
              <a:ext cx="0" cy="130430"/>
            </a:xfrm>
            <a:prstGeom prst="line">
              <a:avLst/>
            </a:prstGeom>
            <a:noFill/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104" name="Pentagon 161">
              <a:extLst>
                <a:ext uri="{FF2B5EF4-FFF2-40B4-BE49-F238E27FC236}">
                  <a16:creationId xmlns:a16="http://schemas.microsoft.com/office/drawing/2014/main" id="{95B1DF92-3469-460B-80B7-E2891641B288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331289" y="2612998"/>
              <a:ext cx="350121" cy="163562"/>
            </a:xfrm>
            <a:prstGeom prst="homePlate">
              <a:avLst>
                <a:gd name="adj" fmla="val 53979"/>
              </a:avLst>
            </a:prstGeom>
            <a:solidFill>
              <a:srgbClr val="FFFFFF"/>
            </a:solidFill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05" name="Pentagon 162">
              <a:extLst>
                <a:ext uri="{FF2B5EF4-FFF2-40B4-BE49-F238E27FC236}">
                  <a16:creationId xmlns:a16="http://schemas.microsoft.com/office/drawing/2014/main" id="{C9322FB0-DE67-4D85-98A5-1CC5060A852B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496985" y="2457274"/>
              <a:ext cx="196902" cy="163562"/>
            </a:xfrm>
            <a:prstGeom prst="homePlate">
              <a:avLst>
                <a:gd name="adj" fmla="val 53979"/>
              </a:avLst>
            </a:prstGeom>
            <a:solidFill>
              <a:srgbClr val="023761"/>
            </a:solidFill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4F42C72A-DAA0-4C3B-9F42-9DD1045B1E0F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352493" y="2825095"/>
              <a:ext cx="83906" cy="106943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6350" cap="sq" cmpd="sng" algn="ctr">
              <a:solidFill>
                <a:srgbClr val="023761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CCF434AE-30C0-4D0F-B6E8-0213A0D704BF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371463" y="2820798"/>
              <a:ext cx="6919" cy="187442"/>
            </a:xfrm>
            <a:prstGeom prst="rect">
              <a:avLst/>
            </a:prstGeom>
            <a:solidFill>
              <a:srgbClr val="023761">
                <a:lumMod val="50000"/>
              </a:srgbClr>
            </a:solidFill>
            <a:ln w="635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A1D0C394-0E3D-4A60-B5F4-9E0BE991C255}"/>
                </a:ext>
              </a:extLst>
            </p:cNvPr>
            <p:cNvGrpSpPr>
              <a:grpSpLocks noChangeAspect="1"/>
            </p:cNvGrpSpPr>
            <p:nvPr/>
          </p:nvGrpSpPr>
          <p:grpSpPr>
            <a:xfrm rot="1873720">
              <a:off x="1480351" y="2739404"/>
              <a:ext cx="49739" cy="94257"/>
              <a:chOff x="2389675" y="3872727"/>
              <a:chExt cx="91440" cy="264319"/>
            </a:xfrm>
          </p:grpSpPr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CBE3AA95-22D2-425E-8E35-56C8F67062A0}"/>
                  </a:ext>
                </a:extLst>
              </p:cNvPr>
              <p:cNvCxnSpPr/>
              <p:nvPr/>
            </p:nvCxnSpPr>
            <p:spPr>
              <a:xfrm rot="16200000">
                <a:off x="2435395" y="3827007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A1D28067-57A5-4385-8C01-4E8F2C49E058}"/>
                  </a:ext>
                </a:extLst>
              </p:cNvPr>
              <p:cNvCxnSpPr/>
              <p:nvPr/>
            </p:nvCxnSpPr>
            <p:spPr>
              <a:xfrm rot="16200000">
                <a:off x="2435395" y="3879871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E2C3BA10-DFC1-4D1B-A018-4A0F8D198EDD}"/>
                  </a:ext>
                </a:extLst>
              </p:cNvPr>
              <p:cNvCxnSpPr/>
              <p:nvPr/>
            </p:nvCxnSpPr>
            <p:spPr>
              <a:xfrm rot="16200000">
                <a:off x="2435395" y="3932735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B13ED835-407C-455C-9BE6-E37C1A5E4649}"/>
                  </a:ext>
                </a:extLst>
              </p:cNvPr>
              <p:cNvCxnSpPr/>
              <p:nvPr/>
            </p:nvCxnSpPr>
            <p:spPr>
              <a:xfrm rot="16200000">
                <a:off x="2435395" y="3985599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C9EA656D-6F14-4459-888F-75959D45DF72}"/>
                  </a:ext>
                </a:extLst>
              </p:cNvPr>
              <p:cNvCxnSpPr/>
              <p:nvPr/>
            </p:nvCxnSpPr>
            <p:spPr>
              <a:xfrm rot="16200000">
                <a:off x="2435395" y="4038463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1C4A75D2-1FD9-4604-A710-8433236AEEA9}"/>
                  </a:ext>
                </a:extLst>
              </p:cNvPr>
              <p:cNvCxnSpPr/>
              <p:nvPr/>
            </p:nvCxnSpPr>
            <p:spPr>
              <a:xfrm rot="16200000">
                <a:off x="2435395" y="4091326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023761">
                    <a:lumMod val="50000"/>
                  </a:srgbClr>
                </a:solidFill>
                <a:prstDash val="solid"/>
              </a:ln>
              <a:effectLst/>
            </p:spPr>
          </p:cxn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218FC35F-24CC-4086-A054-AB82FBAF7A72}"/>
                </a:ext>
              </a:extLst>
            </p:cNvPr>
            <p:cNvGrpSpPr>
              <a:grpSpLocks noChangeAspect="1"/>
            </p:cNvGrpSpPr>
            <p:nvPr/>
          </p:nvGrpSpPr>
          <p:grpSpPr>
            <a:xfrm rot="1873720">
              <a:off x="1592531" y="2553922"/>
              <a:ext cx="49739" cy="94257"/>
              <a:chOff x="2389675" y="3872727"/>
              <a:chExt cx="91440" cy="264319"/>
            </a:xfrm>
          </p:grpSpPr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001B6DB4-C70E-485E-A048-E6617539D673}"/>
                  </a:ext>
                </a:extLst>
              </p:cNvPr>
              <p:cNvCxnSpPr/>
              <p:nvPr/>
            </p:nvCxnSpPr>
            <p:spPr>
              <a:xfrm rot="16200000">
                <a:off x="2435395" y="3827007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EA78235-ABD3-4C15-9B55-0F9FF3C9900E}"/>
                  </a:ext>
                </a:extLst>
              </p:cNvPr>
              <p:cNvCxnSpPr/>
              <p:nvPr/>
            </p:nvCxnSpPr>
            <p:spPr>
              <a:xfrm rot="16200000">
                <a:off x="2435395" y="3879871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0F61118A-BDDB-4E66-82F3-7ADAB2F5C63B}"/>
                  </a:ext>
                </a:extLst>
              </p:cNvPr>
              <p:cNvCxnSpPr/>
              <p:nvPr/>
            </p:nvCxnSpPr>
            <p:spPr>
              <a:xfrm rot="16200000">
                <a:off x="2435395" y="3932735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620184C-A158-4F34-BB8A-DCA0787F71FF}"/>
                  </a:ext>
                </a:extLst>
              </p:cNvPr>
              <p:cNvCxnSpPr/>
              <p:nvPr/>
            </p:nvCxnSpPr>
            <p:spPr>
              <a:xfrm rot="16200000">
                <a:off x="2435395" y="3985599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BC4278FE-38FE-42A7-A0AA-0E4439A9245C}"/>
                  </a:ext>
                </a:extLst>
              </p:cNvPr>
              <p:cNvCxnSpPr/>
              <p:nvPr/>
            </p:nvCxnSpPr>
            <p:spPr>
              <a:xfrm rot="16200000">
                <a:off x="2435395" y="4038463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F4B37B1D-E9BD-43BD-8A61-6A1A430672AA}"/>
                  </a:ext>
                </a:extLst>
              </p:cNvPr>
              <p:cNvCxnSpPr/>
              <p:nvPr/>
            </p:nvCxnSpPr>
            <p:spPr>
              <a:xfrm rot="16200000">
                <a:off x="2435395" y="4091326"/>
                <a:ext cx="0" cy="91440"/>
              </a:xfrm>
              <a:prstGeom prst="line">
                <a:avLst/>
              </a:prstGeom>
              <a:noFill/>
              <a:ln w="6350" cap="sq" cmpd="sng" algn="ctr">
                <a:solidFill>
                  <a:srgbClr val="FFFFFF"/>
                </a:solidFill>
                <a:prstDash val="solid"/>
              </a:ln>
              <a:effectLst/>
            </p:spPr>
          </p:cxn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C1AB6CE5-53FE-443F-8F7C-58EE605A497A}"/>
                </a:ext>
              </a:extLst>
            </p:cNvPr>
            <p:cNvSpPr>
              <a:spLocks noChangeAspect="1"/>
            </p:cNvSpPr>
            <p:nvPr/>
          </p:nvSpPr>
          <p:spPr>
            <a:xfrm rot="18073720">
              <a:off x="1416850" y="2750576"/>
              <a:ext cx="6919" cy="187442"/>
            </a:xfrm>
            <a:prstGeom prst="rect">
              <a:avLst/>
            </a:prstGeom>
            <a:solidFill>
              <a:srgbClr val="023761">
                <a:lumMod val="50000"/>
              </a:srgbClr>
            </a:solidFill>
            <a:ln w="635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123" name="Rectangle 122">
            <a:extLst>
              <a:ext uri="{FF2B5EF4-FFF2-40B4-BE49-F238E27FC236}">
                <a16:creationId xmlns:a16="http://schemas.microsoft.com/office/drawing/2014/main" id="{9FD31769-FCD5-4870-8B4C-C1503CFBE850}"/>
              </a:ext>
            </a:extLst>
          </p:cNvPr>
          <p:cNvSpPr/>
          <p:nvPr/>
        </p:nvSpPr>
        <p:spPr>
          <a:xfrm>
            <a:off x="2702542" y="5114389"/>
            <a:ext cx="13958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en-US" sz="1600" b="1" dirty="0">
                <a:solidFill>
                  <a:srgbClr val="023761"/>
                </a:solidFill>
                <a:latin typeface="Arial" panose="020B0604020202020204"/>
              </a:rPr>
              <a:t>SEC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300 mg Q4W</a:t>
            </a:r>
          </a:p>
        </p:txBody>
      </p:sp>
      <p:sp>
        <p:nvSpPr>
          <p:cNvPr id="35" name="Folded Corner 34">
            <a:extLst>
              <a:ext uri="{FF2B5EF4-FFF2-40B4-BE49-F238E27FC236}">
                <a16:creationId xmlns:a16="http://schemas.microsoft.com/office/drawing/2014/main" id="{38CDA815-64B5-4256-9349-DE651BF0A424}"/>
              </a:ext>
            </a:extLst>
          </p:cNvPr>
          <p:cNvSpPr/>
          <p:nvPr/>
        </p:nvSpPr>
        <p:spPr>
          <a:xfrm>
            <a:off x="6425835" y="2307467"/>
            <a:ext cx="5040000" cy="3822936"/>
          </a:xfrm>
          <a:prstGeom prst="foldedCorner">
            <a:avLst/>
          </a:prstGeom>
          <a:gradFill>
            <a:gsLst>
              <a:gs pos="0">
                <a:srgbClr val="9D9D9C">
                  <a:lumMod val="50000"/>
                </a:srgbClr>
              </a:gs>
              <a:gs pos="99000">
                <a:srgbClr val="A4AFB8"/>
              </a:gs>
              <a:gs pos="100000">
                <a:srgbClr val="9D9D9C">
                  <a:lumMod val="40000"/>
                  <a:lumOff val="60000"/>
                </a:srgbClr>
              </a:gs>
              <a:gs pos="100000">
                <a:srgbClr val="FFFFFF">
                  <a:lumMod val="95000"/>
                </a:srgbClr>
              </a:gs>
              <a:gs pos="0">
                <a:srgbClr val="FFFFFF">
                  <a:lumMod val="85000"/>
                </a:srgbClr>
              </a:gs>
              <a:gs pos="98000">
                <a:srgbClr val="FFFFFF">
                  <a:lumMod val="95000"/>
                </a:srgbClr>
              </a:gs>
              <a:gs pos="100000">
                <a:srgbClr val="FFFFFF">
                  <a:lumMod val="95000"/>
                </a:srgbClr>
              </a:gs>
              <a:gs pos="100000">
                <a:srgbClr val="FFFFFF"/>
              </a:gs>
            </a:gsLst>
            <a:lin ang="600000" scaled="0"/>
          </a:gradFill>
          <a:ln w="12700" cap="sq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377">
              <a:defRPr/>
            </a:pPr>
            <a:endParaRPr lang="en-US" sz="1100" kern="0" dirty="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0330489-E01D-40DF-B508-57297273E098}"/>
              </a:ext>
            </a:extLst>
          </p:cNvPr>
          <p:cNvGrpSpPr/>
          <p:nvPr/>
        </p:nvGrpSpPr>
        <p:grpSpPr>
          <a:xfrm>
            <a:off x="6425834" y="1899399"/>
            <a:ext cx="2343217" cy="420343"/>
            <a:chOff x="4830648" y="1671824"/>
            <a:chExt cx="1599593" cy="260624"/>
          </a:xfrm>
          <a:solidFill>
            <a:schemeClr val="bg1"/>
          </a:solidFill>
        </p:grpSpPr>
        <p:sp>
          <p:nvSpPr>
            <p:cNvPr id="42" name="Round Single Corner Rectangle 93">
              <a:extLst>
                <a:ext uri="{FF2B5EF4-FFF2-40B4-BE49-F238E27FC236}">
                  <a16:creationId xmlns:a16="http://schemas.microsoft.com/office/drawing/2014/main" id="{FAE3E5F3-6EF8-44AC-846C-15C839BE0BDB}"/>
                </a:ext>
              </a:extLst>
            </p:cNvPr>
            <p:cNvSpPr/>
            <p:nvPr/>
          </p:nvSpPr>
          <p:spPr>
            <a:xfrm flipH="1">
              <a:off x="4830648" y="1671826"/>
              <a:ext cx="1522930" cy="260622"/>
            </a:xfrm>
            <a:prstGeom prst="round1Rect">
              <a:avLst>
                <a:gd name="adj" fmla="val 34000"/>
              </a:avLst>
            </a:prstGeom>
            <a:solidFill>
              <a:schemeClr val="accent2"/>
            </a:solidFill>
            <a:ln w="12700" cap="sq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914377">
                <a:defRPr/>
              </a:pPr>
              <a:r>
                <a:rPr lang="en-US" b="1" kern="0" dirty="0">
                  <a:solidFill>
                    <a:srgbClr val="FFFFFF"/>
                  </a:solidFill>
                  <a:latin typeface="Arial"/>
                  <a:cs typeface="Arial" charset="0"/>
                </a:rPr>
                <a:t> Design studie</a:t>
              </a:r>
            </a:p>
          </p:txBody>
        </p:sp>
        <p:sp>
          <p:nvSpPr>
            <p:cNvPr id="43" name="Round Single Corner Rectangle 94">
              <a:extLst>
                <a:ext uri="{FF2B5EF4-FFF2-40B4-BE49-F238E27FC236}">
                  <a16:creationId xmlns:a16="http://schemas.microsoft.com/office/drawing/2014/main" id="{E63B56C4-F464-436E-B085-451F27E74EC6}"/>
                </a:ext>
              </a:extLst>
            </p:cNvPr>
            <p:cNvSpPr/>
            <p:nvPr/>
          </p:nvSpPr>
          <p:spPr>
            <a:xfrm>
              <a:off x="6353577" y="1671824"/>
              <a:ext cx="76664" cy="260393"/>
            </a:xfrm>
            <a:prstGeom prst="round1Rect">
              <a:avLst>
                <a:gd name="adj" fmla="val 34000"/>
              </a:avLst>
            </a:prstGeom>
            <a:grpFill/>
            <a:ln w="12700" cap="sq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914377">
                <a:defRPr/>
              </a:pPr>
              <a:endParaRPr lang="en-US" sz="1600" b="1" kern="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4E4D0E9A-C09B-4BE7-AD99-D64DC9457DA4}"/>
              </a:ext>
            </a:extLst>
          </p:cNvPr>
          <p:cNvSpPr/>
          <p:nvPr/>
        </p:nvSpPr>
        <p:spPr>
          <a:xfrm>
            <a:off x="6581744" y="2482457"/>
            <a:ext cx="4714599" cy="2324205"/>
          </a:xfrm>
          <a:prstGeom prst="rect">
            <a:avLst/>
          </a:prstGeom>
          <a:solidFill>
            <a:srgbClr val="FFFFFF"/>
          </a:solidFill>
          <a:ln w="12700" cap="sq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defTabSz="914377">
              <a:defRPr/>
            </a:pPr>
            <a:endParaRPr lang="en-GB" sz="1500" b="1" dirty="0">
              <a:solidFill>
                <a:srgbClr val="0460A9"/>
              </a:solidFill>
              <a:latin typeface="Arial" panose="020B0604020202020204"/>
            </a:endParaRPr>
          </a:p>
        </p:txBody>
      </p:sp>
      <p:sp>
        <p:nvSpPr>
          <p:cNvPr id="199" name="Text Placeholder 6">
            <a:extLst>
              <a:ext uri="{FF2B5EF4-FFF2-40B4-BE49-F238E27FC236}">
                <a16:creationId xmlns:a16="http://schemas.microsoft.com/office/drawing/2014/main" id="{0FDD7277-AC5B-436C-94D2-F8A39631B0DE}"/>
              </a:ext>
            </a:extLst>
          </p:cNvPr>
          <p:cNvSpPr txBox="1">
            <a:spLocks noChangeAspect="1"/>
          </p:cNvSpPr>
          <p:nvPr/>
        </p:nvSpPr>
        <p:spPr>
          <a:xfrm>
            <a:off x="9176658" y="5169745"/>
            <a:ext cx="2122034" cy="477018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9170">
              <a:spcBef>
                <a:spcPts val="800"/>
              </a:spcBef>
              <a:buClr>
                <a:srgbClr val="023761"/>
              </a:buClr>
              <a:buNone/>
              <a:tabLst>
                <a:tab pos="5331751" algn="r"/>
                <a:tab pos="10972526" algn="r"/>
              </a:tabLst>
            </a:pPr>
            <a:r>
              <a:rPr lang="de-DE" sz="1600" b="1" dirty="0">
                <a:solidFill>
                  <a:srgbClr val="000000"/>
                </a:solidFill>
                <a:latin typeface="Arial" panose="020B0604020202020204"/>
              </a:rPr>
              <a:t>LPLV: </a:t>
            </a:r>
            <a:r>
              <a:rPr lang="de-DE" sz="1600" b="1" dirty="0">
                <a:solidFill>
                  <a:srgbClr val="0460A9"/>
                </a:solidFill>
                <a:latin typeface="Arial" panose="020B0604020202020204"/>
              </a:rPr>
              <a:t>červenec 2022</a:t>
            </a:r>
          </a:p>
          <a:p>
            <a:pPr marL="0" indent="0" algn="ctr" defTabSz="1219170">
              <a:spcBef>
                <a:spcPts val="800"/>
              </a:spcBef>
              <a:buClr>
                <a:srgbClr val="023761"/>
              </a:buClr>
              <a:buNone/>
              <a:tabLst>
                <a:tab pos="5331751" algn="r"/>
                <a:tab pos="10972526" algn="r"/>
              </a:tabLst>
            </a:pPr>
            <a:r>
              <a:rPr lang="de-DE" sz="1600" b="1" dirty="0">
                <a:solidFill>
                  <a:srgbClr val="000000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209" name="Text Placeholder 6">
            <a:extLst>
              <a:ext uri="{FF2B5EF4-FFF2-40B4-BE49-F238E27FC236}">
                <a16:creationId xmlns:a16="http://schemas.microsoft.com/office/drawing/2014/main" id="{BCC1EB5B-5E3A-4B5D-B445-67A01CBAA0BB}"/>
              </a:ext>
            </a:extLst>
          </p:cNvPr>
          <p:cNvSpPr txBox="1">
            <a:spLocks noChangeAspect="1"/>
          </p:cNvSpPr>
          <p:nvPr/>
        </p:nvSpPr>
        <p:spPr>
          <a:xfrm>
            <a:off x="6546782" y="5145429"/>
            <a:ext cx="2369039" cy="526210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ts val="800"/>
              </a:spcBef>
              <a:buClr>
                <a:srgbClr val="023761"/>
              </a:buClr>
              <a:buNone/>
              <a:tabLst>
                <a:tab pos="5331751" algn="r"/>
                <a:tab pos="10972526" algn="r"/>
              </a:tabLst>
            </a:pPr>
            <a:r>
              <a:rPr lang="de-DE" sz="1600" b="1" dirty="0">
                <a:solidFill>
                  <a:srgbClr val="000000"/>
                </a:solidFill>
                <a:latin typeface="Arial" panose="020B0604020202020204"/>
              </a:rPr>
              <a:t>Začátek: </a:t>
            </a:r>
            <a:r>
              <a:rPr lang="de-DE" sz="1600" b="1" dirty="0">
                <a:solidFill>
                  <a:srgbClr val="0460A9"/>
                </a:solidFill>
                <a:latin typeface="Arial" panose="020B0604020202020204"/>
              </a:rPr>
              <a:t>leden 2019</a:t>
            </a:r>
          </a:p>
          <a:p>
            <a:pPr marL="0" indent="0" defTabSz="1219170">
              <a:spcBef>
                <a:spcPts val="800"/>
              </a:spcBef>
              <a:buClr>
                <a:srgbClr val="023761"/>
              </a:buClr>
              <a:buNone/>
              <a:tabLst>
                <a:tab pos="5331751" algn="r"/>
                <a:tab pos="10972526" algn="r"/>
              </a:tabLst>
            </a:pPr>
            <a:endParaRPr lang="de-DE" sz="1600" b="1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807F54D4-7E7F-43F3-9B93-C6FAB3920E76}"/>
              </a:ext>
            </a:extLst>
          </p:cNvPr>
          <p:cNvSpPr/>
          <p:nvPr/>
        </p:nvSpPr>
        <p:spPr>
          <a:xfrm>
            <a:off x="6595324" y="2518426"/>
            <a:ext cx="4701019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lnSpc>
                <a:spcPct val="90000"/>
              </a:lnSpc>
              <a:spcAft>
                <a:spcPts val="300"/>
              </a:spcAft>
            </a:pPr>
            <a:r>
              <a:rPr lang="en-US" sz="1600" b="1" dirty="0">
                <a:solidFill>
                  <a:srgbClr val="0460A9"/>
                </a:solidFill>
                <a:latin typeface="Arial" panose="020B0604020202020204"/>
              </a:rPr>
              <a:t>1084*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pacientů na </a:t>
            </a:r>
            <a:r>
              <a:rPr lang="en-US" sz="1600" b="1" dirty="0">
                <a:solidFill>
                  <a:srgbClr val="0460A9"/>
                </a:solidFill>
                <a:latin typeface="Arial" panose="020B0604020202020204"/>
              </a:rPr>
              <a:t>219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/>
              </a:rPr>
              <a:t>centrech</a:t>
            </a:r>
            <a:r>
              <a:rPr lang="en-US" sz="1600" b="1" baseline="30000" dirty="0">
                <a:solidFill>
                  <a:srgbClr val="0460A9"/>
                </a:solidFill>
                <a:latin typeface="Arial" panose="020B0604020202020204"/>
              </a:rPr>
              <a:t>†</a:t>
            </a:r>
            <a:r>
              <a:rPr lang="en-US" sz="1600" b="1" dirty="0">
                <a:solidFill>
                  <a:srgbClr val="0460A9"/>
                </a:solidFill>
                <a:latin typeface="Arial" panose="020B0604020202020204"/>
              </a:rPr>
              <a:t> po celém světě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81BABD7-26DA-4929-87DD-1BDED04F0FCA}"/>
              </a:ext>
            </a:extLst>
          </p:cNvPr>
          <p:cNvSpPr/>
          <p:nvPr/>
        </p:nvSpPr>
        <p:spPr>
          <a:xfrm>
            <a:off x="6480892" y="4454874"/>
            <a:ext cx="4925469" cy="295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lnSpc>
                <a:spcPct val="90000"/>
              </a:lnSpc>
              <a:spcAft>
                <a:spcPts val="300"/>
              </a:spcAft>
            </a:pPr>
            <a:r>
              <a:rPr lang="en-US" sz="1470" b="1" dirty="0">
                <a:solidFill>
                  <a:srgbClr val="0460A9"/>
                </a:solidFill>
                <a:latin typeface="Arial" panose="020B0604020202020204"/>
              </a:rPr>
              <a:t>SUNSHINE (M2301), </a:t>
            </a:r>
            <a:r>
              <a:rPr lang="en-US" sz="1467" dirty="0">
                <a:solidFill>
                  <a:srgbClr val="000000"/>
                </a:solidFill>
                <a:latin typeface="Arial" panose="020B0604020202020204"/>
              </a:rPr>
              <a:t>N=541 </a:t>
            </a:r>
            <a:r>
              <a:rPr lang="en-US" sz="1470" b="1" dirty="0">
                <a:solidFill>
                  <a:srgbClr val="0460A9"/>
                </a:solidFill>
                <a:latin typeface="Arial" panose="020B0604020202020204"/>
              </a:rPr>
              <a:t>SUNRISE (M2302), </a:t>
            </a:r>
            <a:r>
              <a:rPr lang="en-US" sz="1467" dirty="0">
                <a:solidFill>
                  <a:srgbClr val="000000"/>
                </a:solidFill>
                <a:latin typeface="Arial" panose="020B0604020202020204"/>
              </a:rPr>
              <a:t>N=543</a:t>
            </a:r>
          </a:p>
        </p:txBody>
      </p:sp>
      <p:sp>
        <p:nvSpPr>
          <p:cNvPr id="124" name="Title 1">
            <a:extLst>
              <a:ext uri="{FF2B5EF4-FFF2-40B4-BE49-F238E27FC236}">
                <a16:creationId xmlns:a16="http://schemas.microsoft.com/office/drawing/2014/main" id="{A9CBFCC6-6A49-482E-9F85-CC15FEBD9F77}"/>
              </a:ext>
            </a:extLst>
          </p:cNvPr>
          <p:cNvSpPr txBox="1">
            <a:spLocks/>
          </p:cNvSpPr>
          <p:nvPr/>
        </p:nvSpPr>
        <p:spPr>
          <a:xfrm>
            <a:off x="577860" y="1944256"/>
            <a:ext cx="11091373" cy="468701"/>
          </a:xfrm>
          <a:prstGeom prst="rect">
            <a:avLst/>
          </a:prstGeom>
        </p:spPr>
        <p:txBody>
          <a:bodyPr vert="horz" lIns="91440" tIns="126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2400" b="1" kern="1200">
                <a:solidFill>
                  <a:srgbClr val="007988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/>
            <a:endParaRPr lang="en-US" sz="2000" strike="sngStrike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99009D-2FF7-4A40-B7A3-AF87B7C2A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9" y="6527800"/>
            <a:ext cx="566572" cy="304800"/>
          </a:xfrm>
        </p:spPr>
        <p:txBody>
          <a:bodyPr/>
          <a:lstStyle/>
          <a:p>
            <a:pPr defTabSz="1219170"/>
            <a:fld id="{35A9FF18-4AD6-42F9-8BE4-7CEDCEA6EF55}" type="slidenum">
              <a:rPr lang="en-US">
                <a:solidFill>
                  <a:srgbClr val="000000"/>
                </a:solidFill>
                <a:latin typeface="Arial" panose="020B0604020202020204"/>
              </a:rPr>
              <a:t>24</a:t>
            </a:fld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AA5CE461-E08B-4975-B762-E80B79259F6B}"/>
              </a:ext>
            </a:extLst>
          </p:cNvPr>
          <p:cNvSpPr txBox="1">
            <a:spLocks/>
          </p:cNvSpPr>
          <p:nvPr/>
        </p:nvSpPr>
        <p:spPr>
          <a:xfrm>
            <a:off x="659947" y="481265"/>
            <a:ext cx="11094135" cy="90193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defTabSz="1219170"/>
            <a:r>
              <a:rPr lang="en-US" sz="2800" spc="-133" dirty="0">
                <a:solidFill>
                  <a:srgbClr val="000000"/>
                </a:solidFill>
                <a:latin typeface="Arial Black" panose="020B0A04020102020204"/>
              </a:rPr>
              <a:t>Program klinických studií SUNSHINE a SUNRISE fáze 3</a:t>
            </a:r>
            <a:br>
              <a:rPr lang="en-GB" sz="1600" spc="-133" dirty="0">
                <a:solidFill>
                  <a:srgbClr val="000000"/>
                </a:solidFill>
                <a:latin typeface="Arial Black" panose="020B0A04020102020204"/>
              </a:rPr>
            </a:br>
            <a:r>
              <a:rPr lang="en-US" sz="2400" spc="-133" dirty="0">
                <a:solidFill>
                  <a:srgbClr val="000000"/>
                </a:solidFill>
                <a:latin typeface="Arial Black" panose="020B0A04020102020204"/>
              </a:rPr>
              <a:t>Dosud největší studie fáze 3 prováděné v H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9A7C319-5A51-4ABF-9E2E-409AE501EEEF}"/>
              </a:ext>
            </a:extLst>
          </p:cNvPr>
          <p:cNvGrpSpPr/>
          <p:nvPr/>
        </p:nvGrpSpPr>
        <p:grpSpPr>
          <a:xfrm>
            <a:off x="6722776" y="3077191"/>
            <a:ext cx="4432533" cy="1159037"/>
            <a:chOff x="2246261" y="422034"/>
            <a:chExt cx="7905291" cy="1941811"/>
          </a:xfrm>
        </p:grpSpPr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15323AA8-A6E3-484C-A296-9519C7D7E1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210" t="14260" r="2712" b="17153"/>
            <a:stretch/>
          </p:blipFill>
          <p:spPr>
            <a:xfrm>
              <a:off x="6157494" y="458844"/>
              <a:ext cx="3994058" cy="1858987"/>
            </a:xfrm>
            <a:prstGeom prst="rect">
              <a:avLst/>
            </a:prstGeom>
          </p:spPr>
        </p:pic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3A41AC6C-0920-4625-BB5D-C7353A5010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1427" t="14049" r="2973" b="17008"/>
            <a:stretch/>
          </p:blipFill>
          <p:spPr>
            <a:xfrm>
              <a:off x="2246261" y="422034"/>
              <a:ext cx="3929638" cy="1941811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6920BDB-98AE-4A20-5E9E-99882167A2EF}"/>
              </a:ext>
            </a:extLst>
          </p:cNvPr>
          <p:cNvSpPr txBox="1"/>
          <p:nvPr/>
        </p:nvSpPr>
        <p:spPr>
          <a:xfrm>
            <a:off x="10135027" y="6587867"/>
            <a:ext cx="205697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" i="1" dirty="0" err="1">
                <a:effectLst/>
              </a:rPr>
              <a:t>Odkaz</a:t>
            </a:r>
            <a:r>
              <a:rPr lang="en-GB" sz="600" i="1" dirty="0">
                <a:effectLst/>
              </a:rPr>
              <a:t> </a:t>
            </a:r>
            <a:r>
              <a:rPr lang="en-GB" sz="600" i="1" dirty="0" err="1">
                <a:effectLst/>
              </a:rPr>
              <a:t>na</a:t>
            </a:r>
            <a:r>
              <a:rPr lang="en-GB" sz="600" i="1" dirty="0">
                <a:effectLst/>
              </a:rPr>
              <a:t> SPC </a:t>
            </a:r>
            <a:r>
              <a:rPr lang="en-GB" sz="600" i="1" dirty="0" err="1">
                <a:effectLst/>
              </a:rPr>
              <a:t>přípravku</a:t>
            </a:r>
            <a:r>
              <a:rPr lang="en-GB" sz="600" i="1" dirty="0">
                <a:effectLst/>
              </a:rPr>
              <a:t> Cosentyx </a:t>
            </a:r>
            <a:r>
              <a:rPr lang="en-GB" sz="600" i="1" dirty="0" err="1">
                <a:effectLst/>
              </a:rPr>
              <a:t>dostupn</a:t>
            </a:r>
            <a:r>
              <a:rPr lang="en-GB" sz="600" i="1" dirty="0" err="1"/>
              <a:t>ý</a:t>
            </a:r>
            <a:r>
              <a:rPr lang="en-GB" sz="600" i="1" dirty="0"/>
              <a:t> </a:t>
            </a:r>
            <a:r>
              <a:rPr lang="en-GB" sz="600" i="1" dirty="0" err="1"/>
              <a:t>na</a:t>
            </a:r>
            <a:r>
              <a:rPr lang="en-GB" sz="600" i="1" dirty="0"/>
              <a:t>: www.sukl.cz</a:t>
            </a:r>
            <a:endParaRPr lang="en-GB" sz="600" i="1" dirty="0">
              <a:effectLst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4234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1143017" y="1701801"/>
            <a:ext cx="9960201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endParaRPr lang="en-US" sz="2400" dirty="0"/>
          </a:p>
        </p:txBody>
      </p:sp>
      <p:sp>
        <p:nvSpPr>
          <p:cNvPr id="65" name="TextBox 64"/>
          <p:cNvSpPr txBox="1"/>
          <p:nvPr/>
        </p:nvSpPr>
        <p:spPr>
          <a:xfrm>
            <a:off x="578011" y="5969001"/>
            <a:ext cx="7433875" cy="811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lnSpc>
                <a:spcPts val="827"/>
              </a:lnSpc>
            </a:pPr>
            <a:r>
              <a:rPr lang="en-US" sz="800" baseline="30000" dirty="0" err="1"/>
              <a:t>a</a:t>
            </a:r>
            <a:r>
              <a:rPr lang="en-US" sz="800" dirty="0" err="1"/>
              <a:t>Probíhající</a:t>
            </a:r>
            <a:r>
              <a:rPr lang="en-US" sz="800" dirty="0"/>
              <a:t> podmínky při zápisu. </a:t>
            </a:r>
            <a:r>
              <a:rPr lang="en-US" sz="800" baseline="30000" dirty="0" err="1"/>
              <a:t>b</a:t>
            </a:r>
            <a:r>
              <a:rPr lang="en-US" sz="800" dirty="0" err="1"/>
              <a:t>Zahrnuje </a:t>
            </a:r>
            <a:r>
              <a:rPr lang="en-US" sz="800" dirty="0"/>
              <a:t>hypertenzi, esenciální hypertenzi, diastolickou hypertenzi. </a:t>
            </a:r>
            <a:r>
              <a:rPr lang="en-US" sz="800" baseline="30000" dirty="0" err="1"/>
              <a:t>c</a:t>
            </a:r>
            <a:r>
              <a:rPr lang="en-US" sz="800" dirty="0" err="1"/>
              <a:t>Zahrnuje </a:t>
            </a:r>
            <a:r>
              <a:rPr lang="en-US" sz="800" dirty="0"/>
              <a:t>depresi, velkou depresi. </a:t>
            </a:r>
            <a:r>
              <a:rPr lang="en-US" sz="800" baseline="30000" dirty="0" err="1"/>
              <a:t>d</a:t>
            </a:r>
            <a:r>
              <a:rPr lang="en-US" sz="800" dirty="0" err="1"/>
              <a:t>Zahrnuje </a:t>
            </a:r>
            <a:r>
              <a:rPr lang="en-US" sz="800" dirty="0"/>
              <a:t>diabetes mellitus, diabetes mellitus 2. typu, diabetes mellitus 1. typu, diabetes mellitus 3. typu. </a:t>
            </a:r>
            <a:r>
              <a:rPr lang="en-US" sz="800" baseline="30000" dirty="0" err="1"/>
              <a:t>e</a:t>
            </a:r>
            <a:r>
              <a:rPr lang="en-US" sz="800" dirty="0" err="1"/>
              <a:t>Zahrnuje </a:t>
            </a:r>
            <a:r>
              <a:rPr lang="en-US" sz="800" dirty="0"/>
              <a:t>úzkost, úzkostnou poruchu, smíšenou úzkostnou a depresivní poruchu, </a:t>
            </a:r>
            <a:r>
              <a:rPr lang="en-US" sz="800" dirty="0" err="1"/>
              <a:t>generalizovanou </a:t>
            </a:r>
            <a:r>
              <a:rPr lang="en-US" sz="800" dirty="0"/>
              <a:t>úzkostnou poruchu. </a:t>
            </a:r>
            <a:r>
              <a:rPr lang="en-US" sz="800" baseline="30000" dirty="0" err="1"/>
              <a:t>e</a:t>
            </a:r>
            <a:r>
              <a:rPr lang="en-US" sz="800" dirty="0" err="1"/>
              <a:t>Zahrnuje </a:t>
            </a:r>
            <a:r>
              <a:rPr lang="en-US" sz="800" dirty="0"/>
              <a:t>autoimunitní tyreoiditidu, hypotyreózu, </a:t>
            </a:r>
            <a:r>
              <a:rPr lang="en-US" sz="800" dirty="0" err="1"/>
              <a:t>strumu</a:t>
            </a:r>
            <a:r>
              <a:rPr lang="en-US" sz="800" dirty="0"/>
              <a:t>, hypertyreózu, poruchu štítné žlázy, masu štítné žlázy, hyperandrogenismus, </a:t>
            </a:r>
            <a:r>
              <a:rPr lang="en-US" sz="800" dirty="0" err="1"/>
              <a:t>hypotalamo-hypofyzární </a:t>
            </a:r>
            <a:r>
              <a:rPr lang="en-US" sz="800" dirty="0"/>
              <a:t>poruchu, nedostatek androgenů. </a:t>
            </a:r>
            <a:r>
              <a:rPr lang="en-US" sz="800" baseline="30000" dirty="0" err="1"/>
              <a:t>f</a:t>
            </a:r>
            <a:r>
              <a:rPr lang="en-US" sz="800" dirty="0" err="1"/>
              <a:t>Zahrnuje dyslipidémii</a:t>
            </a:r>
            <a:r>
              <a:rPr lang="en-US" sz="800" dirty="0"/>
              <a:t>, </a:t>
            </a:r>
            <a:r>
              <a:rPr lang="en-US" sz="800" dirty="0" err="1"/>
              <a:t>hypercholesterolémii</a:t>
            </a:r>
            <a:r>
              <a:rPr lang="en-US" sz="800" dirty="0"/>
              <a:t>, </a:t>
            </a:r>
            <a:r>
              <a:rPr lang="en-US" sz="800" dirty="0" err="1"/>
              <a:t>hyperlipidémii</a:t>
            </a:r>
            <a:r>
              <a:rPr lang="en-US" sz="800" dirty="0"/>
              <a:t>, </a:t>
            </a:r>
            <a:r>
              <a:rPr lang="en-US" sz="800" dirty="0" err="1"/>
              <a:t>hypertriglyceridémii</a:t>
            </a:r>
            <a:r>
              <a:rPr lang="en-US" sz="800" dirty="0"/>
              <a:t>. </a:t>
            </a:r>
            <a:r>
              <a:rPr lang="en-US" sz="800" baseline="30000" dirty="0" err="1"/>
              <a:t>g</a:t>
            </a:r>
            <a:r>
              <a:rPr lang="en-US" sz="800" dirty="0" err="1"/>
              <a:t>Zahrnuje </a:t>
            </a:r>
            <a:r>
              <a:rPr lang="en-US" sz="800" dirty="0"/>
              <a:t>akné, acne </a:t>
            </a:r>
            <a:r>
              <a:rPr lang="en-US" sz="800" dirty="0" err="1"/>
              <a:t>conglobata</a:t>
            </a:r>
            <a:r>
              <a:rPr lang="en-US" sz="800" dirty="0"/>
              <a:t>, cystické akné. </a:t>
            </a:r>
            <a:r>
              <a:rPr lang="en-US" sz="800" baseline="30000" dirty="0" err="1"/>
              <a:t>h</a:t>
            </a:r>
            <a:r>
              <a:rPr lang="en-US" sz="800" dirty="0" err="1"/>
              <a:t>Zahrnuje </a:t>
            </a:r>
            <a:r>
              <a:rPr lang="en-US" sz="800" dirty="0"/>
              <a:t>polycystické vaječníky. </a:t>
            </a:r>
            <a:r>
              <a:rPr lang="en-US" sz="800" baseline="30000" dirty="0" err="1"/>
              <a:t>i</a:t>
            </a:r>
            <a:r>
              <a:rPr lang="en-US" sz="800" dirty="0" err="1"/>
              <a:t>Zahrnuje </a:t>
            </a:r>
            <a:r>
              <a:rPr lang="en-US" sz="800" dirty="0"/>
              <a:t>bipolární poruchu, bipolární poruchu ii, bipolární poruchu </a:t>
            </a:r>
            <a:r>
              <a:rPr lang="en-US" sz="800" dirty="0" err="1"/>
              <a:t>i. </a:t>
            </a:r>
            <a:r>
              <a:rPr lang="en-US" sz="800" dirty="0"/>
              <a:t>n, počet hodnocených pacientů; N, celkový počet pacientů.</a:t>
            </a:r>
            <a:endParaRPr lang="en-US" sz="800" strike="sngStrike" dirty="0"/>
          </a:p>
          <a:p>
            <a:pPr defTabSz="1625519">
              <a:lnSpc>
                <a:spcPts val="827"/>
              </a:lnSpc>
            </a:pPr>
            <a:r>
              <a:rPr lang="en-US" sz="800" dirty="0">
                <a:hlinkClick r:id="rId3"/>
              </a:rPr>
              <a:t>Muscianisi E, et al. </a:t>
            </a:r>
            <a:r>
              <a:rPr lang="en-US" sz="800" i="1" dirty="0">
                <a:hlinkClick r:id="rId3"/>
              </a:rPr>
              <a:t>SHSA</a:t>
            </a:r>
            <a:r>
              <a:rPr lang="en-US" sz="800" dirty="0">
                <a:hlinkClick r:id="rId3"/>
              </a:rPr>
              <a:t>. 2021. </a:t>
            </a:r>
            <a:br>
              <a:rPr lang="en-US" sz="800" dirty="0">
                <a:hlinkClick r:id="rId4"/>
              </a:rPr>
            </a:br>
            <a:endParaRPr lang="en-US" sz="800" dirty="0"/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21106"/>
              </p:ext>
            </p:extLst>
          </p:nvPr>
        </p:nvGraphicFramePr>
        <p:xfrm>
          <a:off x="1080600" y="1480457"/>
          <a:ext cx="10453773" cy="447459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1298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79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7977">
                  <a:extLst>
                    <a:ext uri="{9D8B030D-6E8A-4147-A177-3AD203B41FA5}">
                      <a16:colId xmlns:a16="http://schemas.microsoft.com/office/drawing/2014/main" val="2682249857"/>
                    </a:ext>
                  </a:extLst>
                </a:gridCol>
                <a:gridCol w="2107977">
                  <a:extLst>
                    <a:ext uri="{9D8B030D-6E8A-4147-A177-3AD203B41FA5}">
                      <a16:colId xmlns:a16="http://schemas.microsoft.com/office/drawing/2014/main" val="1284314188"/>
                    </a:ext>
                  </a:extLst>
                </a:gridCol>
              </a:tblGrid>
              <a:tr h="6678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2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harakteristika</a:t>
                      </a:r>
                    </a:p>
                  </a:txBody>
                  <a:tcPr marL="121920" marR="0" marT="0" marB="48768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2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SUNSHINE N=544</a:t>
                      </a:r>
                    </a:p>
                  </a:txBody>
                  <a:tcPr marL="121920" marR="121920" marT="0" marB="4876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</a:rPr>
                        <a:t>SUNRISE </a:t>
                      </a:r>
                    </a:p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</a:rPr>
                        <a:t>N=544</a:t>
                      </a:r>
                    </a:p>
                  </a:txBody>
                  <a:tcPr marL="121920" marR="121920" marT="0" marB="4876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</a:rPr>
                        <a:t>Celkem</a:t>
                      </a:r>
                      <a:b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</a:rPr>
                        <a:t>N=1088</a:t>
                      </a:r>
                    </a:p>
                  </a:txBody>
                  <a:tcPr marL="121920" marR="121920" marT="0" marB="4876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 err="1">
                          <a:solidFill>
                            <a:schemeClr val="accen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omorbidity</a:t>
                      </a:r>
                      <a:r>
                        <a:rPr lang="en-US" sz="2400" b="1" baseline="30000" dirty="0" err="1">
                          <a:solidFill>
                            <a:schemeClr val="accen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en-US" sz="2400" b="1" dirty="0">
                          <a:solidFill>
                            <a:schemeClr val="accen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, n (%)</a:t>
                      </a:r>
                      <a:endParaRPr lang="en-US" sz="2400" dirty="0">
                        <a:solidFill>
                          <a:schemeClr val="accen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48973050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pertenze</a:t>
                      </a:r>
                      <a:r>
                        <a:rPr lang="en-US" sz="1600" baseline="300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0 (16.54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4 (15.44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74 (15.99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6167969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prese</a:t>
                      </a:r>
                      <a:r>
                        <a:rPr lang="en-US" sz="1600" baseline="300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3 (9.74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5 (10.11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8 (9.93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7161892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abetes</a:t>
                      </a:r>
                      <a:r>
                        <a:rPr lang="en-US" sz="1600" baseline="300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8 (8.82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7 (8.64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5 (8.73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97067995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bezita 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3 (7.90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8 (8.82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1 (8.36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0537736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Úzkost</a:t>
                      </a:r>
                      <a:r>
                        <a:rPr lang="en-US" sz="1600" baseline="300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 (9.19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7 (6.80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7 (8.00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9607954"/>
                  </a:ext>
                </a:extLst>
              </a:tr>
              <a:tr h="32347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dokrinní 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ruchy</a:t>
                      </a:r>
                      <a:r>
                        <a:rPr lang="en-US" sz="1600" baseline="300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0 (7.35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8 (6.99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8 (7.17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3890010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60325" marR="0" inden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ysregulace 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pidů</a:t>
                      </a:r>
                      <a:r>
                        <a:rPr lang="en-US" sz="1600" baseline="300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8 (6.99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2 (5.88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0 (6.43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988313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6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kné</a:t>
                      </a:r>
                      <a:r>
                        <a:rPr lang="it-IT" sz="1600" baseline="300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9 (5.33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9 (5.33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8 (5.33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6483177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yndrom 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lycystických ovarií</a:t>
                      </a:r>
                      <a:r>
                        <a:rPr lang="en-US" sz="1600" baseline="300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2 (4.04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6 (2.94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8 (3.49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9383270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ipolární 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rucha</a:t>
                      </a:r>
                      <a:r>
                        <a:rPr lang="en-US" sz="1600" baseline="300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(2.21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 (0.92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7 (1.56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37605398"/>
                  </a:ext>
                </a:extLst>
              </a:tr>
              <a:tr h="310922">
                <a:tc>
                  <a:txBody>
                    <a:bodyPr/>
                    <a:lstStyle/>
                    <a:p>
                      <a:pPr marL="0" marR="0" indent="6032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ilonidální cysta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 (1.47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 (0.55)</a:t>
                      </a:r>
                      <a:endParaRPr lang="en-US" sz="16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1 (1.01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3862459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1172435" y="4270765"/>
          <a:ext cx="277707" cy="447040"/>
        </p:xfrm>
        <a:graphic>
          <a:graphicData uri="http://schemas.openxmlformats.org/drawingml/2006/table">
            <a:tbl>
              <a:tblPr/>
              <a:tblGrid>
                <a:gridCol w="277707">
                  <a:extLst>
                    <a:ext uri="{9D8B030D-6E8A-4147-A177-3AD203B41FA5}">
                      <a16:colId xmlns:a16="http://schemas.microsoft.com/office/drawing/2014/main" val="1319507612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endParaRPr lang="en-US" sz="2100" dirty="0"/>
                    </a:p>
                  </a:txBody>
                  <a:tcPr marL="121920" marR="121920" marT="60960" marB="60960">
                    <a:lnL w="12700" cmpd="sng">
                      <a:solidFill>
                        <a:schemeClr val="bg1"/>
                      </a:solidFill>
                      <a:prstDash val="solid"/>
                    </a:lnL>
                    <a:lnR w="12700" cmpd="sng">
                      <a:solidFill>
                        <a:schemeClr val="bg1"/>
                      </a:solidFill>
                      <a:prstDash val="solid"/>
                    </a:lnR>
                    <a:lnT w="12700" cmpd="sng">
                      <a:solidFill>
                        <a:schemeClr val="bg1"/>
                      </a:solidFill>
                      <a:prstDash val="solid"/>
                    </a:lnT>
                    <a:lnB w="12700" cmpd="sng">
                      <a:solidFill>
                        <a:schemeClr val="bg1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3223941"/>
                  </a:ext>
                </a:extLst>
              </a:tr>
            </a:tbl>
          </a:graphicData>
        </a:graphic>
      </p:graphicFrame>
      <p:grpSp>
        <p:nvGrpSpPr>
          <p:cNvPr id="26" name="Group 25"/>
          <p:cNvGrpSpPr/>
          <p:nvPr/>
        </p:nvGrpSpPr>
        <p:grpSpPr>
          <a:xfrm>
            <a:off x="10769601" y="68067"/>
            <a:ext cx="914400" cy="699879"/>
            <a:chOff x="7192187" y="390214"/>
            <a:chExt cx="685800" cy="524909"/>
          </a:xfrm>
        </p:grpSpPr>
        <p:grpSp>
          <p:nvGrpSpPr>
            <p:cNvPr id="27" name="Group 26"/>
            <p:cNvGrpSpPr/>
            <p:nvPr/>
          </p:nvGrpSpPr>
          <p:grpSpPr>
            <a:xfrm>
              <a:off x="7192187" y="390214"/>
              <a:ext cx="685800" cy="489431"/>
              <a:chOff x="7192187" y="390214"/>
              <a:chExt cx="685800" cy="489431"/>
            </a:xfrm>
          </p:grpSpPr>
          <p:pic>
            <p:nvPicPr>
              <p:cNvPr id="32" name="Picture 31"/>
              <p:cNvPicPr>
                <a:picLocks noChangeAspect="1"/>
              </p:cNvPicPr>
              <p:nvPr/>
            </p:nvPicPr>
            <p:blipFill rotWithShape="1">
              <a:blip r:embed="rId5"/>
              <a:srcRect l="12761" r="12753" b="33111"/>
              <a:stretch/>
            </p:blipFill>
            <p:spPr>
              <a:xfrm>
                <a:off x="7192187" y="390214"/>
                <a:ext cx="685800" cy="377276"/>
              </a:xfrm>
              <a:prstGeom prst="rect">
                <a:avLst/>
              </a:prstGeom>
            </p:spPr>
          </p:pic>
          <p:sp>
            <p:nvSpPr>
              <p:cNvPr id="33" name="Oval 32"/>
              <p:cNvSpPr/>
              <p:nvPr/>
            </p:nvSpPr>
            <p:spPr>
              <a:xfrm>
                <a:off x="7308566" y="434606"/>
                <a:ext cx="457200" cy="445039"/>
              </a:xfrm>
              <a:prstGeom prst="ellipse">
                <a:avLst/>
              </a:prstGeom>
              <a:solidFill>
                <a:srgbClr val="002060"/>
              </a:solidFill>
              <a:ln/>
            </p:spPr>
            <p:style>
              <a:lnRef idx="0">
                <a:schemeClr val="dk1"/>
              </a:lnRef>
              <a:fillRef idx="3">
                <a:schemeClr val="dk1"/>
              </a:fillRef>
              <a:effectRef idx="3">
                <a:schemeClr val="dk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31" name="Rectangle 30"/>
            <p:cNvSpPr/>
            <p:nvPr/>
          </p:nvSpPr>
          <p:spPr>
            <a:xfrm>
              <a:off x="7283474" y="735170"/>
              <a:ext cx="565125" cy="1799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21" name="Rectangle 20">
            <a:hlinkClick r:id="rId6" action="ppaction://hlinksldjump"/>
          </p:cNvPr>
          <p:cNvSpPr/>
          <p:nvPr/>
        </p:nvSpPr>
        <p:spPr>
          <a:xfrm>
            <a:off x="11593301" y="1"/>
            <a:ext cx="598699" cy="651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23" name="Rectangle 22">
            <a:hlinkClick r:id="" action="ppaction://noaction"/>
          </p:cNvPr>
          <p:cNvSpPr/>
          <p:nvPr/>
        </p:nvSpPr>
        <p:spPr>
          <a:xfrm>
            <a:off x="3013342" y="-16137"/>
            <a:ext cx="1472004" cy="275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29FD5A6B-E7F8-4840-9903-EF5EAA352711}"/>
              </a:ext>
            </a:extLst>
          </p:cNvPr>
          <p:cNvSpPr txBox="1">
            <a:spLocks/>
          </p:cNvSpPr>
          <p:nvPr/>
        </p:nvSpPr>
        <p:spPr>
          <a:xfrm>
            <a:off x="609600" y="224118"/>
            <a:ext cx="10972800" cy="151430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GB" b="1" dirty="0">
                <a:latin typeface="Arial Black" panose="020B0A04020102020204" pitchFamily="34" charset="0"/>
              </a:rPr>
              <a:t>Základní demografické charakteristiky a charakteristiky onemocnění</a:t>
            </a:r>
            <a:endParaRPr lang="en-US" b="1" dirty="0">
              <a:latin typeface="Arial Black" panose="020B0A04020102020204" pitchFamily="34" charset="0"/>
            </a:endParaRPr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5D63FDD5-552E-4FAA-9261-06E598367E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25</a:t>
            </a:fld>
            <a:endParaRPr lang="uk-UA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F15C99-ABC3-16A0-4C59-9E5EE23145C4}"/>
              </a:ext>
            </a:extLst>
          </p:cNvPr>
          <p:cNvSpPr txBox="1"/>
          <p:nvPr/>
        </p:nvSpPr>
        <p:spPr>
          <a:xfrm>
            <a:off x="9993086" y="6605267"/>
            <a:ext cx="205697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" i="1" dirty="0" err="1">
                <a:effectLst/>
              </a:rPr>
              <a:t>Odkaz</a:t>
            </a:r>
            <a:r>
              <a:rPr lang="en-GB" sz="600" i="1" dirty="0">
                <a:effectLst/>
              </a:rPr>
              <a:t> </a:t>
            </a:r>
            <a:r>
              <a:rPr lang="en-GB" sz="600" i="1" dirty="0" err="1">
                <a:effectLst/>
              </a:rPr>
              <a:t>na</a:t>
            </a:r>
            <a:r>
              <a:rPr lang="en-GB" sz="600" i="1" dirty="0">
                <a:effectLst/>
              </a:rPr>
              <a:t> SPC </a:t>
            </a:r>
            <a:r>
              <a:rPr lang="en-GB" sz="600" i="1" dirty="0" err="1">
                <a:effectLst/>
              </a:rPr>
              <a:t>přípravku</a:t>
            </a:r>
            <a:r>
              <a:rPr lang="en-GB" sz="600" i="1" dirty="0">
                <a:effectLst/>
              </a:rPr>
              <a:t> Cosentyx </a:t>
            </a:r>
            <a:r>
              <a:rPr lang="en-GB" sz="600" i="1" dirty="0" err="1">
                <a:effectLst/>
              </a:rPr>
              <a:t>dostupn</a:t>
            </a:r>
            <a:r>
              <a:rPr lang="en-GB" sz="600" i="1" dirty="0" err="1"/>
              <a:t>ý</a:t>
            </a:r>
            <a:r>
              <a:rPr lang="en-GB" sz="600" i="1" dirty="0"/>
              <a:t> </a:t>
            </a:r>
            <a:r>
              <a:rPr lang="en-GB" sz="600" i="1" dirty="0" err="1"/>
              <a:t>na</a:t>
            </a:r>
            <a:r>
              <a:rPr lang="en-GB" sz="600" i="1" dirty="0"/>
              <a:t>: www.sukl.cz</a:t>
            </a:r>
            <a:endParaRPr lang="en-GB" sz="600" i="1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444885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2D2652-BDBB-4388-9C51-B20E5EAD65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78600"/>
            <a:ext cx="496711" cy="279400"/>
          </a:xfrm>
        </p:spPr>
        <p:txBody>
          <a:bodyPr/>
          <a:lstStyle/>
          <a:p>
            <a:pPr algn="ctr" defTabSz="1219170"/>
            <a:fld id="{47547CF9-5B10-D24F-A8D7-45A9778164F7}" type="slidenum">
              <a:rPr lang="uk-UA" dirty="0">
                <a:solidFill>
                  <a:srgbClr val="000000"/>
                </a:solidFill>
                <a:latin typeface="Arial" panose="020B0604020202020204"/>
              </a:rPr>
              <a:t>26</a:t>
            </a:fld>
            <a:endParaRPr lang="uk-UA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A62EEBA-EA0B-4244-95BC-41E7F3B9FF34}"/>
              </a:ext>
            </a:extLst>
          </p:cNvPr>
          <p:cNvSpPr txBox="1"/>
          <p:nvPr/>
        </p:nvSpPr>
        <p:spPr>
          <a:xfrm>
            <a:off x="586178" y="1349805"/>
            <a:ext cx="1094587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91770" indent="-191770" defTabSz="1219170">
              <a:spcAft>
                <a:spcPts val="300"/>
              </a:spcAft>
              <a:buClr>
                <a:srgbClr val="0460A9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cs typeface="Arial"/>
              </a:rPr>
              <a:t>Míra </a:t>
            </a:r>
            <a:r>
              <a:rPr lang="en-US" sz="1600" dirty="0">
                <a:solidFill>
                  <a:srgbClr val="000000"/>
                </a:solidFill>
              </a:rPr>
              <a:t>HiSCR </a:t>
            </a:r>
            <a:r>
              <a:rPr lang="en-US" sz="1600" dirty="0">
                <a:cs typeface="Arial"/>
              </a:rPr>
              <a:t>pozorovaná v </a:t>
            </a:r>
            <a:r>
              <a:rPr lang="en-US" sz="1600" dirty="0">
                <a:ea typeface="+mn-lt"/>
                <a:cs typeface="+mn-lt"/>
              </a:rPr>
              <a:t>16</a:t>
            </a:r>
            <a:r>
              <a:rPr lang="en-US" sz="1600" dirty="0">
                <a:cs typeface="Arial"/>
              </a:rPr>
              <a:t>. týdnu* se v </a:t>
            </a:r>
            <a:r>
              <a:rPr lang="en-US" sz="1600" dirty="0">
                <a:solidFill>
                  <a:srgbClr val="000000"/>
                </a:solidFill>
              </a:rPr>
              <a:t>obou studiích </a:t>
            </a:r>
            <a:r>
              <a:rPr lang="en-US" sz="1600" dirty="0">
                <a:solidFill>
                  <a:srgbClr val="000000"/>
                </a:solidFill>
                <a:cs typeface="Arial"/>
              </a:rPr>
              <a:t>udržela až do </a:t>
            </a:r>
            <a:r>
              <a:rPr lang="en-US" sz="1600" dirty="0"/>
              <a:t>52. </a:t>
            </a:r>
            <a:r>
              <a:rPr lang="en-US" sz="1600" dirty="0">
                <a:solidFill>
                  <a:srgbClr val="000000"/>
                </a:solidFill>
              </a:rPr>
              <a:t>týdne s </a:t>
            </a:r>
            <a:r>
              <a:rPr lang="en-US" sz="1600" dirty="0"/>
              <a:t>tendencí ke zlepšení v průběhu času.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7CFB8E8-E08B-4D5A-A52C-3FEB8E725B12}"/>
              </a:ext>
            </a:extLst>
          </p:cNvPr>
          <p:cNvSpPr/>
          <p:nvPr/>
        </p:nvSpPr>
        <p:spPr>
          <a:xfrm>
            <a:off x="628201" y="6022338"/>
            <a:ext cx="6661625" cy="83099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defTabSz="914377" eaLnBrk="0" hangingPunct="0">
              <a:defRPr/>
            </a:pPr>
            <a:r>
              <a:rPr lang="de-DE" altLang="en-US" sz="800" dirty="0" bmk="_Hlk8991753">
                <a:latin typeface="Arial" panose="020B0604020202020204"/>
                <a:ea typeface="Calibri" panose="020F0502020204030204" pitchFamily="34" charset="0"/>
                <a:cs typeface="Calibri"/>
              </a:rPr>
              <a:t>HiSCR, klinická odpověď na hidradenitis suppurativa; Q2W, každé 2 týdny; Q4W, každé 4 týdny; SEC, secukinumab 300 mg</a:t>
            </a:r>
            <a:r>
              <a:rPr lang="de-DE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defTabSz="914377" eaLnBrk="0" hangingPunct="0">
              <a:defRPr/>
            </a:pPr>
            <a:r>
              <a:rPr lang="de-DE" altLang="en-US" sz="800" dirty="0" bmk="_Hlk8991753">
                <a:latin typeface="Arial" panose="020B0604020202020204"/>
                <a:ea typeface="Calibri" panose="020F0502020204030204" pitchFamily="34" charset="0"/>
                <a:cs typeface="Calibri"/>
              </a:rPr>
              <a:t>*SECQ2W prokázal statisticky významnou převahu nad placebovou větví pro HiSCR v obou studiích a pouze SECQ4W. </a:t>
            </a:r>
            <a:br>
              <a:rPr lang="de-DE" altLang="en-US" sz="800" dirty="0" bmk="_Hlk8991753">
                <a:latin typeface="Arial" panose="020B0604020202020204"/>
                <a:ea typeface="Calibri" panose="020F0502020204030204" pitchFamily="34" charset="0"/>
                <a:cs typeface="Calibri"/>
              </a:rPr>
            </a:br>
            <a:r>
              <a:rPr lang="de-DE" altLang="en-US" sz="800" dirty="0" bmk="_Hlk8991753">
                <a:latin typeface="Arial" panose="020B0604020202020204"/>
                <a:ea typeface="Calibri" panose="020F0502020204030204" pitchFamily="34" charset="0"/>
                <a:cs typeface="Calibri"/>
              </a:rPr>
              <a:t>ve studii SUNRISE v 16. týdnu.</a:t>
            </a:r>
          </a:p>
          <a:p>
            <a:pPr defTabSz="914377" eaLnBrk="0" hangingPunct="0">
              <a:defRPr/>
            </a:pP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Použitá statistická metoda</a:t>
            </a:r>
            <a:r>
              <a:rPr lang="en-US" altLang="en-US" sz="800" dirty="0" bmk="_Hlk8991753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Primární nebo sekundární </a:t>
            </a:r>
            <a:r>
              <a:rPr lang="en-US" altLang="en-US" sz="800" dirty="0" err="1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odhad </a:t>
            </a: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do 16. týdne; údaje byly prezentovány jako pozorované od 18. do 52. týdne.</a:t>
            </a:r>
            <a:endParaRPr lang="de-DE" altLang="en-US" sz="800" dirty="0" bmk="_Hlk8991753">
              <a:solidFill>
                <a:prstClr val="black"/>
              </a:solidFill>
              <a:latin typeface="Arial" panose="020B0604020202020204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377" eaLnBrk="0" hangingPunct="0">
              <a:defRPr/>
            </a:pPr>
            <a:r>
              <a:rPr lang="en-US" altLang="en-US" sz="800" dirty="0" bmk="_Hlk8991753">
                <a:latin typeface="Arial" panose="020B0604020202020204"/>
                <a:ea typeface="Calibri" panose="020F0502020204030204" pitchFamily="34" charset="0"/>
                <a:cs typeface="Calibri"/>
              </a:rPr>
              <a:t>Čárkované čáry představují pacienty, kteří přešli z placeba v 16. týdnu. Šedý rámeček představuje pozorované údaje.</a:t>
            </a:r>
            <a:br>
              <a:rPr lang="de-DE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Kimball AB et al. </a:t>
            </a:r>
            <a:r>
              <a:rPr lang="en-US" altLang="en-US" sz="800" i="1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Lancet</a:t>
            </a: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. 2023; publikováno online 3. února.</a:t>
            </a:r>
            <a:endParaRPr lang="de-DE" altLang="en-US" sz="800" dirty="0" bmk="_Hlk8991753">
              <a:solidFill>
                <a:prstClr val="black"/>
              </a:solidFill>
              <a:latin typeface="Arial" panose="020B0604020202020204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TextBox 11">
            <a:extLst>
              <a:ext uri="{FF2B5EF4-FFF2-40B4-BE49-F238E27FC236}">
                <a16:creationId xmlns:a16="http://schemas.microsoft.com/office/drawing/2014/main" id="{EC080432-F5FD-4BD0-A5BE-BEAB1D3A34E8}"/>
              </a:ext>
            </a:extLst>
          </p:cNvPr>
          <p:cNvSpPr txBox="1"/>
          <p:nvPr/>
        </p:nvSpPr>
        <p:spPr>
          <a:xfrm>
            <a:off x="2507740" y="1806284"/>
            <a:ext cx="71206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377"/>
            <a:r>
              <a:rPr lang="en-GB" sz="1600" b="1" dirty="0">
                <a:solidFill>
                  <a:srgbClr val="0460A9"/>
                </a:solidFill>
                <a:latin typeface="Arial" panose="020B0604020202020204"/>
              </a:rPr>
              <a:t>Souhrnná analýz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D559B1D-1944-4CDC-AB51-FEBC2892A453}"/>
              </a:ext>
            </a:extLst>
          </p:cNvPr>
          <p:cNvGrpSpPr/>
          <p:nvPr/>
        </p:nvGrpSpPr>
        <p:grpSpPr>
          <a:xfrm>
            <a:off x="1245484" y="2157346"/>
            <a:ext cx="9651116" cy="3864992"/>
            <a:chOff x="2312284" y="2802187"/>
            <a:chExt cx="7511578" cy="3529496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89857CB-E3D0-426B-818E-DC62E4533F8C}"/>
                </a:ext>
              </a:extLst>
            </p:cNvPr>
            <p:cNvSpPr/>
            <p:nvPr/>
          </p:nvSpPr>
          <p:spPr>
            <a:xfrm>
              <a:off x="5437531" y="2916892"/>
              <a:ext cx="4179768" cy="2770074"/>
            </a:xfrm>
            <a:prstGeom prst="rect">
              <a:avLst/>
            </a:prstGeom>
            <a:solidFill>
              <a:srgbClr val="E6E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/>
            </a:p>
          </p:txBody>
        </p:sp>
        <p:graphicFrame>
          <p:nvGraphicFramePr>
            <p:cNvPr id="35" name="Chart 34">
              <a:extLst>
                <a:ext uri="{FF2B5EF4-FFF2-40B4-BE49-F238E27FC236}">
                  <a16:creationId xmlns:a16="http://schemas.microsoft.com/office/drawing/2014/main" id="{2FFEC60C-1656-42D5-A320-A917D611C1A4}"/>
                </a:ext>
              </a:extLst>
            </p:cNvPr>
            <p:cNvGraphicFramePr/>
            <p:nvPr/>
          </p:nvGraphicFramePr>
          <p:xfrm>
            <a:off x="2312284" y="2802187"/>
            <a:ext cx="7511578" cy="35294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4182C0A-7292-4764-801B-51C4F51406D1}"/>
                </a:ext>
              </a:extLst>
            </p:cNvPr>
            <p:cNvSpPr txBox="1"/>
            <p:nvPr/>
          </p:nvSpPr>
          <p:spPr>
            <a:xfrm>
              <a:off x="4023998" y="4349428"/>
              <a:ext cx="566536" cy="247896"/>
            </a:xfrm>
            <a:prstGeom prst="rect">
              <a:avLst/>
            </a:prstGeom>
          </p:spPr>
          <p:txBody>
            <a:bodyPr wrap="square" lIns="0" tIns="0" rIns="0" bIns="0" rtlCol="0" anchor="ctr"/>
            <a:lstStyle>
              <a:defPPr>
                <a:defRPr lang="en-US"/>
              </a:defPPr>
              <a:lvl1pPr indent="0" algn="ctr">
                <a:defRPr sz="700" b="0" i="0" u="none" strike="noStrike" baseline="0">
                  <a:solidFill>
                    <a:srgbClr val="02376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indent="0">
                <a:defRPr sz="1100"/>
              </a:lvl2pPr>
              <a:lvl3pPr indent="0">
                <a:defRPr sz="1100"/>
              </a:lvl3pPr>
              <a:lvl4pPr indent="0">
                <a:defRPr sz="1100"/>
              </a:lvl4pPr>
              <a:lvl5pPr indent="0">
                <a:defRPr sz="1100"/>
              </a:lvl5pPr>
              <a:lvl6pPr indent="0">
                <a:defRPr sz="1100"/>
              </a:lvl6pPr>
              <a:lvl7pPr indent="0">
                <a:defRPr sz="1100"/>
              </a:lvl7pPr>
              <a:lvl8pPr indent="0">
                <a:defRPr sz="1100"/>
              </a:lvl8pPr>
              <a:lvl9pPr indent="0">
                <a:defRPr sz="1100"/>
              </a:lvl9pPr>
            </a:lstStyle>
            <a:p>
              <a:r>
                <a:rPr lang="en-GB" sz="900" dirty="0">
                  <a:solidFill>
                    <a:srgbClr val="C41425"/>
                  </a:solidFill>
                </a:rPr>
                <a:t>SECQ2W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F5356F9-BD79-416D-B19D-E94DB9D9840D}"/>
                </a:ext>
              </a:extLst>
            </p:cNvPr>
            <p:cNvSpPr txBox="1"/>
            <p:nvPr/>
          </p:nvSpPr>
          <p:spPr>
            <a:xfrm>
              <a:off x="3959013" y="3696721"/>
              <a:ext cx="566536" cy="150026"/>
            </a:xfrm>
            <a:prstGeom prst="rect">
              <a:avLst/>
            </a:prstGeom>
          </p:spPr>
          <p:txBody>
            <a:bodyPr wrap="square" lIns="0" tIns="0" rIns="0" bIns="0" rtlCol="0"/>
            <a:lstStyle>
              <a:defPPr>
                <a:defRPr lang="en-US"/>
              </a:defPPr>
              <a:lvl1pPr indent="0" algn="ctr">
                <a:defRPr sz="700" b="0" i="0" u="none" strike="noStrike" baseline="0">
                  <a:solidFill>
                    <a:srgbClr val="02376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indent="0">
                <a:defRPr sz="1100"/>
              </a:lvl2pPr>
              <a:lvl3pPr indent="0">
                <a:defRPr sz="1100"/>
              </a:lvl3pPr>
              <a:lvl4pPr indent="0">
                <a:defRPr sz="1100"/>
              </a:lvl4pPr>
              <a:lvl5pPr indent="0">
                <a:defRPr sz="1100"/>
              </a:lvl5pPr>
              <a:lvl6pPr indent="0">
                <a:defRPr sz="1100"/>
              </a:lvl6pPr>
              <a:lvl7pPr indent="0">
                <a:defRPr sz="1100"/>
              </a:lvl7pPr>
              <a:lvl8pPr indent="0">
                <a:defRPr sz="1100"/>
              </a:lvl8pPr>
              <a:lvl9pPr indent="0">
                <a:defRPr sz="1100"/>
              </a:lvl9pPr>
            </a:lstStyle>
            <a:p>
              <a:r>
                <a:rPr lang="en-GB" sz="900" dirty="0"/>
                <a:t>SECQ4W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6DFE50D-38D9-4F41-B835-E5E44A527BB2}"/>
                </a:ext>
              </a:extLst>
            </p:cNvPr>
            <p:cNvSpPr txBox="1"/>
            <p:nvPr/>
          </p:nvSpPr>
          <p:spPr>
            <a:xfrm>
              <a:off x="4143595" y="4837594"/>
              <a:ext cx="566535" cy="150026"/>
            </a:xfrm>
            <a:prstGeom prst="rect">
              <a:avLst/>
            </a:prstGeom>
          </p:spPr>
          <p:txBody>
            <a:bodyPr wrap="square" lIns="0" tIns="0" rIns="0" bIns="0" rtlCol="0"/>
            <a:lstStyle>
              <a:defPPr>
                <a:defRPr lang="en-US"/>
              </a:defPPr>
              <a:lvl1pPr indent="0" algn="ctr">
                <a:defRPr sz="700" b="0" i="0" u="none" strike="noStrike" baseline="0">
                  <a:solidFill>
                    <a:srgbClr val="02376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indent="0">
                <a:defRPr sz="1100"/>
              </a:lvl2pPr>
              <a:lvl3pPr indent="0">
                <a:defRPr sz="1100"/>
              </a:lvl3pPr>
              <a:lvl4pPr indent="0">
                <a:defRPr sz="1100"/>
              </a:lvl4pPr>
              <a:lvl5pPr indent="0">
                <a:defRPr sz="1100"/>
              </a:lvl5pPr>
              <a:lvl6pPr indent="0">
                <a:defRPr sz="1100"/>
              </a:lvl6pPr>
              <a:lvl7pPr indent="0">
                <a:defRPr sz="1100"/>
              </a:lvl7pPr>
              <a:lvl8pPr indent="0">
                <a:defRPr sz="1100"/>
              </a:lvl8pPr>
              <a:lvl9pPr indent="0">
                <a:defRPr sz="1100"/>
              </a:lvl9pPr>
            </a:lstStyle>
            <a:p>
              <a:r>
                <a:rPr lang="en-GB" sz="900" dirty="0">
                  <a:solidFill>
                    <a:srgbClr val="A7A9AC"/>
                  </a:solidFill>
                </a:rPr>
                <a:t>Placebo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16575A8-0752-4A7D-8244-53EE8120E26B}"/>
                </a:ext>
              </a:extLst>
            </p:cNvPr>
            <p:cNvSpPr txBox="1"/>
            <p:nvPr/>
          </p:nvSpPr>
          <p:spPr>
            <a:xfrm>
              <a:off x="5889795" y="3843796"/>
              <a:ext cx="1166415" cy="150026"/>
            </a:xfrm>
            <a:prstGeom prst="rect">
              <a:avLst/>
            </a:prstGeom>
          </p:spPr>
          <p:txBody>
            <a:bodyPr wrap="square" lIns="0" tIns="0" rIns="0" bIns="0" rtlCol="0"/>
            <a:lstStyle>
              <a:defPPr>
                <a:defRPr lang="en-US"/>
              </a:defPPr>
              <a:lvl1pPr indent="0" algn="ctr">
                <a:defRPr sz="700" b="0" i="0" u="none" strike="noStrike" baseline="0">
                  <a:solidFill>
                    <a:srgbClr val="02376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indent="0">
                <a:defRPr sz="1100"/>
              </a:lvl2pPr>
              <a:lvl3pPr indent="0">
                <a:defRPr sz="1100"/>
              </a:lvl3pPr>
              <a:lvl4pPr indent="0">
                <a:defRPr sz="1100"/>
              </a:lvl4pPr>
              <a:lvl5pPr indent="0">
                <a:defRPr sz="1100"/>
              </a:lvl5pPr>
              <a:lvl6pPr indent="0">
                <a:defRPr sz="1100"/>
              </a:lvl6pPr>
              <a:lvl7pPr indent="0">
                <a:defRPr sz="1100"/>
              </a:lvl7pPr>
              <a:lvl8pPr indent="0">
                <a:defRPr sz="1100"/>
              </a:lvl8pPr>
              <a:lvl9pPr indent="0">
                <a:defRPr sz="1100"/>
              </a:lvl9pPr>
            </a:lstStyle>
            <a:p>
              <a:r>
                <a:rPr lang="en-GB" sz="900" dirty="0"/>
                <a:t>Placebo-SECQ4W</a:t>
              </a:r>
              <a:endParaRPr lang="en-GB" dirty="0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658ED1B-779B-449B-A674-933B907E5C74}"/>
                </a:ext>
              </a:extLst>
            </p:cNvPr>
            <p:cNvSpPr txBox="1"/>
            <p:nvPr/>
          </p:nvSpPr>
          <p:spPr>
            <a:xfrm>
              <a:off x="8136542" y="4078310"/>
              <a:ext cx="1206696" cy="205306"/>
            </a:xfrm>
            <a:prstGeom prst="rect">
              <a:avLst/>
            </a:prstGeom>
          </p:spPr>
          <p:txBody>
            <a:bodyPr wrap="square" lIns="0" tIns="0" rIns="0" bIns="0" rtlCol="0"/>
            <a:lstStyle>
              <a:defPPr>
                <a:defRPr lang="en-US"/>
              </a:defPPr>
              <a:lvl1pPr indent="0" algn="ctr">
                <a:defRPr sz="700" b="0" i="0" u="none" strike="noStrike" baseline="0">
                  <a:solidFill>
                    <a:srgbClr val="C41425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indent="0">
                <a:defRPr sz="1100"/>
              </a:lvl2pPr>
              <a:lvl3pPr indent="0">
                <a:defRPr sz="1100"/>
              </a:lvl3pPr>
              <a:lvl4pPr indent="0">
                <a:defRPr sz="1100"/>
              </a:lvl4pPr>
              <a:lvl5pPr indent="0">
                <a:defRPr sz="1100"/>
              </a:lvl5pPr>
              <a:lvl6pPr indent="0">
                <a:defRPr sz="1100"/>
              </a:lvl6pPr>
              <a:lvl7pPr indent="0">
                <a:defRPr sz="1100"/>
              </a:lvl7pPr>
              <a:lvl8pPr indent="0">
                <a:defRPr sz="1100"/>
              </a:lvl8pPr>
              <a:lvl9pPr indent="0">
                <a:defRPr sz="1100"/>
              </a:lvl9pPr>
            </a:lstStyle>
            <a:p>
              <a:r>
                <a:rPr lang="en-GB" sz="900" dirty="0"/>
                <a:t>Placebo-SECQ2W</a:t>
              </a:r>
              <a:endParaRPr lang="en-GB" dirty="0"/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1B06F0B-F398-4DD1-A1CB-E74381B6A00A}"/>
                </a:ext>
              </a:extLst>
            </p:cNvPr>
            <p:cNvCxnSpPr>
              <a:cxnSpLocks/>
            </p:cNvCxnSpPr>
            <p:nvPr/>
          </p:nvCxnSpPr>
          <p:spPr>
            <a:xfrm>
              <a:off x="6228497" y="3706158"/>
              <a:ext cx="92166" cy="13230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36F8248-207A-42E0-A2E9-5B80CE29A2F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663907" y="3918809"/>
              <a:ext cx="75982" cy="159501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F44B7BC-47D7-468A-B91F-5BDCA51CBB39}"/>
                </a:ext>
              </a:extLst>
            </p:cNvPr>
            <p:cNvCxnSpPr>
              <a:cxnSpLocks/>
            </p:cNvCxnSpPr>
            <p:nvPr/>
          </p:nvCxnSpPr>
          <p:spPr>
            <a:xfrm>
              <a:off x="4255561" y="4252297"/>
              <a:ext cx="29336" cy="15002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3CE2A39-48E3-4A39-8362-1114034E8DEF}"/>
                </a:ext>
              </a:extLst>
            </p:cNvPr>
            <p:cNvCxnSpPr>
              <a:cxnSpLocks/>
            </p:cNvCxnSpPr>
            <p:nvPr/>
          </p:nvCxnSpPr>
          <p:spPr>
            <a:xfrm>
              <a:off x="4223172" y="3814646"/>
              <a:ext cx="29336" cy="15002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FB85115-A981-4990-BF1E-E73C110A34B8}"/>
                </a:ext>
              </a:extLst>
            </p:cNvPr>
            <p:cNvCxnSpPr>
              <a:cxnSpLocks/>
            </p:cNvCxnSpPr>
            <p:nvPr/>
          </p:nvCxnSpPr>
          <p:spPr>
            <a:xfrm>
              <a:off x="4245431" y="4715249"/>
              <a:ext cx="123671" cy="14008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041113E5-DAF4-DDEC-2732-2D5E7B7BFB9F}"/>
              </a:ext>
            </a:extLst>
          </p:cNvPr>
          <p:cNvSpPr txBox="1">
            <a:spLocks/>
          </p:cNvSpPr>
          <p:nvPr/>
        </p:nvSpPr>
        <p:spPr>
          <a:xfrm>
            <a:off x="659947" y="452390"/>
            <a:ext cx="11094135" cy="90193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defTabSz="1219170"/>
            <a:r>
              <a:rPr lang="en-US" sz="2600" spc="-133" dirty="0">
                <a:latin typeface="Arial Black" panose="020B0A04020102020204"/>
                <a:ea typeface="+mj-ea"/>
                <a:cs typeface="Arial"/>
              </a:rPr>
              <a:t>Secukinumab prokázal trvalé </a:t>
            </a:r>
            <a:r>
              <a:rPr lang="en-US" sz="2600" spc="-133" dirty="0" err="1">
                <a:latin typeface="Arial Black" panose="020B0A04020102020204"/>
                <a:ea typeface="+mj-ea"/>
                <a:cs typeface="Arial"/>
              </a:rPr>
              <a:t>zlepšení</a:t>
            </a:r>
            <a:r>
              <a:rPr lang="en-US" sz="2600" spc="-133" dirty="0">
                <a:latin typeface="Arial Black" panose="020B0A04020102020204"/>
                <a:ea typeface="+mj-ea"/>
                <a:cs typeface="Arial"/>
              </a:rPr>
              <a:t> </a:t>
            </a:r>
            <a:r>
              <a:rPr lang="en-US" sz="2600" spc="-133" dirty="0" err="1">
                <a:latin typeface="Arial Black" panose="020B0A04020102020204"/>
                <a:ea typeface="+mj-ea"/>
                <a:cs typeface="Arial"/>
              </a:rPr>
              <a:t>HiSCR</a:t>
            </a:r>
            <a:r>
              <a:rPr lang="cs-CZ" sz="2600" spc="-133" dirty="0">
                <a:latin typeface="Arial Black" panose="020B0A04020102020204"/>
                <a:ea typeface="+mj-ea"/>
                <a:cs typeface="Arial"/>
              </a:rPr>
              <a:t> </a:t>
            </a:r>
            <a:r>
              <a:rPr lang="en-US" sz="2600" spc="-133" dirty="0">
                <a:latin typeface="Arial Black" panose="020B0A04020102020204"/>
                <a:ea typeface="+mj-ea"/>
                <a:cs typeface="Arial"/>
              </a:rPr>
              <a:t>do</a:t>
            </a:r>
            <a:r>
              <a:rPr lang="en-US" sz="2600" spc="-133" dirty="0">
                <a:solidFill>
                  <a:srgbClr val="FF0000"/>
                </a:solidFill>
                <a:latin typeface="Arial Black" panose="020B0A04020102020204"/>
                <a:ea typeface="+mj-ea"/>
                <a:cs typeface="Arial"/>
              </a:rPr>
              <a:t> </a:t>
            </a:r>
            <a:r>
              <a:rPr lang="en-US" sz="2600" spc="-133" dirty="0">
                <a:latin typeface="Arial Black" panose="020B0A04020102020204"/>
                <a:ea typeface="+mj-ea"/>
                <a:cs typeface="Arial"/>
              </a:rPr>
              <a:t>52</a:t>
            </a:r>
            <a:r>
              <a:rPr lang="cs-CZ" sz="2600" spc="-133" dirty="0">
                <a:latin typeface="Arial Black" panose="020B0A04020102020204"/>
                <a:ea typeface="+mj-ea"/>
                <a:cs typeface="Arial"/>
              </a:rPr>
              <a:t>.</a:t>
            </a:r>
            <a:r>
              <a:rPr lang="en-US" sz="2600" spc="-133" dirty="0">
                <a:latin typeface="Arial Black" panose="020B0A04020102020204"/>
                <a:ea typeface="+mj-ea"/>
                <a:cs typeface="Arial"/>
              </a:rPr>
              <a:t> </a:t>
            </a:r>
            <a:r>
              <a:rPr lang="en-US" sz="2600" spc="-133" dirty="0" err="1">
                <a:latin typeface="Arial Black" panose="020B0A04020102020204"/>
                <a:ea typeface="+mj-ea"/>
                <a:cs typeface="Arial"/>
              </a:rPr>
              <a:t>týdn</a:t>
            </a:r>
            <a:r>
              <a:rPr lang="cs-CZ" sz="2600" spc="-133" dirty="0">
                <a:latin typeface="Arial Black" panose="020B0A04020102020204"/>
                <a:ea typeface="+mj-ea"/>
                <a:cs typeface="Arial"/>
              </a:rPr>
              <a:t>e</a:t>
            </a:r>
            <a:r>
              <a:rPr lang="en-US" sz="2600" spc="-133" dirty="0">
                <a:latin typeface="Arial Black" panose="020B0A04020102020204"/>
                <a:ea typeface="+mj-ea"/>
                <a:cs typeface="Arial"/>
              </a:rPr>
              <a:t> léčby (souhrnná analýz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8DA98D-9A0A-B949-E278-6658FE787536}"/>
              </a:ext>
            </a:extLst>
          </p:cNvPr>
          <p:cNvSpPr txBox="1"/>
          <p:nvPr/>
        </p:nvSpPr>
        <p:spPr>
          <a:xfrm>
            <a:off x="10003972" y="6547058"/>
            <a:ext cx="205697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" i="1" dirty="0" err="1">
                <a:effectLst/>
              </a:rPr>
              <a:t>Odkaz</a:t>
            </a:r>
            <a:r>
              <a:rPr lang="en-GB" sz="600" i="1" dirty="0">
                <a:effectLst/>
              </a:rPr>
              <a:t> </a:t>
            </a:r>
            <a:r>
              <a:rPr lang="en-GB" sz="600" i="1" dirty="0" err="1">
                <a:effectLst/>
              </a:rPr>
              <a:t>na</a:t>
            </a:r>
            <a:r>
              <a:rPr lang="en-GB" sz="600" i="1" dirty="0">
                <a:effectLst/>
              </a:rPr>
              <a:t> SPC </a:t>
            </a:r>
            <a:r>
              <a:rPr lang="en-GB" sz="600" i="1" dirty="0" err="1">
                <a:effectLst/>
              </a:rPr>
              <a:t>přípravku</a:t>
            </a:r>
            <a:r>
              <a:rPr lang="en-GB" sz="600" i="1" dirty="0">
                <a:effectLst/>
              </a:rPr>
              <a:t> Cosentyx </a:t>
            </a:r>
            <a:r>
              <a:rPr lang="en-GB" sz="600" i="1" dirty="0" err="1">
                <a:effectLst/>
              </a:rPr>
              <a:t>dostupn</a:t>
            </a:r>
            <a:r>
              <a:rPr lang="en-GB" sz="600" i="1" dirty="0" err="1"/>
              <a:t>ý</a:t>
            </a:r>
            <a:r>
              <a:rPr lang="en-GB" sz="600" i="1" dirty="0"/>
              <a:t> </a:t>
            </a:r>
            <a:r>
              <a:rPr lang="en-GB" sz="600" i="1" dirty="0" err="1"/>
              <a:t>na</a:t>
            </a:r>
            <a:r>
              <a:rPr lang="en-GB" sz="600" i="1" dirty="0"/>
              <a:t>: www.sukl.cz</a:t>
            </a:r>
            <a:endParaRPr lang="en-GB" sz="600" i="1" dirty="0">
              <a:effectLst/>
            </a:endParaRPr>
          </a:p>
        </p:txBody>
      </p:sp>
      <p:sp>
        <p:nvSpPr>
          <p:cNvPr id="6" name="Ovál 5">
            <a:extLst>
              <a:ext uri="{FF2B5EF4-FFF2-40B4-BE49-F238E27FC236}">
                <a16:creationId xmlns:a16="http://schemas.microsoft.com/office/drawing/2014/main" id="{3154A601-4BD9-2199-93F7-DC1FF8308BBA}"/>
              </a:ext>
            </a:extLst>
          </p:cNvPr>
          <p:cNvSpPr/>
          <p:nvPr/>
        </p:nvSpPr>
        <p:spPr>
          <a:xfrm>
            <a:off x="4706470" y="5154705"/>
            <a:ext cx="582707" cy="573741"/>
          </a:xfrm>
          <a:prstGeom prst="ellipse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99450380-8B39-9D55-B2DD-5ED7483125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06337" y="5135316"/>
            <a:ext cx="615749" cy="6035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89252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2D2652-BDBB-4388-9C51-B20E5EAD65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78600"/>
            <a:ext cx="496711" cy="2794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</a:t>
            </a:fld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DC82C78-7B94-40ED-88D2-533D74A241EE}"/>
              </a:ext>
            </a:extLst>
          </p:cNvPr>
          <p:cNvSpPr txBox="1">
            <a:spLocks/>
          </p:cNvSpPr>
          <p:nvPr/>
        </p:nvSpPr>
        <p:spPr>
          <a:xfrm>
            <a:off x="659947" y="481265"/>
            <a:ext cx="11094135" cy="90193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defTabSz="1219170"/>
            <a:r>
              <a:rPr lang="en-US" sz="2800" spc="-133" dirty="0">
                <a:solidFill>
                  <a:srgbClr val="000000"/>
                </a:solidFill>
                <a:latin typeface="Arial Black" panose="020B0A04020102020204"/>
                <a:ea typeface="+mj-ea"/>
                <a:cs typeface="Arial"/>
              </a:rPr>
              <a:t>U pacientů, kteří dosáhli HiSCR v 16. týdnu*, si &gt;75 % udrželo odpověď až do 52. týdn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23161C4-D3FB-40DF-A87C-2F21F58873CE}"/>
              </a:ext>
            </a:extLst>
          </p:cNvPr>
          <p:cNvSpPr/>
          <p:nvPr/>
        </p:nvSpPr>
        <p:spPr>
          <a:xfrm>
            <a:off x="560826" y="6022338"/>
            <a:ext cx="7054510" cy="83099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defTabSz="685800" eaLnBrk="0" hangingPunct="0">
              <a:defRPr/>
            </a:pP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HiSCR, klinická odpověď hidradenitis suppurativa; N, počet pacientů zahrnutých do post hoc analýzy; Q2W, každé 2 týdny; Q4W, každé 4 týdny; SEC, secukinumab 300 mg.</a:t>
            </a:r>
            <a:br>
              <a:rPr lang="en-US" sz="800" dirty="0"/>
            </a:b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Údaje jsou pozorované; post hoc analýza zahrnuje pouze pacienty s hodnotitelnými údaji v 16. a 52. týdnu. </a:t>
            </a:r>
            <a:b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*Post hoc analýza hodnotila udržitelnost HiSCR v 52. týdnu, provedena pouze u pacientů s hodnotitelnými údaji v 16. a 52. týdnu. </a:t>
            </a:r>
            <a:b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52. týdnu (SUNSHINE: SECQ2W 114/181, SECQ4W 125/180; SUNRISE: SECQ2W 134/180, SECQ4W 124/180).</a:t>
            </a:r>
            <a:b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dirty="0"/>
              <a:t>Kimball </a:t>
            </a:r>
            <a:r>
              <a:rPr lang="en-US" sz="800" b="0" dirty="0"/>
              <a:t>AB </a:t>
            </a:r>
            <a:r>
              <a:rPr lang="en-GB" sz="800" dirty="0"/>
              <a:t>et al. P42640. </a:t>
            </a:r>
            <a:r>
              <a:rPr lang="en-US" sz="800" dirty="0"/>
              <a:t>Kongres AAD; 17.-21. března 2023, New Orleans, LA, USA.</a:t>
            </a:r>
            <a:endParaRPr lang="en-US" altLang="en-US" sz="800" dirty="0" bmk="_Hlk8991753">
              <a:solidFill>
                <a:prstClr val="black"/>
              </a:solidFill>
              <a:latin typeface="Arial" panose="020B0604020202020204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9F220A-5412-1FE6-00A7-0A58661E8966}"/>
              </a:ext>
            </a:extLst>
          </p:cNvPr>
          <p:cNvSpPr txBox="1"/>
          <p:nvPr/>
        </p:nvSpPr>
        <p:spPr>
          <a:xfrm>
            <a:off x="586178" y="1349805"/>
            <a:ext cx="10945875" cy="11156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91770" indent="-191770" defTabSz="1219170">
              <a:spcAft>
                <a:spcPts val="300"/>
              </a:spcAft>
              <a:buClr>
                <a:srgbClr val="0460A9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Post hoc analýza u pacientů s údaji z 16. i 52. týdne prokázala, že více než 75 % pacientů, kteří dosáhli HiSCR v 16. týdnu, si udrželo odpověď i v 52. týdnu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/>
              </a:rPr>
              <a:t>(A).</a:t>
            </a:r>
            <a:endParaRPr lang="en-US" sz="1600" dirty="0"/>
          </a:p>
          <a:p>
            <a:pPr marL="191770" indent="-191770" defTabSz="1219170">
              <a:spcAft>
                <a:spcPts val="300"/>
              </a:spcAft>
              <a:buClr>
                <a:srgbClr val="0460A9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Navíc u pacientů, kteří v 16. týdnu nedosáhli HiSCR (SUNSHINE: SECQ2W [49,1 %], SECQ4W [58,4 %]; SUNRISE: SECQ2W [54,5 %], SECQ4W [47,6 %]), velká část dosáhla HiSCR v 52. týdnu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/>
              </a:rPr>
              <a:t>(B).</a:t>
            </a:r>
            <a:endParaRPr lang="en-US" sz="1600" dirty="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D3E3C05-75DD-676D-669E-C1BDFB5257B8}"/>
              </a:ext>
            </a:extLst>
          </p:cNvPr>
          <p:cNvGrpSpPr/>
          <p:nvPr/>
        </p:nvGrpSpPr>
        <p:grpSpPr>
          <a:xfrm>
            <a:off x="1356232" y="2832313"/>
            <a:ext cx="9926660" cy="3057173"/>
            <a:chOff x="1356232" y="2812070"/>
            <a:chExt cx="9926660" cy="3057173"/>
          </a:xfrm>
        </p:grpSpPr>
        <p:sp>
          <p:nvSpPr>
            <p:cNvPr id="13" name="Rectangle 455">
              <a:extLst>
                <a:ext uri="{FF2B5EF4-FFF2-40B4-BE49-F238E27FC236}">
                  <a16:creationId xmlns:a16="http://schemas.microsoft.com/office/drawing/2014/main" id="{88AE87DC-F854-E848-F486-47BFF3DE97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7695" y="4099048"/>
              <a:ext cx="406687" cy="1400344"/>
            </a:xfrm>
            <a:prstGeom prst="rect">
              <a:avLst/>
            </a:prstGeom>
            <a:solidFill>
              <a:srgbClr val="C41425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456">
              <a:extLst>
                <a:ext uri="{FF2B5EF4-FFF2-40B4-BE49-F238E27FC236}">
                  <a16:creationId xmlns:a16="http://schemas.microsoft.com/office/drawing/2014/main" id="{B31463B5-5564-C26D-479D-77BF92310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7786" y="3956540"/>
              <a:ext cx="409815" cy="1542851"/>
            </a:xfrm>
            <a:prstGeom prst="rect">
              <a:avLst/>
            </a:prstGeom>
            <a:solidFill>
              <a:srgbClr val="C414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457">
              <a:extLst>
                <a:ext uri="{FF2B5EF4-FFF2-40B4-BE49-F238E27FC236}">
                  <a16:creationId xmlns:a16="http://schemas.microsoft.com/office/drawing/2014/main" id="{2F65BB9D-4F08-BFB9-87CC-85192394E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1895" y="4081381"/>
              <a:ext cx="406687" cy="1418010"/>
            </a:xfrm>
            <a:prstGeom prst="rect">
              <a:avLst/>
            </a:prstGeom>
            <a:solidFill>
              <a:srgbClr val="02376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458">
              <a:extLst>
                <a:ext uri="{FF2B5EF4-FFF2-40B4-BE49-F238E27FC236}">
                  <a16:creationId xmlns:a16="http://schemas.microsoft.com/office/drawing/2014/main" id="{3DA3AE1D-6E7B-7421-2E08-F6A22ECAB6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2752" y="4010716"/>
              <a:ext cx="409815" cy="1488674"/>
            </a:xfrm>
            <a:prstGeom prst="rect">
              <a:avLst/>
            </a:prstGeom>
            <a:solidFill>
              <a:srgbClr val="02376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459">
              <a:extLst>
                <a:ext uri="{FF2B5EF4-FFF2-40B4-BE49-F238E27FC236}">
                  <a16:creationId xmlns:a16="http://schemas.microsoft.com/office/drawing/2014/main" id="{CAAFE0F2-86D7-2A62-6E70-9371216C42C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041343" y="3656214"/>
              <a:ext cx="0" cy="1839644"/>
            </a:xfrm>
            <a:prstGeom prst="line">
              <a:avLst/>
            </a:prstGeom>
            <a:noFill/>
            <a:ln w="11113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460">
              <a:extLst>
                <a:ext uri="{FF2B5EF4-FFF2-40B4-BE49-F238E27FC236}">
                  <a16:creationId xmlns:a16="http://schemas.microsoft.com/office/drawing/2014/main" id="{F006BE04-EB2D-291A-A476-EC9553EC34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5981" y="3656214"/>
              <a:ext cx="45362" cy="1839644"/>
            </a:xfrm>
            <a:custGeom>
              <a:avLst/>
              <a:gdLst>
                <a:gd name="T0" fmla="*/ 0 w 29"/>
                <a:gd name="T1" fmla="*/ 0 h 1562"/>
                <a:gd name="T2" fmla="*/ 29 w 29"/>
                <a:gd name="T3" fmla="*/ 0 h 1562"/>
                <a:gd name="T4" fmla="*/ 0 w 29"/>
                <a:gd name="T5" fmla="*/ 313 h 1562"/>
                <a:gd name="T6" fmla="*/ 29 w 29"/>
                <a:gd name="T7" fmla="*/ 313 h 1562"/>
                <a:gd name="T8" fmla="*/ 0 w 29"/>
                <a:gd name="T9" fmla="*/ 626 h 1562"/>
                <a:gd name="T10" fmla="*/ 29 w 29"/>
                <a:gd name="T11" fmla="*/ 626 h 1562"/>
                <a:gd name="T12" fmla="*/ 0 w 29"/>
                <a:gd name="T13" fmla="*/ 939 h 1562"/>
                <a:gd name="T14" fmla="*/ 29 w 29"/>
                <a:gd name="T15" fmla="*/ 939 h 1562"/>
                <a:gd name="T16" fmla="*/ 0 w 29"/>
                <a:gd name="T17" fmla="*/ 1252 h 1562"/>
                <a:gd name="T18" fmla="*/ 29 w 29"/>
                <a:gd name="T19" fmla="*/ 1252 h 1562"/>
                <a:gd name="T20" fmla="*/ 0 w 29"/>
                <a:gd name="T21" fmla="*/ 1562 h 1562"/>
                <a:gd name="T22" fmla="*/ 29 w 29"/>
                <a:gd name="T23" fmla="*/ 1562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1562">
                  <a:moveTo>
                    <a:pt x="0" y="0"/>
                  </a:moveTo>
                  <a:lnTo>
                    <a:pt x="29" y="0"/>
                  </a:lnTo>
                  <a:moveTo>
                    <a:pt x="0" y="313"/>
                  </a:moveTo>
                  <a:lnTo>
                    <a:pt x="29" y="313"/>
                  </a:lnTo>
                  <a:moveTo>
                    <a:pt x="0" y="626"/>
                  </a:moveTo>
                  <a:lnTo>
                    <a:pt x="29" y="626"/>
                  </a:lnTo>
                  <a:moveTo>
                    <a:pt x="0" y="939"/>
                  </a:moveTo>
                  <a:lnTo>
                    <a:pt x="29" y="939"/>
                  </a:lnTo>
                  <a:moveTo>
                    <a:pt x="0" y="1252"/>
                  </a:moveTo>
                  <a:lnTo>
                    <a:pt x="29" y="1252"/>
                  </a:lnTo>
                  <a:moveTo>
                    <a:pt x="0" y="1562"/>
                  </a:moveTo>
                  <a:lnTo>
                    <a:pt x="29" y="1562"/>
                  </a:lnTo>
                </a:path>
              </a:pathLst>
            </a:custGeom>
            <a:noFill/>
            <a:ln w="11113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Rectangle 461">
              <a:extLst>
                <a:ext uri="{FF2B5EF4-FFF2-40B4-BE49-F238E27FC236}">
                  <a16:creationId xmlns:a16="http://schemas.microsoft.com/office/drawing/2014/main" id="{B4C0F2CF-252A-B972-98AA-84E92EE8CF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6325" y="4716188"/>
              <a:ext cx="274114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75.9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Rectangle 464">
              <a:extLst>
                <a:ext uri="{FF2B5EF4-FFF2-40B4-BE49-F238E27FC236}">
                  <a16:creationId xmlns:a16="http://schemas.microsoft.com/office/drawing/2014/main" id="{9116E9BF-4819-6B3C-607B-0FBDC8E24A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6416" y="4645523"/>
              <a:ext cx="274114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83.6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Rectangle 467">
              <a:extLst>
                <a:ext uri="{FF2B5EF4-FFF2-40B4-BE49-F238E27FC236}">
                  <a16:creationId xmlns:a16="http://schemas.microsoft.com/office/drawing/2014/main" id="{B24DA611-9A6C-BA9D-AD12-47B5FEE2A7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4510" y="4670255"/>
              <a:ext cx="274114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80.8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Rectangle 470">
              <a:extLst>
                <a:ext uri="{FF2B5EF4-FFF2-40B4-BE49-F238E27FC236}">
                  <a16:creationId xmlns:a16="http://schemas.microsoft.com/office/drawing/2014/main" id="{525A0049-8DA2-B668-6986-47E11100B7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0523" y="4707943"/>
              <a:ext cx="274114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76.9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Rectangle 473">
              <a:extLst>
                <a:ext uri="{FF2B5EF4-FFF2-40B4-BE49-F238E27FC236}">
                  <a16:creationId xmlns:a16="http://schemas.microsoft.com/office/drawing/2014/main" id="{1EFD81C9-A647-3E7F-06C9-293688840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6770" y="5431081"/>
              <a:ext cx="7053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Rectangle 474">
              <a:extLst>
                <a:ext uri="{FF2B5EF4-FFF2-40B4-BE49-F238E27FC236}">
                  <a16:creationId xmlns:a16="http://schemas.microsoft.com/office/drawing/2014/main" id="{A5DB6735-C72F-E081-6C0A-375061FADA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868" y="5062446"/>
              <a:ext cx="126356" cy="1027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20</a:t>
              </a:r>
              <a:endPara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Rectangle 475">
              <a:extLst>
                <a:ext uri="{FF2B5EF4-FFF2-40B4-BE49-F238E27FC236}">
                  <a16:creationId xmlns:a16="http://schemas.microsoft.com/office/drawing/2014/main" id="{0B407A9D-BF4A-E341-7B5F-240EDCDF36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868" y="4693810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4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Rectangle 476">
              <a:extLst>
                <a:ext uri="{FF2B5EF4-FFF2-40B4-BE49-F238E27FC236}">
                  <a16:creationId xmlns:a16="http://schemas.microsoft.com/office/drawing/2014/main" id="{181FDF2C-0C2F-56F3-E46F-2BE4302476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6309" y="4314931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6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Rectangle 477">
              <a:extLst>
                <a:ext uri="{FF2B5EF4-FFF2-40B4-BE49-F238E27FC236}">
                  <a16:creationId xmlns:a16="http://schemas.microsoft.com/office/drawing/2014/main" id="{992EC015-847D-0BE4-0778-EEDD967BEC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868" y="3956540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8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0" name="Rectangle 478">
              <a:extLst>
                <a:ext uri="{FF2B5EF4-FFF2-40B4-BE49-F238E27FC236}">
                  <a16:creationId xmlns:a16="http://schemas.microsoft.com/office/drawing/2014/main" id="{2E9FC0D0-A8DE-8D80-A1AE-FDC9CD48F2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7838" y="3587905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10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1" name="Rectangle 481">
              <a:extLst>
                <a:ext uri="{FF2B5EF4-FFF2-40B4-BE49-F238E27FC236}">
                  <a16:creationId xmlns:a16="http://schemas.microsoft.com/office/drawing/2014/main" id="{EBCE045C-7EE8-02E9-0671-B61810367C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9646" y="5699966"/>
              <a:ext cx="732573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SUNSHINE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2" name="Rectangle 489">
              <a:extLst>
                <a:ext uri="{FF2B5EF4-FFF2-40B4-BE49-F238E27FC236}">
                  <a16:creationId xmlns:a16="http://schemas.microsoft.com/office/drawing/2014/main" id="{90E5C6E9-0FE3-F859-B783-B8B3966C7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0407" y="5699966"/>
              <a:ext cx="629981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SUNRISE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Rectangle 512">
              <a:extLst>
                <a:ext uri="{FF2B5EF4-FFF2-40B4-BE49-F238E27FC236}">
                  <a16:creationId xmlns:a16="http://schemas.microsoft.com/office/drawing/2014/main" id="{4F5BEB37-2B70-CA03-09BB-E73972988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5914" y="2812070"/>
              <a:ext cx="3206007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Respondenti HiSCR v 16. týdnu, </a:t>
              </a:r>
              <a:b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udržení odpovědi v 52. týdnu</a:t>
              </a:r>
              <a:endPara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6B336390-321D-0621-6069-7C162DDABD93}"/>
                </a:ext>
              </a:extLst>
            </p:cNvPr>
            <p:cNvGrpSpPr/>
            <p:nvPr/>
          </p:nvGrpSpPr>
          <p:grpSpPr>
            <a:xfrm>
              <a:off x="10523410" y="3858504"/>
              <a:ext cx="759482" cy="381113"/>
              <a:chOff x="10210955" y="3772970"/>
              <a:chExt cx="759482" cy="381113"/>
            </a:xfrm>
          </p:grpSpPr>
          <p:sp>
            <p:nvSpPr>
              <p:cNvPr id="34" name="Rectangle 514">
                <a:extLst>
                  <a:ext uri="{FF2B5EF4-FFF2-40B4-BE49-F238E27FC236}">
                    <a16:creationId xmlns:a16="http://schemas.microsoft.com/office/drawing/2014/main" id="{5B146540-D5DC-6586-3CB7-82683AE62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10955" y="3837810"/>
                <a:ext cx="75081" cy="56532"/>
              </a:xfrm>
              <a:prstGeom prst="rect">
                <a:avLst/>
              </a:prstGeom>
              <a:solidFill>
                <a:srgbClr val="C414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Rectangle 515">
                <a:extLst>
                  <a:ext uri="{FF2B5EF4-FFF2-40B4-BE49-F238E27FC236}">
                    <a16:creationId xmlns:a16="http://schemas.microsoft.com/office/drawing/2014/main" id="{CFE775B7-E5C4-4279-BD5A-8E52DA501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8090" y="3772970"/>
                <a:ext cx="61234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SECQ2W</a:t>
                </a:r>
                <a:endPara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36" name="Rectangle 519">
                <a:extLst>
                  <a:ext uri="{FF2B5EF4-FFF2-40B4-BE49-F238E27FC236}">
                    <a16:creationId xmlns:a16="http://schemas.microsoft.com/office/drawing/2014/main" id="{8093A0B2-74A4-5920-424E-F5BDF60512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10955" y="4033316"/>
                <a:ext cx="75081" cy="56532"/>
              </a:xfrm>
              <a:prstGeom prst="rect">
                <a:avLst/>
              </a:prstGeom>
              <a:solidFill>
                <a:srgbClr val="02376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Rectangle 520">
                <a:extLst>
                  <a:ext uri="{FF2B5EF4-FFF2-40B4-BE49-F238E27FC236}">
                    <a16:creationId xmlns:a16="http://schemas.microsoft.com/office/drawing/2014/main" id="{B5FB4E35-2E53-B6D1-9E37-205686B994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8090" y="3984806"/>
                <a:ext cx="61234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SECQ4W</a:t>
                </a:r>
                <a:endPara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</p:grpSp>
        <p:sp>
          <p:nvSpPr>
            <p:cNvPr id="38" name="Rectangle 524">
              <a:extLst>
                <a:ext uri="{FF2B5EF4-FFF2-40B4-BE49-F238E27FC236}">
                  <a16:creationId xmlns:a16="http://schemas.microsoft.com/office/drawing/2014/main" id="{3D14B98E-A12F-3407-8B18-117852275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5144" y="4806874"/>
              <a:ext cx="409815" cy="692516"/>
            </a:xfrm>
            <a:prstGeom prst="rect">
              <a:avLst/>
            </a:prstGeom>
            <a:solidFill>
              <a:srgbClr val="C414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525">
              <a:extLst>
                <a:ext uri="{FF2B5EF4-FFF2-40B4-BE49-F238E27FC236}">
                  <a16:creationId xmlns:a16="http://schemas.microsoft.com/office/drawing/2014/main" id="{C0279A34-DB1A-65BE-C12D-1D5DD0676E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4286" y="4588991"/>
              <a:ext cx="406687" cy="910400"/>
            </a:xfrm>
            <a:prstGeom prst="rect">
              <a:avLst/>
            </a:prstGeom>
            <a:solidFill>
              <a:srgbClr val="C414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526">
              <a:extLst>
                <a:ext uri="{FF2B5EF4-FFF2-40B4-BE49-F238E27FC236}">
                  <a16:creationId xmlns:a16="http://schemas.microsoft.com/office/drawing/2014/main" id="{0C8B0472-CEBE-DBF0-8B3F-9AF05ACBD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9252" y="4768009"/>
              <a:ext cx="406687" cy="731382"/>
            </a:xfrm>
            <a:prstGeom prst="rect">
              <a:avLst/>
            </a:prstGeom>
            <a:solidFill>
              <a:srgbClr val="02376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527">
              <a:extLst>
                <a:ext uri="{FF2B5EF4-FFF2-40B4-BE49-F238E27FC236}">
                  <a16:creationId xmlns:a16="http://schemas.microsoft.com/office/drawing/2014/main" id="{0E75D51B-20AE-0489-5EB7-EC57242E8A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65266" y="4653767"/>
              <a:ext cx="409815" cy="845624"/>
            </a:xfrm>
            <a:prstGeom prst="rect">
              <a:avLst/>
            </a:prstGeom>
            <a:solidFill>
              <a:srgbClr val="02376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Line 528">
              <a:extLst>
                <a:ext uri="{FF2B5EF4-FFF2-40B4-BE49-F238E27FC236}">
                  <a16:creationId xmlns:a16="http://schemas.microsoft.com/office/drawing/2014/main" id="{2815600D-A290-6ADB-FCD0-B5C29FF973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26278" y="3656214"/>
              <a:ext cx="0" cy="1839644"/>
            </a:xfrm>
            <a:prstGeom prst="line">
              <a:avLst/>
            </a:prstGeom>
            <a:noFill/>
            <a:ln w="11113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529">
              <a:extLst>
                <a:ext uri="{FF2B5EF4-FFF2-40B4-BE49-F238E27FC236}">
                  <a16:creationId xmlns:a16="http://schemas.microsoft.com/office/drawing/2014/main" id="{31411022-1478-D519-1D83-1986AFA91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2481" y="3656214"/>
              <a:ext cx="43797" cy="1839644"/>
            </a:xfrm>
            <a:custGeom>
              <a:avLst/>
              <a:gdLst>
                <a:gd name="T0" fmla="*/ 0 w 28"/>
                <a:gd name="T1" fmla="*/ 0 h 1562"/>
                <a:gd name="T2" fmla="*/ 28 w 28"/>
                <a:gd name="T3" fmla="*/ 0 h 1562"/>
                <a:gd name="T4" fmla="*/ 0 w 28"/>
                <a:gd name="T5" fmla="*/ 313 h 1562"/>
                <a:gd name="T6" fmla="*/ 28 w 28"/>
                <a:gd name="T7" fmla="*/ 313 h 1562"/>
                <a:gd name="T8" fmla="*/ 0 w 28"/>
                <a:gd name="T9" fmla="*/ 626 h 1562"/>
                <a:gd name="T10" fmla="*/ 28 w 28"/>
                <a:gd name="T11" fmla="*/ 626 h 1562"/>
                <a:gd name="T12" fmla="*/ 0 w 28"/>
                <a:gd name="T13" fmla="*/ 939 h 1562"/>
                <a:gd name="T14" fmla="*/ 28 w 28"/>
                <a:gd name="T15" fmla="*/ 939 h 1562"/>
                <a:gd name="T16" fmla="*/ 0 w 28"/>
                <a:gd name="T17" fmla="*/ 1252 h 1562"/>
                <a:gd name="T18" fmla="*/ 28 w 28"/>
                <a:gd name="T19" fmla="*/ 1252 h 1562"/>
                <a:gd name="T20" fmla="*/ 0 w 28"/>
                <a:gd name="T21" fmla="*/ 1562 h 1562"/>
                <a:gd name="T22" fmla="*/ 28 w 28"/>
                <a:gd name="T23" fmla="*/ 1562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1562">
                  <a:moveTo>
                    <a:pt x="0" y="0"/>
                  </a:moveTo>
                  <a:lnTo>
                    <a:pt x="28" y="0"/>
                  </a:lnTo>
                  <a:moveTo>
                    <a:pt x="0" y="313"/>
                  </a:moveTo>
                  <a:lnTo>
                    <a:pt x="28" y="313"/>
                  </a:lnTo>
                  <a:moveTo>
                    <a:pt x="0" y="626"/>
                  </a:moveTo>
                  <a:lnTo>
                    <a:pt x="28" y="626"/>
                  </a:lnTo>
                  <a:moveTo>
                    <a:pt x="0" y="939"/>
                  </a:moveTo>
                  <a:lnTo>
                    <a:pt x="28" y="939"/>
                  </a:lnTo>
                  <a:moveTo>
                    <a:pt x="0" y="1252"/>
                  </a:moveTo>
                  <a:lnTo>
                    <a:pt x="28" y="1252"/>
                  </a:lnTo>
                  <a:moveTo>
                    <a:pt x="0" y="1562"/>
                  </a:moveTo>
                  <a:lnTo>
                    <a:pt x="28" y="1562"/>
                  </a:lnTo>
                </a:path>
              </a:pathLst>
            </a:custGeom>
            <a:noFill/>
            <a:ln w="11113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530">
              <a:extLst>
                <a:ext uri="{FF2B5EF4-FFF2-40B4-BE49-F238E27FC236}">
                  <a16:creationId xmlns:a16="http://schemas.microsoft.com/office/drawing/2014/main" id="{074D4F85-F11B-DDC3-5A11-C1653D72B3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8641" y="5070690"/>
              <a:ext cx="274114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37.5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45" name="Rectangle 533">
              <a:extLst>
                <a:ext uri="{FF2B5EF4-FFF2-40B4-BE49-F238E27FC236}">
                  <a16:creationId xmlns:a16="http://schemas.microsoft.com/office/drawing/2014/main" id="{A2D3EFB4-D7E4-F9BB-A2E3-0CB7BB095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0639" y="4959982"/>
              <a:ext cx="274114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49.3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46" name="Rectangle 536">
              <a:extLst>
                <a:ext uri="{FF2B5EF4-FFF2-40B4-BE49-F238E27FC236}">
                  <a16:creationId xmlns:a16="http://schemas.microsoft.com/office/drawing/2014/main" id="{3784AC31-61D0-663A-E136-423BC066E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5605" y="5048313"/>
              <a:ext cx="274114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39.7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47" name="Rectangle 539">
              <a:extLst>
                <a:ext uri="{FF2B5EF4-FFF2-40B4-BE49-F238E27FC236}">
                  <a16:creationId xmlns:a16="http://schemas.microsoft.com/office/drawing/2014/main" id="{EFCDD0C2-BD68-96AA-FFC5-A30785AB97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54747" y="4994137"/>
              <a:ext cx="274114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45.8</a:t>
              </a:r>
              <a:endPara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48" name="Rectangle 542">
              <a:extLst>
                <a:ext uri="{FF2B5EF4-FFF2-40B4-BE49-F238E27FC236}">
                  <a16:creationId xmlns:a16="http://schemas.microsoft.com/office/drawing/2014/main" id="{02C6D5D1-03C5-FC73-ED60-AAAB99FA27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576" y="5431081"/>
              <a:ext cx="7053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49" name="Rectangle 543">
              <a:extLst>
                <a:ext uri="{FF2B5EF4-FFF2-40B4-BE49-F238E27FC236}">
                  <a16:creationId xmlns:a16="http://schemas.microsoft.com/office/drawing/2014/main" id="{66090045-8470-6338-F7E8-F39B90664A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5675" y="5062446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2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0" name="Rectangle 544">
              <a:extLst>
                <a:ext uri="{FF2B5EF4-FFF2-40B4-BE49-F238E27FC236}">
                  <a16:creationId xmlns:a16="http://schemas.microsoft.com/office/drawing/2014/main" id="{0B4B8FB3-2D54-469A-4F67-BE1797E6C4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5675" y="4693810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4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1" name="Rectangle 545">
              <a:extLst>
                <a:ext uri="{FF2B5EF4-FFF2-40B4-BE49-F238E27FC236}">
                  <a16:creationId xmlns:a16="http://schemas.microsoft.com/office/drawing/2014/main" id="{A6517D69-9F91-2900-B77E-D0C04DB8DB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5675" y="4325175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6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2" name="Rectangle 546">
              <a:extLst>
                <a:ext uri="{FF2B5EF4-FFF2-40B4-BE49-F238E27FC236}">
                  <a16:creationId xmlns:a16="http://schemas.microsoft.com/office/drawing/2014/main" id="{2002C642-DF79-AEB3-44E5-2390272BCB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5675" y="3956540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8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3" name="Rectangle 547">
              <a:extLst>
                <a:ext uri="{FF2B5EF4-FFF2-40B4-BE49-F238E27FC236}">
                  <a16:creationId xmlns:a16="http://schemas.microsoft.com/office/drawing/2014/main" id="{23866123-0DC4-A21F-26F3-064C6D4EDD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4338" y="3587905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100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Rectangle 581">
              <a:extLst>
                <a:ext uri="{FF2B5EF4-FFF2-40B4-BE49-F238E27FC236}">
                  <a16:creationId xmlns:a16="http://schemas.microsoft.com/office/drawing/2014/main" id="{0997D7C1-5569-EC9F-1794-12B252ED5F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1701" y="2812070"/>
              <a:ext cx="3454472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Neodpovídající pacienti HiSCR v 16. týdnu, </a:t>
              </a:r>
              <a:b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dosažení odpovědi v 52. týdnu</a:t>
              </a:r>
              <a:endPara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5" name="Rectangle 583">
              <a:extLst>
                <a:ext uri="{FF2B5EF4-FFF2-40B4-BE49-F238E27FC236}">
                  <a16:creationId xmlns:a16="http://schemas.microsoft.com/office/drawing/2014/main" id="{D21F3B15-44BC-38D4-CF69-59F812E6F6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232" y="2812070"/>
              <a:ext cx="14747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A</a:t>
              </a:r>
              <a:endPara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6" name="Rectangle 584">
              <a:extLst>
                <a:ext uri="{FF2B5EF4-FFF2-40B4-BE49-F238E27FC236}">
                  <a16:creationId xmlns:a16="http://schemas.microsoft.com/office/drawing/2014/main" id="{4123CB47-E8A9-1A3B-512E-7073A08D32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552" y="2812070"/>
              <a:ext cx="14747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B</a:t>
              </a:r>
              <a:endPara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7" name="Rectangle 589">
              <a:extLst>
                <a:ext uri="{FF2B5EF4-FFF2-40B4-BE49-F238E27FC236}">
                  <a16:creationId xmlns:a16="http://schemas.microsoft.com/office/drawing/2014/main" id="{162E880A-4FA3-4B97-F147-D33403F9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8621" y="5521768"/>
              <a:ext cx="37991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N=125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8" name="Rectangle 593">
              <a:extLst>
                <a:ext uri="{FF2B5EF4-FFF2-40B4-BE49-F238E27FC236}">
                  <a16:creationId xmlns:a16="http://schemas.microsoft.com/office/drawing/2014/main" id="{E6282B7E-3B6A-26C0-326B-3FE7FE670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3655" y="5521768"/>
              <a:ext cx="37991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N=134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9" name="Rectangle 597">
              <a:extLst>
                <a:ext uri="{FF2B5EF4-FFF2-40B4-BE49-F238E27FC236}">
                  <a16:creationId xmlns:a16="http://schemas.microsoft.com/office/drawing/2014/main" id="{B1B6A79C-020E-C0E5-13DF-5DF6CF23F4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4634" y="5526479"/>
              <a:ext cx="37991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N=124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0" name="Line 617">
              <a:extLst>
                <a:ext uri="{FF2B5EF4-FFF2-40B4-BE49-F238E27FC236}">
                  <a16:creationId xmlns:a16="http://schemas.microsoft.com/office/drawing/2014/main" id="{A93201A2-FC25-7FC5-2FFE-878E655261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1343" y="5495858"/>
              <a:ext cx="3633592" cy="0"/>
            </a:xfrm>
            <a:prstGeom prst="line">
              <a:avLst/>
            </a:prstGeom>
            <a:noFill/>
            <a:ln w="11113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618">
              <a:extLst>
                <a:ext uri="{FF2B5EF4-FFF2-40B4-BE49-F238E27FC236}">
                  <a16:creationId xmlns:a16="http://schemas.microsoft.com/office/drawing/2014/main" id="{8104AE0E-511E-DAC6-0CE6-DCF4B0BCF2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1343" y="5495858"/>
              <a:ext cx="3633592" cy="34155"/>
            </a:xfrm>
            <a:custGeom>
              <a:avLst/>
              <a:gdLst>
                <a:gd name="T0" fmla="*/ 2323 w 2323"/>
                <a:gd name="T1" fmla="*/ 0 h 29"/>
                <a:gd name="T2" fmla="*/ 2323 w 2323"/>
                <a:gd name="T3" fmla="*/ 29 h 29"/>
                <a:gd name="T4" fmla="*/ 1163 w 2323"/>
                <a:gd name="T5" fmla="*/ 0 h 29"/>
                <a:gd name="T6" fmla="*/ 1163 w 2323"/>
                <a:gd name="T7" fmla="*/ 29 h 29"/>
                <a:gd name="T8" fmla="*/ 0 w 2323"/>
                <a:gd name="T9" fmla="*/ 0 h 29"/>
                <a:gd name="T10" fmla="*/ 0 w 2323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3" h="29">
                  <a:moveTo>
                    <a:pt x="2323" y="0"/>
                  </a:moveTo>
                  <a:lnTo>
                    <a:pt x="2323" y="29"/>
                  </a:lnTo>
                  <a:moveTo>
                    <a:pt x="1163" y="0"/>
                  </a:moveTo>
                  <a:lnTo>
                    <a:pt x="1163" y="29"/>
                  </a:lnTo>
                  <a:moveTo>
                    <a:pt x="0" y="0"/>
                  </a:moveTo>
                  <a:lnTo>
                    <a:pt x="0" y="29"/>
                  </a:lnTo>
                </a:path>
              </a:pathLst>
            </a:custGeom>
            <a:noFill/>
            <a:ln w="11113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Line 619">
              <a:extLst>
                <a:ext uri="{FF2B5EF4-FFF2-40B4-BE49-F238E27FC236}">
                  <a16:creationId xmlns:a16="http://schemas.microsoft.com/office/drawing/2014/main" id="{FD90A6F1-515B-4067-18BC-193F7C42A3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26278" y="5495858"/>
              <a:ext cx="3635155" cy="0"/>
            </a:xfrm>
            <a:prstGeom prst="line">
              <a:avLst/>
            </a:prstGeom>
            <a:noFill/>
            <a:ln w="11113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620">
              <a:extLst>
                <a:ext uri="{FF2B5EF4-FFF2-40B4-BE49-F238E27FC236}">
                  <a16:creationId xmlns:a16="http://schemas.microsoft.com/office/drawing/2014/main" id="{81A2A45E-45D7-56C8-CB99-EE570133E3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6278" y="5495858"/>
              <a:ext cx="3635155" cy="34155"/>
            </a:xfrm>
            <a:custGeom>
              <a:avLst/>
              <a:gdLst>
                <a:gd name="T0" fmla="*/ 2324 w 2324"/>
                <a:gd name="T1" fmla="*/ 0 h 29"/>
                <a:gd name="T2" fmla="*/ 2324 w 2324"/>
                <a:gd name="T3" fmla="*/ 29 h 29"/>
                <a:gd name="T4" fmla="*/ 1161 w 2324"/>
                <a:gd name="T5" fmla="*/ 0 h 29"/>
                <a:gd name="T6" fmla="*/ 1161 w 2324"/>
                <a:gd name="T7" fmla="*/ 29 h 29"/>
                <a:gd name="T8" fmla="*/ 0 w 2324"/>
                <a:gd name="T9" fmla="*/ 0 h 29"/>
                <a:gd name="T10" fmla="*/ 0 w 2324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4" h="29">
                  <a:moveTo>
                    <a:pt x="2324" y="0"/>
                  </a:moveTo>
                  <a:lnTo>
                    <a:pt x="2324" y="29"/>
                  </a:lnTo>
                  <a:moveTo>
                    <a:pt x="1161" y="0"/>
                  </a:moveTo>
                  <a:lnTo>
                    <a:pt x="1161" y="29"/>
                  </a:lnTo>
                  <a:moveTo>
                    <a:pt x="0" y="0"/>
                  </a:moveTo>
                  <a:lnTo>
                    <a:pt x="0" y="29"/>
                  </a:lnTo>
                </a:path>
              </a:pathLst>
            </a:custGeom>
            <a:noFill/>
            <a:ln w="11113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60D8B0CA-4489-0CE4-FB5A-1246199BA668}"/>
                </a:ext>
              </a:extLst>
            </p:cNvPr>
            <p:cNvSpPr txBox="1"/>
            <p:nvPr/>
          </p:nvSpPr>
          <p:spPr>
            <a:xfrm rot="16200000">
              <a:off x="551019" y="4437933"/>
              <a:ext cx="192254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odíl pacientů (%)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038F456-F943-C018-AA8A-02B435FB2988}"/>
                </a:ext>
              </a:extLst>
            </p:cNvPr>
            <p:cNvSpPr txBox="1"/>
            <p:nvPr/>
          </p:nvSpPr>
          <p:spPr>
            <a:xfrm rot="16200000">
              <a:off x="5460361" y="4458185"/>
              <a:ext cx="192254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odíl pacientů (%)</a:t>
              </a: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61114D1-1E39-5114-2FEC-C233BCF81DAE}"/>
                </a:ext>
              </a:extLst>
            </p:cNvPr>
            <p:cNvGrpSpPr/>
            <p:nvPr/>
          </p:nvGrpSpPr>
          <p:grpSpPr>
            <a:xfrm>
              <a:off x="7379290" y="5527196"/>
              <a:ext cx="2694899" cy="342047"/>
              <a:chOff x="4545141" y="4995558"/>
              <a:chExt cx="2735076" cy="461049"/>
            </a:xfrm>
          </p:grpSpPr>
          <p:sp>
            <p:nvSpPr>
              <p:cNvPr id="67" name="Rectangle 481">
                <a:extLst>
                  <a:ext uri="{FF2B5EF4-FFF2-40B4-BE49-F238E27FC236}">
                    <a16:creationId xmlns:a16="http://schemas.microsoft.com/office/drawing/2014/main" id="{064FA058-D4B1-0AA8-B556-C1495A8E83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5141" y="5228437"/>
                <a:ext cx="743495" cy="2281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SUNSHINE</a:t>
                </a:r>
                <a:endPara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68" name="Rectangle 489">
                <a:extLst>
                  <a:ext uri="{FF2B5EF4-FFF2-40B4-BE49-F238E27FC236}">
                    <a16:creationId xmlns:a16="http://schemas.microsoft.com/office/drawing/2014/main" id="{1F0E8A1C-8194-01A5-E7AF-9C13E6F603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43791" y="5228437"/>
                <a:ext cx="639373" cy="2281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SUNRISE</a:t>
                </a:r>
                <a:endParaRPr kumimoji="0" lang="en-US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69" name="Rectangle 589">
                <a:extLst>
                  <a:ext uri="{FF2B5EF4-FFF2-40B4-BE49-F238E27FC236}">
                    <a16:creationId xmlns:a16="http://schemas.microsoft.com/office/drawing/2014/main" id="{8AE3B650-7151-B49B-D835-2C51034388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1554" y="4995558"/>
                <a:ext cx="385576" cy="2074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N=125</a:t>
                </a:r>
                <a:endPara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70" name="Rectangle 593">
                <a:extLst>
                  <a:ext uri="{FF2B5EF4-FFF2-40B4-BE49-F238E27FC236}">
                    <a16:creationId xmlns:a16="http://schemas.microsoft.com/office/drawing/2014/main" id="{0B06372E-2AE5-4C43-CDC7-954DD0B93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64404" y="4995558"/>
                <a:ext cx="385576" cy="2074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N=134</a:t>
                </a:r>
                <a:endPara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71" name="Rectangle 597">
                <a:extLst>
                  <a:ext uri="{FF2B5EF4-FFF2-40B4-BE49-F238E27FC236}">
                    <a16:creationId xmlns:a16="http://schemas.microsoft.com/office/drawing/2014/main" id="{3BE0C769-74B1-BF53-4763-464F4CCFE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94641" y="5001908"/>
                <a:ext cx="385576" cy="2074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N=124</a:t>
                </a:r>
                <a:endPara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</p:grpSp>
        <p:sp>
          <p:nvSpPr>
            <p:cNvPr id="10" name="Rectangle 585">
              <a:extLst>
                <a:ext uri="{FF2B5EF4-FFF2-40B4-BE49-F238E27FC236}">
                  <a16:creationId xmlns:a16="http://schemas.microsoft.com/office/drawing/2014/main" id="{D473E65C-25A5-9949-BC66-E2120A9A1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40079" y="5531906"/>
              <a:ext cx="37991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N=114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1" name="Rectangle 585">
              <a:extLst>
                <a:ext uri="{FF2B5EF4-FFF2-40B4-BE49-F238E27FC236}">
                  <a16:creationId xmlns:a16="http://schemas.microsoft.com/office/drawing/2014/main" id="{E491E7DA-01D2-090D-F109-EA4FA49A62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0436" y="5526479"/>
              <a:ext cx="37991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N=114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77F77D2-A5DB-6B7D-05B9-6E7DB3E12593}"/>
              </a:ext>
            </a:extLst>
          </p:cNvPr>
          <p:cNvSpPr txBox="1"/>
          <p:nvPr/>
        </p:nvSpPr>
        <p:spPr>
          <a:xfrm>
            <a:off x="10067199" y="6638550"/>
            <a:ext cx="205697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" i="1" dirty="0" err="1">
                <a:effectLst/>
              </a:rPr>
              <a:t>Odkaz</a:t>
            </a:r>
            <a:r>
              <a:rPr lang="en-GB" sz="600" i="1" dirty="0">
                <a:effectLst/>
              </a:rPr>
              <a:t> </a:t>
            </a:r>
            <a:r>
              <a:rPr lang="en-GB" sz="600" i="1" dirty="0" err="1">
                <a:effectLst/>
              </a:rPr>
              <a:t>na</a:t>
            </a:r>
            <a:r>
              <a:rPr lang="en-GB" sz="600" i="1" dirty="0">
                <a:effectLst/>
              </a:rPr>
              <a:t> SPC </a:t>
            </a:r>
            <a:r>
              <a:rPr lang="en-GB" sz="600" i="1" dirty="0" err="1">
                <a:effectLst/>
              </a:rPr>
              <a:t>přípravku</a:t>
            </a:r>
            <a:r>
              <a:rPr lang="en-GB" sz="600" i="1" dirty="0">
                <a:effectLst/>
              </a:rPr>
              <a:t> Cosentyx </a:t>
            </a:r>
            <a:r>
              <a:rPr lang="en-GB" sz="600" i="1" dirty="0" err="1">
                <a:effectLst/>
              </a:rPr>
              <a:t>dostupn</a:t>
            </a:r>
            <a:r>
              <a:rPr lang="en-GB" sz="600" i="1" dirty="0" err="1"/>
              <a:t>ý</a:t>
            </a:r>
            <a:r>
              <a:rPr lang="en-GB" sz="600" i="1" dirty="0"/>
              <a:t> </a:t>
            </a:r>
            <a:r>
              <a:rPr lang="en-GB" sz="600" i="1" dirty="0" err="1"/>
              <a:t>na</a:t>
            </a:r>
            <a:r>
              <a:rPr lang="en-GB" sz="600" i="1" dirty="0"/>
              <a:t>: www.sukl.cz</a:t>
            </a:r>
            <a:endParaRPr lang="en-GB" sz="600" i="1" dirty="0">
              <a:effectLst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12585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2D2652-BDBB-4388-9C51-B20E5EAD65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78600"/>
            <a:ext cx="496711" cy="279400"/>
          </a:xfrm>
        </p:spPr>
        <p:txBody>
          <a:bodyPr/>
          <a:lstStyle/>
          <a:p>
            <a:pPr algn="ctr" defTabSz="1219170"/>
            <a:fld id="{47547CF9-5B10-D24F-A8D7-45A9778164F7}" type="slidenum">
              <a:rPr lang="uk-UA" dirty="0">
                <a:solidFill>
                  <a:srgbClr val="000000"/>
                </a:solidFill>
                <a:latin typeface="Arial" panose="020B0604020202020204"/>
              </a:rPr>
              <a:t>28</a:t>
            </a:fld>
            <a:endParaRPr lang="uk-UA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95C7544-B22C-4667-824A-9CB77FF0387D}"/>
              </a:ext>
            </a:extLst>
          </p:cNvPr>
          <p:cNvSpPr txBox="1">
            <a:spLocks/>
          </p:cNvSpPr>
          <p:nvPr/>
        </p:nvSpPr>
        <p:spPr>
          <a:xfrm>
            <a:off x="659947" y="475013"/>
            <a:ext cx="11227253" cy="90193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defTabSz="1219170"/>
            <a:r>
              <a:rPr lang="en-US" sz="2800" spc="-133" dirty="0">
                <a:solidFill>
                  <a:srgbClr val="000000"/>
                </a:solidFill>
                <a:latin typeface="Arial Black" panose="020B0A04020102020204"/>
                <a:ea typeface="+mj-ea"/>
                <a:cs typeface="Arial"/>
              </a:rPr>
              <a:t>Secukinumab prokázal trvalé zlepšení počtu AN až do 52 týdnů léčby (souhrnná analýza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A7518D0-0F63-4671-A827-9D03BA779B76}"/>
              </a:ext>
            </a:extLst>
          </p:cNvPr>
          <p:cNvGrpSpPr/>
          <p:nvPr/>
        </p:nvGrpSpPr>
        <p:grpSpPr>
          <a:xfrm>
            <a:off x="1673663" y="2100143"/>
            <a:ext cx="8143932" cy="4162053"/>
            <a:chOff x="1858618" y="2080327"/>
            <a:chExt cx="7457112" cy="3667995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22DF59A-0891-49C2-A7EA-3900E706AF76}"/>
                </a:ext>
              </a:extLst>
            </p:cNvPr>
            <p:cNvSpPr/>
            <p:nvPr/>
          </p:nvSpPr>
          <p:spPr>
            <a:xfrm>
              <a:off x="5219699" y="3043156"/>
              <a:ext cx="3858253" cy="2235149"/>
            </a:xfrm>
            <a:prstGeom prst="rect">
              <a:avLst/>
            </a:prstGeom>
            <a:solidFill>
              <a:srgbClr val="E6E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1F55E14-62EC-4901-9166-2108E29EF809}"/>
                </a:ext>
              </a:extLst>
            </p:cNvPr>
            <p:cNvGrpSpPr/>
            <p:nvPr/>
          </p:nvGrpSpPr>
          <p:grpSpPr>
            <a:xfrm>
              <a:off x="1858618" y="2080327"/>
              <a:ext cx="7457112" cy="3667995"/>
              <a:chOff x="3229838" y="3432255"/>
              <a:chExt cx="6401762" cy="3129973"/>
            </a:xfrm>
          </p:grpSpPr>
          <p:graphicFrame>
            <p:nvGraphicFramePr>
              <p:cNvPr id="51" name="Chart 50">
                <a:extLst>
                  <a:ext uri="{FF2B5EF4-FFF2-40B4-BE49-F238E27FC236}">
                    <a16:creationId xmlns:a16="http://schemas.microsoft.com/office/drawing/2014/main" id="{7044A492-066D-4EB6-AD32-8882A87E964A}"/>
                  </a:ext>
                </a:extLst>
              </p:cNvPr>
              <p:cNvGraphicFramePr/>
              <p:nvPr/>
            </p:nvGraphicFramePr>
            <p:xfrm>
              <a:off x="3229838" y="3432255"/>
              <a:ext cx="6401762" cy="312997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BF6DD3E9-2795-46A9-BC39-C4E351E3E966}"/>
                  </a:ext>
                </a:extLst>
              </p:cNvPr>
              <p:cNvSpPr txBox="1"/>
              <p:nvPr/>
            </p:nvSpPr>
            <p:spPr>
              <a:xfrm>
                <a:off x="4748647" y="4665971"/>
                <a:ext cx="404262" cy="134848"/>
              </a:xfrm>
              <a:prstGeom prst="rect">
                <a:avLst/>
              </a:prstGeom>
            </p:spPr>
            <p:txBody>
              <a:bodyPr wrap="square" lIns="0" tIns="0" rIns="0" bIns="0" rtlCol="0" anchor="ctr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02376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>
                    <a:solidFill>
                      <a:srgbClr val="A7A9AC"/>
                    </a:solidFill>
                  </a:rPr>
                  <a:t>Placebo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ACC37B0F-8DB0-4844-B288-6AF31A4EBAEC}"/>
                  </a:ext>
                </a:extLst>
              </p:cNvPr>
              <p:cNvSpPr txBox="1"/>
              <p:nvPr/>
            </p:nvSpPr>
            <p:spPr>
              <a:xfrm>
                <a:off x="5032980" y="5022901"/>
                <a:ext cx="522432" cy="134848"/>
              </a:xfrm>
              <a:prstGeom prst="rect">
                <a:avLst/>
              </a:prstGeom>
            </p:spPr>
            <p:txBody>
              <a:bodyPr wrap="square" lIns="0" tIns="0" rIns="0" bIns="0" rtlCol="0" anchor="ctr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C41425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/>
                  <a:t>SECQ2W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932ECB2-BBD2-4236-89A2-E1B93F8D3637}"/>
                  </a:ext>
                </a:extLst>
              </p:cNvPr>
              <p:cNvSpPr txBox="1"/>
              <p:nvPr/>
            </p:nvSpPr>
            <p:spPr>
              <a:xfrm>
                <a:off x="4676099" y="5514681"/>
                <a:ext cx="551948" cy="139566"/>
              </a:xfrm>
              <a:prstGeom prst="rect">
                <a:avLst/>
              </a:prstGeom>
            </p:spPr>
            <p:txBody>
              <a:bodyPr wrap="square" lIns="0" tIns="0" rIns="0" bIns="0" rtlCol="0" anchor="ctr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C41425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>
                    <a:solidFill>
                      <a:srgbClr val="023761"/>
                    </a:solidFill>
                  </a:rPr>
                  <a:t>SECQ4W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0CB468C-0A6E-4825-8181-7EDB42498A09}"/>
                  </a:ext>
                </a:extLst>
              </p:cNvPr>
              <p:cNvSpPr txBox="1"/>
              <p:nvPr/>
            </p:nvSpPr>
            <p:spPr>
              <a:xfrm>
                <a:off x="6115250" y="5182147"/>
                <a:ext cx="1091891" cy="107698"/>
              </a:xfrm>
              <a:prstGeom prst="rect">
                <a:avLst/>
              </a:prstGeom>
            </p:spPr>
            <p:txBody>
              <a:bodyPr wrap="square" lIns="0" tIns="0" rIns="0" bIns="0" rtlCol="0" anchor="ctr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02376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/>
                  <a:t>Placebo-SECQ4W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D7A2750-FEA3-4DA6-B3EA-9330A16C8088}"/>
                  </a:ext>
                </a:extLst>
              </p:cNvPr>
              <p:cNvSpPr txBox="1"/>
              <p:nvPr/>
            </p:nvSpPr>
            <p:spPr>
              <a:xfrm>
                <a:off x="7502209" y="5495091"/>
                <a:ext cx="1009327" cy="129903"/>
              </a:xfrm>
              <a:prstGeom prst="rect">
                <a:avLst/>
              </a:prstGeom>
            </p:spPr>
            <p:txBody>
              <a:bodyPr wrap="square" lIns="0" tIns="0" rIns="0" bIns="0" rtlCol="0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02376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>
                    <a:solidFill>
                      <a:srgbClr val="C41425"/>
                    </a:solidFill>
                  </a:rPr>
                  <a:t>Placebo-SECQ2W</a:t>
                </a:r>
              </a:p>
            </p:txBody>
          </p:sp>
        </p:grp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40C4B2B-DC2C-4C50-81F8-740A65D299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64769" y="4351922"/>
              <a:ext cx="233944" cy="168786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2092A6A4-E98D-48D0-A6F5-3332147E18B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098713" y="4082592"/>
              <a:ext cx="58707" cy="96844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C3094784-35E5-4F00-A108-3E157DF567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654893" y="3655823"/>
              <a:ext cx="107454" cy="75895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1EADD7C4-E757-44FF-9465-C523DF055380}"/>
                </a:ext>
              </a:extLst>
            </p:cNvPr>
            <p:cNvCxnSpPr>
              <a:cxnSpLocks/>
            </p:cNvCxnSpPr>
            <p:nvPr/>
          </p:nvCxnSpPr>
          <p:spPr>
            <a:xfrm>
              <a:off x="7647394" y="4622832"/>
              <a:ext cx="61353" cy="152232"/>
            </a:xfrm>
            <a:prstGeom prst="line">
              <a:avLst/>
            </a:prstGeom>
            <a:ln w="952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9F43A3C0-1C03-4496-B878-5C2C85B248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78417" y="4257224"/>
              <a:ext cx="77648" cy="92521"/>
            </a:xfrm>
            <a:prstGeom prst="line">
              <a:avLst/>
            </a:prstGeom>
            <a:ln w="952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Box 11">
            <a:extLst>
              <a:ext uri="{FF2B5EF4-FFF2-40B4-BE49-F238E27FC236}">
                <a16:creationId xmlns:a16="http://schemas.microsoft.com/office/drawing/2014/main" id="{659B2A47-194E-4FF3-AA30-2A573DDBE5EB}"/>
              </a:ext>
            </a:extLst>
          </p:cNvPr>
          <p:cNvSpPr txBox="1"/>
          <p:nvPr/>
        </p:nvSpPr>
        <p:spPr>
          <a:xfrm>
            <a:off x="2185296" y="2243096"/>
            <a:ext cx="71206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377"/>
            <a:r>
              <a:rPr lang="en-GB" sz="1600" b="1" dirty="0">
                <a:solidFill>
                  <a:srgbClr val="0460A9"/>
                </a:solidFill>
                <a:latin typeface="Arial" panose="020B0604020202020204"/>
              </a:rPr>
              <a:t>Souhrnná analýz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9E8E2B-9551-4643-B169-61BFBED32D9F}"/>
              </a:ext>
            </a:extLst>
          </p:cNvPr>
          <p:cNvSpPr/>
          <p:nvPr/>
        </p:nvSpPr>
        <p:spPr>
          <a:xfrm>
            <a:off x="628201" y="6022338"/>
            <a:ext cx="6480512" cy="83099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defTabSz="685800" eaLnBrk="0" hangingPunct="0">
              <a:defRPr/>
            </a:pPr>
            <a:r>
              <a:rPr lang="de-DE" altLang="en-US" sz="800" dirty="0" bmk="_Hlk8991753">
                <a:ea typeface="Calibri" panose="020F0502020204030204" pitchFamily="34" charset="0"/>
                <a:cs typeface="Calibri"/>
              </a:rPr>
              <a:t>AN, absces a zánětlivá uzlina; CFB, změna oproti výchozí hodnotě; Q2W, každé 2 týdny; Q4W, každé 4 týdny; SEC, secukinumab. </a:t>
            </a:r>
            <a:br>
              <a:rPr lang="de-DE" altLang="en-US" sz="800" dirty="0" bmk="_Hlk8991753">
                <a:ea typeface="Calibri" panose="020F0502020204030204" pitchFamily="34" charset="0"/>
                <a:cs typeface="Calibri"/>
              </a:rPr>
            </a:br>
            <a:r>
              <a:rPr lang="de-DE" altLang="en-US" sz="800" dirty="0" bmk="_Hlk8991753">
                <a:ea typeface="Calibri" panose="020F0502020204030204" pitchFamily="34" charset="0"/>
                <a:cs typeface="Calibri"/>
              </a:rPr>
              <a:t>300 mg.</a:t>
            </a:r>
            <a:b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en-US" sz="800" dirty="0" bmk="_Hlk8991753">
                <a:ea typeface="Calibri" panose="020F0502020204030204" pitchFamily="34" charset="0"/>
                <a:cs typeface="Calibri"/>
              </a:rPr>
              <a:t>*SECQ2W prokázal statisticky významnou superioritu oproti placebovému rameni pro počet AN v obou studiích a SECQ4W pouze ve studii SUNRISE v 16. týdnu.</a:t>
            </a:r>
          </a:p>
          <a:p>
            <a:pPr defTabSz="914377" eaLnBrk="0" hangingPunct="0">
              <a:defRPr/>
            </a:pP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Použitá statistická metoda</a:t>
            </a:r>
            <a:r>
              <a:rPr lang="en-US" altLang="en-US" sz="800" dirty="0" bmk="_Hlk8991753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Primární nebo sekundární </a:t>
            </a:r>
            <a:r>
              <a:rPr lang="en-US" altLang="en-US" sz="800" dirty="0" err="1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odhad </a:t>
            </a: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do 16. týdne; údaje byly prezentovány jako pozorované od 18. do 52. týdne.</a:t>
            </a:r>
            <a:endParaRPr lang="de-DE" altLang="en-US" sz="800" dirty="0" bmk="_Hlk8991753">
              <a:solidFill>
                <a:prstClr val="black"/>
              </a:solidFill>
              <a:latin typeface="Arial" panose="020B0604020202020204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685800" eaLnBrk="0" hangingPunct="0">
              <a:defRPr/>
            </a:pP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Kimball AB et al. </a:t>
            </a:r>
            <a:r>
              <a:rPr lang="en-US" altLang="en-US" sz="800" i="1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Lancet</a:t>
            </a: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. 2023; publikováno online 3. února.</a:t>
            </a:r>
            <a:endParaRPr lang="de-DE" altLang="en-US" sz="800" dirty="0">
              <a:ea typeface="Calibri" panose="020F0502020204030204" pitchFamily="34" charset="0"/>
              <a:cs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19B4DD0-6FE7-6770-983C-C75CA2A7F29A}"/>
              </a:ext>
            </a:extLst>
          </p:cNvPr>
          <p:cNvSpPr txBox="1"/>
          <p:nvPr/>
        </p:nvSpPr>
        <p:spPr>
          <a:xfrm>
            <a:off x="586178" y="1349805"/>
            <a:ext cx="10945875" cy="8694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91770" indent="-191770" defTabSz="1219170">
              <a:spcAft>
                <a:spcPts val="300"/>
              </a:spcAft>
              <a:buClr>
                <a:srgbClr val="0460A9"/>
              </a:buClr>
              <a:buFont typeface="Wingdings" panose="05000000000000000000" pitchFamily="2" charset="2"/>
              <a:buChar char="§"/>
              <a:defRPr/>
            </a:pP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V obou studiích </a:t>
            </a: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se pokles počtu AN při SEC objevil již ve 2. týdnu a dále se zlepšoval až do 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Arial"/>
                <a:cs typeface="Arial"/>
              </a:rPr>
              <a:t>16.</a:t>
            </a: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 týdne.</a:t>
            </a:r>
            <a:endParaRPr lang="en-US" sz="1600" dirty="0">
              <a:latin typeface="Arial"/>
              <a:cs typeface="Arial"/>
            </a:endParaRPr>
          </a:p>
          <a:p>
            <a:pPr marL="191770" indent="-191770" defTabSz="1219170">
              <a:spcAft>
                <a:spcPts val="300"/>
              </a:spcAft>
              <a:buClr>
                <a:srgbClr val="0460A9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Procentuální změna počtu AN oproti výchozí hodnotě </a:t>
            </a:r>
            <a:r>
              <a:rPr lang="en-US" sz="1600" dirty="0">
                <a:latin typeface="Arial" panose="020B0604020202020204"/>
              </a:rPr>
              <a:t>pozorovaná v </a:t>
            </a:r>
            <a:r>
              <a:rPr lang="en-US" sz="1600" dirty="0">
                <a:ea typeface="+mn-lt"/>
                <a:cs typeface="+mn-lt"/>
              </a:rPr>
              <a:t>16</a:t>
            </a:r>
            <a:r>
              <a:rPr lang="en-US" sz="1600" dirty="0">
                <a:latin typeface="Arial" panose="020B0604020202020204"/>
              </a:rPr>
              <a:t>. týdnu* se v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obou studiích </a:t>
            </a:r>
            <a:r>
              <a:rPr lang="en-US" sz="1600" dirty="0">
                <a:latin typeface="Arial" panose="020B0604020202020204"/>
              </a:rPr>
              <a:t>udržela až do 52. týdne s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trendem ke zlepšení v </a:t>
            </a:r>
            <a:r>
              <a:rPr lang="en-US" sz="1600" dirty="0">
                <a:latin typeface="Arial" panose="020B0604020202020204"/>
              </a:rPr>
              <a:t>průběhu času.</a:t>
            </a:r>
            <a:endParaRPr lang="en-US" sz="1600" dirty="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1D855A92-54A0-17DA-37DD-0FFD1254ECE9}"/>
              </a:ext>
            </a:extLst>
          </p:cNvPr>
          <p:cNvSpPr/>
          <p:nvPr/>
        </p:nvSpPr>
        <p:spPr>
          <a:xfrm>
            <a:off x="1979525" y="3376247"/>
            <a:ext cx="8058778" cy="914400"/>
          </a:xfrm>
          <a:prstGeom prst="roundRect">
            <a:avLst/>
          </a:prstGeom>
          <a:solidFill>
            <a:srgbClr val="FFC000"/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>
                <a:solidFill>
                  <a:srgbClr val="FF0000"/>
                </a:solidFill>
              </a:rPr>
              <a:t>ŽÁDNÁ NOVĚ ZJIŠTĚNÁ DATA OHLEDNĚ BEZPEČNOSTI 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A84D39-6E65-30C9-ABBE-2519D8A71F32}"/>
              </a:ext>
            </a:extLst>
          </p:cNvPr>
          <p:cNvSpPr txBox="1"/>
          <p:nvPr/>
        </p:nvSpPr>
        <p:spPr>
          <a:xfrm>
            <a:off x="10135027" y="6668669"/>
            <a:ext cx="205697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" i="1" dirty="0" err="1">
                <a:effectLst/>
              </a:rPr>
              <a:t>Odkaz</a:t>
            </a:r>
            <a:r>
              <a:rPr lang="en-GB" sz="600" i="1" dirty="0">
                <a:effectLst/>
              </a:rPr>
              <a:t> </a:t>
            </a:r>
            <a:r>
              <a:rPr lang="en-GB" sz="600" i="1" dirty="0" err="1">
                <a:effectLst/>
              </a:rPr>
              <a:t>na</a:t>
            </a:r>
            <a:r>
              <a:rPr lang="en-GB" sz="600" i="1" dirty="0">
                <a:effectLst/>
              </a:rPr>
              <a:t> SPC </a:t>
            </a:r>
            <a:r>
              <a:rPr lang="en-GB" sz="600" i="1" dirty="0" err="1">
                <a:effectLst/>
              </a:rPr>
              <a:t>přípravku</a:t>
            </a:r>
            <a:r>
              <a:rPr lang="en-GB" sz="600" i="1" dirty="0">
                <a:effectLst/>
              </a:rPr>
              <a:t> Cosentyx </a:t>
            </a:r>
            <a:r>
              <a:rPr lang="en-GB" sz="600" i="1" dirty="0" err="1">
                <a:effectLst/>
              </a:rPr>
              <a:t>dostupn</a:t>
            </a:r>
            <a:r>
              <a:rPr lang="en-GB" sz="600" i="1" dirty="0" err="1"/>
              <a:t>ý</a:t>
            </a:r>
            <a:r>
              <a:rPr lang="en-GB" sz="600" i="1" dirty="0"/>
              <a:t> </a:t>
            </a:r>
            <a:r>
              <a:rPr lang="en-GB" sz="600" i="1" dirty="0" err="1"/>
              <a:t>na</a:t>
            </a:r>
            <a:r>
              <a:rPr lang="en-GB" sz="600" i="1" dirty="0"/>
              <a:t>: www.sukl.cz</a:t>
            </a:r>
            <a:endParaRPr lang="en-GB" sz="600" i="1" dirty="0">
              <a:effectLst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C37794B9-F7DC-E30C-45DC-33BA84553F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937" y="2786564"/>
            <a:ext cx="615749" cy="603556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39E8D03A-364A-BD41-D8F9-B43787CB66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9537" y="2777599"/>
            <a:ext cx="615749" cy="6035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12182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2D2652-BDBB-4388-9C51-B20E5EAD65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78600"/>
            <a:ext cx="496711" cy="279400"/>
          </a:xfrm>
        </p:spPr>
        <p:txBody>
          <a:bodyPr/>
          <a:lstStyle/>
          <a:p>
            <a:pPr algn="ctr" defTabSz="1219170"/>
            <a:fld id="{47547CF9-5B10-D24F-A8D7-45A9778164F7}" type="slidenum">
              <a:rPr lang="uk-UA" dirty="0">
                <a:solidFill>
                  <a:srgbClr val="000000"/>
                </a:solidFill>
                <a:latin typeface="Arial" panose="020B0604020202020204"/>
              </a:rPr>
              <a:t>29</a:t>
            </a:fld>
            <a:endParaRPr lang="uk-UA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81B9243-B356-4744-9DDA-8D4CAA7E62AB}"/>
              </a:ext>
            </a:extLst>
          </p:cNvPr>
          <p:cNvSpPr/>
          <p:nvPr/>
        </p:nvSpPr>
        <p:spPr>
          <a:xfrm>
            <a:off x="628201" y="6268560"/>
            <a:ext cx="6661625" cy="584775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defTabSz="685800" eaLnBrk="0" hangingPunct="0">
              <a:defRPr/>
            </a:pPr>
            <a:r>
              <a:rPr lang="de-DE" altLang="en-US" sz="800" dirty="0" bmk="_Hlk8991753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LQI, Dermatologický index kvality života; Q2W, každé 2 týdny; Q4W, každé 4 týdny; SEC, secukinumab 300 mg.</a:t>
            </a:r>
          </a:p>
          <a:p>
            <a:pPr defTabSz="685800" eaLnBrk="0" hangingPunct="0">
              <a:defRPr/>
            </a:pP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Použitá statistická metoda</a:t>
            </a:r>
            <a:r>
              <a:rPr lang="en-US" altLang="en-US" sz="800" dirty="0" bmk="_Hlk8991753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: Údaje byly sledovány od </a:t>
            </a: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počátku do 16. týdne z databáze 16. týdne; údaje byly prezentovány jako pozorované od 18. do 52. týdne z databáze 52. týdne.</a:t>
            </a:r>
            <a:br>
              <a:rPr lang="de-DE" altLang="en-US" sz="800" dirty="0" bmk="_Hlk8991753">
                <a:solidFill>
                  <a:prstClr val="black"/>
                </a:solidFill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Kimball AB et al. </a:t>
            </a:r>
            <a:r>
              <a:rPr lang="en-US" altLang="en-US" sz="800" i="1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Lancet</a:t>
            </a:r>
            <a:r>
              <a:rPr lang="en-US" altLang="en-US" sz="800" dirty="0" bmk="_Hlk8991753">
                <a:solidFill>
                  <a:prstClr val="black"/>
                </a:solidFill>
                <a:latin typeface="Arial" panose="020B0604020202020204"/>
                <a:ea typeface="Calibri" panose="020F0502020204030204" pitchFamily="34" charset="0"/>
                <a:cs typeface="Calibri" panose="020F0502020204030204" pitchFamily="34" charset="0"/>
              </a:rPr>
              <a:t>. 2023; publikováno online 3. února.</a:t>
            </a:r>
            <a:endParaRPr lang="de-DE" altLang="en-US" sz="800" dirty="0" bmk="_Hlk8991753">
              <a:solidFill>
                <a:prstClr val="black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C7E295A-38EC-4084-B3A3-25451FEAC269}"/>
              </a:ext>
            </a:extLst>
          </p:cNvPr>
          <p:cNvSpPr txBox="1">
            <a:spLocks/>
          </p:cNvSpPr>
          <p:nvPr/>
        </p:nvSpPr>
        <p:spPr>
          <a:xfrm>
            <a:off x="659947" y="481265"/>
            <a:ext cx="11094135" cy="90193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defTabSz="1219170"/>
            <a:r>
              <a:rPr lang="en-US" sz="2800" spc="-133" dirty="0">
                <a:solidFill>
                  <a:srgbClr val="000000"/>
                </a:solidFill>
                <a:latin typeface="Arial Black" panose="020B0A04020102020204"/>
                <a:ea typeface="+mj-ea"/>
                <a:cs typeface="Arial"/>
              </a:rPr>
              <a:t>Secukinumab prokázal trvalé zlepšení v oblasti </a:t>
            </a:r>
            <a:br>
              <a:rPr lang="en-US" sz="2800" spc="-133" dirty="0">
                <a:solidFill>
                  <a:srgbClr val="000000"/>
                </a:solidFill>
                <a:latin typeface="Arial Black" panose="020B0A04020102020204"/>
                <a:ea typeface="+mj-ea"/>
                <a:cs typeface="Arial"/>
              </a:rPr>
            </a:br>
            <a:r>
              <a:rPr lang="en-US" sz="2800" spc="-133" dirty="0">
                <a:solidFill>
                  <a:srgbClr val="000000"/>
                </a:solidFill>
                <a:latin typeface="Arial Black" panose="020B0A04020102020204"/>
                <a:ea typeface="+mj-ea"/>
                <a:cs typeface="Arial"/>
              </a:rPr>
              <a:t>kvality života související se zdravím až do 52 týdnů léčby (souhrnná analýza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407F9CD-F295-4A13-9BD1-DD2265FB0049}"/>
              </a:ext>
            </a:extLst>
          </p:cNvPr>
          <p:cNvGrpSpPr/>
          <p:nvPr/>
        </p:nvGrpSpPr>
        <p:grpSpPr>
          <a:xfrm>
            <a:off x="2846934" y="2857019"/>
            <a:ext cx="6424362" cy="3457503"/>
            <a:chOff x="2575011" y="1920465"/>
            <a:chExt cx="7113934" cy="4307568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F799651F-2629-45C0-9D71-192BB9E2B7AC}"/>
                </a:ext>
              </a:extLst>
            </p:cNvPr>
            <p:cNvGrpSpPr/>
            <p:nvPr/>
          </p:nvGrpSpPr>
          <p:grpSpPr>
            <a:xfrm>
              <a:off x="2575011" y="2393262"/>
              <a:ext cx="7113934" cy="3834771"/>
              <a:chOff x="272764" y="1907771"/>
              <a:chExt cx="6700162" cy="3098984"/>
            </a:xfrm>
          </p:grpSpPr>
          <p:graphicFrame>
            <p:nvGraphicFramePr>
              <p:cNvPr id="27" name="Chart 26">
                <a:extLst>
                  <a:ext uri="{FF2B5EF4-FFF2-40B4-BE49-F238E27FC236}">
                    <a16:creationId xmlns:a16="http://schemas.microsoft.com/office/drawing/2014/main" id="{74A3D940-67AE-4E99-BCB0-6E7512F6813E}"/>
                  </a:ext>
                </a:extLst>
              </p:cNvPr>
              <p:cNvGraphicFramePr/>
              <p:nvPr/>
            </p:nvGraphicFramePr>
            <p:xfrm>
              <a:off x="272764" y="1907771"/>
              <a:ext cx="6700162" cy="309898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98437C8-4255-4176-9624-37416977532E}"/>
                  </a:ext>
                </a:extLst>
              </p:cNvPr>
              <p:cNvSpPr txBox="1"/>
              <p:nvPr/>
            </p:nvSpPr>
            <p:spPr>
              <a:xfrm>
                <a:off x="1137561" y="2835580"/>
                <a:ext cx="710405" cy="246221"/>
              </a:xfrm>
              <a:prstGeom prst="rect">
                <a:avLst/>
              </a:prstGeom>
            </p:spPr>
            <p:txBody>
              <a:bodyPr wrap="square" lIns="0" tIns="0" rIns="0" bIns="0" rtlCol="0" anchor="ctr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02376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>
                    <a:solidFill>
                      <a:srgbClr val="A7A9AC"/>
                    </a:solidFill>
                  </a:rPr>
                  <a:t>Placebo</a:t>
                </a:r>
                <a:endParaRPr lang="en-GB" dirty="0">
                  <a:solidFill>
                    <a:srgbClr val="A7A9AC"/>
                  </a:solidFill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AF647DB-5BA2-4861-B3C0-A35683A64BD3}"/>
                  </a:ext>
                </a:extLst>
              </p:cNvPr>
              <p:cNvSpPr txBox="1"/>
              <p:nvPr/>
            </p:nvSpPr>
            <p:spPr>
              <a:xfrm>
                <a:off x="1079467" y="2315091"/>
                <a:ext cx="537845" cy="171102"/>
              </a:xfrm>
              <a:prstGeom prst="rect">
                <a:avLst/>
              </a:prstGeom>
            </p:spPr>
            <p:txBody>
              <a:bodyPr wrap="square" lIns="0" tIns="0" rIns="0" bIns="0" rtlCol="0" anchor="ctr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C41425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/>
                  <a:t>SECQ2W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922065FB-19F9-43B0-BCC4-5ED2860ED2E8}"/>
                  </a:ext>
                </a:extLst>
              </p:cNvPr>
              <p:cNvSpPr txBox="1"/>
              <p:nvPr/>
            </p:nvSpPr>
            <p:spPr>
              <a:xfrm>
                <a:off x="1212054" y="3478186"/>
                <a:ext cx="561417" cy="134675"/>
              </a:xfrm>
              <a:prstGeom prst="rect">
                <a:avLst/>
              </a:prstGeom>
            </p:spPr>
            <p:txBody>
              <a:bodyPr wrap="square" lIns="0" tIns="0" rIns="0" bIns="0" rtlCol="0" anchor="ctr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C41425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>
                    <a:solidFill>
                      <a:srgbClr val="023761"/>
                    </a:solidFill>
                  </a:rPr>
                  <a:t>SECQ4W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DB5D6226-AA78-4431-96CC-C11EEA8733E7}"/>
                  </a:ext>
                </a:extLst>
              </p:cNvPr>
              <p:cNvSpPr txBox="1"/>
              <p:nvPr/>
            </p:nvSpPr>
            <p:spPr>
              <a:xfrm>
                <a:off x="3684227" y="3007332"/>
                <a:ext cx="987114" cy="132389"/>
              </a:xfrm>
              <a:prstGeom prst="rect">
                <a:avLst/>
              </a:prstGeom>
            </p:spPr>
            <p:txBody>
              <a:bodyPr wrap="square" lIns="0" tIns="0" rIns="0" bIns="0" rtlCol="0" anchor="ctr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02376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/>
                  <a:t>Placebo-SECQ4W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BAC44CFC-0384-4643-916E-52616701031C}"/>
                  </a:ext>
                </a:extLst>
              </p:cNvPr>
              <p:cNvSpPr txBox="1"/>
              <p:nvPr/>
            </p:nvSpPr>
            <p:spPr>
              <a:xfrm>
                <a:off x="3917359" y="2029215"/>
                <a:ext cx="1265830" cy="144569"/>
              </a:xfrm>
              <a:prstGeom prst="rect">
                <a:avLst/>
              </a:prstGeom>
            </p:spPr>
            <p:txBody>
              <a:bodyPr wrap="square" lIns="0" tIns="0" rIns="0" bIns="0" rtlCol="0" anchor="ctr"/>
              <a:lstStyle>
                <a:defPPr>
                  <a:defRPr lang="en-US"/>
                </a:defPPr>
                <a:lvl1pPr indent="0" algn="ctr">
                  <a:defRPr sz="700" b="0" i="0" u="none" strike="noStrike" baseline="0">
                    <a:solidFill>
                      <a:srgbClr val="02376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r>
                  <a:rPr lang="en-GB" sz="900" dirty="0">
                    <a:solidFill>
                      <a:srgbClr val="C41425"/>
                    </a:solidFill>
                  </a:rPr>
                  <a:t>Placebo-SECQ2W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2174AD0-BAA4-4518-9073-69F81B8CB8D7}"/>
                </a:ext>
              </a:extLst>
            </p:cNvPr>
            <p:cNvGrpSpPr/>
            <p:nvPr/>
          </p:nvGrpSpPr>
          <p:grpSpPr>
            <a:xfrm>
              <a:off x="3192780" y="1920465"/>
              <a:ext cx="5859780" cy="3884785"/>
              <a:chOff x="3192780" y="1920465"/>
              <a:chExt cx="5859780" cy="3884785"/>
            </a:xfrm>
          </p:grpSpPr>
          <p:sp>
            <p:nvSpPr>
              <p:cNvPr id="38" name="TextBox 11">
                <a:extLst>
                  <a:ext uri="{FF2B5EF4-FFF2-40B4-BE49-F238E27FC236}">
                    <a16:creationId xmlns:a16="http://schemas.microsoft.com/office/drawing/2014/main" id="{ED92909C-798A-4FBF-B0A1-9E51A397264F}"/>
                  </a:ext>
                </a:extLst>
              </p:cNvPr>
              <p:cNvSpPr txBox="1"/>
              <p:nvPr/>
            </p:nvSpPr>
            <p:spPr>
              <a:xfrm>
                <a:off x="3192780" y="1920465"/>
                <a:ext cx="5859780" cy="4217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7"/>
                <a:r>
                  <a:rPr lang="en-GB" sz="1600" b="1" dirty="0">
                    <a:solidFill>
                      <a:srgbClr val="0460A9"/>
                    </a:solidFill>
                    <a:latin typeface="Arial" panose="020B0604020202020204"/>
                  </a:rPr>
                  <a:t>Souhrnná analýza 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39FEF59-E038-446A-B85C-EBC7DA7532A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518546" y="3078301"/>
                <a:ext cx="58287" cy="744412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69772AE9-7691-42D1-A265-1EEAA60941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8546" y="4044992"/>
                <a:ext cx="167125" cy="291764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DF23734E-74E7-4416-8D15-64623ECF9A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753430" y="3753890"/>
                <a:ext cx="78410" cy="16868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CDF2B8A-0247-4628-8B52-11DF0F01292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72131" y="2736030"/>
                <a:ext cx="272352" cy="136682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C1CD33-3BBC-486A-885D-F414CAA2E7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23073" y="3392155"/>
                <a:ext cx="98115" cy="361735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8050FAE6-A346-41F8-8140-847380B9C7B9}"/>
                  </a:ext>
                </a:extLst>
              </p:cNvPr>
              <p:cNvGrpSpPr/>
              <p:nvPr/>
            </p:nvGrpSpPr>
            <p:grpSpPr>
              <a:xfrm>
                <a:off x="3368447" y="5541381"/>
                <a:ext cx="208386" cy="263869"/>
                <a:chOff x="3519785" y="5706076"/>
                <a:chExt cx="208386" cy="263869"/>
              </a:xfrm>
            </p:grpSpPr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48D562F5-F0BD-40FC-9DA7-08ECCF481199}"/>
                    </a:ext>
                  </a:extLst>
                </p:cNvPr>
                <p:cNvSpPr txBox="1"/>
                <p:nvPr/>
              </p:nvSpPr>
              <p:spPr>
                <a:xfrm>
                  <a:off x="3519785" y="5723724"/>
                  <a:ext cx="208386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/>
                    <a:t>2</a:t>
                  </a:r>
                </a:p>
              </p:txBody>
            </p: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4FB49CC6-095B-4CAE-81E1-B7D1DE94A14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58449" y="5706076"/>
                  <a:ext cx="0" cy="27432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F3792EA4-1F08-44CB-9C3B-B0AA6F526AFF}"/>
              </a:ext>
            </a:extLst>
          </p:cNvPr>
          <p:cNvSpPr txBox="1"/>
          <p:nvPr/>
        </p:nvSpPr>
        <p:spPr>
          <a:xfrm>
            <a:off x="609600" y="6017435"/>
            <a:ext cx="205697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" i="1" dirty="0" err="1">
                <a:effectLst/>
              </a:rPr>
              <a:t>Odkaz</a:t>
            </a:r>
            <a:r>
              <a:rPr lang="en-GB" sz="600" i="1" dirty="0">
                <a:effectLst/>
              </a:rPr>
              <a:t> </a:t>
            </a:r>
            <a:r>
              <a:rPr lang="en-GB" sz="600" i="1" dirty="0" err="1">
                <a:effectLst/>
              </a:rPr>
              <a:t>na</a:t>
            </a:r>
            <a:r>
              <a:rPr lang="en-GB" sz="600" i="1" dirty="0">
                <a:effectLst/>
              </a:rPr>
              <a:t> SPC </a:t>
            </a:r>
            <a:r>
              <a:rPr lang="en-GB" sz="600" i="1" dirty="0" err="1">
                <a:effectLst/>
              </a:rPr>
              <a:t>přípravku</a:t>
            </a:r>
            <a:r>
              <a:rPr lang="en-GB" sz="600" i="1" dirty="0">
                <a:effectLst/>
              </a:rPr>
              <a:t> Cosentyx </a:t>
            </a:r>
            <a:r>
              <a:rPr lang="en-GB" sz="600" i="1" dirty="0" err="1">
                <a:effectLst/>
              </a:rPr>
              <a:t>dostupn</a:t>
            </a:r>
            <a:r>
              <a:rPr lang="en-GB" sz="600" i="1" dirty="0" err="1"/>
              <a:t>ý</a:t>
            </a:r>
            <a:r>
              <a:rPr lang="en-GB" sz="600" i="1" dirty="0"/>
              <a:t> </a:t>
            </a:r>
            <a:r>
              <a:rPr lang="en-GB" sz="600" i="1" dirty="0" err="1"/>
              <a:t>na</a:t>
            </a:r>
            <a:r>
              <a:rPr lang="en-GB" sz="600" i="1" dirty="0"/>
              <a:t>: www.sukl.cz</a:t>
            </a:r>
            <a:endParaRPr lang="en-GB" sz="600" i="1" dirty="0">
              <a:effectLst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B9D2F81-AC84-4951-B57D-F6B196FB933A}"/>
              </a:ext>
            </a:extLst>
          </p:cNvPr>
          <p:cNvSpPr txBox="1"/>
          <p:nvPr/>
        </p:nvSpPr>
        <p:spPr>
          <a:xfrm>
            <a:off x="586178" y="1779015"/>
            <a:ext cx="10945875" cy="11798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91770" indent="-191770" defTabSz="1219170">
              <a:spcAft>
                <a:spcPts val="800"/>
              </a:spcAft>
              <a:buClr>
                <a:srgbClr val="0460A9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V obou studiích </a:t>
            </a:r>
            <a:r>
              <a:rPr lang="en-US" sz="1600" dirty="0">
                <a:latin typeface="Arial" panose="020B0604020202020204"/>
              </a:rPr>
              <a:t>dosáhl v 16. týdnu větší podíl pacientů léčených SEC odpovědi na DLQI (≥</a:t>
            </a:r>
            <a:r>
              <a:rPr lang="en-US" sz="1600" dirty="0">
                <a:latin typeface="Arial"/>
                <a:cs typeface="Arial"/>
              </a:rPr>
              <a:t> 5 </a:t>
            </a:r>
            <a:r>
              <a:rPr lang="en-US" sz="1600" dirty="0" err="1">
                <a:latin typeface="Arial"/>
                <a:cs typeface="Arial"/>
              </a:rPr>
              <a:t>bodů</a:t>
            </a:r>
            <a:r>
              <a:rPr lang="en-US" sz="1600" dirty="0">
                <a:latin typeface="Arial"/>
                <a:cs typeface="Arial"/>
              </a:rPr>
              <a:t>) </a:t>
            </a:r>
            <a:r>
              <a:rPr lang="en-US" sz="1600" dirty="0" err="1">
                <a:latin typeface="Arial" panose="020B0604020202020204"/>
              </a:rPr>
              <a:t>ve</a:t>
            </a:r>
            <a:r>
              <a:rPr lang="en-US" sz="1600" dirty="0">
                <a:latin typeface="Arial" panose="020B0604020202020204"/>
              </a:rPr>
              <a:t> srovnání s placebem, což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bylo patrné již ve 2. týdnu léčby.</a:t>
            </a:r>
            <a:endParaRPr lang="en-US" strike="sngStrike" dirty="0">
              <a:cs typeface="Arial"/>
            </a:endParaRPr>
          </a:p>
          <a:p>
            <a:pPr marL="191770" indent="-191770" defTabSz="1219170">
              <a:spcAft>
                <a:spcPts val="800"/>
              </a:spcAft>
              <a:buClr>
                <a:srgbClr val="0460A9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atin typeface="Arial" panose="020B0604020202020204"/>
              </a:rPr>
              <a:t>V obou studiích se míra odpovědi na DLQI pozorovaná v 16. týdnu udržela až do 52. týdne s trendem ke zlepšení v průběhu času.</a:t>
            </a:r>
            <a:endParaRPr lang="en-US" sz="1600" strike="sngStrike" dirty="0">
              <a:latin typeface="Arial" panose="020B0604020202020204"/>
              <a:cs typeface="Arial" panose="020B0604020202020204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37585767-1FE8-A2B9-FB72-658971FA6C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2690" y="5574586"/>
            <a:ext cx="615749" cy="603556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F9F4C95C-B099-4319-3557-F22107C65F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18196" y="5592516"/>
            <a:ext cx="615749" cy="6035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2752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1"/>
          <p:cNvSpPr txBox="1">
            <a:spLocks/>
          </p:cNvSpPr>
          <p:nvPr/>
        </p:nvSpPr>
        <p:spPr>
          <a:xfrm>
            <a:off x="1076623" y="271868"/>
            <a:ext cx="10972800" cy="12812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b="1" spc="0" dirty="0"/>
              <a:t>HS ovlivňuje všechny aspekty kvality života</a:t>
            </a:r>
            <a:br>
              <a:rPr lang="en-US" sz="2800" spc="0" dirty="0"/>
            </a:br>
            <a:endParaRPr lang="en-US" sz="2800" dirty="0"/>
          </a:p>
        </p:txBody>
      </p:sp>
      <p:cxnSp>
        <p:nvCxnSpPr>
          <p:cNvPr id="29" name="Straight Connector 28"/>
          <p:cNvCxnSpPr/>
          <p:nvPr/>
        </p:nvCxnSpPr>
        <p:spPr>
          <a:xfrm rot="10800000">
            <a:off x="4706021" y="5006303"/>
            <a:ext cx="3377363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/>
          <p:cNvGrpSpPr/>
          <p:nvPr/>
        </p:nvGrpSpPr>
        <p:grpSpPr>
          <a:xfrm>
            <a:off x="7511013" y="2460895"/>
            <a:ext cx="4071388" cy="1201276"/>
            <a:chOff x="2103756" y="1717702"/>
            <a:chExt cx="5486398" cy="240048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9" name="Folded Corner 78"/>
            <p:cNvSpPr/>
            <p:nvPr/>
          </p:nvSpPr>
          <p:spPr>
            <a:xfrm>
              <a:off x="2103756" y="1717702"/>
              <a:ext cx="5486398" cy="2400480"/>
            </a:xfrm>
            <a:prstGeom prst="foldedCorne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67" dirty="0">
                <a:solidFill>
                  <a:schemeClr val="tx1"/>
                </a:solidFill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313072" y="1950568"/>
              <a:ext cx="5257011" cy="19347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just"/>
              <a:r>
                <a:rPr lang="en-US" sz="1600" dirty="0">
                  <a:solidFill>
                    <a:schemeClr val="tx1"/>
                  </a:solidFill>
                </a:rPr>
                <a:t> </a:t>
              </a:r>
              <a:r>
                <a:rPr lang="en-US" dirty="0">
                  <a:solidFill>
                    <a:schemeClr val="tx1"/>
                  </a:solidFill>
                </a:rPr>
                <a:t>Bolest</a:t>
              </a:r>
              <a:endParaRPr lang="en-US" sz="1600" dirty="0">
                <a:solidFill>
                  <a:schemeClr val="tx1"/>
                </a:solidFill>
              </a:endParaRPr>
            </a:p>
            <a:p>
              <a:pPr algn="just"/>
              <a:r>
                <a:rPr lang="en-US" sz="1600" dirty="0">
                  <a:solidFill>
                    <a:schemeClr val="tx1"/>
                  </a:solidFill>
                </a:rPr>
                <a:t> Zjizvení</a:t>
              </a:r>
            </a:p>
            <a:p>
              <a:pPr algn="just"/>
              <a:r>
                <a:rPr lang="en-US" sz="1600" dirty="0">
                  <a:solidFill>
                    <a:schemeClr val="tx1"/>
                  </a:solidFill>
                </a:rPr>
                <a:t> </a:t>
              </a:r>
              <a:r>
                <a:rPr lang="cs-CZ" sz="1600" dirty="0">
                  <a:solidFill>
                    <a:schemeClr val="tx1"/>
                  </a:solidFill>
                </a:rPr>
                <a:t>Mokvání</a:t>
              </a:r>
              <a:endParaRPr lang="en-US" sz="1600" dirty="0">
                <a:solidFill>
                  <a:schemeClr val="tx1"/>
                </a:solidFill>
              </a:endParaRPr>
            </a:p>
            <a:p>
              <a:pPr algn="just"/>
              <a:r>
                <a:rPr lang="en-US" sz="1600" dirty="0">
                  <a:solidFill>
                    <a:schemeClr val="tx1"/>
                  </a:solidFill>
                </a:rPr>
                <a:t> Chronicky </a:t>
              </a:r>
              <a:r>
                <a:rPr lang="en-US" sz="1600" dirty="0" err="1">
                  <a:solidFill>
                    <a:schemeClr val="tx1"/>
                  </a:solidFill>
                </a:rPr>
                <a:t>otevřené</a:t>
              </a:r>
              <a:r>
                <a:rPr lang="en-US" sz="1600" dirty="0">
                  <a:solidFill>
                    <a:schemeClr val="tx1"/>
                  </a:solidFill>
                </a:rPr>
                <a:t> </a:t>
              </a:r>
              <a:r>
                <a:rPr lang="cs-CZ" sz="1600" dirty="0">
                  <a:solidFill>
                    <a:schemeClr val="tx1"/>
                  </a:solidFill>
                </a:rPr>
                <a:t>píštěle</a:t>
              </a:r>
              <a:endParaRPr lang="en-US" sz="1600" baseline="30000" dirty="0">
                <a:solidFill>
                  <a:schemeClr val="tx1"/>
                </a:solidFill>
              </a:endParaRPr>
            </a:p>
          </p:txBody>
        </p:sp>
      </p:grpSp>
      <p:sp>
        <p:nvSpPr>
          <p:cNvPr id="82" name="Rounded Rectangle 81"/>
          <p:cNvSpPr/>
          <p:nvPr/>
        </p:nvSpPr>
        <p:spPr>
          <a:xfrm>
            <a:off x="6088612" y="2376951"/>
            <a:ext cx="1554784" cy="13411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/>
              <a:t>   </a:t>
            </a:r>
            <a:r>
              <a:rPr lang="en-US" sz="2000" dirty="0" err="1"/>
              <a:t>Fyzická</a:t>
            </a:r>
            <a:r>
              <a:rPr lang="en-US" sz="2000" dirty="0"/>
              <a:t> </a:t>
            </a:r>
            <a:r>
              <a:rPr lang="en-US" sz="2000" dirty="0" err="1"/>
              <a:t>stránka</a:t>
            </a:r>
            <a:r>
              <a:rPr lang="cs-CZ" sz="2000" dirty="0"/>
              <a:t> </a:t>
            </a:r>
            <a:r>
              <a:rPr lang="en-US" sz="2000" baseline="30000" dirty="0"/>
              <a:t>6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7486442" y="4587189"/>
            <a:ext cx="4095959" cy="1207008"/>
            <a:chOff x="2070646" y="1699854"/>
            <a:chExt cx="5519508" cy="240048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94" name="Folded Corner 93"/>
            <p:cNvSpPr/>
            <p:nvPr/>
          </p:nvSpPr>
          <p:spPr>
            <a:xfrm>
              <a:off x="2070646" y="1699854"/>
              <a:ext cx="5486398" cy="2400480"/>
            </a:xfrm>
            <a:prstGeom prst="foldedCorne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67" dirty="0">
                <a:solidFill>
                  <a:schemeClr val="tx1"/>
                </a:solidFill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2333143" y="1706217"/>
              <a:ext cx="5257011" cy="216760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467" dirty="0">
                  <a:solidFill>
                    <a:schemeClr val="tx1"/>
                  </a:solidFill>
                </a:rPr>
                <a:t> </a:t>
              </a:r>
            </a:p>
            <a:p>
              <a:r>
                <a:rPr lang="en-US" sz="1467" dirty="0">
                  <a:solidFill>
                    <a:schemeClr val="tx1"/>
                  </a:solidFill>
                </a:rPr>
                <a:t> Sociální stigma</a:t>
              </a:r>
            </a:p>
            <a:p>
              <a:r>
                <a:rPr lang="en-US" sz="1467" dirty="0">
                  <a:solidFill>
                    <a:schemeClr val="tx1"/>
                  </a:solidFill>
                </a:rPr>
                <a:t> Rozpaky</a:t>
              </a:r>
            </a:p>
            <a:p>
              <a:r>
                <a:rPr lang="en-US" sz="1467" dirty="0">
                  <a:solidFill>
                    <a:schemeClr val="tx1"/>
                  </a:solidFill>
                </a:rPr>
                <a:t> Nízké </a:t>
              </a:r>
              <a:r>
                <a:rPr lang="en-US" sz="1600" dirty="0">
                  <a:solidFill>
                    <a:schemeClr val="tx1"/>
                  </a:solidFill>
                </a:rPr>
                <a:t>sebevědomí</a:t>
              </a:r>
              <a:endParaRPr lang="en-US" sz="1467" dirty="0">
                <a:solidFill>
                  <a:schemeClr val="tx1"/>
                </a:solidFill>
              </a:endParaRPr>
            </a:p>
            <a:p>
              <a:r>
                <a:rPr lang="en-US" sz="1467" dirty="0">
                  <a:solidFill>
                    <a:schemeClr val="tx1"/>
                  </a:solidFill>
                </a:rPr>
                <a:t> Deprese</a:t>
              </a:r>
            </a:p>
            <a:p>
              <a:r>
                <a:rPr lang="en-US" sz="1467" dirty="0">
                  <a:solidFill>
                    <a:schemeClr val="tx1"/>
                  </a:solidFill>
                </a:rPr>
                <a:t> Úzkost</a:t>
              </a:r>
            </a:p>
            <a:p>
              <a:pPr algn="just"/>
              <a:endParaRPr lang="en-US" sz="1467" baseline="30000" dirty="0">
                <a:solidFill>
                  <a:schemeClr val="tx1"/>
                </a:solidFill>
              </a:endParaRPr>
            </a:p>
          </p:txBody>
        </p:sp>
      </p:grpSp>
      <p:sp>
        <p:nvSpPr>
          <p:cNvPr id="96" name="Rounded Rectangle 95"/>
          <p:cNvSpPr/>
          <p:nvPr/>
        </p:nvSpPr>
        <p:spPr>
          <a:xfrm>
            <a:off x="6088612" y="4520133"/>
            <a:ext cx="1554784" cy="13411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err="1"/>
              <a:t>Emocionální</a:t>
            </a:r>
            <a:r>
              <a:rPr lang="cs-CZ" sz="2000" dirty="0"/>
              <a:t> </a:t>
            </a:r>
            <a:r>
              <a:rPr lang="en-US" sz="2000" baseline="30000" dirty="0"/>
              <a:t>6</a:t>
            </a:r>
          </a:p>
        </p:txBody>
      </p:sp>
      <p:grpSp>
        <p:nvGrpSpPr>
          <p:cNvPr id="104" name="Group 103"/>
          <p:cNvGrpSpPr/>
          <p:nvPr/>
        </p:nvGrpSpPr>
        <p:grpSpPr>
          <a:xfrm>
            <a:off x="6012857" y="2209801"/>
            <a:ext cx="627800" cy="598492"/>
            <a:chOff x="4317433" y="1369841"/>
            <a:chExt cx="470850" cy="448869"/>
          </a:xfrm>
        </p:grpSpPr>
        <p:grpSp>
          <p:nvGrpSpPr>
            <p:cNvPr id="105" name="Group 104"/>
            <p:cNvGrpSpPr/>
            <p:nvPr/>
          </p:nvGrpSpPr>
          <p:grpSpPr>
            <a:xfrm>
              <a:off x="4317433" y="1369841"/>
              <a:ext cx="470850" cy="448869"/>
              <a:chOff x="4996043" y="2103816"/>
              <a:chExt cx="470850" cy="448869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6D847917-0115-8A4A-B479-A30D49D76E85}"/>
                  </a:ext>
                </a:extLst>
              </p:cNvPr>
              <p:cNvSpPr/>
              <p:nvPr/>
            </p:nvSpPr>
            <p:spPr>
              <a:xfrm>
                <a:off x="4996043" y="2103816"/>
                <a:ext cx="470850" cy="448869"/>
              </a:xfrm>
              <a:prstGeom prst="ellipse">
                <a:avLst/>
              </a:prstGeom>
              <a:solidFill>
                <a:srgbClr val="0460A9"/>
              </a:solidFill>
              <a:ln w="9525" cap="sq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" name="Freeform 30"/>
              <p:cNvSpPr>
                <a:spLocks/>
              </p:cNvSpPr>
              <p:nvPr/>
            </p:nvSpPr>
            <p:spPr bwMode="auto">
              <a:xfrm>
                <a:off x="5225694" y="2203301"/>
                <a:ext cx="24850" cy="27109"/>
              </a:xfrm>
              <a:custGeom>
                <a:avLst/>
                <a:gdLst>
                  <a:gd name="T0" fmla="*/ 0 w 209"/>
                  <a:gd name="T1" fmla="*/ 234 h 234"/>
                  <a:gd name="T2" fmla="*/ 0 w 209"/>
                  <a:gd name="T3" fmla="*/ 186 h 234"/>
                  <a:gd name="T4" fmla="*/ 87 w 209"/>
                  <a:gd name="T5" fmla="*/ 85 h 234"/>
                  <a:gd name="T6" fmla="*/ 119 w 209"/>
                  <a:gd name="T7" fmla="*/ 50 h 234"/>
                  <a:gd name="T8" fmla="*/ 91 w 209"/>
                  <a:gd name="T9" fmla="*/ 51 h 234"/>
                  <a:gd name="T10" fmla="*/ 8 w 209"/>
                  <a:gd name="T11" fmla="*/ 51 h 234"/>
                  <a:gd name="T12" fmla="*/ 8 w 209"/>
                  <a:gd name="T13" fmla="*/ 0 h 234"/>
                  <a:gd name="T14" fmla="*/ 202 w 209"/>
                  <a:gd name="T15" fmla="*/ 0 h 234"/>
                  <a:gd name="T16" fmla="*/ 202 w 209"/>
                  <a:gd name="T17" fmla="*/ 44 h 234"/>
                  <a:gd name="T18" fmla="*/ 112 w 209"/>
                  <a:gd name="T19" fmla="*/ 147 h 234"/>
                  <a:gd name="T20" fmla="*/ 81 w 209"/>
                  <a:gd name="T21" fmla="*/ 181 h 234"/>
                  <a:gd name="T22" fmla="*/ 113 w 209"/>
                  <a:gd name="T23" fmla="*/ 180 h 234"/>
                  <a:gd name="T24" fmla="*/ 209 w 209"/>
                  <a:gd name="T25" fmla="*/ 180 h 234"/>
                  <a:gd name="T26" fmla="*/ 209 w 209"/>
                  <a:gd name="T27" fmla="*/ 234 h 234"/>
                  <a:gd name="T28" fmla="*/ 0 w 209"/>
                  <a:gd name="T29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9" h="234">
                    <a:moveTo>
                      <a:pt x="0" y="234"/>
                    </a:moveTo>
                    <a:lnTo>
                      <a:pt x="0" y="186"/>
                    </a:lnTo>
                    <a:lnTo>
                      <a:pt x="87" y="85"/>
                    </a:lnTo>
                    <a:cubicBezTo>
                      <a:pt x="102" y="69"/>
                      <a:pt x="113" y="57"/>
                      <a:pt x="119" y="50"/>
                    </a:cubicBezTo>
                    <a:cubicBezTo>
                      <a:pt x="112" y="50"/>
                      <a:pt x="103" y="51"/>
                      <a:pt x="91" y="51"/>
                    </a:cubicBezTo>
                    <a:lnTo>
                      <a:pt x="8" y="51"/>
                    </a:lnTo>
                    <a:lnTo>
                      <a:pt x="8" y="0"/>
                    </a:lnTo>
                    <a:lnTo>
                      <a:pt x="202" y="0"/>
                    </a:lnTo>
                    <a:lnTo>
                      <a:pt x="202" y="44"/>
                    </a:lnTo>
                    <a:lnTo>
                      <a:pt x="112" y="147"/>
                    </a:lnTo>
                    <a:lnTo>
                      <a:pt x="81" y="181"/>
                    </a:lnTo>
                    <a:cubicBezTo>
                      <a:pt x="98" y="180"/>
                      <a:pt x="109" y="180"/>
                      <a:pt x="113" y="180"/>
                    </a:cubicBezTo>
                    <a:lnTo>
                      <a:pt x="209" y="180"/>
                    </a:lnTo>
                    <a:lnTo>
                      <a:pt x="209" y="234"/>
                    </a:lnTo>
                    <a:lnTo>
                      <a:pt x="0" y="23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0460A9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06" name="Group 105"/>
            <p:cNvGrpSpPr/>
            <p:nvPr/>
          </p:nvGrpSpPr>
          <p:grpSpPr>
            <a:xfrm>
              <a:off x="4398186" y="1439559"/>
              <a:ext cx="295715" cy="309432"/>
              <a:chOff x="742950" y="782638"/>
              <a:chExt cx="336551" cy="474662"/>
            </a:xfrm>
            <a:solidFill>
              <a:schemeClr val="bg1"/>
            </a:solidFill>
          </p:grpSpPr>
          <p:sp>
            <p:nvSpPr>
              <p:cNvPr id="107" name="Freeform 106"/>
              <p:cNvSpPr>
                <a:spLocks/>
              </p:cNvSpPr>
              <p:nvPr/>
            </p:nvSpPr>
            <p:spPr bwMode="auto">
              <a:xfrm>
                <a:off x="874713" y="993775"/>
                <a:ext cx="103188" cy="263525"/>
              </a:xfrm>
              <a:custGeom>
                <a:avLst/>
                <a:gdLst>
                  <a:gd name="T0" fmla="*/ 5 w 35"/>
                  <a:gd name="T1" fmla="*/ 1 h 88"/>
                  <a:gd name="T2" fmla="*/ 5 w 35"/>
                  <a:gd name="T3" fmla="*/ 1 h 88"/>
                  <a:gd name="T4" fmla="*/ 2 w 35"/>
                  <a:gd name="T5" fmla="*/ 1 h 88"/>
                  <a:gd name="T6" fmla="*/ 4 w 35"/>
                  <a:gd name="T7" fmla="*/ 12 h 88"/>
                  <a:gd name="T8" fmla="*/ 3 w 35"/>
                  <a:gd name="T9" fmla="*/ 18 h 88"/>
                  <a:gd name="T10" fmla="*/ 0 w 35"/>
                  <a:gd name="T11" fmla="*/ 21 h 88"/>
                  <a:gd name="T12" fmla="*/ 0 w 35"/>
                  <a:gd name="T13" fmla="*/ 23 h 88"/>
                  <a:gd name="T14" fmla="*/ 0 w 35"/>
                  <a:gd name="T15" fmla="*/ 80 h 88"/>
                  <a:gd name="T16" fmla="*/ 7 w 35"/>
                  <a:gd name="T17" fmla="*/ 87 h 88"/>
                  <a:gd name="T18" fmla="*/ 14 w 35"/>
                  <a:gd name="T19" fmla="*/ 80 h 88"/>
                  <a:gd name="T20" fmla="*/ 14 w 35"/>
                  <a:gd name="T21" fmla="*/ 23 h 88"/>
                  <a:gd name="T22" fmla="*/ 16 w 35"/>
                  <a:gd name="T23" fmla="*/ 23 h 88"/>
                  <a:gd name="T24" fmla="*/ 21 w 35"/>
                  <a:gd name="T25" fmla="*/ 48 h 88"/>
                  <a:gd name="T26" fmla="*/ 17 w 35"/>
                  <a:gd name="T27" fmla="*/ 79 h 88"/>
                  <a:gd name="T28" fmla="*/ 23 w 35"/>
                  <a:gd name="T29" fmla="*/ 88 h 88"/>
                  <a:gd name="T30" fmla="*/ 31 w 35"/>
                  <a:gd name="T31" fmla="*/ 81 h 88"/>
                  <a:gd name="T32" fmla="*/ 34 w 35"/>
                  <a:gd name="T33" fmla="*/ 55 h 88"/>
                  <a:gd name="T34" fmla="*/ 35 w 35"/>
                  <a:gd name="T35" fmla="*/ 43 h 88"/>
                  <a:gd name="T36" fmla="*/ 30 w 35"/>
                  <a:gd name="T37" fmla="*/ 0 h 88"/>
                  <a:gd name="T38" fmla="*/ 5 w 35"/>
                  <a:gd name="T39" fmla="*/ 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5" h="88"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3" y="1"/>
                      <a:pt x="2" y="1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5" y="14"/>
                      <a:pt x="4" y="16"/>
                      <a:pt x="3" y="18"/>
                    </a:cubicBezTo>
                    <a:cubicBezTo>
                      <a:pt x="2" y="20"/>
                      <a:pt x="1" y="21"/>
                      <a:pt x="0" y="21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4"/>
                      <a:pt x="3" y="87"/>
                      <a:pt x="7" y="87"/>
                    </a:cubicBezTo>
                    <a:cubicBezTo>
                      <a:pt x="11" y="87"/>
                      <a:pt x="14" y="84"/>
                      <a:pt x="14" y="80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6" y="83"/>
                      <a:pt x="19" y="87"/>
                      <a:pt x="23" y="88"/>
                    </a:cubicBezTo>
                    <a:cubicBezTo>
                      <a:pt x="27" y="88"/>
                      <a:pt x="30" y="85"/>
                      <a:pt x="31" y="81"/>
                    </a:cubicBezTo>
                    <a:cubicBezTo>
                      <a:pt x="34" y="55"/>
                      <a:pt x="34" y="55"/>
                      <a:pt x="34" y="5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5" y="43"/>
                      <a:pt x="30" y="17"/>
                      <a:pt x="30" y="0"/>
                    </a:cubicBezTo>
                    <a:cubicBezTo>
                      <a:pt x="30" y="0"/>
                      <a:pt x="5" y="1"/>
                      <a:pt x="5" y="1"/>
                    </a:cubicBezTo>
                  </a:path>
                </a:pathLst>
              </a:custGeom>
              <a:grpFill/>
              <a:ln w="9525">
                <a:solidFill>
                  <a:srgbClr val="1E70B2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8" name="Freeform 107"/>
              <p:cNvSpPr>
                <a:spLocks/>
              </p:cNvSpPr>
              <p:nvPr/>
            </p:nvSpPr>
            <p:spPr bwMode="auto">
              <a:xfrm>
                <a:off x="831850" y="857250"/>
                <a:ext cx="169863" cy="196850"/>
              </a:xfrm>
              <a:custGeom>
                <a:avLst/>
                <a:gdLst>
                  <a:gd name="T0" fmla="*/ 17 w 57"/>
                  <a:gd name="T1" fmla="*/ 62 h 66"/>
                  <a:gd name="T2" fmla="*/ 17 w 57"/>
                  <a:gd name="T3" fmla="*/ 58 h 66"/>
                  <a:gd name="T4" fmla="*/ 10 w 57"/>
                  <a:gd name="T5" fmla="*/ 40 h 66"/>
                  <a:gd name="T6" fmla="*/ 12 w 57"/>
                  <a:gd name="T7" fmla="*/ 34 h 66"/>
                  <a:gd name="T8" fmla="*/ 12 w 57"/>
                  <a:gd name="T9" fmla="*/ 16 h 66"/>
                  <a:gd name="T10" fmla="*/ 14 w 57"/>
                  <a:gd name="T11" fmla="*/ 34 h 66"/>
                  <a:gd name="T12" fmla="*/ 44 w 57"/>
                  <a:gd name="T13" fmla="*/ 31 h 66"/>
                  <a:gd name="T14" fmla="*/ 45 w 57"/>
                  <a:gd name="T15" fmla="*/ 16 h 66"/>
                  <a:gd name="T16" fmla="*/ 18 w 57"/>
                  <a:gd name="T17" fmla="*/ 34 h 66"/>
                  <a:gd name="T18" fmla="*/ 19 w 57"/>
                  <a:gd name="T19" fmla="*/ 46 h 66"/>
                  <a:gd name="T20" fmla="*/ 57 w 57"/>
                  <a:gd name="T21" fmla="*/ 32 h 66"/>
                  <a:gd name="T22" fmla="*/ 48 w 57"/>
                  <a:gd name="T23" fmla="*/ 0 h 66"/>
                  <a:gd name="T24" fmla="*/ 26 w 57"/>
                  <a:gd name="T25" fmla="*/ 4 h 66"/>
                  <a:gd name="T26" fmla="*/ 9 w 57"/>
                  <a:gd name="T27" fmla="*/ 0 h 66"/>
                  <a:gd name="T28" fmla="*/ 0 w 57"/>
                  <a:gd name="T29" fmla="*/ 28 h 66"/>
                  <a:gd name="T30" fmla="*/ 0 w 57"/>
                  <a:gd name="T31" fmla="*/ 31 h 66"/>
                  <a:gd name="T32" fmla="*/ 5 w 57"/>
                  <a:gd name="T33" fmla="*/ 61 h 66"/>
                  <a:gd name="T34" fmla="*/ 5 w 57"/>
                  <a:gd name="T35" fmla="*/ 62 h 66"/>
                  <a:gd name="T36" fmla="*/ 5 w 57"/>
                  <a:gd name="T37" fmla="*/ 62 h 66"/>
                  <a:gd name="T38" fmla="*/ 6 w 57"/>
                  <a:gd name="T39" fmla="*/ 63 h 66"/>
                  <a:gd name="T40" fmla="*/ 6 w 57"/>
                  <a:gd name="T41" fmla="*/ 63 h 66"/>
                  <a:gd name="T42" fmla="*/ 6 w 57"/>
                  <a:gd name="T43" fmla="*/ 64 h 66"/>
                  <a:gd name="T44" fmla="*/ 7 w 57"/>
                  <a:gd name="T45" fmla="*/ 64 h 66"/>
                  <a:gd name="T46" fmla="*/ 7 w 57"/>
                  <a:gd name="T47" fmla="*/ 65 h 66"/>
                  <a:gd name="T48" fmla="*/ 8 w 57"/>
                  <a:gd name="T49" fmla="*/ 65 h 66"/>
                  <a:gd name="T50" fmla="*/ 8 w 57"/>
                  <a:gd name="T51" fmla="*/ 66 h 66"/>
                  <a:gd name="T52" fmla="*/ 9 w 57"/>
                  <a:gd name="T53" fmla="*/ 66 h 66"/>
                  <a:gd name="T54" fmla="*/ 9 w 57"/>
                  <a:gd name="T55" fmla="*/ 66 h 66"/>
                  <a:gd name="T56" fmla="*/ 10 w 57"/>
                  <a:gd name="T57" fmla="*/ 66 h 66"/>
                  <a:gd name="T58" fmla="*/ 11 w 57"/>
                  <a:gd name="T59" fmla="*/ 66 h 66"/>
                  <a:gd name="T60" fmla="*/ 11 w 57"/>
                  <a:gd name="T61" fmla="*/ 66 h 66"/>
                  <a:gd name="T62" fmla="*/ 12 w 57"/>
                  <a:gd name="T63" fmla="*/ 66 h 66"/>
                  <a:gd name="T64" fmla="*/ 16 w 57"/>
                  <a:gd name="T65" fmla="*/ 6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7" h="66">
                    <a:moveTo>
                      <a:pt x="16" y="63"/>
                    </a:moveTo>
                    <a:cubicBezTo>
                      <a:pt x="16" y="63"/>
                      <a:pt x="17" y="62"/>
                      <a:pt x="17" y="62"/>
                    </a:cubicBezTo>
                    <a:cubicBezTo>
                      <a:pt x="17" y="61"/>
                      <a:pt x="17" y="60"/>
                      <a:pt x="17" y="60"/>
                    </a:cubicBezTo>
                    <a:cubicBezTo>
                      <a:pt x="17" y="59"/>
                      <a:pt x="17" y="59"/>
                      <a:pt x="17" y="58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2" y="45"/>
                      <a:pt x="10" y="43"/>
                      <a:pt x="10" y="40"/>
                    </a:cubicBezTo>
                    <a:cubicBezTo>
                      <a:pt x="10" y="38"/>
                      <a:pt x="11" y="36"/>
                      <a:pt x="12" y="35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5" y="33"/>
                      <a:pt x="17" y="32"/>
                      <a:pt x="18" y="32"/>
                    </a:cubicBezTo>
                    <a:cubicBezTo>
                      <a:pt x="44" y="31"/>
                      <a:pt x="44" y="31"/>
                      <a:pt x="44" y="31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4" y="34"/>
                      <a:pt x="12" y="37"/>
                      <a:pt x="12" y="40"/>
                    </a:cubicBezTo>
                    <a:cubicBezTo>
                      <a:pt x="12" y="43"/>
                      <a:pt x="15" y="46"/>
                      <a:pt x="19" y="46"/>
                    </a:cubicBezTo>
                    <a:cubicBezTo>
                      <a:pt x="19" y="46"/>
                      <a:pt x="40" y="45"/>
                      <a:pt x="46" y="45"/>
                    </a:cubicBezTo>
                    <a:cubicBezTo>
                      <a:pt x="52" y="45"/>
                      <a:pt x="57" y="38"/>
                      <a:pt x="57" y="32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7" y="4"/>
                      <a:pt x="53" y="0"/>
                      <a:pt x="48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4" y="2"/>
                      <a:pt x="30" y="4"/>
                      <a:pt x="26" y="4"/>
                    </a:cubicBezTo>
                    <a:cubicBezTo>
                      <a:pt x="22" y="4"/>
                      <a:pt x="18" y="2"/>
                      <a:pt x="15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1"/>
                      <a:pt x="0" y="36"/>
                      <a:pt x="2" y="43"/>
                    </a:cubicBezTo>
                    <a:cubicBezTo>
                      <a:pt x="3" y="50"/>
                      <a:pt x="5" y="61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61"/>
                      <a:pt x="5" y="61"/>
                      <a:pt x="5" y="62"/>
                    </a:cubicBezTo>
                    <a:cubicBezTo>
                      <a:pt x="5" y="62"/>
                      <a:pt x="5" y="62"/>
                      <a:pt x="5" y="62"/>
                    </a:cubicBezTo>
                    <a:cubicBezTo>
                      <a:pt x="5" y="62"/>
                      <a:pt x="5" y="62"/>
                      <a:pt x="5" y="62"/>
                    </a:cubicBezTo>
                    <a:cubicBezTo>
                      <a:pt x="6" y="62"/>
                      <a:pt x="6" y="62"/>
                      <a:pt x="6" y="6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6" y="63"/>
                      <a:pt x="6" y="64"/>
                      <a:pt x="6" y="64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7" y="64"/>
                      <a:pt x="7" y="64"/>
                      <a:pt x="7" y="64"/>
                    </a:cubicBezTo>
                    <a:cubicBezTo>
                      <a:pt x="7" y="64"/>
                      <a:pt x="7" y="64"/>
                      <a:pt x="7" y="64"/>
                    </a:cubicBezTo>
                    <a:cubicBezTo>
                      <a:pt x="7" y="64"/>
                      <a:pt x="7" y="65"/>
                      <a:pt x="7" y="65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7" y="65"/>
                      <a:pt x="7" y="65"/>
                      <a:pt x="8" y="65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8" y="65"/>
                      <a:pt x="8" y="65"/>
                      <a:pt x="8" y="66"/>
                    </a:cubicBezTo>
                    <a:cubicBezTo>
                      <a:pt x="8" y="66"/>
                      <a:pt x="8" y="66"/>
                      <a:pt x="8" y="66"/>
                    </a:cubicBezTo>
                    <a:cubicBezTo>
                      <a:pt x="8" y="66"/>
                      <a:pt x="9" y="66"/>
                      <a:pt x="9" y="66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10" y="66"/>
                      <a:pt x="10" y="66"/>
                      <a:pt x="11" y="66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4" y="66"/>
                      <a:pt x="15" y="65"/>
                      <a:pt x="16" y="63"/>
                    </a:cubicBezTo>
                  </a:path>
                </a:pathLst>
              </a:custGeom>
              <a:grpFill/>
              <a:ln w="9525">
                <a:solidFill>
                  <a:srgbClr val="1E70B2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09" name="Oval 108"/>
              <p:cNvSpPr>
                <a:spLocks noChangeArrowheads="1"/>
              </p:cNvSpPr>
              <p:nvPr/>
            </p:nvSpPr>
            <p:spPr bwMode="auto">
              <a:xfrm>
                <a:off x="868363" y="782638"/>
                <a:ext cx="82550" cy="82550"/>
              </a:xfrm>
              <a:prstGeom prst="ellipse">
                <a:avLst/>
              </a:prstGeom>
              <a:grpFill/>
              <a:ln w="9525">
                <a:solidFill>
                  <a:srgbClr val="1E70B2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10" name="Freeform 109"/>
              <p:cNvSpPr>
                <a:spLocks/>
              </p:cNvSpPr>
              <p:nvPr/>
            </p:nvSpPr>
            <p:spPr bwMode="auto">
              <a:xfrm>
                <a:off x="742950" y="935038"/>
                <a:ext cx="84138" cy="95250"/>
              </a:xfrm>
              <a:custGeom>
                <a:avLst/>
                <a:gdLst>
                  <a:gd name="T0" fmla="*/ 47 w 53"/>
                  <a:gd name="T1" fmla="*/ 9 h 60"/>
                  <a:gd name="T2" fmla="*/ 47 w 53"/>
                  <a:gd name="T3" fmla="*/ 15 h 60"/>
                  <a:gd name="T4" fmla="*/ 34 w 53"/>
                  <a:gd name="T5" fmla="*/ 9 h 60"/>
                  <a:gd name="T6" fmla="*/ 34 w 53"/>
                  <a:gd name="T7" fmla="*/ 18 h 60"/>
                  <a:gd name="T8" fmla="*/ 25 w 53"/>
                  <a:gd name="T9" fmla="*/ 20 h 60"/>
                  <a:gd name="T10" fmla="*/ 32 w 53"/>
                  <a:gd name="T11" fmla="*/ 28 h 60"/>
                  <a:gd name="T12" fmla="*/ 15 w 53"/>
                  <a:gd name="T13" fmla="*/ 32 h 60"/>
                  <a:gd name="T14" fmla="*/ 32 w 53"/>
                  <a:gd name="T15" fmla="*/ 35 h 60"/>
                  <a:gd name="T16" fmla="*/ 26 w 53"/>
                  <a:gd name="T17" fmla="*/ 47 h 60"/>
                  <a:gd name="T18" fmla="*/ 40 w 53"/>
                  <a:gd name="T19" fmla="*/ 41 h 60"/>
                  <a:gd name="T20" fmla="*/ 43 w 53"/>
                  <a:gd name="T21" fmla="*/ 50 h 60"/>
                  <a:gd name="T22" fmla="*/ 51 w 53"/>
                  <a:gd name="T23" fmla="*/ 43 h 60"/>
                  <a:gd name="T24" fmla="*/ 53 w 53"/>
                  <a:gd name="T25" fmla="*/ 49 h 60"/>
                  <a:gd name="T26" fmla="*/ 41 w 53"/>
                  <a:gd name="T27" fmla="*/ 60 h 60"/>
                  <a:gd name="T28" fmla="*/ 36 w 53"/>
                  <a:gd name="T29" fmla="*/ 47 h 60"/>
                  <a:gd name="T30" fmla="*/ 19 w 53"/>
                  <a:gd name="T31" fmla="*/ 54 h 60"/>
                  <a:gd name="T32" fmla="*/ 25 w 53"/>
                  <a:gd name="T33" fmla="*/ 39 h 60"/>
                  <a:gd name="T34" fmla="*/ 0 w 53"/>
                  <a:gd name="T35" fmla="*/ 33 h 60"/>
                  <a:gd name="T36" fmla="*/ 25 w 53"/>
                  <a:gd name="T37" fmla="*/ 26 h 60"/>
                  <a:gd name="T38" fmla="*/ 17 w 53"/>
                  <a:gd name="T39" fmla="*/ 17 h 60"/>
                  <a:gd name="T40" fmla="*/ 30 w 53"/>
                  <a:gd name="T41" fmla="*/ 15 h 60"/>
                  <a:gd name="T42" fmla="*/ 28 w 53"/>
                  <a:gd name="T43" fmla="*/ 0 h 60"/>
                  <a:gd name="T44" fmla="*/ 47 w 53"/>
                  <a:gd name="T45" fmla="*/ 9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3" h="60">
                    <a:moveTo>
                      <a:pt x="47" y="9"/>
                    </a:moveTo>
                    <a:lnTo>
                      <a:pt x="47" y="15"/>
                    </a:lnTo>
                    <a:lnTo>
                      <a:pt x="34" y="9"/>
                    </a:lnTo>
                    <a:lnTo>
                      <a:pt x="34" y="18"/>
                    </a:lnTo>
                    <a:lnTo>
                      <a:pt x="25" y="20"/>
                    </a:lnTo>
                    <a:lnTo>
                      <a:pt x="32" y="28"/>
                    </a:lnTo>
                    <a:lnTo>
                      <a:pt x="15" y="32"/>
                    </a:lnTo>
                    <a:lnTo>
                      <a:pt x="32" y="35"/>
                    </a:lnTo>
                    <a:lnTo>
                      <a:pt x="26" y="47"/>
                    </a:lnTo>
                    <a:lnTo>
                      <a:pt x="40" y="41"/>
                    </a:lnTo>
                    <a:lnTo>
                      <a:pt x="43" y="50"/>
                    </a:lnTo>
                    <a:lnTo>
                      <a:pt x="51" y="43"/>
                    </a:lnTo>
                    <a:lnTo>
                      <a:pt x="53" y="49"/>
                    </a:lnTo>
                    <a:lnTo>
                      <a:pt x="41" y="60"/>
                    </a:lnTo>
                    <a:lnTo>
                      <a:pt x="36" y="47"/>
                    </a:lnTo>
                    <a:lnTo>
                      <a:pt x="19" y="54"/>
                    </a:lnTo>
                    <a:lnTo>
                      <a:pt x="25" y="39"/>
                    </a:lnTo>
                    <a:lnTo>
                      <a:pt x="0" y="33"/>
                    </a:lnTo>
                    <a:lnTo>
                      <a:pt x="25" y="26"/>
                    </a:lnTo>
                    <a:lnTo>
                      <a:pt x="17" y="17"/>
                    </a:lnTo>
                    <a:lnTo>
                      <a:pt x="30" y="15"/>
                    </a:lnTo>
                    <a:lnTo>
                      <a:pt x="28" y="0"/>
                    </a:lnTo>
                    <a:lnTo>
                      <a:pt x="47" y="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11" name="Freeform 110"/>
              <p:cNvSpPr>
                <a:spLocks/>
              </p:cNvSpPr>
              <p:nvPr/>
            </p:nvSpPr>
            <p:spPr bwMode="auto">
              <a:xfrm>
                <a:off x="995363" y="1074738"/>
                <a:ext cx="84138" cy="92075"/>
              </a:xfrm>
              <a:custGeom>
                <a:avLst/>
                <a:gdLst>
                  <a:gd name="T0" fmla="*/ 6 w 53"/>
                  <a:gd name="T1" fmla="*/ 49 h 58"/>
                  <a:gd name="T2" fmla="*/ 6 w 53"/>
                  <a:gd name="T3" fmla="*/ 43 h 58"/>
                  <a:gd name="T4" fmla="*/ 19 w 53"/>
                  <a:gd name="T5" fmla="*/ 49 h 58"/>
                  <a:gd name="T6" fmla="*/ 19 w 53"/>
                  <a:gd name="T7" fmla="*/ 39 h 58"/>
                  <a:gd name="T8" fmla="*/ 29 w 53"/>
                  <a:gd name="T9" fmla="*/ 38 h 58"/>
                  <a:gd name="T10" fmla="*/ 21 w 53"/>
                  <a:gd name="T11" fmla="*/ 32 h 58"/>
                  <a:gd name="T12" fmla="*/ 38 w 53"/>
                  <a:gd name="T13" fmla="*/ 26 h 58"/>
                  <a:gd name="T14" fmla="*/ 21 w 53"/>
                  <a:gd name="T15" fmla="*/ 23 h 58"/>
                  <a:gd name="T16" fmla="*/ 27 w 53"/>
                  <a:gd name="T17" fmla="*/ 11 h 58"/>
                  <a:gd name="T18" fmla="*/ 14 w 53"/>
                  <a:gd name="T19" fmla="*/ 17 h 58"/>
                  <a:gd name="T20" fmla="*/ 10 w 53"/>
                  <a:gd name="T21" fmla="*/ 9 h 58"/>
                  <a:gd name="T22" fmla="*/ 0 w 53"/>
                  <a:gd name="T23" fmla="*/ 15 h 58"/>
                  <a:gd name="T24" fmla="*/ 0 w 53"/>
                  <a:gd name="T25" fmla="*/ 9 h 58"/>
                  <a:gd name="T26" fmla="*/ 10 w 53"/>
                  <a:gd name="T27" fmla="*/ 0 h 58"/>
                  <a:gd name="T28" fmla="*/ 15 w 53"/>
                  <a:gd name="T29" fmla="*/ 11 h 58"/>
                  <a:gd name="T30" fmla="*/ 34 w 53"/>
                  <a:gd name="T31" fmla="*/ 4 h 58"/>
                  <a:gd name="T32" fmla="*/ 29 w 53"/>
                  <a:gd name="T33" fmla="*/ 19 h 58"/>
                  <a:gd name="T34" fmla="*/ 53 w 53"/>
                  <a:gd name="T35" fmla="*/ 24 h 58"/>
                  <a:gd name="T36" fmla="*/ 29 w 53"/>
                  <a:gd name="T37" fmla="*/ 34 h 58"/>
                  <a:gd name="T38" fmla="*/ 36 w 53"/>
                  <a:gd name="T39" fmla="*/ 41 h 58"/>
                  <a:gd name="T40" fmla="*/ 23 w 53"/>
                  <a:gd name="T41" fmla="*/ 43 h 58"/>
                  <a:gd name="T42" fmla="*/ 25 w 53"/>
                  <a:gd name="T43" fmla="*/ 58 h 58"/>
                  <a:gd name="T44" fmla="*/ 6 w 53"/>
                  <a:gd name="T45" fmla="*/ 4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3" h="58">
                    <a:moveTo>
                      <a:pt x="6" y="49"/>
                    </a:moveTo>
                    <a:lnTo>
                      <a:pt x="6" y="43"/>
                    </a:lnTo>
                    <a:lnTo>
                      <a:pt x="19" y="49"/>
                    </a:lnTo>
                    <a:lnTo>
                      <a:pt x="19" y="39"/>
                    </a:lnTo>
                    <a:lnTo>
                      <a:pt x="29" y="38"/>
                    </a:lnTo>
                    <a:lnTo>
                      <a:pt x="21" y="32"/>
                    </a:lnTo>
                    <a:lnTo>
                      <a:pt x="38" y="26"/>
                    </a:lnTo>
                    <a:lnTo>
                      <a:pt x="21" y="23"/>
                    </a:lnTo>
                    <a:lnTo>
                      <a:pt x="27" y="11"/>
                    </a:lnTo>
                    <a:lnTo>
                      <a:pt x="14" y="17"/>
                    </a:lnTo>
                    <a:lnTo>
                      <a:pt x="10" y="9"/>
                    </a:lnTo>
                    <a:lnTo>
                      <a:pt x="0" y="15"/>
                    </a:lnTo>
                    <a:lnTo>
                      <a:pt x="0" y="9"/>
                    </a:lnTo>
                    <a:lnTo>
                      <a:pt x="10" y="0"/>
                    </a:lnTo>
                    <a:lnTo>
                      <a:pt x="15" y="11"/>
                    </a:lnTo>
                    <a:lnTo>
                      <a:pt x="34" y="4"/>
                    </a:lnTo>
                    <a:lnTo>
                      <a:pt x="29" y="19"/>
                    </a:lnTo>
                    <a:lnTo>
                      <a:pt x="53" y="24"/>
                    </a:lnTo>
                    <a:lnTo>
                      <a:pt x="29" y="34"/>
                    </a:lnTo>
                    <a:lnTo>
                      <a:pt x="36" y="41"/>
                    </a:lnTo>
                    <a:lnTo>
                      <a:pt x="23" y="43"/>
                    </a:lnTo>
                    <a:lnTo>
                      <a:pt x="25" y="58"/>
                    </a:lnTo>
                    <a:lnTo>
                      <a:pt x="6" y="4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</p:grpSp>
      </p:grpSp>
      <p:grpSp>
        <p:nvGrpSpPr>
          <p:cNvPr id="114" name="Group 113"/>
          <p:cNvGrpSpPr/>
          <p:nvPr/>
        </p:nvGrpSpPr>
        <p:grpSpPr>
          <a:xfrm>
            <a:off x="6050268" y="4233869"/>
            <a:ext cx="627800" cy="598492"/>
            <a:chOff x="5004464" y="2969122"/>
            <a:chExt cx="470850" cy="448869"/>
          </a:xfrm>
        </p:grpSpPr>
        <p:grpSp>
          <p:nvGrpSpPr>
            <p:cNvPr id="115" name="Group 114"/>
            <p:cNvGrpSpPr/>
            <p:nvPr/>
          </p:nvGrpSpPr>
          <p:grpSpPr>
            <a:xfrm>
              <a:off x="5004464" y="2969122"/>
              <a:ext cx="470850" cy="448869"/>
              <a:chOff x="5002694" y="2104969"/>
              <a:chExt cx="470850" cy="448869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6D847917-0115-8A4A-B479-A30D49D76E85}"/>
                  </a:ext>
                </a:extLst>
              </p:cNvPr>
              <p:cNvSpPr/>
              <p:nvPr/>
            </p:nvSpPr>
            <p:spPr>
              <a:xfrm>
                <a:off x="5002694" y="2104969"/>
                <a:ext cx="470850" cy="448869"/>
              </a:xfrm>
              <a:prstGeom prst="ellipse">
                <a:avLst/>
              </a:prstGeom>
              <a:solidFill>
                <a:srgbClr val="0460A9"/>
              </a:solidFill>
              <a:ln w="9525" cap="sq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" name="Freeform 30"/>
              <p:cNvSpPr>
                <a:spLocks/>
              </p:cNvSpPr>
              <p:nvPr/>
            </p:nvSpPr>
            <p:spPr bwMode="auto">
              <a:xfrm>
                <a:off x="5225694" y="2203301"/>
                <a:ext cx="24850" cy="27109"/>
              </a:xfrm>
              <a:custGeom>
                <a:avLst/>
                <a:gdLst>
                  <a:gd name="T0" fmla="*/ 0 w 209"/>
                  <a:gd name="T1" fmla="*/ 234 h 234"/>
                  <a:gd name="T2" fmla="*/ 0 w 209"/>
                  <a:gd name="T3" fmla="*/ 186 h 234"/>
                  <a:gd name="T4" fmla="*/ 87 w 209"/>
                  <a:gd name="T5" fmla="*/ 85 h 234"/>
                  <a:gd name="T6" fmla="*/ 119 w 209"/>
                  <a:gd name="T7" fmla="*/ 50 h 234"/>
                  <a:gd name="T8" fmla="*/ 91 w 209"/>
                  <a:gd name="T9" fmla="*/ 51 h 234"/>
                  <a:gd name="T10" fmla="*/ 8 w 209"/>
                  <a:gd name="T11" fmla="*/ 51 h 234"/>
                  <a:gd name="T12" fmla="*/ 8 w 209"/>
                  <a:gd name="T13" fmla="*/ 0 h 234"/>
                  <a:gd name="T14" fmla="*/ 202 w 209"/>
                  <a:gd name="T15" fmla="*/ 0 h 234"/>
                  <a:gd name="T16" fmla="*/ 202 w 209"/>
                  <a:gd name="T17" fmla="*/ 44 h 234"/>
                  <a:gd name="T18" fmla="*/ 112 w 209"/>
                  <a:gd name="T19" fmla="*/ 147 h 234"/>
                  <a:gd name="T20" fmla="*/ 81 w 209"/>
                  <a:gd name="T21" fmla="*/ 181 h 234"/>
                  <a:gd name="T22" fmla="*/ 113 w 209"/>
                  <a:gd name="T23" fmla="*/ 180 h 234"/>
                  <a:gd name="T24" fmla="*/ 209 w 209"/>
                  <a:gd name="T25" fmla="*/ 180 h 234"/>
                  <a:gd name="T26" fmla="*/ 209 w 209"/>
                  <a:gd name="T27" fmla="*/ 234 h 234"/>
                  <a:gd name="T28" fmla="*/ 0 w 209"/>
                  <a:gd name="T29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9" h="234">
                    <a:moveTo>
                      <a:pt x="0" y="234"/>
                    </a:moveTo>
                    <a:lnTo>
                      <a:pt x="0" y="186"/>
                    </a:lnTo>
                    <a:lnTo>
                      <a:pt x="87" y="85"/>
                    </a:lnTo>
                    <a:cubicBezTo>
                      <a:pt x="102" y="69"/>
                      <a:pt x="113" y="57"/>
                      <a:pt x="119" y="50"/>
                    </a:cubicBezTo>
                    <a:cubicBezTo>
                      <a:pt x="112" y="50"/>
                      <a:pt x="103" y="51"/>
                      <a:pt x="91" y="51"/>
                    </a:cubicBezTo>
                    <a:lnTo>
                      <a:pt x="8" y="51"/>
                    </a:lnTo>
                    <a:lnTo>
                      <a:pt x="8" y="0"/>
                    </a:lnTo>
                    <a:lnTo>
                      <a:pt x="202" y="0"/>
                    </a:lnTo>
                    <a:lnTo>
                      <a:pt x="202" y="44"/>
                    </a:lnTo>
                    <a:lnTo>
                      <a:pt x="112" y="147"/>
                    </a:lnTo>
                    <a:lnTo>
                      <a:pt x="81" y="181"/>
                    </a:lnTo>
                    <a:cubicBezTo>
                      <a:pt x="98" y="180"/>
                      <a:pt x="109" y="180"/>
                      <a:pt x="113" y="180"/>
                    </a:cubicBezTo>
                    <a:lnTo>
                      <a:pt x="209" y="180"/>
                    </a:lnTo>
                    <a:lnTo>
                      <a:pt x="209" y="234"/>
                    </a:lnTo>
                    <a:lnTo>
                      <a:pt x="0" y="23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0460A9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16" name="Freeform 115"/>
            <p:cNvSpPr>
              <a:spLocks noEditPoints="1"/>
            </p:cNvSpPr>
            <p:nvPr/>
          </p:nvSpPr>
          <p:spPr bwMode="auto">
            <a:xfrm>
              <a:off x="5101471" y="3032688"/>
              <a:ext cx="261277" cy="321738"/>
            </a:xfrm>
            <a:custGeom>
              <a:avLst/>
              <a:gdLst>
                <a:gd name="T0" fmla="*/ 126 w 143"/>
                <a:gd name="T1" fmla="*/ 137 h 167"/>
                <a:gd name="T2" fmla="*/ 128 w 143"/>
                <a:gd name="T3" fmla="*/ 158 h 167"/>
                <a:gd name="T4" fmla="*/ 114 w 143"/>
                <a:gd name="T5" fmla="*/ 142 h 167"/>
                <a:gd name="T6" fmla="*/ 130 w 143"/>
                <a:gd name="T7" fmla="*/ 64 h 167"/>
                <a:gd name="T8" fmla="*/ 69 w 143"/>
                <a:gd name="T9" fmla="*/ 24 h 167"/>
                <a:gd name="T10" fmla="*/ 85 w 143"/>
                <a:gd name="T11" fmla="*/ 9 h 167"/>
                <a:gd name="T12" fmla="*/ 132 w 143"/>
                <a:gd name="T13" fmla="*/ 98 h 167"/>
                <a:gd name="T14" fmla="*/ 32 w 143"/>
                <a:gd name="T15" fmla="*/ 52 h 167"/>
                <a:gd name="T16" fmla="*/ 14 w 143"/>
                <a:gd name="T17" fmla="*/ 97 h 167"/>
                <a:gd name="T18" fmla="*/ 23 w 143"/>
                <a:gd name="T19" fmla="*/ 114 h 167"/>
                <a:gd name="T20" fmla="*/ 34 w 143"/>
                <a:gd name="T21" fmla="*/ 116 h 167"/>
                <a:gd name="T22" fmla="*/ 31 w 143"/>
                <a:gd name="T23" fmla="*/ 123 h 167"/>
                <a:gd name="T24" fmla="*/ 25 w 143"/>
                <a:gd name="T25" fmla="*/ 122 h 167"/>
                <a:gd name="T26" fmla="*/ 30 w 143"/>
                <a:gd name="T27" fmla="*/ 137 h 167"/>
                <a:gd name="T28" fmla="*/ 64 w 143"/>
                <a:gd name="T29" fmla="*/ 157 h 167"/>
                <a:gd name="T30" fmla="*/ 52 w 143"/>
                <a:gd name="T31" fmla="*/ 162 h 167"/>
                <a:gd name="T32" fmla="*/ 22 w 143"/>
                <a:gd name="T33" fmla="*/ 147 h 167"/>
                <a:gd name="T34" fmla="*/ 10 w 143"/>
                <a:gd name="T35" fmla="*/ 120 h 167"/>
                <a:gd name="T36" fmla="*/ 1 w 143"/>
                <a:gd name="T37" fmla="*/ 101 h 167"/>
                <a:gd name="T38" fmla="*/ 17 w 143"/>
                <a:gd name="T39" fmla="*/ 69 h 167"/>
                <a:gd name="T40" fmla="*/ 23 w 143"/>
                <a:gd name="T41" fmla="*/ 41 h 167"/>
                <a:gd name="T42" fmla="*/ 82 w 143"/>
                <a:gd name="T43" fmla="*/ 103 h 167"/>
                <a:gd name="T44" fmla="*/ 90 w 143"/>
                <a:gd name="T45" fmla="*/ 103 h 167"/>
                <a:gd name="T46" fmla="*/ 92 w 143"/>
                <a:gd name="T47" fmla="*/ 106 h 167"/>
                <a:gd name="T48" fmla="*/ 95 w 143"/>
                <a:gd name="T49" fmla="*/ 104 h 167"/>
                <a:gd name="T50" fmla="*/ 105 w 143"/>
                <a:gd name="T51" fmla="*/ 91 h 167"/>
                <a:gd name="T52" fmla="*/ 106 w 143"/>
                <a:gd name="T53" fmla="*/ 81 h 167"/>
                <a:gd name="T54" fmla="*/ 98 w 143"/>
                <a:gd name="T55" fmla="*/ 76 h 167"/>
                <a:gd name="T56" fmla="*/ 91 w 143"/>
                <a:gd name="T57" fmla="*/ 81 h 167"/>
                <a:gd name="T58" fmla="*/ 84 w 143"/>
                <a:gd name="T59" fmla="*/ 78 h 167"/>
                <a:gd name="T60" fmla="*/ 98 w 143"/>
                <a:gd name="T61" fmla="*/ 69 h 167"/>
                <a:gd name="T62" fmla="*/ 113 w 143"/>
                <a:gd name="T63" fmla="*/ 78 h 167"/>
                <a:gd name="T64" fmla="*/ 111 w 143"/>
                <a:gd name="T65" fmla="*/ 96 h 167"/>
                <a:gd name="T66" fmla="*/ 103 w 143"/>
                <a:gd name="T67" fmla="*/ 107 h 167"/>
                <a:gd name="T68" fmla="*/ 90 w 143"/>
                <a:gd name="T69" fmla="*/ 114 h 167"/>
                <a:gd name="T70" fmla="*/ 82 w 143"/>
                <a:gd name="T71" fmla="*/ 103 h 167"/>
                <a:gd name="T72" fmla="*/ 60 w 143"/>
                <a:gd name="T73" fmla="*/ 78 h 167"/>
                <a:gd name="T74" fmla="*/ 48 w 143"/>
                <a:gd name="T75" fmla="*/ 87 h 167"/>
                <a:gd name="T76" fmla="*/ 37 w 143"/>
                <a:gd name="T77" fmla="*/ 76 h 167"/>
                <a:gd name="T78" fmla="*/ 49 w 143"/>
                <a:gd name="T79" fmla="*/ 79 h 167"/>
                <a:gd name="T80" fmla="*/ 53 w 143"/>
                <a:gd name="T81" fmla="*/ 0 h 167"/>
                <a:gd name="T82" fmla="*/ 65 w 143"/>
                <a:gd name="T83" fmla="*/ 12 h 167"/>
                <a:gd name="T84" fmla="*/ 56 w 143"/>
                <a:gd name="T85" fmla="*/ 31 h 167"/>
                <a:gd name="T86" fmla="*/ 41 w 143"/>
                <a:gd name="T87" fmla="*/ 5 h 167"/>
                <a:gd name="T88" fmla="*/ 19 w 143"/>
                <a:gd name="T89" fmla="*/ 14 h 167"/>
                <a:gd name="T90" fmla="*/ 36 w 143"/>
                <a:gd name="T91" fmla="*/ 20 h 167"/>
                <a:gd name="T92" fmla="*/ 37 w 143"/>
                <a:gd name="T93" fmla="*/ 37 h 167"/>
                <a:gd name="T94" fmla="*/ 13 w 143"/>
                <a:gd name="T95" fmla="*/ 2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3" h="167">
                  <a:moveTo>
                    <a:pt x="132" y="98"/>
                  </a:moveTo>
                  <a:cubicBezTo>
                    <a:pt x="126" y="109"/>
                    <a:pt x="119" y="120"/>
                    <a:pt x="126" y="137"/>
                  </a:cubicBezTo>
                  <a:cubicBezTo>
                    <a:pt x="131" y="150"/>
                    <a:pt x="131" y="150"/>
                    <a:pt x="131" y="150"/>
                  </a:cubicBezTo>
                  <a:cubicBezTo>
                    <a:pt x="133" y="153"/>
                    <a:pt x="131" y="157"/>
                    <a:pt x="128" y="158"/>
                  </a:cubicBezTo>
                  <a:cubicBezTo>
                    <a:pt x="124" y="159"/>
                    <a:pt x="121" y="158"/>
                    <a:pt x="119" y="155"/>
                  </a:cubicBezTo>
                  <a:cubicBezTo>
                    <a:pt x="114" y="142"/>
                    <a:pt x="114" y="142"/>
                    <a:pt x="114" y="142"/>
                  </a:cubicBezTo>
                  <a:cubicBezTo>
                    <a:pt x="114" y="142"/>
                    <a:pt x="114" y="142"/>
                    <a:pt x="114" y="141"/>
                  </a:cubicBezTo>
                  <a:cubicBezTo>
                    <a:pt x="100" y="103"/>
                    <a:pt x="130" y="92"/>
                    <a:pt x="130" y="64"/>
                  </a:cubicBezTo>
                  <a:cubicBezTo>
                    <a:pt x="130" y="37"/>
                    <a:pt x="110" y="22"/>
                    <a:pt x="85" y="22"/>
                  </a:cubicBezTo>
                  <a:cubicBezTo>
                    <a:pt x="80" y="22"/>
                    <a:pt x="75" y="23"/>
                    <a:pt x="69" y="24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5" y="9"/>
                    <a:pt x="80" y="9"/>
                    <a:pt x="85" y="9"/>
                  </a:cubicBezTo>
                  <a:cubicBezTo>
                    <a:pt x="116" y="9"/>
                    <a:pt x="143" y="29"/>
                    <a:pt x="143" y="64"/>
                  </a:cubicBezTo>
                  <a:cubicBezTo>
                    <a:pt x="143" y="78"/>
                    <a:pt x="137" y="88"/>
                    <a:pt x="132" y="98"/>
                  </a:cubicBezTo>
                  <a:moveTo>
                    <a:pt x="33" y="50"/>
                  </a:moveTo>
                  <a:cubicBezTo>
                    <a:pt x="33" y="51"/>
                    <a:pt x="33" y="51"/>
                    <a:pt x="32" y="52"/>
                  </a:cubicBezTo>
                  <a:cubicBezTo>
                    <a:pt x="29" y="61"/>
                    <a:pt x="31" y="69"/>
                    <a:pt x="29" y="74"/>
                  </a:cubicBezTo>
                  <a:cubicBezTo>
                    <a:pt x="25" y="83"/>
                    <a:pt x="18" y="89"/>
                    <a:pt x="14" y="97"/>
                  </a:cubicBezTo>
                  <a:cubicBezTo>
                    <a:pt x="16" y="98"/>
                    <a:pt x="18" y="98"/>
                    <a:pt x="21" y="99"/>
                  </a:cubicBezTo>
                  <a:cubicBezTo>
                    <a:pt x="26" y="103"/>
                    <a:pt x="23" y="109"/>
                    <a:pt x="23" y="114"/>
                  </a:cubicBezTo>
                  <a:cubicBezTo>
                    <a:pt x="24" y="114"/>
                    <a:pt x="26" y="114"/>
                    <a:pt x="27" y="114"/>
                  </a:cubicBezTo>
                  <a:cubicBezTo>
                    <a:pt x="29" y="115"/>
                    <a:pt x="31" y="115"/>
                    <a:pt x="34" y="116"/>
                  </a:cubicBezTo>
                  <a:cubicBezTo>
                    <a:pt x="36" y="116"/>
                    <a:pt x="37" y="119"/>
                    <a:pt x="36" y="121"/>
                  </a:cubicBezTo>
                  <a:cubicBezTo>
                    <a:pt x="36" y="123"/>
                    <a:pt x="33" y="124"/>
                    <a:pt x="31" y="123"/>
                  </a:cubicBezTo>
                  <a:cubicBezTo>
                    <a:pt x="30" y="123"/>
                    <a:pt x="28" y="122"/>
                    <a:pt x="26" y="122"/>
                  </a:cubicBezTo>
                  <a:cubicBezTo>
                    <a:pt x="26" y="122"/>
                    <a:pt x="25" y="122"/>
                    <a:pt x="25" y="122"/>
                  </a:cubicBezTo>
                  <a:cubicBezTo>
                    <a:pt x="27" y="124"/>
                    <a:pt x="28" y="127"/>
                    <a:pt x="28" y="132"/>
                  </a:cubicBezTo>
                  <a:cubicBezTo>
                    <a:pt x="28" y="135"/>
                    <a:pt x="29" y="136"/>
                    <a:pt x="30" y="137"/>
                  </a:cubicBezTo>
                  <a:cubicBezTo>
                    <a:pt x="32" y="138"/>
                    <a:pt x="37" y="139"/>
                    <a:pt x="40" y="139"/>
                  </a:cubicBezTo>
                  <a:cubicBezTo>
                    <a:pt x="57" y="140"/>
                    <a:pt x="57" y="140"/>
                    <a:pt x="64" y="157"/>
                  </a:cubicBezTo>
                  <a:cubicBezTo>
                    <a:pt x="66" y="160"/>
                    <a:pt x="64" y="164"/>
                    <a:pt x="61" y="165"/>
                  </a:cubicBezTo>
                  <a:cubicBezTo>
                    <a:pt x="58" y="167"/>
                    <a:pt x="54" y="165"/>
                    <a:pt x="52" y="162"/>
                  </a:cubicBezTo>
                  <a:cubicBezTo>
                    <a:pt x="48" y="151"/>
                    <a:pt x="48" y="153"/>
                    <a:pt x="35" y="151"/>
                  </a:cubicBezTo>
                  <a:cubicBezTo>
                    <a:pt x="30" y="151"/>
                    <a:pt x="26" y="150"/>
                    <a:pt x="22" y="147"/>
                  </a:cubicBezTo>
                  <a:cubicBezTo>
                    <a:pt x="18" y="144"/>
                    <a:pt x="15" y="139"/>
                    <a:pt x="15" y="132"/>
                  </a:cubicBezTo>
                  <a:cubicBezTo>
                    <a:pt x="15" y="128"/>
                    <a:pt x="12" y="128"/>
                    <a:pt x="10" y="120"/>
                  </a:cubicBezTo>
                  <a:cubicBezTo>
                    <a:pt x="10" y="116"/>
                    <a:pt x="10" y="112"/>
                    <a:pt x="10" y="110"/>
                  </a:cubicBezTo>
                  <a:cubicBezTo>
                    <a:pt x="6" y="108"/>
                    <a:pt x="2" y="106"/>
                    <a:pt x="1" y="101"/>
                  </a:cubicBezTo>
                  <a:cubicBezTo>
                    <a:pt x="0" y="97"/>
                    <a:pt x="1" y="94"/>
                    <a:pt x="3" y="91"/>
                  </a:cubicBezTo>
                  <a:cubicBezTo>
                    <a:pt x="7" y="83"/>
                    <a:pt x="14" y="76"/>
                    <a:pt x="17" y="69"/>
                  </a:cubicBezTo>
                  <a:cubicBezTo>
                    <a:pt x="17" y="68"/>
                    <a:pt x="16" y="57"/>
                    <a:pt x="20" y="47"/>
                  </a:cubicBezTo>
                  <a:cubicBezTo>
                    <a:pt x="21" y="45"/>
                    <a:pt x="22" y="43"/>
                    <a:pt x="23" y="41"/>
                  </a:cubicBezTo>
                  <a:lnTo>
                    <a:pt x="33" y="50"/>
                  </a:lnTo>
                  <a:close/>
                  <a:moveTo>
                    <a:pt x="82" y="103"/>
                  </a:moveTo>
                  <a:cubicBezTo>
                    <a:pt x="82" y="101"/>
                    <a:pt x="84" y="99"/>
                    <a:pt x="86" y="99"/>
                  </a:cubicBezTo>
                  <a:cubicBezTo>
                    <a:pt x="88" y="99"/>
                    <a:pt x="90" y="101"/>
                    <a:pt x="90" y="103"/>
                  </a:cubicBezTo>
                  <a:cubicBezTo>
                    <a:pt x="90" y="104"/>
                    <a:pt x="90" y="105"/>
                    <a:pt x="90" y="105"/>
                  </a:cubicBezTo>
                  <a:cubicBezTo>
                    <a:pt x="91" y="106"/>
                    <a:pt x="91" y="106"/>
                    <a:pt x="92" y="106"/>
                  </a:cubicBezTo>
                  <a:cubicBezTo>
                    <a:pt x="92" y="106"/>
                    <a:pt x="93" y="106"/>
                    <a:pt x="93" y="106"/>
                  </a:cubicBezTo>
                  <a:cubicBezTo>
                    <a:pt x="94" y="106"/>
                    <a:pt x="95" y="105"/>
                    <a:pt x="95" y="104"/>
                  </a:cubicBezTo>
                  <a:cubicBezTo>
                    <a:pt x="98" y="98"/>
                    <a:pt x="99" y="96"/>
                    <a:pt x="102" y="94"/>
                  </a:cubicBezTo>
                  <a:cubicBezTo>
                    <a:pt x="102" y="93"/>
                    <a:pt x="103" y="92"/>
                    <a:pt x="105" y="91"/>
                  </a:cubicBezTo>
                  <a:cubicBezTo>
                    <a:pt x="106" y="89"/>
                    <a:pt x="107" y="87"/>
                    <a:pt x="107" y="85"/>
                  </a:cubicBezTo>
                  <a:cubicBezTo>
                    <a:pt x="107" y="83"/>
                    <a:pt x="106" y="82"/>
                    <a:pt x="106" y="81"/>
                  </a:cubicBezTo>
                  <a:cubicBezTo>
                    <a:pt x="105" y="80"/>
                    <a:pt x="105" y="79"/>
                    <a:pt x="104" y="78"/>
                  </a:cubicBezTo>
                  <a:cubicBezTo>
                    <a:pt x="102" y="77"/>
                    <a:pt x="100" y="76"/>
                    <a:pt x="98" y="76"/>
                  </a:cubicBezTo>
                  <a:cubicBezTo>
                    <a:pt x="97" y="76"/>
                    <a:pt x="95" y="77"/>
                    <a:pt x="94" y="78"/>
                  </a:cubicBezTo>
                  <a:cubicBezTo>
                    <a:pt x="93" y="78"/>
                    <a:pt x="92" y="80"/>
                    <a:pt x="91" y="81"/>
                  </a:cubicBezTo>
                  <a:cubicBezTo>
                    <a:pt x="90" y="83"/>
                    <a:pt x="88" y="84"/>
                    <a:pt x="86" y="83"/>
                  </a:cubicBezTo>
                  <a:cubicBezTo>
                    <a:pt x="84" y="82"/>
                    <a:pt x="83" y="79"/>
                    <a:pt x="84" y="78"/>
                  </a:cubicBezTo>
                  <a:cubicBezTo>
                    <a:pt x="86" y="75"/>
                    <a:pt x="88" y="73"/>
                    <a:pt x="90" y="71"/>
                  </a:cubicBezTo>
                  <a:cubicBezTo>
                    <a:pt x="92" y="70"/>
                    <a:pt x="95" y="69"/>
                    <a:pt x="98" y="69"/>
                  </a:cubicBezTo>
                  <a:cubicBezTo>
                    <a:pt x="102" y="69"/>
                    <a:pt x="106" y="70"/>
                    <a:pt x="109" y="72"/>
                  </a:cubicBezTo>
                  <a:cubicBezTo>
                    <a:pt x="110" y="74"/>
                    <a:pt x="112" y="75"/>
                    <a:pt x="113" y="78"/>
                  </a:cubicBezTo>
                  <a:cubicBezTo>
                    <a:pt x="114" y="80"/>
                    <a:pt x="114" y="82"/>
                    <a:pt x="115" y="84"/>
                  </a:cubicBezTo>
                  <a:cubicBezTo>
                    <a:pt x="115" y="88"/>
                    <a:pt x="113" y="92"/>
                    <a:pt x="111" y="96"/>
                  </a:cubicBezTo>
                  <a:cubicBezTo>
                    <a:pt x="109" y="97"/>
                    <a:pt x="108" y="98"/>
                    <a:pt x="107" y="99"/>
                  </a:cubicBezTo>
                  <a:cubicBezTo>
                    <a:pt x="106" y="101"/>
                    <a:pt x="104" y="102"/>
                    <a:pt x="103" y="107"/>
                  </a:cubicBezTo>
                  <a:cubicBezTo>
                    <a:pt x="101" y="110"/>
                    <a:pt x="99" y="112"/>
                    <a:pt x="96" y="113"/>
                  </a:cubicBezTo>
                  <a:cubicBezTo>
                    <a:pt x="94" y="114"/>
                    <a:pt x="92" y="114"/>
                    <a:pt x="90" y="114"/>
                  </a:cubicBezTo>
                  <a:cubicBezTo>
                    <a:pt x="88" y="113"/>
                    <a:pt x="87" y="112"/>
                    <a:pt x="85" y="111"/>
                  </a:cubicBezTo>
                  <a:cubicBezTo>
                    <a:pt x="83" y="109"/>
                    <a:pt x="82" y="107"/>
                    <a:pt x="82" y="103"/>
                  </a:cubicBezTo>
                  <a:close/>
                  <a:moveTo>
                    <a:pt x="55" y="77"/>
                  </a:moveTo>
                  <a:cubicBezTo>
                    <a:pt x="57" y="76"/>
                    <a:pt x="59" y="76"/>
                    <a:pt x="60" y="78"/>
                  </a:cubicBezTo>
                  <a:cubicBezTo>
                    <a:pt x="62" y="80"/>
                    <a:pt x="61" y="82"/>
                    <a:pt x="59" y="83"/>
                  </a:cubicBezTo>
                  <a:cubicBezTo>
                    <a:pt x="56" y="86"/>
                    <a:pt x="52" y="87"/>
                    <a:pt x="48" y="87"/>
                  </a:cubicBezTo>
                  <a:cubicBezTo>
                    <a:pt x="45" y="86"/>
                    <a:pt x="41" y="85"/>
                    <a:pt x="37" y="82"/>
                  </a:cubicBezTo>
                  <a:cubicBezTo>
                    <a:pt x="36" y="81"/>
                    <a:pt x="35" y="78"/>
                    <a:pt x="37" y="76"/>
                  </a:cubicBezTo>
                  <a:cubicBezTo>
                    <a:pt x="38" y="75"/>
                    <a:pt x="40" y="74"/>
                    <a:pt x="42" y="76"/>
                  </a:cubicBezTo>
                  <a:cubicBezTo>
                    <a:pt x="44" y="78"/>
                    <a:pt x="47" y="79"/>
                    <a:pt x="49" y="79"/>
                  </a:cubicBezTo>
                  <a:cubicBezTo>
                    <a:pt x="51" y="79"/>
                    <a:pt x="53" y="78"/>
                    <a:pt x="55" y="77"/>
                  </a:cubicBezTo>
                  <a:close/>
                  <a:moveTo>
                    <a:pt x="53" y="0"/>
                  </a:moveTo>
                  <a:cubicBezTo>
                    <a:pt x="56" y="15"/>
                    <a:pt x="56" y="15"/>
                    <a:pt x="56" y="15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41" y="5"/>
                    <a:pt x="41" y="5"/>
                    <a:pt x="41" y="5"/>
                  </a:cubicBezTo>
                  <a:lnTo>
                    <a:pt x="53" y="0"/>
                  </a:lnTo>
                  <a:close/>
                  <a:moveTo>
                    <a:pt x="19" y="14"/>
                  </a:moveTo>
                  <a:cubicBezTo>
                    <a:pt x="31" y="28"/>
                    <a:pt x="31" y="28"/>
                    <a:pt x="31" y="28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13" y="24"/>
                    <a:pt x="13" y="24"/>
                    <a:pt x="13" y="24"/>
                  </a:cubicBezTo>
                  <a:lnTo>
                    <a:pt x="19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21" name="Rectangle 120"/>
          <p:cNvSpPr/>
          <p:nvPr/>
        </p:nvSpPr>
        <p:spPr>
          <a:xfrm>
            <a:off x="945549" y="750278"/>
            <a:ext cx="10800956" cy="707886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2000" dirty="0"/>
              <a:t>Pacienti s HS mají </a:t>
            </a:r>
            <a:r>
              <a:rPr lang="en-US" sz="2000" b="1" dirty="0">
                <a:solidFill>
                  <a:srgbClr val="0460A9"/>
                </a:solidFill>
              </a:rPr>
              <a:t>horší kvalitu života </a:t>
            </a:r>
            <a:r>
              <a:rPr lang="en-US" sz="2000" dirty="0"/>
              <a:t>než pacienti s alopecií, </a:t>
            </a:r>
            <a:r>
              <a:rPr lang="en-US" sz="2000" dirty="0" err="1"/>
              <a:t>středně</a:t>
            </a:r>
            <a:r>
              <a:rPr lang="en-US" sz="2000" dirty="0"/>
              <a:t> těžkou psoriázou a jinými </a:t>
            </a:r>
            <a:r>
              <a:rPr lang="en-US" sz="2000" dirty="0" err="1"/>
              <a:t>dermatologickými</a:t>
            </a:r>
            <a:r>
              <a:rPr lang="en-US" sz="2000" dirty="0"/>
              <a:t> </a:t>
            </a:r>
            <a:r>
              <a:rPr lang="en-US" sz="2000" dirty="0" err="1"/>
              <a:t>onemocněními</a:t>
            </a:r>
            <a:r>
              <a:rPr lang="cs-CZ" sz="2000" dirty="0"/>
              <a:t> </a:t>
            </a:r>
            <a:r>
              <a:rPr lang="en-US" sz="2000" baseline="30000" dirty="0"/>
              <a:t>1,2</a:t>
            </a:r>
            <a:endParaRPr lang="en-US" sz="2400" b="1" baseline="30000" dirty="0">
              <a:solidFill>
                <a:srgbClr val="0460A9"/>
              </a:solidFill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1861702" y="4613656"/>
            <a:ext cx="4095959" cy="1207008"/>
            <a:chOff x="2070646" y="1699854"/>
            <a:chExt cx="5519508" cy="270054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100" name="Folded Corner 99"/>
            <p:cNvSpPr/>
            <p:nvPr/>
          </p:nvSpPr>
          <p:spPr>
            <a:xfrm>
              <a:off x="2070646" y="1699854"/>
              <a:ext cx="5486398" cy="2700540"/>
            </a:xfrm>
            <a:prstGeom prst="foldedCorne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67" dirty="0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2333143" y="1706217"/>
              <a:ext cx="5257011" cy="216760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 </a:t>
              </a:r>
            </a:p>
            <a:p>
              <a:r>
                <a:rPr lang="en-US" sz="1600" dirty="0">
                  <a:solidFill>
                    <a:schemeClr val="tx1"/>
                  </a:solidFill>
                </a:rPr>
                <a:t> </a:t>
              </a:r>
              <a:endParaRPr lang="en-US" sz="1600" baseline="30000" dirty="0">
                <a:solidFill>
                  <a:schemeClr val="tx1"/>
                </a:solidFill>
              </a:endParaRPr>
            </a:p>
          </p:txBody>
        </p:sp>
      </p:grpSp>
      <p:sp>
        <p:nvSpPr>
          <p:cNvPr id="102" name="TextBox 101"/>
          <p:cNvSpPr txBox="1"/>
          <p:nvPr/>
        </p:nvSpPr>
        <p:spPr>
          <a:xfrm>
            <a:off x="2329393" y="4615775"/>
            <a:ext cx="36912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Ztráta zaměstnání: 10%</a:t>
            </a:r>
            <a:r>
              <a:rPr lang="cs-CZ" sz="1600" dirty="0"/>
              <a:t> </a:t>
            </a:r>
            <a:r>
              <a:rPr lang="en-US" sz="1600" baseline="30000" dirty="0"/>
              <a:t>4</a:t>
            </a:r>
            <a:r>
              <a:rPr lang="cs-CZ" sz="1600" baseline="30000" dirty="0"/>
              <a:t> </a:t>
            </a:r>
            <a:endParaRPr lang="en-US" sz="1600" baseline="30000" dirty="0"/>
          </a:p>
          <a:p>
            <a:r>
              <a:rPr lang="en-US" sz="1600" dirty="0"/>
              <a:t>Zásah do propagace: 23 %</a:t>
            </a:r>
            <a:r>
              <a:rPr lang="cs-CZ" sz="1600" dirty="0"/>
              <a:t> </a:t>
            </a:r>
            <a:r>
              <a:rPr lang="en-US" sz="1600" baseline="30000" dirty="0"/>
              <a:t>4</a:t>
            </a:r>
            <a:endParaRPr lang="en-US" sz="1600" dirty="0"/>
          </a:p>
          <a:p>
            <a:r>
              <a:rPr lang="en-US" sz="1600" dirty="0"/>
              <a:t>Absence v práci: 58%</a:t>
            </a:r>
            <a:r>
              <a:rPr lang="cs-CZ" sz="1600" dirty="0"/>
              <a:t> </a:t>
            </a:r>
            <a:r>
              <a:rPr lang="en-US" sz="1600" baseline="30000" dirty="0"/>
              <a:t>4</a:t>
            </a:r>
            <a:endParaRPr lang="en-US" sz="1600" dirty="0"/>
          </a:p>
          <a:p>
            <a:r>
              <a:rPr lang="en-US" sz="1600" dirty="0"/>
              <a:t>Ženy ztrácejí v průměru </a:t>
            </a: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-7</a:t>
            </a:r>
            <a:r>
              <a:rPr lang="en-US" sz="1600" dirty="0">
                <a:latin typeface="Footlight MT Light" panose="0204060206030A020304" pitchFamily="18" charset="0"/>
              </a:rPr>
              <a:t> </a:t>
            </a:r>
            <a:r>
              <a:rPr lang="en-US" sz="1600" dirty="0"/>
              <a:t>pracovních </a:t>
            </a:r>
            <a:r>
              <a:rPr lang="en-US" sz="1600" dirty="0" err="1"/>
              <a:t>dnů</a:t>
            </a:r>
            <a:r>
              <a:rPr lang="en-US" sz="1600" dirty="0"/>
              <a:t> </a:t>
            </a:r>
            <a:r>
              <a:rPr lang="en-US" sz="1600" dirty="0" err="1"/>
              <a:t>ročně</a:t>
            </a:r>
            <a:r>
              <a:rPr lang="cs-CZ" sz="1600" dirty="0"/>
              <a:t> </a:t>
            </a:r>
            <a:r>
              <a:rPr lang="en-US" sz="1600" baseline="30000" dirty="0"/>
              <a:t>5</a:t>
            </a:r>
          </a:p>
        </p:txBody>
      </p:sp>
      <p:sp>
        <p:nvSpPr>
          <p:cNvPr id="119" name="Rounded Rectangle 118"/>
          <p:cNvSpPr/>
          <p:nvPr/>
        </p:nvSpPr>
        <p:spPr>
          <a:xfrm>
            <a:off x="791916" y="4546600"/>
            <a:ext cx="1554784" cy="13411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67" dirty="0"/>
          </a:p>
          <a:p>
            <a:pPr algn="ctr"/>
            <a:r>
              <a:rPr lang="en-US" sz="2000" dirty="0"/>
              <a:t>Finanční</a:t>
            </a:r>
            <a:endParaRPr lang="en-US" sz="1600" dirty="0"/>
          </a:p>
        </p:txBody>
      </p:sp>
      <p:sp>
        <p:nvSpPr>
          <p:cNvPr id="124" name="TextBox 123"/>
          <p:cNvSpPr txBox="1"/>
          <p:nvPr/>
        </p:nvSpPr>
        <p:spPr>
          <a:xfrm>
            <a:off x="932315" y="1674906"/>
            <a:ext cx="4509660" cy="33855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>
                <a:solidFill>
                  <a:schemeClr val="bg1"/>
                </a:solidFill>
              </a:rPr>
              <a:t>Intenzita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cs-CZ" sz="1600" dirty="0">
                <a:solidFill>
                  <a:schemeClr val="bg1"/>
                </a:solidFill>
              </a:rPr>
              <a:t>pruritu</a:t>
            </a:r>
            <a:r>
              <a:rPr lang="en-US" sz="1600" dirty="0">
                <a:solidFill>
                  <a:schemeClr val="bg1"/>
                </a:solidFill>
              </a:rPr>
              <a:t> a </a:t>
            </a:r>
            <a:r>
              <a:rPr lang="cs-CZ" sz="1600" dirty="0">
                <a:solidFill>
                  <a:schemeClr val="bg1"/>
                </a:solidFill>
              </a:rPr>
              <a:t>bolesti</a:t>
            </a:r>
            <a:r>
              <a:rPr lang="en-US" sz="1600" dirty="0">
                <a:solidFill>
                  <a:schemeClr val="bg1"/>
                </a:solidFill>
              </a:rPr>
              <a:t> u pacientů s HS</a:t>
            </a:r>
            <a:r>
              <a:rPr lang="cs-CZ" sz="1600" dirty="0">
                <a:solidFill>
                  <a:schemeClr val="bg1"/>
                </a:solidFill>
              </a:rPr>
              <a:t> </a:t>
            </a:r>
            <a:r>
              <a:rPr lang="en-US" sz="1600" baseline="30000" dirty="0">
                <a:solidFill>
                  <a:schemeClr val="bg1"/>
                </a:solidFill>
              </a:rPr>
              <a:t>3</a:t>
            </a:r>
          </a:p>
        </p:txBody>
      </p:sp>
      <p:grpSp>
        <p:nvGrpSpPr>
          <p:cNvPr id="97" name="Group 96"/>
          <p:cNvGrpSpPr/>
          <p:nvPr/>
        </p:nvGrpSpPr>
        <p:grpSpPr>
          <a:xfrm>
            <a:off x="711200" y="4354509"/>
            <a:ext cx="627800" cy="598492"/>
            <a:chOff x="5002694" y="2104969"/>
            <a:chExt cx="470850" cy="448869"/>
          </a:xfrm>
        </p:grpSpPr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6D847917-0115-8A4A-B479-A30D49D76E85}"/>
                </a:ext>
              </a:extLst>
            </p:cNvPr>
            <p:cNvSpPr/>
            <p:nvPr/>
          </p:nvSpPr>
          <p:spPr>
            <a:xfrm>
              <a:off x="5002694" y="2104969"/>
              <a:ext cx="470850" cy="448869"/>
            </a:xfrm>
            <a:prstGeom prst="ellipse">
              <a:avLst/>
            </a:prstGeom>
            <a:solidFill>
              <a:srgbClr val="0460A9"/>
            </a:solidFill>
            <a:ln w="9525" cap="sq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4" name="Freeform 30"/>
            <p:cNvSpPr>
              <a:spLocks/>
            </p:cNvSpPr>
            <p:nvPr/>
          </p:nvSpPr>
          <p:spPr bwMode="auto">
            <a:xfrm>
              <a:off x="5225694" y="2203301"/>
              <a:ext cx="24850" cy="27109"/>
            </a:xfrm>
            <a:custGeom>
              <a:avLst/>
              <a:gdLst>
                <a:gd name="T0" fmla="*/ 0 w 209"/>
                <a:gd name="T1" fmla="*/ 234 h 234"/>
                <a:gd name="T2" fmla="*/ 0 w 209"/>
                <a:gd name="T3" fmla="*/ 186 h 234"/>
                <a:gd name="T4" fmla="*/ 87 w 209"/>
                <a:gd name="T5" fmla="*/ 85 h 234"/>
                <a:gd name="T6" fmla="*/ 119 w 209"/>
                <a:gd name="T7" fmla="*/ 50 h 234"/>
                <a:gd name="T8" fmla="*/ 91 w 209"/>
                <a:gd name="T9" fmla="*/ 51 h 234"/>
                <a:gd name="T10" fmla="*/ 8 w 209"/>
                <a:gd name="T11" fmla="*/ 51 h 234"/>
                <a:gd name="T12" fmla="*/ 8 w 209"/>
                <a:gd name="T13" fmla="*/ 0 h 234"/>
                <a:gd name="T14" fmla="*/ 202 w 209"/>
                <a:gd name="T15" fmla="*/ 0 h 234"/>
                <a:gd name="T16" fmla="*/ 202 w 209"/>
                <a:gd name="T17" fmla="*/ 44 h 234"/>
                <a:gd name="T18" fmla="*/ 112 w 209"/>
                <a:gd name="T19" fmla="*/ 147 h 234"/>
                <a:gd name="T20" fmla="*/ 81 w 209"/>
                <a:gd name="T21" fmla="*/ 181 h 234"/>
                <a:gd name="T22" fmla="*/ 113 w 209"/>
                <a:gd name="T23" fmla="*/ 180 h 234"/>
                <a:gd name="T24" fmla="*/ 209 w 209"/>
                <a:gd name="T25" fmla="*/ 180 h 234"/>
                <a:gd name="T26" fmla="*/ 209 w 209"/>
                <a:gd name="T27" fmla="*/ 234 h 234"/>
                <a:gd name="T28" fmla="*/ 0 w 209"/>
                <a:gd name="T29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9" h="234">
                  <a:moveTo>
                    <a:pt x="0" y="234"/>
                  </a:moveTo>
                  <a:lnTo>
                    <a:pt x="0" y="186"/>
                  </a:lnTo>
                  <a:lnTo>
                    <a:pt x="87" y="85"/>
                  </a:lnTo>
                  <a:cubicBezTo>
                    <a:pt x="102" y="69"/>
                    <a:pt x="113" y="57"/>
                    <a:pt x="119" y="50"/>
                  </a:cubicBezTo>
                  <a:cubicBezTo>
                    <a:pt x="112" y="50"/>
                    <a:pt x="103" y="51"/>
                    <a:pt x="91" y="51"/>
                  </a:cubicBezTo>
                  <a:lnTo>
                    <a:pt x="8" y="51"/>
                  </a:lnTo>
                  <a:lnTo>
                    <a:pt x="8" y="0"/>
                  </a:lnTo>
                  <a:lnTo>
                    <a:pt x="202" y="0"/>
                  </a:lnTo>
                  <a:lnTo>
                    <a:pt x="202" y="44"/>
                  </a:lnTo>
                  <a:lnTo>
                    <a:pt x="112" y="147"/>
                  </a:lnTo>
                  <a:lnTo>
                    <a:pt x="81" y="181"/>
                  </a:lnTo>
                  <a:cubicBezTo>
                    <a:pt x="98" y="180"/>
                    <a:pt x="109" y="180"/>
                    <a:pt x="113" y="180"/>
                  </a:cubicBezTo>
                  <a:lnTo>
                    <a:pt x="209" y="180"/>
                  </a:lnTo>
                  <a:lnTo>
                    <a:pt x="209" y="234"/>
                  </a:lnTo>
                  <a:lnTo>
                    <a:pt x="0" y="234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0460A9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798488" y="4383760"/>
            <a:ext cx="479165" cy="504813"/>
            <a:chOff x="4192588" y="977901"/>
            <a:chExt cx="527051" cy="781050"/>
          </a:xfrm>
          <a:solidFill>
            <a:srgbClr val="0460A9"/>
          </a:solidFill>
        </p:grpSpPr>
        <p:sp>
          <p:nvSpPr>
            <p:cNvPr id="156" name="Freeform 20"/>
            <p:cNvSpPr>
              <a:spLocks/>
            </p:cNvSpPr>
            <p:nvPr/>
          </p:nvSpPr>
          <p:spPr bwMode="auto">
            <a:xfrm>
              <a:off x="4192588" y="1433513"/>
              <a:ext cx="180975" cy="195263"/>
            </a:xfrm>
            <a:custGeom>
              <a:avLst/>
              <a:gdLst>
                <a:gd name="T0" fmla="*/ 0 w 47"/>
                <a:gd name="T1" fmla="*/ 6 h 51"/>
                <a:gd name="T2" fmla="*/ 36 w 47"/>
                <a:gd name="T3" fmla="*/ 0 h 51"/>
                <a:gd name="T4" fmla="*/ 47 w 47"/>
                <a:gd name="T5" fmla="*/ 2 h 51"/>
                <a:gd name="T6" fmla="*/ 47 w 47"/>
                <a:gd name="T7" fmla="*/ 49 h 51"/>
                <a:gd name="T8" fmla="*/ 36 w 47"/>
                <a:gd name="T9" fmla="*/ 51 h 51"/>
                <a:gd name="T10" fmla="*/ 0 w 47"/>
                <a:gd name="T11" fmla="*/ 49 h 51"/>
                <a:gd name="T12" fmla="*/ 0 w 47"/>
                <a:gd name="T13" fmla="*/ 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51">
                  <a:moveTo>
                    <a:pt x="0" y="6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"/>
                    <a:pt x="0" y="6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7" name="Freeform 21"/>
            <p:cNvSpPr>
              <a:spLocks/>
            </p:cNvSpPr>
            <p:nvPr/>
          </p:nvSpPr>
          <p:spPr bwMode="auto">
            <a:xfrm>
              <a:off x="4376738" y="977901"/>
              <a:ext cx="130175" cy="130175"/>
            </a:xfrm>
            <a:custGeom>
              <a:avLst/>
              <a:gdLst>
                <a:gd name="T0" fmla="*/ 17 w 34"/>
                <a:gd name="T1" fmla="*/ 34 h 34"/>
                <a:gd name="T2" fmla="*/ 34 w 34"/>
                <a:gd name="T3" fmla="*/ 17 h 34"/>
                <a:gd name="T4" fmla="*/ 17 w 34"/>
                <a:gd name="T5" fmla="*/ 0 h 34"/>
                <a:gd name="T6" fmla="*/ 0 w 34"/>
                <a:gd name="T7" fmla="*/ 17 h 34"/>
                <a:gd name="T8" fmla="*/ 17 w 34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17" y="34"/>
                  </a:moveTo>
                  <a:cubicBezTo>
                    <a:pt x="26" y="34"/>
                    <a:pt x="34" y="27"/>
                    <a:pt x="34" y="17"/>
                  </a:cubicBezTo>
                  <a:cubicBezTo>
                    <a:pt x="34" y="8"/>
                    <a:pt x="2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8" y="34"/>
                    <a:pt x="17" y="34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8" name="Freeform 22"/>
            <p:cNvSpPr>
              <a:spLocks/>
            </p:cNvSpPr>
            <p:nvPr/>
          </p:nvSpPr>
          <p:spPr bwMode="auto">
            <a:xfrm>
              <a:off x="4219576" y="1093788"/>
              <a:ext cx="500063" cy="492125"/>
            </a:xfrm>
            <a:custGeom>
              <a:avLst/>
              <a:gdLst>
                <a:gd name="T0" fmla="*/ 315 w 315"/>
                <a:gd name="T1" fmla="*/ 296 h 310"/>
                <a:gd name="T2" fmla="*/ 300 w 315"/>
                <a:gd name="T3" fmla="*/ 310 h 310"/>
                <a:gd name="T4" fmla="*/ 0 w 315"/>
                <a:gd name="T5" fmla="*/ 14 h 310"/>
                <a:gd name="T6" fmla="*/ 17 w 315"/>
                <a:gd name="T7" fmla="*/ 0 h 310"/>
                <a:gd name="T8" fmla="*/ 315 w 315"/>
                <a:gd name="T9" fmla="*/ 29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" h="310">
                  <a:moveTo>
                    <a:pt x="315" y="296"/>
                  </a:moveTo>
                  <a:lnTo>
                    <a:pt x="300" y="310"/>
                  </a:lnTo>
                  <a:lnTo>
                    <a:pt x="0" y="14"/>
                  </a:lnTo>
                  <a:lnTo>
                    <a:pt x="17" y="0"/>
                  </a:lnTo>
                  <a:lnTo>
                    <a:pt x="315" y="29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9" name="Freeform 23"/>
            <p:cNvSpPr>
              <a:spLocks/>
            </p:cNvSpPr>
            <p:nvPr/>
          </p:nvSpPr>
          <p:spPr bwMode="auto">
            <a:xfrm>
              <a:off x="4281488" y="1227138"/>
              <a:ext cx="68263" cy="203200"/>
            </a:xfrm>
            <a:custGeom>
              <a:avLst/>
              <a:gdLst>
                <a:gd name="T0" fmla="*/ 0 w 18"/>
                <a:gd name="T1" fmla="*/ 45 h 53"/>
                <a:gd name="T2" fmla="*/ 6 w 18"/>
                <a:gd name="T3" fmla="*/ 52 h 53"/>
                <a:gd name="T4" fmla="*/ 13 w 18"/>
                <a:gd name="T5" fmla="*/ 46 h 53"/>
                <a:gd name="T6" fmla="*/ 18 w 18"/>
                <a:gd name="T7" fmla="*/ 11 h 53"/>
                <a:gd name="T8" fmla="*/ 8 w 18"/>
                <a:gd name="T9" fmla="*/ 0 h 53"/>
                <a:gd name="T10" fmla="*/ 0 w 18"/>
                <a:gd name="T11" fmla="*/ 4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53">
                  <a:moveTo>
                    <a:pt x="0" y="45"/>
                  </a:moveTo>
                  <a:cubicBezTo>
                    <a:pt x="0" y="49"/>
                    <a:pt x="3" y="52"/>
                    <a:pt x="6" y="52"/>
                  </a:cubicBezTo>
                  <a:cubicBezTo>
                    <a:pt x="10" y="53"/>
                    <a:pt x="12" y="50"/>
                    <a:pt x="13" y="46"/>
                  </a:cubicBezTo>
                  <a:cubicBezTo>
                    <a:pt x="15" y="34"/>
                    <a:pt x="16" y="23"/>
                    <a:pt x="18" y="1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15"/>
                    <a:pt x="3" y="29"/>
                    <a:pt x="0" y="45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0" name="Freeform 24"/>
            <p:cNvSpPr>
              <a:spLocks/>
            </p:cNvSpPr>
            <p:nvPr/>
          </p:nvSpPr>
          <p:spPr bwMode="auto">
            <a:xfrm>
              <a:off x="4330701" y="1131888"/>
              <a:ext cx="273050" cy="290513"/>
            </a:xfrm>
            <a:custGeom>
              <a:avLst/>
              <a:gdLst>
                <a:gd name="T0" fmla="*/ 51 w 71"/>
                <a:gd name="T1" fmla="*/ 26 h 76"/>
                <a:gd name="T2" fmla="*/ 52 w 71"/>
                <a:gd name="T3" fmla="*/ 29 h 76"/>
                <a:gd name="T4" fmla="*/ 58 w 71"/>
                <a:gd name="T5" fmla="*/ 65 h 76"/>
                <a:gd name="T6" fmla="*/ 69 w 71"/>
                <a:gd name="T7" fmla="*/ 76 h 76"/>
                <a:gd name="T8" fmla="*/ 71 w 71"/>
                <a:gd name="T9" fmla="*/ 68 h 76"/>
                <a:gd name="T10" fmla="*/ 69 w 71"/>
                <a:gd name="T11" fmla="*/ 53 h 76"/>
                <a:gd name="T12" fmla="*/ 62 w 71"/>
                <a:gd name="T13" fmla="*/ 15 h 76"/>
                <a:gd name="T14" fmla="*/ 43 w 71"/>
                <a:gd name="T15" fmla="*/ 0 h 76"/>
                <a:gd name="T16" fmla="*/ 18 w 71"/>
                <a:gd name="T17" fmla="*/ 0 h 76"/>
                <a:gd name="T18" fmla="*/ 0 w 71"/>
                <a:gd name="T19" fmla="*/ 7 h 76"/>
                <a:gd name="T20" fmla="*/ 51 w 71"/>
                <a:gd name="T21" fmla="*/ 58 h 76"/>
                <a:gd name="T22" fmla="*/ 51 w 71"/>
                <a:gd name="T23" fmla="*/ 2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" h="76">
                  <a:moveTo>
                    <a:pt x="51" y="26"/>
                  </a:moveTo>
                  <a:cubicBezTo>
                    <a:pt x="52" y="28"/>
                    <a:pt x="52" y="28"/>
                    <a:pt x="52" y="29"/>
                  </a:cubicBezTo>
                  <a:cubicBezTo>
                    <a:pt x="54" y="42"/>
                    <a:pt x="56" y="52"/>
                    <a:pt x="58" y="65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69" y="75"/>
                    <a:pt x="71" y="71"/>
                    <a:pt x="71" y="68"/>
                  </a:cubicBezTo>
                  <a:cubicBezTo>
                    <a:pt x="71" y="63"/>
                    <a:pt x="70" y="58"/>
                    <a:pt x="69" y="53"/>
                  </a:cubicBezTo>
                  <a:cubicBezTo>
                    <a:pt x="67" y="40"/>
                    <a:pt x="65" y="27"/>
                    <a:pt x="62" y="15"/>
                  </a:cubicBezTo>
                  <a:cubicBezTo>
                    <a:pt x="60" y="4"/>
                    <a:pt x="54" y="0"/>
                    <a:pt x="43" y="0"/>
                  </a:cubicBezTo>
                  <a:cubicBezTo>
                    <a:pt x="35" y="0"/>
                    <a:pt x="27" y="0"/>
                    <a:pt x="18" y="0"/>
                  </a:cubicBezTo>
                  <a:cubicBezTo>
                    <a:pt x="9" y="0"/>
                    <a:pt x="4" y="1"/>
                    <a:pt x="0" y="7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47"/>
                    <a:pt x="51" y="38"/>
                    <a:pt x="51" y="26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1" name="Freeform 25"/>
            <p:cNvSpPr>
              <a:spLocks/>
            </p:cNvSpPr>
            <p:nvPr/>
          </p:nvSpPr>
          <p:spPr bwMode="auto">
            <a:xfrm>
              <a:off x="4360863" y="1273176"/>
              <a:ext cx="166688" cy="485775"/>
            </a:xfrm>
            <a:custGeom>
              <a:avLst/>
              <a:gdLst>
                <a:gd name="T0" fmla="*/ 0 w 43"/>
                <a:gd name="T1" fmla="*/ 40 h 127"/>
                <a:gd name="T2" fmla="*/ 6 w 43"/>
                <a:gd name="T3" fmla="*/ 42 h 127"/>
                <a:gd name="T4" fmla="*/ 6 w 43"/>
                <a:gd name="T5" fmla="*/ 93 h 127"/>
                <a:gd name="T6" fmla="*/ 0 w 43"/>
                <a:gd name="T7" fmla="*/ 95 h 127"/>
                <a:gd name="T8" fmla="*/ 0 w 43"/>
                <a:gd name="T9" fmla="*/ 115 h 127"/>
                <a:gd name="T10" fmla="*/ 12 w 43"/>
                <a:gd name="T11" fmla="*/ 124 h 127"/>
                <a:gd name="T12" fmla="*/ 18 w 43"/>
                <a:gd name="T13" fmla="*/ 114 h 127"/>
                <a:gd name="T14" fmla="*/ 18 w 43"/>
                <a:gd name="T15" fmla="*/ 45 h 127"/>
                <a:gd name="T16" fmla="*/ 18 w 43"/>
                <a:gd name="T17" fmla="*/ 40 h 127"/>
                <a:gd name="T18" fmla="*/ 25 w 43"/>
                <a:gd name="T19" fmla="*/ 40 h 127"/>
                <a:gd name="T20" fmla="*/ 25 w 43"/>
                <a:gd name="T21" fmla="*/ 56 h 127"/>
                <a:gd name="T22" fmla="*/ 25 w 43"/>
                <a:gd name="T23" fmla="*/ 114 h 127"/>
                <a:gd name="T24" fmla="*/ 29 w 43"/>
                <a:gd name="T25" fmla="*/ 123 h 127"/>
                <a:gd name="T26" fmla="*/ 38 w 43"/>
                <a:gd name="T27" fmla="*/ 124 h 127"/>
                <a:gd name="T28" fmla="*/ 43 w 43"/>
                <a:gd name="T29" fmla="*/ 114 h 127"/>
                <a:gd name="T30" fmla="*/ 43 w 43"/>
                <a:gd name="T31" fmla="*/ 56 h 127"/>
                <a:gd name="T32" fmla="*/ 43 w 43"/>
                <a:gd name="T33" fmla="*/ 44 h 127"/>
                <a:gd name="T34" fmla="*/ 0 w 43"/>
                <a:gd name="T35" fmla="*/ 0 h 127"/>
                <a:gd name="T36" fmla="*/ 0 w 43"/>
                <a:gd name="T37" fmla="*/ 4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127">
                  <a:moveTo>
                    <a:pt x="0" y="40"/>
                  </a:moveTo>
                  <a:cubicBezTo>
                    <a:pt x="6" y="42"/>
                    <a:pt x="6" y="42"/>
                    <a:pt x="6" y="42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102"/>
                    <a:pt x="0" y="108"/>
                    <a:pt x="0" y="115"/>
                  </a:cubicBezTo>
                  <a:cubicBezTo>
                    <a:pt x="0" y="122"/>
                    <a:pt x="6" y="127"/>
                    <a:pt x="12" y="124"/>
                  </a:cubicBezTo>
                  <a:cubicBezTo>
                    <a:pt x="16" y="122"/>
                    <a:pt x="18" y="119"/>
                    <a:pt x="18" y="114"/>
                  </a:cubicBezTo>
                  <a:cubicBezTo>
                    <a:pt x="18" y="91"/>
                    <a:pt x="18" y="68"/>
                    <a:pt x="18" y="45"/>
                  </a:cubicBezTo>
                  <a:cubicBezTo>
                    <a:pt x="18" y="43"/>
                    <a:pt x="18" y="42"/>
                    <a:pt x="18" y="40"/>
                  </a:cubicBezTo>
                  <a:cubicBezTo>
                    <a:pt x="21" y="40"/>
                    <a:pt x="23" y="40"/>
                    <a:pt x="25" y="40"/>
                  </a:cubicBezTo>
                  <a:cubicBezTo>
                    <a:pt x="25" y="46"/>
                    <a:pt x="25" y="51"/>
                    <a:pt x="25" y="56"/>
                  </a:cubicBezTo>
                  <a:cubicBezTo>
                    <a:pt x="25" y="75"/>
                    <a:pt x="25" y="95"/>
                    <a:pt x="25" y="114"/>
                  </a:cubicBezTo>
                  <a:cubicBezTo>
                    <a:pt x="25" y="117"/>
                    <a:pt x="27" y="120"/>
                    <a:pt x="29" y="123"/>
                  </a:cubicBezTo>
                  <a:cubicBezTo>
                    <a:pt x="31" y="125"/>
                    <a:pt x="35" y="125"/>
                    <a:pt x="38" y="124"/>
                  </a:cubicBezTo>
                  <a:cubicBezTo>
                    <a:pt x="42" y="122"/>
                    <a:pt x="43" y="118"/>
                    <a:pt x="43" y="114"/>
                  </a:cubicBezTo>
                  <a:cubicBezTo>
                    <a:pt x="43" y="95"/>
                    <a:pt x="43" y="76"/>
                    <a:pt x="43" y="56"/>
                  </a:cubicBezTo>
                  <a:cubicBezTo>
                    <a:pt x="43" y="52"/>
                    <a:pt x="43" y="48"/>
                    <a:pt x="43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26"/>
                    <a:pt x="0" y="40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81" name="TextBox 80"/>
          <p:cNvSpPr txBox="1"/>
          <p:nvPr/>
        </p:nvSpPr>
        <p:spPr>
          <a:xfrm>
            <a:off x="582072" y="5963047"/>
            <a:ext cx="70902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HS, hidradenitis suppurativa; QoL, kvalita života</a:t>
            </a:r>
          </a:p>
          <a:p>
            <a:r>
              <a:rPr lang="fr-FR" sz="800" dirty="0"/>
              <a:t>1. </a:t>
            </a:r>
            <a:r>
              <a:rPr lang="fr-FR" sz="800" dirty="0">
                <a:hlinkClick r:id="rId3"/>
              </a:rPr>
              <a:t>von der Werth JM a Jemec GB. </a:t>
            </a:r>
            <a:r>
              <a:rPr lang="fr-FR" sz="800" i="1" dirty="0">
                <a:hlinkClick r:id="rId3"/>
              </a:rPr>
              <a:t>Br J Dermatol</a:t>
            </a:r>
            <a:r>
              <a:rPr lang="fr-FR" sz="800" dirty="0">
                <a:hlinkClick r:id="rId3"/>
              </a:rPr>
              <a:t>. 2001;144(4):809-813</a:t>
            </a:r>
            <a:r>
              <a:rPr lang="fr-FR" sz="800" dirty="0"/>
              <a:t>; 2. </a:t>
            </a:r>
            <a:r>
              <a:rPr lang="fr-FR" sz="800" dirty="0">
                <a:hlinkClick r:id="rId4"/>
              </a:rPr>
              <a:t>Alikhan A, et al. </a:t>
            </a:r>
            <a:r>
              <a:rPr lang="fr-FR" sz="800" i="1" dirty="0">
                <a:hlinkClick r:id="rId4"/>
              </a:rPr>
              <a:t>J Am Acad Dermatol</a:t>
            </a:r>
            <a:r>
              <a:rPr lang="fr-FR" sz="800" dirty="0">
                <a:hlinkClick r:id="rId4"/>
              </a:rPr>
              <a:t>. 2009;60(4):539-563</a:t>
            </a:r>
            <a:r>
              <a:rPr lang="fr-FR" sz="800" dirty="0"/>
              <a:t>; 3. </a:t>
            </a:r>
            <a:r>
              <a:rPr lang="en-US" sz="800" dirty="0" err="1">
                <a:hlinkClick r:id="rId5"/>
              </a:rPr>
              <a:t>Matusiak </a:t>
            </a:r>
            <a:r>
              <a:rPr lang="en-US" sz="800" dirty="0">
                <a:hlinkClick r:id="rId5"/>
              </a:rPr>
              <a:t>Ł a kol. </a:t>
            </a:r>
            <a:r>
              <a:rPr lang="en-US" sz="800" i="1" dirty="0">
                <a:hlinkClick r:id="rId5"/>
              </a:rPr>
              <a:t>Acta </a:t>
            </a:r>
            <a:r>
              <a:rPr lang="en-US" sz="800" i="1" dirty="0" err="1">
                <a:hlinkClick r:id="rId5"/>
              </a:rPr>
              <a:t>Derm Venereol</a:t>
            </a:r>
            <a:r>
              <a:rPr lang="en-US" sz="800" dirty="0">
                <a:hlinkClick r:id="rId5"/>
              </a:rPr>
              <a:t>. 2018;98(2):191-194</a:t>
            </a:r>
            <a:r>
              <a:rPr lang="en-US" sz="800" dirty="0"/>
              <a:t>; 4. </a:t>
            </a:r>
            <a:r>
              <a:rPr lang="en-US" sz="800" dirty="0" err="1">
                <a:hlinkClick r:id="rId6"/>
              </a:rPr>
              <a:t>Matusiak </a:t>
            </a:r>
            <a:r>
              <a:rPr lang="en-US" sz="800" dirty="0">
                <a:hlinkClick r:id="rId6"/>
              </a:rPr>
              <a:t>Ł, et al. </a:t>
            </a:r>
            <a:r>
              <a:rPr lang="en-US" sz="800" i="1" dirty="0">
                <a:hlinkClick r:id="rId6"/>
              </a:rPr>
              <a:t>J Am </a:t>
            </a:r>
            <a:r>
              <a:rPr lang="en-US" sz="800" i="1" dirty="0" err="1">
                <a:hlinkClick r:id="rId6"/>
              </a:rPr>
              <a:t>Acad </a:t>
            </a:r>
            <a:r>
              <a:rPr lang="en-US" sz="800" i="1" dirty="0">
                <a:hlinkClick r:id="rId6"/>
              </a:rPr>
              <a:t>Dermatol</a:t>
            </a:r>
            <a:r>
              <a:rPr lang="en-US" sz="800" dirty="0">
                <a:hlinkClick r:id="rId6"/>
              </a:rPr>
              <a:t>. 2010;62:706-768</a:t>
            </a:r>
            <a:r>
              <a:rPr lang="en-US" sz="800" dirty="0"/>
              <a:t>; 5. </a:t>
            </a:r>
            <a:r>
              <a:rPr lang="en-US" sz="800" dirty="0" err="1">
                <a:hlinkClick r:id="rId7"/>
              </a:rPr>
              <a:t>Margesson </a:t>
            </a:r>
            <a:r>
              <a:rPr lang="en-US" sz="800" dirty="0">
                <a:hlinkClick r:id="rId7"/>
              </a:rPr>
              <a:t>LJ and Danby FW. </a:t>
            </a:r>
            <a:r>
              <a:rPr lang="en-US" sz="800" i="1" dirty="0">
                <a:hlinkClick r:id="rId7"/>
              </a:rPr>
              <a:t>Best </a:t>
            </a:r>
            <a:r>
              <a:rPr lang="en-US" sz="800" i="1" dirty="0" err="1">
                <a:hlinkClick r:id="rId7"/>
              </a:rPr>
              <a:t>Pract </a:t>
            </a:r>
            <a:r>
              <a:rPr lang="en-US" sz="800" i="1" dirty="0">
                <a:hlinkClick r:id="rId7"/>
              </a:rPr>
              <a:t>Res Clin Obstet Gynaecol</a:t>
            </a:r>
            <a:r>
              <a:rPr lang="en-US" sz="800" dirty="0">
                <a:hlinkClick r:id="rId7"/>
              </a:rPr>
              <a:t>. 2014;28(7):1013-1027</a:t>
            </a:r>
            <a:r>
              <a:rPr lang="en-US" sz="800" dirty="0"/>
              <a:t>; 6. Matusiak Ł, et al. </a:t>
            </a:r>
            <a:r>
              <a:rPr lang="en-US" sz="800" i="1" dirty="0"/>
              <a:t>Br J Dermatol</a:t>
            </a:r>
            <a:r>
              <a:rPr lang="en-US" sz="800" dirty="0"/>
              <a:t>. 2018;10:1-7.</a:t>
            </a:r>
          </a:p>
        </p:txBody>
      </p:sp>
      <p:grpSp>
        <p:nvGrpSpPr>
          <p:cNvPr id="83" name="Group 82"/>
          <p:cNvGrpSpPr/>
          <p:nvPr/>
        </p:nvGrpSpPr>
        <p:grpSpPr>
          <a:xfrm>
            <a:off x="163690" y="0"/>
            <a:ext cx="854221" cy="889000"/>
            <a:chOff x="122767" y="0"/>
            <a:chExt cx="640666" cy="666750"/>
          </a:xfrm>
        </p:grpSpPr>
        <p:grpSp>
          <p:nvGrpSpPr>
            <p:cNvPr id="84" name="Group 83"/>
            <p:cNvGrpSpPr/>
            <p:nvPr/>
          </p:nvGrpSpPr>
          <p:grpSpPr>
            <a:xfrm>
              <a:off x="217507" y="122572"/>
              <a:ext cx="500794" cy="446877"/>
              <a:chOff x="217507" y="122572"/>
              <a:chExt cx="500794" cy="446877"/>
            </a:xfrm>
          </p:grpSpPr>
          <p:sp>
            <p:nvSpPr>
              <p:cNvPr id="86" name="Oval 85"/>
              <p:cNvSpPr/>
              <p:nvPr/>
            </p:nvSpPr>
            <p:spPr>
              <a:xfrm>
                <a:off x="217507" y="122572"/>
                <a:ext cx="500794" cy="446877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  <a:reflection stA="45000" endPos="0" dist="50800" dir="5400000" sy="-100000" algn="bl" rotWithShape="0"/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/>
              </a:p>
            </p:txBody>
          </p:sp>
          <p:grpSp>
            <p:nvGrpSpPr>
              <p:cNvPr id="87" name="Group 86"/>
              <p:cNvGrpSpPr/>
              <p:nvPr/>
            </p:nvGrpSpPr>
            <p:grpSpPr>
              <a:xfrm>
                <a:off x="321966" y="188279"/>
                <a:ext cx="335530" cy="270918"/>
                <a:chOff x="871147" y="2927583"/>
                <a:chExt cx="585350" cy="557550"/>
              </a:xfrm>
            </p:grpSpPr>
            <p:sp>
              <p:nvSpPr>
                <p:cNvPr id="88" name="Freeform 24"/>
                <p:cNvSpPr>
                  <a:spLocks/>
                </p:cNvSpPr>
                <p:nvPr/>
              </p:nvSpPr>
              <p:spPr bwMode="auto">
                <a:xfrm>
                  <a:off x="936124" y="3085633"/>
                  <a:ext cx="291193" cy="399500"/>
                </a:xfrm>
                <a:custGeom>
                  <a:avLst/>
                  <a:gdLst>
                    <a:gd name="T0" fmla="*/ 737 w 1554"/>
                    <a:gd name="T1" fmla="*/ 1899 h 1934"/>
                    <a:gd name="T2" fmla="*/ 714 w 1554"/>
                    <a:gd name="T3" fmla="*/ 1566 h 1934"/>
                    <a:gd name="T4" fmla="*/ 705 w 1554"/>
                    <a:gd name="T5" fmla="*/ 1132 h 1934"/>
                    <a:gd name="T6" fmla="*/ 325 w 1554"/>
                    <a:gd name="T7" fmla="*/ 1198 h 1934"/>
                    <a:gd name="T8" fmla="*/ 23 w 1554"/>
                    <a:gd name="T9" fmla="*/ 1036 h 1934"/>
                    <a:gd name="T10" fmla="*/ 148 w 1554"/>
                    <a:gd name="T11" fmla="*/ 539 h 1934"/>
                    <a:gd name="T12" fmla="*/ 570 w 1554"/>
                    <a:gd name="T13" fmla="*/ 59 h 1934"/>
                    <a:gd name="T14" fmla="*/ 889 w 1554"/>
                    <a:gd name="T15" fmla="*/ 151 h 1934"/>
                    <a:gd name="T16" fmla="*/ 909 w 1554"/>
                    <a:gd name="T17" fmla="*/ 348 h 1934"/>
                    <a:gd name="T18" fmla="*/ 1192 w 1554"/>
                    <a:gd name="T19" fmla="*/ 562 h 1934"/>
                    <a:gd name="T20" fmla="*/ 1522 w 1554"/>
                    <a:gd name="T21" fmla="*/ 619 h 1934"/>
                    <a:gd name="T22" fmla="*/ 1268 w 1554"/>
                    <a:gd name="T23" fmla="*/ 809 h 1934"/>
                    <a:gd name="T24" fmla="*/ 1005 w 1554"/>
                    <a:gd name="T25" fmla="*/ 812 h 1934"/>
                    <a:gd name="T26" fmla="*/ 753 w 1554"/>
                    <a:gd name="T27" fmla="*/ 643 h 1934"/>
                    <a:gd name="T28" fmla="*/ 512 w 1554"/>
                    <a:gd name="T29" fmla="*/ 824 h 1934"/>
                    <a:gd name="T30" fmla="*/ 882 w 1554"/>
                    <a:gd name="T31" fmla="*/ 908 h 1934"/>
                    <a:gd name="T32" fmla="*/ 958 w 1554"/>
                    <a:gd name="T33" fmla="*/ 1227 h 1934"/>
                    <a:gd name="T34" fmla="*/ 951 w 1554"/>
                    <a:gd name="T35" fmla="*/ 1876 h 1934"/>
                    <a:gd name="T36" fmla="*/ 737 w 1554"/>
                    <a:gd name="T37" fmla="*/ 1899 h 19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54" h="1934">
                      <a:moveTo>
                        <a:pt x="737" y="1899"/>
                      </a:moveTo>
                      <a:cubicBezTo>
                        <a:pt x="698" y="1797"/>
                        <a:pt x="725" y="1675"/>
                        <a:pt x="714" y="1566"/>
                      </a:cubicBezTo>
                      <a:cubicBezTo>
                        <a:pt x="712" y="1421"/>
                        <a:pt x="712" y="1277"/>
                        <a:pt x="705" y="1132"/>
                      </a:cubicBezTo>
                      <a:cubicBezTo>
                        <a:pt x="582" y="1159"/>
                        <a:pt x="455" y="1198"/>
                        <a:pt x="325" y="1198"/>
                      </a:cubicBezTo>
                      <a:cubicBezTo>
                        <a:pt x="208" y="1201"/>
                        <a:pt x="0" y="1210"/>
                        <a:pt x="23" y="1036"/>
                      </a:cubicBezTo>
                      <a:cubicBezTo>
                        <a:pt x="12" y="862"/>
                        <a:pt x="53" y="686"/>
                        <a:pt x="148" y="539"/>
                      </a:cubicBezTo>
                      <a:cubicBezTo>
                        <a:pt x="261" y="359"/>
                        <a:pt x="394" y="182"/>
                        <a:pt x="570" y="59"/>
                      </a:cubicBezTo>
                      <a:cubicBezTo>
                        <a:pt x="679" y="0"/>
                        <a:pt x="837" y="30"/>
                        <a:pt x="889" y="151"/>
                      </a:cubicBezTo>
                      <a:cubicBezTo>
                        <a:pt x="938" y="207"/>
                        <a:pt x="904" y="282"/>
                        <a:pt x="909" y="348"/>
                      </a:cubicBezTo>
                      <a:cubicBezTo>
                        <a:pt x="895" y="500"/>
                        <a:pt x="1064" y="572"/>
                        <a:pt x="1192" y="562"/>
                      </a:cubicBezTo>
                      <a:cubicBezTo>
                        <a:pt x="1300" y="567"/>
                        <a:pt x="1470" y="483"/>
                        <a:pt x="1522" y="619"/>
                      </a:cubicBezTo>
                      <a:cubicBezTo>
                        <a:pt x="1554" y="769"/>
                        <a:pt x="1386" y="823"/>
                        <a:pt x="1268" y="809"/>
                      </a:cubicBezTo>
                      <a:cubicBezTo>
                        <a:pt x="1181" y="809"/>
                        <a:pt x="1091" y="818"/>
                        <a:pt x="1005" y="812"/>
                      </a:cubicBezTo>
                      <a:cubicBezTo>
                        <a:pt x="911" y="771"/>
                        <a:pt x="817" y="726"/>
                        <a:pt x="753" y="643"/>
                      </a:cubicBezTo>
                      <a:cubicBezTo>
                        <a:pt x="654" y="540"/>
                        <a:pt x="579" y="765"/>
                        <a:pt x="512" y="824"/>
                      </a:cubicBezTo>
                      <a:cubicBezTo>
                        <a:pt x="545" y="918"/>
                        <a:pt x="805" y="822"/>
                        <a:pt x="882" y="908"/>
                      </a:cubicBezTo>
                      <a:cubicBezTo>
                        <a:pt x="972" y="1000"/>
                        <a:pt x="964" y="1106"/>
                        <a:pt x="958" y="1227"/>
                      </a:cubicBezTo>
                      <a:cubicBezTo>
                        <a:pt x="951" y="1443"/>
                        <a:pt x="950" y="1659"/>
                        <a:pt x="951" y="1876"/>
                      </a:cubicBezTo>
                      <a:cubicBezTo>
                        <a:pt x="902" y="1934"/>
                        <a:pt x="801" y="1920"/>
                        <a:pt x="737" y="1899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solidFill>
                    <a:srgbClr val="0460A9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" name="Freeform 25"/>
                <p:cNvSpPr>
                  <a:spLocks/>
                </p:cNvSpPr>
                <p:nvPr/>
              </p:nvSpPr>
              <p:spPr bwMode="auto">
                <a:xfrm>
                  <a:off x="1144290" y="2998324"/>
                  <a:ext cx="282769" cy="482840"/>
                </a:xfrm>
                <a:custGeom>
                  <a:avLst/>
                  <a:gdLst>
                    <a:gd name="T0" fmla="*/ 291 w 1504"/>
                    <a:gd name="T1" fmla="*/ 1871 h 2343"/>
                    <a:gd name="T2" fmla="*/ 282 w 1504"/>
                    <a:gd name="T3" fmla="*/ 1443 h 2343"/>
                    <a:gd name="T4" fmla="*/ 274 w 1504"/>
                    <a:gd name="T5" fmla="*/ 1420 h 2343"/>
                    <a:gd name="T6" fmla="*/ 159 w 1504"/>
                    <a:gd name="T7" fmla="*/ 1420 h 2343"/>
                    <a:gd name="T8" fmla="*/ 25 w 1504"/>
                    <a:gd name="T9" fmla="*/ 1399 h 2343"/>
                    <a:gd name="T10" fmla="*/ 5 w 1504"/>
                    <a:gd name="T11" fmla="*/ 1338 h 2343"/>
                    <a:gd name="T12" fmla="*/ 372 w 1504"/>
                    <a:gd name="T13" fmla="*/ 1266 h 2343"/>
                    <a:gd name="T14" fmla="*/ 695 w 1504"/>
                    <a:gd name="T15" fmla="*/ 1264 h 2343"/>
                    <a:gd name="T16" fmla="*/ 717 w 1504"/>
                    <a:gd name="T17" fmla="*/ 1201 h 2343"/>
                    <a:gd name="T18" fmla="*/ 893 w 1504"/>
                    <a:gd name="T19" fmla="*/ 1003 h 2343"/>
                    <a:gd name="T20" fmla="*/ 954 w 1504"/>
                    <a:gd name="T21" fmla="*/ 972 h 2343"/>
                    <a:gd name="T22" fmla="*/ 950 w 1504"/>
                    <a:gd name="T23" fmla="*/ 928 h 2343"/>
                    <a:gd name="T24" fmla="*/ 942 w 1504"/>
                    <a:gd name="T25" fmla="*/ 881 h 2343"/>
                    <a:gd name="T26" fmla="*/ 884 w 1504"/>
                    <a:gd name="T27" fmla="*/ 871 h 2343"/>
                    <a:gd name="T28" fmla="*/ 829 w 1504"/>
                    <a:gd name="T29" fmla="*/ 865 h 2343"/>
                    <a:gd name="T30" fmla="*/ 823 w 1504"/>
                    <a:gd name="T31" fmla="*/ 892 h 2343"/>
                    <a:gd name="T32" fmla="*/ 817 w 1504"/>
                    <a:gd name="T33" fmla="*/ 920 h 2343"/>
                    <a:gd name="T34" fmla="*/ 741 w 1504"/>
                    <a:gd name="T35" fmla="*/ 920 h 2343"/>
                    <a:gd name="T36" fmla="*/ 666 w 1504"/>
                    <a:gd name="T37" fmla="*/ 920 h 2343"/>
                    <a:gd name="T38" fmla="*/ 666 w 1504"/>
                    <a:gd name="T39" fmla="*/ 460 h 2343"/>
                    <a:gd name="T40" fmla="*/ 666 w 1504"/>
                    <a:gd name="T41" fmla="*/ 0 h 2343"/>
                    <a:gd name="T42" fmla="*/ 742 w 1504"/>
                    <a:gd name="T43" fmla="*/ 0 h 2343"/>
                    <a:gd name="T44" fmla="*/ 818 w 1504"/>
                    <a:gd name="T45" fmla="*/ 0 h 2343"/>
                    <a:gd name="T46" fmla="*/ 818 w 1504"/>
                    <a:gd name="T47" fmla="*/ 27 h 2343"/>
                    <a:gd name="T48" fmla="*/ 1084 w 1504"/>
                    <a:gd name="T49" fmla="*/ 184 h 2343"/>
                    <a:gd name="T50" fmla="*/ 1333 w 1504"/>
                    <a:gd name="T51" fmla="*/ 272 h 2343"/>
                    <a:gd name="T52" fmla="*/ 1339 w 1504"/>
                    <a:gd name="T53" fmla="*/ 478 h 2343"/>
                    <a:gd name="T54" fmla="*/ 1345 w 1504"/>
                    <a:gd name="T55" fmla="*/ 774 h 2343"/>
                    <a:gd name="T56" fmla="*/ 1345 w 1504"/>
                    <a:gd name="T57" fmla="*/ 866 h 2343"/>
                    <a:gd name="T58" fmla="*/ 1276 w 1504"/>
                    <a:gd name="T59" fmla="*/ 868 h 2343"/>
                    <a:gd name="T60" fmla="*/ 1206 w 1504"/>
                    <a:gd name="T61" fmla="*/ 871 h 2343"/>
                    <a:gd name="T62" fmla="*/ 1204 w 1504"/>
                    <a:gd name="T63" fmla="*/ 930 h 2343"/>
                    <a:gd name="T64" fmla="*/ 1201 w 1504"/>
                    <a:gd name="T65" fmla="*/ 989 h 2343"/>
                    <a:gd name="T66" fmla="*/ 1277 w 1504"/>
                    <a:gd name="T67" fmla="*/ 1058 h 2343"/>
                    <a:gd name="T68" fmla="*/ 1374 w 1504"/>
                    <a:gd name="T69" fmla="*/ 1191 h 2343"/>
                    <a:gd name="T70" fmla="*/ 1434 w 1504"/>
                    <a:gd name="T71" fmla="*/ 1273 h 2343"/>
                    <a:gd name="T72" fmla="*/ 1464 w 1504"/>
                    <a:gd name="T73" fmla="*/ 1392 h 2343"/>
                    <a:gd name="T74" fmla="*/ 1375 w 1504"/>
                    <a:gd name="T75" fmla="*/ 1420 h 2343"/>
                    <a:gd name="T76" fmla="*/ 1309 w 1504"/>
                    <a:gd name="T77" fmla="*/ 1420 h 2343"/>
                    <a:gd name="T78" fmla="*/ 1309 w 1504"/>
                    <a:gd name="T79" fmla="*/ 1849 h 2343"/>
                    <a:gd name="T80" fmla="*/ 1309 w 1504"/>
                    <a:gd name="T81" fmla="*/ 2343 h 2343"/>
                    <a:gd name="T82" fmla="*/ 800 w 1504"/>
                    <a:gd name="T83" fmla="*/ 2343 h 2343"/>
                    <a:gd name="T84" fmla="*/ 291 w 1504"/>
                    <a:gd name="T85" fmla="*/ 2343 h 2343"/>
                    <a:gd name="T86" fmla="*/ 291 w 1504"/>
                    <a:gd name="T87" fmla="*/ 1871 h 23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04" h="2343">
                      <a:moveTo>
                        <a:pt x="291" y="1871"/>
                      </a:moveTo>
                      <a:cubicBezTo>
                        <a:pt x="291" y="1629"/>
                        <a:pt x="288" y="1457"/>
                        <a:pt x="282" y="1443"/>
                      </a:cubicBezTo>
                      <a:lnTo>
                        <a:pt x="274" y="1420"/>
                      </a:lnTo>
                      <a:lnTo>
                        <a:pt x="159" y="1420"/>
                      </a:lnTo>
                      <a:cubicBezTo>
                        <a:pt x="51" y="1420"/>
                        <a:pt x="43" y="1419"/>
                        <a:pt x="25" y="1399"/>
                      </a:cubicBezTo>
                      <a:cubicBezTo>
                        <a:pt x="11" y="1384"/>
                        <a:pt x="5" y="1367"/>
                        <a:pt x="5" y="1338"/>
                      </a:cubicBezTo>
                      <a:cubicBezTo>
                        <a:pt x="5" y="1268"/>
                        <a:pt x="0" y="1269"/>
                        <a:pt x="372" y="1266"/>
                      </a:cubicBezTo>
                      <a:lnTo>
                        <a:pt x="695" y="1264"/>
                      </a:lnTo>
                      <a:lnTo>
                        <a:pt x="717" y="1201"/>
                      </a:lnTo>
                      <a:cubicBezTo>
                        <a:pt x="748" y="1115"/>
                        <a:pt x="811" y="1044"/>
                        <a:pt x="893" y="1003"/>
                      </a:cubicBezTo>
                      <a:lnTo>
                        <a:pt x="954" y="972"/>
                      </a:lnTo>
                      <a:lnTo>
                        <a:pt x="950" y="928"/>
                      </a:lnTo>
                      <a:cubicBezTo>
                        <a:pt x="947" y="904"/>
                        <a:pt x="944" y="882"/>
                        <a:pt x="942" y="881"/>
                      </a:cubicBezTo>
                      <a:cubicBezTo>
                        <a:pt x="940" y="879"/>
                        <a:pt x="914" y="874"/>
                        <a:pt x="884" y="871"/>
                      </a:cubicBezTo>
                      <a:lnTo>
                        <a:pt x="829" y="865"/>
                      </a:lnTo>
                      <a:lnTo>
                        <a:pt x="823" y="892"/>
                      </a:lnTo>
                      <a:lnTo>
                        <a:pt x="817" y="920"/>
                      </a:lnTo>
                      <a:lnTo>
                        <a:pt x="741" y="920"/>
                      </a:lnTo>
                      <a:lnTo>
                        <a:pt x="666" y="920"/>
                      </a:lnTo>
                      <a:lnTo>
                        <a:pt x="666" y="460"/>
                      </a:lnTo>
                      <a:lnTo>
                        <a:pt x="666" y="0"/>
                      </a:lnTo>
                      <a:lnTo>
                        <a:pt x="742" y="0"/>
                      </a:lnTo>
                      <a:lnTo>
                        <a:pt x="818" y="0"/>
                      </a:lnTo>
                      <a:lnTo>
                        <a:pt x="818" y="27"/>
                      </a:lnTo>
                      <a:cubicBezTo>
                        <a:pt x="818" y="90"/>
                        <a:pt x="815" y="89"/>
                        <a:pt x="1084" y="184"/>
                      </a:cubicBezTo>
                      <a:lnTo>
                        <a:pt x="1333" y="272"/>
                      </a:lnTo>
                      <a:lnTo>
                        <a:pt x="1339" y="478"/>
                      </a:lnTo>
                      <a:cubicBezTo>
                        <a:pt x="1342" y="591"/>
                        <a:pt x="1345" y="724"/>
                        <a:pt x="1345" y="774"/>
                      </a:cubicBezTo>
                      <a:lnTo>
                        <a:pt x="1345" y="866"/>
                      </a:lnTo>
                      <a:lnTo>
                        <a:pt x="1276" y="868"/>
                      </a:lnTo>
                      <a:lnTo>
                        <a:pt x="1206" y="871"/>
                      </a:lnTo>
                      <a:lnTo>
                        <a:pt x="1204" y="930"/>
                      </a:lnTo>
                      <a:lnTo>
                        <a:pt x="1201" y="989"/>
                      </a:lnTo>
                      <a:lnTo>
                        <a:pt x="1277" y="1058"/>
                      </a:lnTo>
                      <a:cubicBezTo>
                        <a:pt x="1347" y="1123"/>
                        <a:pt x="1354" y="1132"/>
                        <a:pt x="1374" y="1191"/>
                      </a:cubicBezTo>
                      <a:cubicBezTo>
                        <a:pt x="1394" y="1250"/>
                        <a:pt x="1398" y="1256"/>
                        <a:pt x="1434" y="1273"/>
                      </a:cubicBezTo>
                      <a:cubicBezTo>
                        <a:pt x="1492" y="1301"/>
                        <a:pt x="1504" y="1346"/>
                        <a:pt x="1464" y="1392"/>
                      </a:cubicBezTo>
                      <a:cubicBezTo>
                        <a:pt x="1443" y="1419"/>
                        <a:pt x="1438" y="1420"/>
                        <a:pt x="1375" y="1420"/>
                      </a:cubicBezTo>
                      <a:lnTo>
                        <a:pt x="1309" y="1420"/>
                      </a:lnTo>
                      <a:lnTo>
                        <a:pt x="1309" y="1849"/>
                      </a:lnTo>
                      <a:lnTo>
                        <a:pt x="1309" y="2343"/>
                      </a:lnTo>
                      <a:lnTo>
                        <a:pt x="800" y="2343"/>
                      </a:lnTo>
                      <a:lnTo>
                        <a:pt x="291" y="2343"/>
                      </a:lnTo>
                      <a:lnTo>
                        <a:pt x="291" y="18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solidFill>
                    <a:srgbClr val="0460A9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" name="Freeform 26"/>
                <p:cNvSpPr>
                  <a:spLocks/>
                </p:cNvSpPr>
                <p:nvPr/>
              </p:nvSpPr>
              <p:spPr bwMode="auto">
                <a:xfrm>
                  <a:off x="871147" y="3041979"/>
                  <a:ext cx="172068" cy="440509"/>
                </a:xfrm>
                <a:custGeom>
                  <a:avLst/>
                  <a:gdLst>
                    <a:gd name="T0" fmla="*/ 201 w 914"/>
                    <a:gd name="T1" fmla="*/ 2105 h 2141"/>
                    <a:gd name="T2" fmla="*/ 182 w 914"/>
                    <a:gd name="T3" fmla="*/ 1895 h 2141"/>
                    <a:gd name="T4" fmla="*/ 182 w 914"/>
                    <a:gd name="T5" fmla="*/ 1711 h 2141"/>
                    <a:gd name="T6" fmla="*/ 149 w 914"/>
                    <a:gd name="T7" fmla="*/ 1710 h 2141"/>
                    <a:gd name="T8" fmla="*/ 75 w 914"/>
                    <a:gd name="T9" fmla="*/ 1690 h 2141"/>
                    <a:gd name="T10" fmla="*/ 35 w 914"/>
                    <a:gd name="T11" fmla="*/ 1671 h 2141"/>
                    <a:gd name="T12" fmla="*/ 20 w 914"/>
                    <a:gd name="T13" fmla="*/ 1555 h 2141"/>
                    <a:gd name="T14" fmla="*/ 9 w 914"/>
                    <a:gd name="T15" fmla="*/ 492 h 2141"/>
                    <a:gd name="T16" fmla="*/ 15 w 914"/>
                    <a:gd name="T17" fmla="*/ 82 h 2141"/>
                    <a:gd name="T18" fmla="*/ 50 w 914"/>
                    <a:gd name="T19" fmla="*/ 48 h 2141"/>
                    <a:gd name="T20" fmla="*/ 201 w 914"/>
                    <a:gd name="T21" fmla="*/ 51 h 2141"/>
                    <a:gd name="T22" fmla="*/ 245 w 914"/>
                    <a:gd name="T23" fmla="*/ 88 h 2141"/>
                    <a:gd name="T24" fmla="*/ 245 w 914"/>
                    <a:gd name="T25" fmla="*/ 468 h 2141"/>
                    <a:gd name="T26" fmla="*/ 251 w 914"/>
                    <a:gd name="T27" fmla="*/ 1151 h 2141"/>
                    <a:gd name="T28" fmla="*/ 256 w 914"/>
                    <a:gd name="T29" fmla="*/ 1452 h 2141"/>
                    <a:gd name="T30" fmla="*/ 585 w 914"/>
                    <a:gd name="T31" fmla="*/ 1452 h 2141"/>
                    <a:gd name="T32" fmla="*/ 914 w 914"/>
                    <a:gd name="T33" fmla="*/ 1452 h 2141"/>
                    <a:gd name="T34" fmla="*/ 914 w 914"/>
                    <a:gd name="T35" fmla="*/ 1582 h 2141"/>
                    <a:gd name="T36" fmla="*/ 914 w 914"/>
                    <a:gd name="T37" fmla="*/ 1711 h 2141"/>
                    <a:gd name="T38" fmla="*/ 870 w 914"/>
                    <a:gd name="T39" fmla="*/ 1711 h 2141"/>
                    <a:gd name="T40" fmla="*/ 825 w 914"/>
                    <a:gd name="T41" fmla="*/ 1711 h 2141"/>
                    <a:gd name="T42" fmla="*/ 825 w 914"/>
                    <a:gd name="T43" fmla="*/ 1901 h 2141"/>
                    <a:gd name="T44" fmla="*/ 804 w 914"/>
                    <a:gd name="T45" fmla="*/ 2111 h 2141"/>
                    <a:gd name="T46" fmla="*/ 696 w 914"/>
                    <a:gd name="T47" fmla="*/ 2103 h 2141"/>
                    <a:gd name="T48" fmla="*/ 673 w 914"/>
                    <a:gd name="T49" fmla="*/ 2076 h 2141"/>
                    <a:gd name="T50" fmla="*/ 673 w 914"/>
                    <a:gd name="T51" fmla="*/ 1893 h 2141"/>
                    <a:gd name="T52" fmla="*/ 673 w 914"/>
                    <a:gd name="T53" fmla="*/ 1710 h 2141"/>
                    <a:gd name="T54" fmla="*/ 509 w 914"/>
                    <a:gd name="T55" fmla="*/ 1712 h 2141"/>
                    <a:gd name="T56" fmla="*/ 339 w 914"/>
                    <a:gd name="T57" fmla="*/ 1721 h 2141"/>
                    <a:gd name="T58" fmla="*/ 328 w 914"/>
                    <a:gd name="T59" fmla="*/ 1908 h 2141"/>
                    <a:gd name="T60" fmla="*/ 256 w 914"/>
                    <a:gd name="T61" fmla="*/ 2130 h 2141"/>
                    <a:gd name="T62" fmla="*/ 201 w 914"/>
                    <a:gd name="T63" fmla="*/ 2105 h 2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914" h="2141">
                      <a:moveTo>
                        <a:pt x="201" y="2105"/>
                      </a:moveTo>
                      <a:cubicBezTo>
                        <a:pt x="183" y="2080"/>
                        <a:pt x="182" y="2066"/>
                        <a:pt x="182" y="1895"/>
                      </a:cubicBezTo>
                      <a:lnTo>
                        <a:pt x="182" y="1711"/>
                      </a:lnTo>
                      <a:lnTo>
                        <a:pt x="149" y="1710"/>
                      </a:lnTo>
                      <a:cubicBezTo>
                        <a:pt x="130" y="1710"/>
                        <a:pt x="97" y="1701"/>
                        <a:pt x="75" y="1690"/>
                      </a:cubicBezTo>
                      <a:lnTo>
                        <a:pt x="35" y="1671"/>
                      </a:lnTo>
                      <a:lnTo>
                        <a:pt x="20" y="1555"/>
                      </a:lnTo>
                      <a:cubicBezTo>
                        <a:pt x="3" y="1422"/>
                        <a:pt x="0" y="1149"/>
                        <a:pt x="9" y="492"/>
                      </a:cubicBezTo>
                      <a:lnTo>
                        <a:pt x="15" y="82"/>
                      </a:lnTo>
                      <a:lnTo>
                        <a:pt x="50" y="48"/>
                      </a:lnTo>
                      <a:cubicBezTo>
                        <a:pt x="100" y="0"/>
                        <a:pt x="141" y="1"/>
                        <a:pt x="201" y="51"/>
                      </a:cubicBezTo>
                      <a:lnTo>
                        <a:pt x="245" y="88"/>
                      </a:lnTo>
                      <a:lnTo>
                        <a:pt x="245" y="468"/>
                      </a:lnTo>
                      <a:cubicBezTo>
                        <a:pt x="245" y="678"/>
                        <a:pt x="247" y="985"/>
                        <a:pt x="251" y="1151"/>
                      </a:cubicBezTo>
                      <a:lnTo>
                        <a:pt x="256" y="1452"/>
                      </a:lnTo>
                      <a:lnTo>
                        <a:pt x="585" y="1452"/>
                      </a:lnTo>
                      <a:lnTo>
                        <a:pt x="914" y="1452"/>
                      </a:lnTo>
                      <a:lnTo>
                        <a:pt x="914" y="1582"/>
                      </a:lnTo>
                      <a:lnTo>
                        <a:pt x="914" y="1711"/>
                      </a:lnTo>
                      <a:lnTo>
                        <a:pt x="870" y="1711"/>
                      </a:lnTo>
                      <a:lnTo>
                        <a:pt x="825" y="1711"/>
                      </a:lnTo>
                      <a:lnTo>
                        <a:pt x="825" y="1901"/>
                      </a:lnTo>
                      <a:cubicBezTo>
                        <a:pt x="825" y="2089"/>
                        <a:pt x="825" y="2092"/>
                        <a:pt x="804" y="2111"/>
                      </a:cubicBezTo>
                      <a:cubicBezTo>
                        <a:pt x="773" y="2141"/>
                        <a:pt x="725" y="2138"/>
                        <a:pt x="696" y="2103"/>
                      </a:cubicBezTo>
                      <a:lnTo>
                        <a:pt x="673" y="2076"/>
                      </a:lnTo>
                      <a:lnTo>
                        <a:pt x="673" y="1893"/>
                      </a:lnTo>
                      <a:lnTo>
                        <a:pt x="673" y="1710"/>
                      </a:lnTo>
                      <a:lnTo>
                        <a:pt x="509" y="1712"/>
                      </a:lnTo>
                      <a:cubicBezTo>
                        <a:pt x="418" y="1714"/>
                        <a:pt x="342" y="1718"/>
                        <a:pt x="339" y="1721"/>
                      </a:cubicBezTo>
                      <a:cubicBezTo>
                        <a:pt x="336" y="1724"/>
                        <a:pt x="331" y="1808"/>
                        <a:pt x="328" y="1908"/>
                      </a:cubicBezTo>
                      <a:cubicBezTo>
                        <a:pt x="321" y="2119"/>
                        <a:pt x="318" y="2130"/>
                        <a:pt x="256" y="2130"/>
                      </a:cubicBezTo>
                      <a:cubicBezTo>
                        <a:pt x="225" y="2131"/>
                        <a:pt x="216" y="2126"/>
                        <a:pt x="201" y="210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solidFill>
                    <a:srgbClr val="0460A9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" name="Oval 27"/>
                <p:cNvSpPr>
                  <a:spLocks noChangeArrowheads="1"/>
                </p:cNvSpPr>
                <p:nvPr/>
              </p:nvSpPr>
              <p:spPr bwMode="auto">
                <a:xfrm>
                  <a:off x="1117818" y="3097538"/>
                  <a:ext cx="90246" cy="99214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rgbClr val="0460A9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" name="Rectangle 91"/>
                <p:cNvSpPr/>
                <p:nvPr/>
              </p:nvSpPr>
              <p:spPr>
                <a:xfrm>
                  <a:off x="1227317" y="2927583"/>
                  <a:ext cx="229180" cy="32219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US" sz="2400"/>
                </a:p>
              </p:txBody>
            </p:sp>
          </p:grpSp>
        </p:grpSp>
        <p:sp>
          <p:nvSpPr>
            <p:cNvPr id="85" name="Rectangle 84">
              <a:hlinkClick r:id="" action="ppaction://noaction"/>
            </p:cNvPr>
            <p:cNvSpPr/>
            <p:nvPr/>
          </p:nvSpPr>
          <p:spPr>
            <a:xfrm>
              <a:off x="122767" y="0"/>
              <a:ext cx="640666" cy="66675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62" name="Rectangle 61">
            <a:hlinkClick r:id="rId8" action="ppaction://hlinksldjump"/>
          </p:cNvPr>
          <p:cNvSpPr/>
          <p:nvPr/>
        </p:nvSpPr>
        <p:spPr>
          <a:xfrm>
            <a:off x="11593301" y="1"/>
            <a:ext cx="598699" cy="651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64" name="Slide Number Placeholder 4">
            <a:extLst>
              <a:ext uri="{FF2B5EF4-FFF2-40B4-BE49-F238E27FC236}">
                <a16:creationId xmlns:a16="http://schemas.microsoft.com/office/drawing/2014/main" id="{9B803FA9-FB55-4D92-B224-5980CEBFE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3</a:t>
            </a:fld>
            <a:endParaRPr lang="uk-UA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6BDDC7ED-C238-CE00-70AA-B9CD64828E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99755" y="2067616"/>
            <a:ext cx="3947502" cy="2149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7237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B37B50-0B88-41C8-4525-40EF6F694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69372"/>
          </a:xfrm>
        </p:spPr>
        <p:txBody>
          <a:bodyPr>
            <a:normAutofit fontScale="90000"/>
          </a:bodyPr>
          <a:lstStyle/>
          <a:p>
            <a:r>
              <a:rPr lang="cs-CZ" dirty="0"/>
              <a:t>Závěr: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19FBE98-3CAC-84FB-141B-ED59DB2A52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6721"/>
            <a:ext cx="10515600" cy="4780242"/>
          </a:xfrm>
        </p:spPr>
        <p:txBody>
          <a:bodyPr>
            <a:normAutofit/>
          </a:bodyPr>
          <a:lstStyle/>
          <a:p>
            <a:r>
              <a:rPr lang="cs-CZ" sz="1800" dirty="0"/>
              <a:t>Screening léčitelných CV rizikových faktorů – TK, hladina lipidů a HbA1c, androgenní profil u žen</a:t>
            </a:r>
          </a:p>
          <a:p>
            <a:r>
              <a:rPr lang="cs-CZ" sz="1800" dirty="0"/>
              <a:t>Screening depresí/</a:t>
            </a:r>
            <a:r>
              <a:rPr lang="cs-CZ" sz="1800" dirty="0" err="1"/>
              <a:t>anxiety</a:t>
            </a:r>
            <a:r>
              <a:rPr lang="cs-CZ" sz="1800" dirty="0"/>
              <a:t> - HADS </a:t>
            </a:r>
          </a:p>
          <a:p>
            <a:r>
              <a:rPr lang="cs-CZ" sz="1800" dirty="0"/>
              <a:t>Stop kouření, redukce váhy</a:t>
            </a:r>
          </a:p>
          <a:p>
            <a:r>
              <a:rPr lang="cs-CZ" sz="1800" dirty="0"/>
              <a:t>Terapie komorbidit dle obvyklých </a:t>
            </a:r>
            <a:r>
              <a:rPr lang="cs-CZ" sz="1800" dirty="0" err="1"/>
              <a:t>standartů</a:t>
            </a:r>
            <a:endParaRPr lang="cs-CZ" sz="1800" dirty="0"/>
          </a:p>
          <a:p>
            <a:r>
              <a:rPr lang="cs-CZ" sz="1800" dirty="0"/>
              <a:t>Ženy s androgenní dysfunkcí- benefit </a:t>
            </a:r>
            <a:r>
              <a:rPr lang="cs-CZ" sz="1800" dirty="0" err="1"/>
              <a:t>antiandrogenní</a:t>
            </a:r>
            <a:r>
              <a:rPr lang="cs-CZ" sz="1800" dirty="0"/>
              <a:t> terapie: antikoncepce, </a:t>
            </a:r>
            <a:r>
              <a:rPr lang="cs-CZ" sz="1800" dirty="0" err="1"/>
              <a:t>metformin</a:t>
            </a:r>
            <a:r>
              <a:rPr lang="cs-CZ" sz="1800" dirty="0"/>
              <a:t>, </a:t>
            </a:r>
            <a:r>
              <a:rPr lang="cs-CZ" sz="1800" dirty="0" err="1"/>
              <a:t>spironolakton</a:t>
            </a:r>
            <a:r>
              <a:rPr lang="cs-CZ" sz="1800" dirty="0"/>
              <a:t>, nově </a:t>
            </a:r>
            <a:r>
              <a:rPr lang="cs-CZ" sz="1800" dirty="0" err="1"/>
              <a:t>finasterid</a:t>
            </a:r>
            <a:endParaRPr lang="cs-CZ" sz="1800" dirty="0"/>
          </a:p>
          <a:p>
            <a:r>
              <a:rPr lang="en-US" sz="1600" b="1" i="0" dirty="0">
                <a:solidFill>
                  <a:srgbClr val="0070C0"/>
                </a:solidFill>
                <a:effectLst/>
                <a:latin typeface="volta_modern_display55_roman"/>
              </a:rPr>
              <a:t>Basel, June 1, 2023</a:t>
            </a:r>
            <a:r>
              <a:rPr lang="en-US" sz="1600" b="0" i="0" dirty="0">
                <a:solidFill>
                  <a:srgbClr val="0070C0"/>
                </a:solidFill>
                <a:effectLst/>
                <a:latin typeface="volta_modern_display55_roman"/>
              </a:rPr>
              <a:t> — Novartis announced today that the European Commission (EC) has approved Cosentyx</a:t>
            </a:r>
            <a:r>
              <a:rPr lang="en-US" sz="1600" b="0" i="0" baseline="30000" dirty="0">
                <a:solidFill>
                  <a:srgbClr val="0070C0"/>
                </a:solidFill>
                <a:effectLst/>
                <a:latin typeface="volta_modern_display55_roman"/>
              </a:rPr>
              <a:t>®</a:t>
            </a:r>
            <a:r>
              <a:rPr lang="en-US" sz="1600" b="0" i="0" dirty="0">
                <a:solidFill>
                  <a:srgbClr val="0070C0"/>
                </a:solidFill>
                <a:effectLst/>
                <a:latin typeface="volta_modern_display55_roman"/>
              </a:rPr>
              <a:t> (</a:t>
            </a:r>
            <a:r>
              <a:rPr lang="en-US" sz="1600" b="0" i="0" dirty="0" err="1">
                <a:solidFill>
                  <a:srgbClr val="0070C0"/>
                </a:solidFill>
                <a:effectLst/>
                <a:latin typeface="volta_modern_display55_roman"/>
              </a:rPr>
              <a:t>secukinumab</a:t>
            </a:r>
            <a:r>
              <a:rPr lang="en-US" sz="1600" b="0" i="0" dirty="0">
                <a:solidFill>
                  <a:srgbClr val="0070C0"/>
                </a:solidFill>
                <a:effectLst/>
                <a:latin typeface="volta_modern_display55_roman"/>
              </a:rPr>
              <a:t>) for use in adults with active moderate to severe hidradenitis suppurativa (HS) and an inadequate response to conventional systemic HS therapy</a:t>
            </a:r>
            <a:endParaRPr lang="cs-CZ" sz="1600" dirty="0">
              <a:solidFill>
                <a:srgbClr val="0070C0"/>
              </a:solidFill>
            </a:endParaRPr>
          </a:p>
          <a:p>
            <a:endParaRPr lang="cs-CZ" sz="1000" dirty="0"/>
          </a:p>
        </p:txBody>
      </p:sp>
      <p:sp>
        <p:nvSpPr>
          <p:cNvPr id="4" name="Rectangle 95">
            <a:extLst>
              <a:ext uri="{FF2B5EF4-FFF2-40B4-BE49-F238E27FC236}">
                <a16:creationId xmlns:a16="http://schemas.microsoft.com/office/drawing/2014/main" id="{3569C5F2-4F7E-BA82-8AB2-737DBDAC6DBC}"/>
              </a:ext>
            </a:extLst>
          </p:cNvPr>
          <p:cNvSpPr/>
          <p:nvPr/>
        </p:nvSpPr>
        <p:spPr>
          <a:xfrm>
            <a:off x="3416440" y="446874"/>
            <a:ext cx="4938207" cy="61555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tIns="121920" rIns="121920" bIns="121920">
            <a:spAutoFit/>
          </a:bodyPr>
          <a:lstStyle/>
          <a:p>
            <a:pPr algn="ctr"/>
            <a:r>
              <a:rPr lang="cs-CZ" sz="2400" b="1" dirty="0">
                <a:solidFill>
                  <a:srgbClr val="0460A9"/>
                </a:solidFill>
              </a:rPr>
              <a:t>Screening a léčba komorbidit</a:t>
            </a:r>
            <a:endParaRPr lang="en-US" sz="2400" b="1" dirty="0">
              <a:solidFill>
                <a:srgbClr val="0460A9"/>
              </a:solidFill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64970614-3661-BA6F-8412-CE833280EC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1455" y="0"/>
            <a:ext cx="2120545" cy="1664106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B30A42DF-D5D9-BCCA-2CB8-316386914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226" y="4646153"/>
            <a:ext cx="6637595" cy="1806097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839D14A4-1178-0867-9774-F3D5AE9FD3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197" y="6545553"/>
            <a:ext cx="6408975" cy="312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837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D5B567-3B8B-4BFA-BED0-15F3C4DA58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D5B567-3B8B-4BFA-BED0-15F3C4DA58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ctrTitle" idx="4294967295"/>
          </p:nvPr>
        </p:nvSpPr>
        <p:spPr>
          <a:xfrm>
            <a:off x="6253017" y="3429000"/>
            <a:ext cx="5440220" cy="1470025"/>
          </a:xfrm>
        </p:spPr>
        <p:txBody>
          <a:bodyPr vert="horz">
            <a:normAutofit/>
          </a:bodyPr>
          <a:lstStyle/>
          <a:p>
            <a:r>
              <a:rPr lang="cs-CZ" dirty="0">
                <a:solidFill>
                  <a:schemeClr val="bg1"/>
                </a:solidFill>
                <a:latin typeface="+mn-lt"/>
              </a:rPr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17268862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2175406-A3BC-42B6-B203-ED38A43EC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2175406-A3BC-42B6-B203-ED38A43EC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6429FC-0AF6-42B6-B06F-FF3085832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rmAutofit/>
          </a:bodyPr>
          <a:lstStyle/>
          <a:p>
            <a:r>
              <a:rPr lang="cs-CZ" sz="3200" dirty="0"/>
              <a:t>Zkrácená informace o přípravku</a:t>
            </a:r>
            <a:endParaRPr lang="cs-CZ" sz="3600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669073" y="-793300"/>
            <a:ext cx="11112540" cy="47550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10" eaLnBrk="0" hangingPunct="0">
              <a:spcBef>
                <a:spcPct val="0"/>
              </a:spcBef>
              <a:buNone/>
              <a:tabLst>
                <a:tab pos="480448" algn="l"/>
                <a:tab pos="609555" algn="l"/>
              </a:tabLst>
            </a:pPr>
            <a:endParaRPr lang="cs-CZ" altLang="en-US" sz="1051"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BA56206-6EB5-C2BF-F334-194D24682372}"/>
              </a:ext>
            </a:extLst>
          </p:cNvPr>
          <p:cNvSpPr txBox="1"/>
          <p:nvPr/>
        </p:nvSpPr>
        <p:spPr>
          <a:xfrm>
            <a:off x="5181600" y="2514600"/>
            <a:ext cx="1828800" cy="1828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cs-CZ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CE1A91C-6A5A-D196-ED95-6CE8C0524635}"/>
              </a:ext>
            </a:extLst>
          </p:cNvPr>
          <p:cNvSpPr txBox="1"/>
          <p:nvPr/>
        </p:nvSpPr>
        <p:spPr>
          <a:xfrm>
            <a:off x="5181600" y="2514600"/>
            <a:ext cx="1828800" cy="1828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cs-CZ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390D645-BDA1-3B48-7077-AE56C0E9F7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869360" y="1428902"/>
            <a:ext cx="8416311" cy="506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4901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/>
          <p:cNvGrpSpPr/>
          <p:nvPr/>
        </p:nvGrpSpPr>
        <p:grpSpPr>
          <a:xfrm>
            <a:off x="174847" y="88366"/>
            <a:ext cx="667725" cy="595836"/>
            <a:chOff x="2942087" y="1851188"/>
            <a:chExt cx="1066800" cy="990600"/>
          </a:xfrm>
        </p:grpSpPr>
        <p:sp>
          <p:nvSpPr>
            <p:cNvPr id="75" name="Oval 74"/>
            <p:cNvSpPr/>
            <p:nvPr/>
          </p:nvSpPr>
          <p:spPr>
            <a:xfrm>
              <a:off x="2942087" y="1851188"/>
              <a:ext cx="1066800" cy="9906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  <a:reflection stA="45000" endPos="0" dist="508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76" name="Oval 75"/>
            <p:cNvSpPr/>
            <p:nvPr/>
          </p:nvSpPr>
          <p:spPr>
            <a:xfrm>
              <a:off x="3431488" y="2333535"/>
              <a:ext cx="27432" cy="274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13536" y="2334422"/>
              <a:ext cx="8313" cy="8313"/>
            </a:xfrm>
            <a:prstGeom prst="ellipse">
              <a:avLst/>
            </a:prstGeom>
            <a:solidFill>
              <a:schemeClr val="bg1"/>
            </a:solidFill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07959" y="2275246"/>
              <a:ext cx="54864" cy="54864"/>
            </a:xfrm>
            <a:prstGeom prst="ellipse">
              <a:avLst/>
            </a:prstGeom>
            <a:solidFill>
              <a:schemeClr val="bg1"/>
            </a:solidFill>
          </p:spPr>
        </p:pic>
      </p:grpSp>
      <p:grpSp>
        <p:nvGrpSpPr>
          <p:cNvPr id="79" name="Group 78"/>
          <p:cNvGrpSpPr/>
          <p:nvPr/>
        </p:nvGrpSpPr>
        <p:grpSpPr>
          <a:xfrm>
            <a:off x="285953" y="170926"/>
            <a:ext cx="423483" cy="434485"/>
            <a:chOff x="3059641" y="1714790"/>
            <a:chExt cx="842159" cy="838631"/>
          </a:xfrm>
        </p:grpSpPr>
        <p:sp>
          <p:nvSpPr>
            <p:cNvPr id="81" name="Freeform 16"/>
            <p:cNvSpPr>
              <a:spLocks/>
            </p:cNvSpPr>
            <p:nvPr/>
          </p:nvSpPr>
          <p:spPr bwMode="auto">
            <a:xfrm>
              <a:off x="3367176" y="2144320"/>
              <a:ext cx="225423" cy="409101"/>
            </a:xfrm>
            <a:custGeom>
              <a:avLst/>
              <a:gdLst>
                <a:gd name="T0" fmla="*/ 31 w 135"/>
                <a:gd name="T1" fmla="*/ 136 h 245"/>
                <a:gd name="T2" fmla="*/ 31 w 135"/>
                <a:gd name="T3" fmla="*/ 43 h 245"/>
                <a:gd name="T4" fmla="*/ 31 w 135"/>
                <a:gd name="T5" fmla="*/ 40 h 245"/>
                <a:gd name="T6" fmla="*/ 28 w 135"/>
                <a:gd name="T7" fmla="*/ 37 h 245"/>
                <a:gd name="T8" fmla="*/ 25 w 135"/>
                <a:gd name="T9" fmla="*/ 40 h 245"/>
                <a:gd name="T10" fmla="*/ 25 w 135"/>
                <a:gd name="T11" fmla="*/ 45 h 245"/>
                <a:gd name="T12" fmla="*/ 25 w 135"/>
                <a:gd name="T13" fmla="*/ 116 h 245"/>
                <a:gd name="T14" fmla="*/ 21 w 135"/>
                <a:gd name="T15" fmla="*/ 126 h 245"/>
                <a:gd name="T16" fmla="*/ 8 w 135"/>
                <a:gd name="T17" fmla="*/ 129 h 245"/>
                <a:gd name="T18" fmla="*/ 0 w 135"/>
                <a:gd name="T19" fmla="*/ 118 h 245"/>
                <a:gd name="T20" fmla="*/ 0 w 135"/>
                <a:gd name="T21" fmla="*/ 33 h 245"/>
                <a:gd name="T22" fmla="*/ 33 w 135"/>
                <a:gd name="T23" fmla="*/ 0 h 245"/>
                <a:gd name="T24" fmla="*/ 102 w 135"/>
                <a:gd name="T25" fmla="*/ 0 h 245"/>
                <a:gd name="T26" fmla="*/ 134 w 135"/>
                <a:gd name="T27" fmla="*/ 34 h 245"/>
                <a:gd name="T28" fmla="*/ 134 w 135"/>
                <a:gd name="T29" fmla="*/ 117 h 245"/>
                <a:gd name="T30" fmla="*/ 122 w 135"/>
                <a:gd name="T31" fmla="*/ 129 h 245"/>
                <a:gd name="T32" fmla="*/ 110 w 135"/>
                <a:gd name="T33" fmla="*/ 117 h 245"/>
                <a:gd name="T34" fmla="*/ 110 w 135"/>
                <a:gd name="T35" fmla="*/ 53 h 245"/>
                <a:gd name="T36" fmla="*/ 110 w 135"/>
                <a:gd name="T37" fmla="*/ 41 h 245"/>
                <a:gd name="T38" fmla="*/ 107 w 135"/>
                <a:gd name="T39" fmla="*/ 37 h 245"/>
                <a:gd name="T40" fmla="*/ 104 w 135"/>
                <a:gd name="T41" fmla="*/ 41 h 245"/>
                <a:gd name="T42" fmla="*/ 104 w 135"/>
                <a:gd name="T43" fmla="*/ 143 h 245"/>
                <a:gd name="T44" fmla="*/ 104 w 135"/>
                <a:gd name="T45" fmla="*/ 230 h 245"/>
                <a:gd name="T46" fmla="*/ 89 w 135"/>
                <a:gd name="T47" fmla="*/ 245 h 245"/>
                <a:gd name="T48" fmla="*/ 73 w 135"/>
                <a:gd name="T49" fmla="*/ 230 h 245"/>
                <a:gd name="T50" fmla="*/ 73 w 135"/>
                <a:gd name="T51" fmla="*/ 139 h 245"/>
                <a:gd name="T52" fmla="*/ 73 w 135"/>
                <a:gd name="T53" fmla="*/ 135 h 245"/>
                <a:gd name="T54" fmla="*/ 67 w 135"/>
                <a:gd name="T55" fmla="*/ 128 h 245"/>
                <a:gd name="T56" fmla="*/ 61 w 135"/>
                <a:gd name="T57" fmla="*/ 135 h 245"/>
                <a:gd name="T58" fmla="*/ 61 w 135"/>
                <a:gd name="T59" fmla="*/ 168 h 245"/>
                <a:gd name="T60" fmla="*/ 61 w 135"/>
                <a:gd name="T61" fmla="*/ 229 h 245"/>
                <a:gd name="T62" fmla="*/ 46 w 135"/>
                <a:gd name="T63" fmla="*/ 245 h 245"/>
                <a:gd name="T64" fmla="*/ 31 w 135"/>
                <a:gd name="T65" fmla="*/ 229 h 245"/>
                <a:gd name="T66" fmla="*/ 31 w 135"/>
                <a:gd name="T67" fmla="*/ 13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5" h="245">
                  <a:moveTo>
                    <a:pt x="31" y="136"/>
                  </a:moveTo>
                  <a:cubicBezTo>
                    <a:pt x="31" y="105"/>
                    <a:pt x="31" y="74"/>
                    <a:pt x="31" y="43"/>
                  </a:cubicBezTo>
                  <a:cubicBezTo>
                    <a:pt x="31" y="42"/>
                    <a:pt x="31" y="41"/>
                    <a:pt x="31" y="40"/>
                  </a:cubicBezTo>
                  <a:cubicBezTo>
                    <a:pt x="30" y="39"/>
                    <a:pt x="29" y="37"/>
                    <a:pt x="28" y="37"/>
                  </a:cubicBezTo>
                  <a:cubicBezTo>
                    <a:pt x="27" y="37"/>
                    <a:pt x="25" y="39"/>
                    <a:pt x="25" y="40"/>
                  </a:cubicBezTo>
                  <a:cubicBezTo>
                    <a:pt x="24" y="42"/>
                    <a:pt x="25" y="43"/>
                    <a:pt x="25" y="45"/>
                  </a:cubicBezTo>
                  <a:cubicBezTo>
                    <a:pt x="25" y="69"/>
                    <a:pt x="24" y="92"/>
                    <a:pt x="25" y="116"/>
                  </a:cubicBezTo>
                  <a:cubicBezTo>
                    <a:pt x="25" y="120"/>
                    <a:pt x="24" y="123"/>
                    <a:pt x="21" y="126"/>
                  </a:cubicBezTo>
                  <a:cubicBezTo>
                    <a:pt x="17" y="130"/>
                    <a:pt x="13" y="130"/>
                    <a:pt x="8" y="129"/>
                  </a:cubicBezTo>
                  <a:cubicBezTo>
                    <a:pt x="3" y="127"/>
                    <a:pt x="0" y="123"/>
                    <a:pt x="0" y="118"/>
                  </a:cubicBezTo>
                  <a:cubicBezTo>
                    <a:pt x="0" y="89"/>
                    <a:pt x="0" y="61"/>
                    <a:pt x="0" y="33"/>
                  </a:cubicBezTo>
                  <a:cubicBezTo>
                    <a:pt x="0" y="16"/>
                    <a:pt x="16" y="1"/>
                    <a:pt x="33" y="0"/>
                  </a:cubicBezTo>
                  <a:cubicBezTo>
                    <a:pt x="56" y="0"/>
                    <a:pt x="79" y="0"/>
                    <a:pt x="102" y="0"/>
                  </a:cubicBezTo>
                  <a:cubicBezTo>
                    <a:pt x="119" y="1"/>
                    <a:pt x="134" y="16"/>
                    <a:pt x="134" y="34"/>
                  </a:cubicBezTo>
                  <a:cubicBezTo>
                    <a:pt x="135" y="62"/>
                    <a:pt x="135" y="89"/>
                    <a:pt x="134" y="117"/>
                  </a:cubicBezTo>
                  <a:cubicBezTo>
                    <a:pt x="134" y="124"/>
                    <a:pt x="129" y="129"/>
                    <a:pt x="122" y="129"/>
                  </a:cubicBezTo>
                  <a:cubicBezTo>
                    <a:pt x="116" y="129"/>
                    <a:pt x="110" y="124"/>
                    <a:pt x="110" y="117"/>
                  </a:cubicBezTo>
                  <a:cubicBezTo>
                    <a:pt x="110" y="96"/>
                    <a:pt x="110" y="74"/>
                    <a:pt x="110" y="53"/>
                  </a:cubicBezTo>
                  <a:cubicBezTo>
                    <a:pt x="110" y="49"/>
                    <a:pt x="110" y="45"/>
                    <a:pt x="110" y="41"/>
                  </a:cubicBezTo>
                  <a:cubicBezTo>
                    <a:pt x="110" y="39"/>
                    <a:pt x="110" y="37"/>
                    <a:pt x="107" y="37"/>
                  </a:cubicBezTo>
                  <a:cubicBezTo>
                    <a:pt x="104" y="37"/>
                    <a:pt x="104" y="39"/>
                    <a:pt x="104" y="41"/>
                  </a:cubicBezTo>
                  <a:cubicBezTo>
                    <a:pt x="104" y="75"/>
                    <a:pt x="104" y="109"/>
                    <a:pt x="104" y="143"/>
                  </a:cubicBezTo>
                  <a:cubicBezTo>
                    <a:pt x="104" y="172"/>
                    <a:pt x="104" y="201"/>
                    <a:pt x="104" y="230"/>
                  </a:cubicBezTo>
                  <a:cubicBezTo>
                    <a:pt x="104" y="238"/>
                    <a:pt x="97" y="245"/>
                    <a:pt x="89" y="245"/>
                  </a:cubicBezTo>
                  <a:cubicBezTo>
                    <a:pt x="80" y="245"/>
                    <a:pt x="73" y="238"/>
                    <a:pt x="73" y="230"/>
                  </a:cubicBezTo>
                  <a:cubicBezTo>
                    <a:pt x="73" y="199"/>
                    <a:pt x="73" y="169"/>
                    <a:pt x="73" y="139"/>
                  </a:cubicBezTo>
                  <a:cubicBezTo>
                    <a:pt x="73" y="137"/>
                    <a:pt x="73" y="136"/>
                    <a:pt x="73" y="135"/>
                  </a:cubicBezTo>
                  <a:cubicBezTo>
                    <a:pt x="73" y="131"/>
                    <a:pt x="71" y="128"/>
                    <a:pt x="67" y="128"/>
                  </a:cubicBezTo>
                  <a:cubicBezTo>
                    <a:pt x="64" y="128"/>
                    <a:pt x="61" y="131"/>
                    <a:pt x="61" y="135"/>
                  </a:cubicBezTo>
                  <a:cubicBezTo>
                    <a:pt x="61" y="146"/>
                    <a:pt x="61" y="157"/>
                    <a:pt x="61" y="168"/>
                  </a:cubicBezTo>
                  <a:cubicBezTo>
                    <a:pt x="61" y="188"/>
                    <a:pt x="61" y="209"/>
                    <a:pt x="61" y="229"/>
                  </a:cubicBezTo>
                  <a:cubicBezTo>
                    <a:pt x="61" y="238"/>
                    <a:pt x="55" y="245"/>
                    <a:pt x="46" y="245"/>
                  </a:cubicBezTo>
                  <a:cubicBezTo>
                    <a:pt x="37" y="245"/>
                    <a:pt x="31" y="238"/>
                    <a:pt x="31" y="229"/>
                  </a:cubicBezTo>
                  <a:cubicBezTo>
                    <a:pt x="31" y="198"/>
                    <a:pt x="31" y="167"/>
                    <a:pt x="31" y="136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2" name="Freeform 17"/>
            <p:cNvSpPr>
              <a:spLocks/>
            </p:cNvSpPr>
            <p:nvPr/>
          </p:nvSpPr>
          <p:spPr bwMode="auto">
            <a:xfrm>
              <a:off x="3438094" y="2038350"/>
              <a:ext cx="81105" cy="82297"/>
            </a:xfrm>
            <a:custGeom>
              <a:avLst/>
              <a:gdLst>
                <a:gd name="T0" fmla="*/ 49 w 49"/>
                <a:gd name="T1" fmla="*/ 25 h 49"/>
                <a:gd name="T2" fmla="*/ 24 w 49"/>
                <a:gd name="T3" fmla="*/ 49 h 49"/>
                <a:gd name="T4" fmla="*/ 0 w 49"/>
                <a:gd name="T5" fmla="*/ 24 h 49"/>
                <a:gd name="T6" fmla="*/ 25 w 49"/>
                <a:gd name="T7" fmla="*/ 0 h 49"/>
                <a:gd name="T8" fmla="*/ 49 w 49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25"/>
                  </a:moveTo>
                  <a:cubicBezTo>
                    <a:pt x="49" y="38"/>
                    <a:pt x="38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83" name="Graphic 62" descr="Network">
              <a:extLst>
                <a:ext uri="{FF2B5EF4-FFF2-40B4-BE49-F238E27FC236}">
                  <a16:creationId xmlns:a16="http://schemas.microsoft.com/office/drawing/2014/main" id="{2B168095-83EF-417A-AA54-9CC537B5F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7130" y="2167078"/>
              <a:ext cx="134346" cy="134346"/>
            </a:xfrm>
            <a:prstGeom prst="rect">
              <a:avLst/>
            </a:prstGeom>
          </p:spPr>
        </p:pic>
        <p:grpSp>
          <p:nvGrpSpPr>
            <p:cNvPr id="84" name="Group 83"/>
            <p:cNvGrpSpPr/>
            <p:nvPr/>
          </p:nvGrpSpPr>
          <p:grpSpPr>
            <a:xfrm>
              <a:off x="3080859" y="1849909"/>
              <a:ext cx="240001" cy="251310"/>
              <a:chOff x="3037091" y="1854615"/>
              <a:chExt cx="240001" cy="251310"/>
            </a:xfrm>
          </p:grpSpPr>
          <p:grpSp>
            <p:nvGrpSpPr>
              <p:cNvPr id="98" name="Graphic 226">
                <a:extLst>
                  <a:ext uri="{FF2B5EF4-FFF2-40B4-BE49-F238E27FC236}">
                    <a16:creationId xmlns:a16="http://schemas.microsoft.com/office/drawing/2014/main" id="{526FC5E6-4062-BF4C-8C4B-E04DFD843677}"/>
                  </a:ext>
                </a:extLst>
              </p:cNvPr>
              <p:cNvGrpSpPr/>
              <p:nvPr/>
            </p:nvGrpSpPr>
            <p:grpSpPr>
              <a:xfrm>
                <a:off x="3083626" y="1867585"/>
                <a:ext cx="136569" cy="212600"/>
                <a:chOff x="5912639" y="3117055"/>
                <a:chExt cx="361950" cy="614162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100" name="Freeform: Shape 228">
                  <a:extLst>
                    <a:ext uri="{FF2B5EF4-FFF2-40B4-BE49-F238E27FC236}">
                      <a16:creationId xmlns:a16="http://schemas.microsoft.com/office/drawing/2014/main" id="{AD78A312-3E01-E046-A249-F6F83622510A}"/>
                    </a:ext>
                  </a:extLst>
                </p:cNvPr>
                <p:cNvSpPr/>
                <p:nvPr/>
              </p:nvSpPr>
              <p:spPr>
                <a:xfrm>
                  <a:off x="5912639" y="3245442"/>
                  <a:ext cx="361950" cy="485775"/>
                </a:xfrm>
                <a:custGeom>
                  <a:avLst/>
                  <a:gdLst>
                    <a:gd name="connsiteX0" fmla="*/ 196124 w 361950"/>
                    <a:gd name="connsiteY0" fmla="*/ 270616 h 485775"/>
                    <a:gd name="connsiteX1" fmla="*/ 185170 w 361950"/>
                    <a:gd name="connsiteY1" fmla="*/ 270616 h 485775"/>
                    <a:gd name="connsiteX2" fmla="*/ 184599 w 361950"/>
                    <a:gd name="connsiteY2" fmla="*/ 277569 h 485775"/>
                    <a:gd name="connsiteX3" fmla="*/ 184504 w 361950"/>
                    <a:gd name="connsiteY3" fmla="*/ 453496 h 485775"/>
                    <a:gd name="connsiteX4" fmla="*/ 157929 w 361950"/>
                    <a:gd name="connsiteY4" fmla="*/ 485310 h 485775"/>
                    <a:gd name="connsiteX5" fmla="*/ 131354 w 361950"/>
                    <a:gd name="connsiteY5" fmla="*/ 462259 h 485775"/>
                    <a:gd name="connsiteX6" fmla="*/ 111637 w 361950"/>
                    <a:gd name="connsiteY6" fmla="*/ 345387 h 485775"/>
                    <a:gd name="connsiteX7" fmla="*/ 87730 w 361950"/>
                    <a:gd name="connsiteY7" fmla="*/ 203751 h 485775"/>
                    <a:gd name="connsiteX8" fmla="*/ 74395 w 361950"/>
                    <a:gd name="connsiteY8" fmla="*/ 162793 h 485775"/>
                    <a:gd name="connsiteX9" fmla="*/ 57726 w 361950"/>
                    <a:gd name="connsiteY9" fmla="*/ 195654 h 485775"/>
                    <a:gd name="connsiteX10" fmla="*/ 21531 w 361950"/>
                    <a:gd name="connsiteY10" fmla="*/ 207084 h 485775"/>
                    <a:gd name="connsiteX11" fmla="*/ 10768 w 361950"/>
                    <a:gd name="connsiteY11" fmla="*/ 171461 h 485775"/>
                    <a:gd name="connsiteX12" fmla="*/ 74299 w 361950"/>
                    <a:gd name="connsiteY12" fmla="*/ 49065 h 485775"/>
                    <a:gd name="connsiteX13" fmla="*/ 142022 w 361950"/>
                    <a:gd name="connsiteY13" fmla="*/ 7250 h 485775"/>
                    <a:gd name="connsiteX14" fmla="*/ 234605 w 361950"/>
                    <a:gd name="connsiteY14" fmla="*/ 7155 h 485775"/>
                    <a:gd name="connsiteX15" fmla="*/ 292136 w 361950"/>
                    <a:gd name="connsiteY15" fmla="*/ 37730 h 485775"/>
                    <a:gd name="connsiteX16" fmla="*/ 333665 w 361950"/>
                    <a:gd name="connsiteY16" fmla="*/ 114978 h 485775"/>
                    <a:gd name="connsiteX17" fmla="*/ 358144 w 361950"/>
                    <a:gd name="connsiteY17" fmla="*/ 162603 h 485775"/>
                    <a:gd name="connsiteX18" fmla="*/ 362240 w 361950"/>
                    <a:gd name="connsiteY18" fmla="*/ 183367 h 485775"/>
                    <a:gd name="connsiteX19" fmla="*/ 342619 w 361950"/>
                    <a:gd name="connsiteY19" fmla="*/ 206799 h 485775"/>
                    <a:gd name="connsiteX20" fmla="*/ 316520 w 361950"/>
                    <a:gd name="connsiteY20" fmla="*/ 190892 h 485775"/>
                    <a:gd name="connsiteX21" fmla="*/ 301947 w 361950"/>
                    <a:gd name="connsiteY21" fmla="*/ 161269 h 485775"/>
                    <a:gd name="connsiteX22" fmla="*/ 301852 w 361950"/>
                    <a:gd name="connsiteY22" fmla="*/ 161174 h 485775"/>
                    <a:gd name="connsiteX23" fmla="*/ 287278 w 361950"/>
                    <a:gd name="connsiteY23" fmla="*/ 220896 h 485775"/>
                    <a:gd name="connsiteX24" fmla="*/ 248988 w 361950"/>
                    <a:gd name="connsiteY24" fmla="*/ 460640 h 485775"/>
                    <a:gd name="connsiteX25" fmla="*/ 221461 w 361950"/>
                    <a:gd name="connsiteY25" fmla="*/ 485214 h 485775"/>
                    <a:gd name="connsiteX26" fmla="*/ 196124 w 361950"/>
                    <a:gd name="connsiteY26" fmla="*/ 458449 h 485775"/>
                    <a:gd name="connsiteX27" fmla="*/ 196219 w 361950"/>
                    <a:gd name="connsiteY27" fmla="*/ 284808 h 485775"/>
                    <a:gd name="connsiteX28" fmla="*/ 196124 w 361950"/>
                    <a:gd name="connsiteY28" fmla="*/ 270616 h 485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61950" h="485775">
                      <a:moveTo>
                        <a:pt x="196124" y="270616"/>
                      </a:moveTo>
                      <a:cubicBezTo>
                        <a:pt x="191647" y="270616"/>
                        <a:pt x="188695" y="270616"/>
                        <a:pt x="185170" y="270616"/>
                      </a:cubicBezTo>
                      <a:cubicBezTo>
                        <a:pt x="184980" y="273188"/>
                        <a:pt x="184599" y="275379"/>
                        <a:pt x="184599" y="277569"/>
                      </a:cubicBezTo>
                      <a:cubicBezTo>
                        <a:pt x="184599" y="336243"/>
                        <a:pt x="184599" y="394917"/>
                        <a:pt x="184504" y="453496"/>
                      </a:cubicBezTo>
                      <a:cubicBezTo>
                        <a:pt x="184504" y="473308"/>
                        <a:pt x="174312" y="485119"/>
                        <a:pt x="157929" y="485310"/>
                      </a:cubicBezTo>
                      <a:cubicBezTo>
                        <a:pt x="143927" y="485405"/>
                        <a:pt x="133926" y="477309"/>
                        <a:pt x="131354" y="462259"/>
                      </a:cubicBezTo>
                      <a:cubicBezTo>
                        <a:pt x="124591" y="423302"/>
                        <a:pt x="118114" y="384345"/>
                        <a:pt x="111637" y="345387"/>
                      </a:cubicBezTo>
                      <a:cubicBezTo>
                        <a:pt x="103732" y="298143"/>
                        <a:pt x="96302" y="250804"/>
                        <a:pt x="87730" y="203751"/>
                      </a:cubicBezTo>
                      <a:cubicBezTo>
                        <a:pt x="85253" y="190035"/>
                        <a:pt x="79157" y="176890"/>
                        <a:pt x="74395" y="162793"/>
                      </a:cubicBezTo>
                      <a:cubicBezTo>
                        <a:pt x="68965" y="173652"/>
                        <a:pt x="63441" y="184701"/>
                        <a:pt x="57726" y="195654"/>
                      </a:cubicBezTo>
                      <a:cubicBezTo>
                        <a:pt x="49915" y="210704"/>
                        <a:pt x="36199" y="214990"/>
                        <a:pt x="21531" y="207084"/>
                      </a:cubicBezTo>
                      <a:cubicBezTo>
                        <a:pt x="7529" y="199560"/>
                        <a:pt x="3338" y="185748"/>
                        <a:pt x="10768" y="171461"/>
                      </a:cubicBezTo>
                      <a:cubicBezTo>
                        <a:pt x="31913" y="130694"/>
                        <a:pt x="53154" y="89927"/>
                        <a:pt x="74299" y="49065"/>
                      </a:cubicBezTo>
                      <a:cubicBezTo>
                        <a:pt x="88492" y="21537"/>
                        <a:pt x="110685" y="7155"/>
                        <a:pt x="142022" y="7250"/>
                      </a:cubicBezTo>
                      <a:cubicBezTo>
                        <a:pt x="172883" y="7440"/>
                        <a:pt x="203744" y="7631"/>
                        <a:pt x="234605" y="7155"/>
                      </a:cubicBezTo>
                      <a:cubicBezTo>
                        <a:pt x="259656" y="6774"/>
                        <a:pt x="279563" y="16489"/>
                        <a:pt x="292136" y="37730"/>
                      </a:cubicBezTo>
                      <a:cubicBezTo>
                        <a:pt x="306995" y="62876"/>
                        <a:pt x="319949" y="89165"/>
                        <a:pt x="333665" y="114978"/>
                      </a:cubicBezTo>
                      <a:cubicBezTo>
                        <a:pt x="342047" y="130789"/>
                        <a:pt x="350620" y="146410"/>
                        <a:pt x="358144" y="162603"/>
                      </a:cubicBezTo>
                      <a:cubicBezTo>
                        <a:pt x="361002" y="168889"/>
                        <a:pt x="362716" y="176509"/>
                        <a:pt x="362240" y="183367"/>
                      </a:cubicBezTo>
                      <a:cubicBezTo>
                        <a:pt x="361383" y="196702"/>
                        <a:pt x="353477" y="204989"/>
                        <a:pt x="342619" y="206799"/>
                      </a:cubicBezTo>
                      <a:cubicBezTo>
                        <a:pt x="331951" y="208704"/>
                        <a:pt x="322616" y="203084"/>
                        <a:pt x="316520" y="190892"/>
                      </a:cubicBezTo>
                      <a:cubicBezTo>
                        <a:pt x="311567" y="181081"/>
                        <a:pt x="306805" y="171175"/>
                        <a:pt x="301947" y="161269"/>
                      </a:cubicBezTo>
                      <a:cubicBezTo>
                        <a:pt x="301661" y="160793"/>
                        <a:pt x="300709" y="160602"/>
                        <a:pt x="301852" y="161174"/>
                      </a:cubicBezTo>
                      <a:cubicBezTo>
                        <a:pt x="296994" y="180795"/>
                        <a:pt x="290612" y="200607"/>
                        <a:pt x="287278" y="220896"/>
                      </a:cubicBezTo>
                      <a:cubicBezTo>
                        <a:pt x="274039" y="300715"/>
                        <a:pt x="261561" y="380725"/>
                        <a:pt x="248988" y="460640"/>
                      </a:cubicBezTo>
                      <a:cubicBezTo>
                        <a:pt x="246511" y="476451"/>
                        <a:pt x="236605" y="485691"/>
                        <a:pt x="221461" y="485214"/>
                      </a:cubicBezTo>
                      <a:cubicBezTo>
                        <a:pt x="206887" y="484833"/>
                        <a:pt x="196219" y="474356"/>
                        <a:pt x="196124" y="458449"/>
                      </a:cubicBezTo>
                      <a:cubicBezTo>
                        <a:pt x="195838" y="400537"/>
                        <a:pt x="196124" y="342720"/>
                        <a:pt x="196219" y="284808"/>
                      </a:cubicBezTo>
                      <a:cubicBezTo>
                        <a:pt x="196124" y="280427"/>
                        <a:pt x="196124" y="275950"/>
                        <a:pt x="196124" y="27061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101" name="Freeform: Shape 229">
                  <a:extLst>
                    <a:ext uri="{FF2B5EF4-FFF2-40B4-BE49-F238E27FC236}">
                      <a16:creationId xmlns:a16="http://schemas.microsoft.com/office/drawing/2014/main" id="{D75B5440-CA8A-2840-84C0-87C787CE1148}"/>
                    </a:ext>
                  </a:extLst>
                </p:cNvPr>
                <p:cNvSpPr/>
                <p:nvPr/>
              </p:nvSpPr>
              <p:spPr>
                <a:xfrm>
                  <a:off x="6047795" y="3117055"/>
                  <a:ext cx="104775" cy="104775"/>
                </a:xfrm>
                <a:custGeom>
                  <a:avLst/>
                  <a:gdLst>
                    <a:gd name="connsiteX0" fmla="*/ 54396 w 104775"/>
                    <a:gd name="connsiteY0" fmla="*/ 102300 h 104775"/>
                    <a:gd name="connsiteX1" fmla="*/ 7152 w 104775"/>
                    <a:gd name="connsiteY1" fmla="*/ 53913 h 104775"/>
                    <a:gd name="connsiteX2" fmla="*/ 54872 w 104775"/>
                    <a:gd name="connsiteY2" fmla="*/ 7145 h 104775"/>
                    <a:gd name="connsiteX3" fmla="*/ 102116 w 104775"/>
                    <a:gd name="connsiteY3" fmla="*/ 54389 h 104775"/>
                    <a:gd name="connsiteX4" fmla="*/ 54396 w 104775"/>
                    <a:gd name="connsiteY4" fmla="*/ 102300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775" h="104775">
                      <a:moveTo>
                        <a:pt x="54396" y="102300"/>
                      </a:moveTo>
                      <a:cubicBezTo>
                        <a:pt x="28011" y="102109"/>
                        <a:pt x="6675" y="80297"/>
                        <a:pt x="7152" y="53913"/>
                      </a:cubicBezTo>
                      <a:cubicBezTo>
                        <a:pt x="7723" y="27910"/>
                        <a:pt x="29059" y="6955"/>
                        <a:pt x="54872" y="7145"/>
                      </a:cubicBezTo>
                      <a:cubicBezTo>
                        <a:pt x="80780" y="7240"/>
                        <a:pt x="102021" y="28481"/>
                        <a:pt x="102116" y="54389"/>
                      </a:cubicBezTo>
                      <a:cubicBezTo>
                        <a:pt x="102211" y="80773"/>
                        <a:pt x="80685" y="102395"/>
                        <a:pt x="54396" y="102300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99" name="Oval 98"/>
              <p:cNvSpPr/>
              <p:nvPr/>
            </p:nvSpPr>
            <p:spPr>
              <a:xfrm>
                <a:off x="3037091" y="1854615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85" name="Freeform: Shape 158">
              <a:extLst>
                <a:ext uri="{FF2B5EF4-FFF2-40B4-BE49-F238E27FC236}">
                  <a16:creationId xmlns:a16="http://schemas.microsoft.com/office/drawing/2014/main" id="{8F6C0738-72C5-6A42-9776-24C72905AA14}"/>
                </a:ext>
              </a:extLst>
            </p:cNvPr>
            <p:cNvSpPr/>
            <p:nvPr/>
          </p:nvSpPr>
          <p:spPr>
            <a:xfrm>
              <a:off x="3672568" y="1891169"/>
              <a:ext cx="164805" cy="185143"/>
            </a:xfrm>
            <a:custGeom>
              <a:avLst/>
              <a:gdLst>
                <a:gd name="connsiteX0" fmla="*/ 441960 w 447675"/>
                <a:gd name="connsiteY0" fmla="*/ 233023 h 457200"/>
                <a:gd name="connsiteX1" fmla="*/ 433959 w 447675"/>
                <a:gd name="connsiteY1" fmla="*/ 201400 h 457200"/>
                <a:gd name="connsiteX2" fmla="*/ 445199 w 447675"/>
                <a:gd name="connsiteY2" fmla="*/ 171016 h 457200"/>
                <a:gd name="connsiteX3" fmla="*/ 445199 w 447675"/>
                <a:gd name="connsiteY3" fmla="*/ 170730 h 457200"/>
                <a:gd name="connsiteX4" fmla="*/ 434626 w 447675"/>
                <a:gd name="connsiteY4" fmla="*/ 140059 h 457200"/>
                <a:gd name="connsiteX5" fmla="*/ 443008 w 447675"/>
                <a:gd name="connsiteY5" fmla="*/ 108532 h 457200"/>
                <a:gd name="connsiteX6" fmla="*/ 442913 w 447675"/>
                <a:gd name="connsiteY6" fmla="*/ 107579 h 457200"/>
                <a:gd name="connsiteX7" fmla="*/ 427196 w 447675"/>
                <a:gd name="connsiteY7" fmla="*/ 76432 h 457200"/>
                <a:gd name="connsiteX8" fmla="*/ 428149 w 447675"/>
                <a:gd name="connsiteY8" fmla="*/ 37189 h 457200"/>
                <a:gd name="connsiteX9" fmla="*/ 427577 w 447675"/>
                <a:gd name="connsiteY9" fmla="*/ 35856 h 457200"/>
                <a:gd name="connsiteX10" fmla="*/ 365379 w 447675"/>
                <a:gd name="connsiteY10" fmla="*/ 11567 h 457200"/>
                <a:gd name="connsiteX11" fmla="*/ 361474 w 447675"/>
                <a:gd name="connsiteY11" fmla="*/ 13472 h 457200"/>
                <a:gd name="connsiteX12" fmla="*/ 306991 w 447675"/>
                <a:gd name="connsiteY12" fmla="*/ 18425 h 457200"/>
                <a:gd name="connsiteX13" fmla="*/ 306610 w 447675"/>
                <a:gd name="connsiteY13" fmla="*/ 18806 h 457200"/>
                <a:gd name="connsiteX14" fmla="*/ 290322 w 447675"/>
                <a:gd name="connsiteY14" fmla="*/ 45952 h 457200"/>
                <a:gd name="connsiteX15" fmla="*/ 266033 w 447675"/>
                <a:gd name="connsiteY15" fmla="*/ 54906 h 457200"/>
                <a:gd name="connsiteX16" fmla="*/ 265176 w 447675"/>
                <a:gd name="connsiteY16" fmla="*/ 55573 h 457200"/>
                <a:gd name="connsiteX17" fmla="*/ 251651 w 447675"/>
                <a:gd name="connsiteY17" fmla="*/ 70813 h 457200"/>
                <a:gd name="connsiteX18" fmla="*/ 234506 w 447675"/>
                <a:gd name="connsiteY18" fmla="*/ 70241 h 457200"/>
                <a:gd name="connsiteX19" fmla="*/ 232410 w 447675"/>
                <a:gd name="connsiteY19" fmla="*/ 70622 h 457200"/>
                <a:gd name="connsiteX20" fmla="*/ 232315 w 447675"/>
                <a:gd name="connsiteY20" fmla="*/ 70622 h 457200"/>
                <a:gd name="connsiteX21" fmla="*/ 213931 w 447675"/>
                <a:gd name="connsiteY21" fmla="*/ 78052 h 457200"/>
                <a:gd name="connsiteX22" fmla="*/ 194786 w 447675"/>
                <a:gd name="connsiteY22" fmla="*/ 68622 h 457200"/>
                <a:gd name="connsiteX23" fmla="*/ 194024 w 447675"/>
                <a:gd name="connsiteY23" fmla="*/ 68431 h 457200"/>
                <a:gd name="connsiteX24" fmla="*/ 172879 w 447675"/>
                <a:gd name="connsiteY24" fmla="*/ 68146 h 457200"/>
                <a:gd name="connsiteX25" fmla="*/ 156591 w 447675"/>
                <a:gd name="connsiteY25" fmla="*/ 51191 h 457200"/>
                <a:gd name="connsiteX26" fmla="*/ 156686 w 447675"/>
                <a:gd name="connsiteY26" fmla="*/ 50905 h 457200"/>
                <a:gd name="connsiteX27" fmla="*/ 121253 w 447675"/>
                <a:gd name="connsiteY27" fmla="*/ 43762 h 457200"/>
                <a:gd name="connsiteX28" fmla="*/ 74009 w 447675"/>
                <a:gd name="connsiteY28" fmla="*/ 19473 h 457200"/>
                <a:gd name="connsiteX29" fmla="*/ 71533 w 447675"/>
                <a:gd name="connsiteY29" fmla="*/ 19759 h 457200"/>
                <a:gd name="connsiteX30" fmla="*/ 30861 w 447675"/>
                <a:gd name="connsiteY30" fmla="*/ 71575 h 457200"/>
                <a:gd name="connsiteX31" fmla="*/ 7144 w 447675"/>
                <a:gd name="connsiteY31" fmla="*/ 112818 h 457200"/>
                <a:gd name="connsiteX32" fmla="*/ 7144 w 447675"/>
                <a:gd name="connsiteY32" fmla="*/ 113770 h 457200"/>
                <a:gd name="connsiteX33" fmla="*/ 16764 w 447675"/>
                <a:gd name="connsiteY33" fmla="*/ 142345 h 457200"/>
                <a:gd name="connsiteX34" fmla="*/ 7144 w 447675"/>
                <a:gd name="connsiteY34" fmla="*/ 171016 h 457200"/>
                <a:gd name="connsiteX35" fmla="*/ 7144 w 447675"/>
                <a:gd name="connsiteY35" fmla="*/ 171968 h 457200"/>
                <a:gd name="connsiteX36" fmla="*/ 16764 w 447675"/>
                <a:gd name="connsiteY36" fmla="*/ 200543 h 457200"/>
                <a:gd name="connsiteX37" fmla="*/ 7144 w 447675"/>
                <a:gd name="connsiteY37" fmla="*/ 229309 h 457200"/>
                <a:gd name="connsiteX38" fmla="*/ 7144 w 447675"/>
                <a:gd name="connsiteY38" fmla="*/ 230261 h 457200"/>
                <a:gd name="connsiteX39" fmla="*/ 16955 w 447675"/>
                <a:gd name="connsiteY39" fmla="*/ 258931 h 457200"/>
                <a:gd name="connsiteX40" fmla="*/ 7144 w 447675"/>
                <a:gd name="connsiteY40" fmla="*/ 287506 h 457200"/>
                <a:gd name="connsiteX41" fmla="*/ 7144 w 447675"/>
                <a:gd name="connsiteY41" fmla="*/ 287983 h 457200"/>
                <a:gd name="connsiteX42" fmla="*/ 54769 w 447675"/>
                <a:gd name="connsiteY42" fmla="*/ 335417 h 457200"/>
                <a:gd name="connsiteX43" fmla="*/ 102394 w 447675"/>
                <a:gd name="connsiteY43" fmla="*/ 287506 h 457200"/>
                <a:gd name="connsiteX44" fmla="*/ 92583 w 447675"/>
                <a:gd name="connsiteY44" fmla="*/ 258836 h 457200"/>
                <a:gd name="connsiteX45" fmla="*/ 102394 w 447675"/>
                <a:gd name="connsiteY45" fmla="*/ 230261 h 457200"/>
                <a:gd name="connsiteX46" fmla="*/ 102394 w 447675"/>
                <a:gd name="connsiteY46" fmla="*/ 229309 h 457200"/>
                <a:gd name="connsiteX47" fmla="*/ 92488 w 447675"/>
                <a:gd name="connsiteY47" fmla="*/ 200257 h 457200"/>
                <a:gd name="connsiteX48" fmla="*/ 102394 w 447675"/>
                <a:gd name="connsiteY48" fmla="*/ 171016 h 457200"/>
                <a:gd name="connsiteX49" fmla="*/ 92488 w 447675"/>
                <a:gd name="connsiteY49" fmla="*/ 141964 h 457200"/>
                <a:gd name="connsiteX50" fmla="*/ 100108 w 447675"/>
                <a:gd name="connsiteY50" fmla="*/ 127391 h 457200"/>
                <a:gd name="connsiteX51" fmla="*/ 103823 w 447675"/>
                <a:gd name="connsiteY51" fmla="*/ 130153 h 457200"/>
                <a:gd name="connsiteX52" fmla="*/ 105918 w 447675"/>
                <a:gd name="connsiteY52" fmla="*/ 131487 h 457200"/>
                <a:gd name="connsiteX53" fmla="*/ 141351 w 447675"/>
                <a:gd name="connsiteY53" fmla="*/ 137678 h 457200"/>
                <a:gd name="connsiteX54" fmla="*/ 171736 w 447675"/>
                <a:gd name="connsiteY54" fmla="*/ 160824 h 457200"/>
                <a:gd name="connsiteX55" fmla="*/ 172784 w 447675"/>
                <a:gd name="connsiteY55" fmla="*/ 161110 h 457200"/>
                <a:gd name="connsiteX56" fmla="*/ 210312 w 447675"/>
                <a:gd name="connsiteY56" fmla="*/ 154347 h 457200"/>
                <a:gd name="connsiteX57" fmla="*/ 248603 w 447675"/>
                <a:gd name="connsiteY57" fmla="*/ 164348 h 457200"/>
                <a:gd name="connsiteX58" fmla="*/ 283178 w 447675"/>
                <a:gd name="connsiteY58" fmla="*/ 140440 h 457200"/>
                <a:gd name="connsiteX59" fmla="*/ 321278 w 447675"/>
                <a:gd name="connsiteY59" fmla="*/ 132439 h 457200"/>
                <a:gd name="connsiteX60" fmla="*/ 322040 w 447675"/>
                <a:gd name="connsiteY60" fmla="*/ 131868 h 457200"/>
                <a:gd name="connsiteX61" fmla="*/ 340709 w 447675"/>
                <a:gd name="connsiteY61" fmla="*/ 102817 h 457200"/>
                <a:gd name="connsiteX62" fmla="*/ 349282 w 447675"/>
                <a:gd name="connsiteY62" fmla="*/ 101293 h 457200"/>
                <a:gd name="connsiteX63" fmla="*/ 348139 w 447675"/>
                <a:gd name="connsiteY63" fmla="*/ 116818 h 457200"/>
                <a:gd name="connsiteX64" fmla="*/ 358521 w 447675"/>
                <a:gd name="connsiteY64" fmla="*/ 142536 h 457200"/>
                <a:gd name="connsiteX65" fmla="*/ 349949 w 447675"/>
                <a:gd name="connsiteY65" fmla="*/ 169111 h 457200"/>
                <a:gd name="connsiteX66" fmla="*/ 349949 w 447675"/>
                <a:gd name="connsiteY66" fmla="*/ 170730 h 457200"/>
                <a:gd name="connsiteX67" fmla="*/ 358045 w 447675"/>
                <a:gd name="connsiteY67" fmla="*/ 197305 h 457200"/>
                <a:gd name="connsiteX68" fmla="*/ 347091 w 447675"/>
                <a:gd name="connsiteY68" fmla="*/ 223117 h 457200"/>
                <a:gd name="connsiteX69" fmla="*/ 346900 w 447675"/>
                <a:gd name="connsiteY69" fmla="*/ 224737 h 457200"/>
                <a:gd name="connsiteX70" fmla="*/ 352425 w 447675"/>
                <a:gd name="connsiteY70" fmla="*/ 251502 h 457200"/>
                <a:gd name="connsiteX71" fmla="*/ 338900 w 447675"/>
                <a:gd name="connsiteY71" fmla="*/ 274933 h 457200"/>
                <a:gd name="connsiteX72" fmla="*/ 337471 w 447675"/>
                <a:gd name="connsiteY72" fmla="*/ 287316 h 457200"/>
                <a:gd name="connsiteX73" fmla="*/ 330422 w 447675"/>
                <a:gd name="connsiteY73" fmla="*/ 290650 h 457200"/>
                <a:gd name="connsiteX74" fmla="*/ 311753 w 447675"/>
                <a:gd name="connsiteY74" fmla="*/ 279791 h 457200"/>
                <a:gd name="connsiteX75" fmla="*/ 310610 w 447675"/>
                <a:gd name="connsiteY75" fmla="*/ 279410 h 457200"/>
                <a:gd name="connsiteX76" fmla="*/ 281464 w 447675"/>
                <a:gd name="connsiteY76" fmla="*/ 279886 h 457200"/>
                <a:gd name="connsiteX77" fmla="*/ 255175 w 447675"/>
                <a:gd name="connsiteY77" fmla="*/ 261408 h 457200"/>
                <a:gd name="connsiteX78" fmla="*/ 213074 w 447675"/>
                <a:gd name="connsiteY78" fmla="*/ 268742 h 457200"/>
                <a:gd name="connsiteX79" fmla="*/ 158306 w 447675"/>
                <a:gd name="connsiteY79" fmla="*/ 269123 h 457200"/>
                <a:gd name="connsiteX80" fmla="*/ 154781 w 447675"/>
                <a:gd name="connsiteY80" fmla="*/ 271790 h 457200"/>
                <a:gd name="connsiteX81" fmla="*/ 148590 w 447675"/>
                <a:gd name="connsiteY81" fmla="*/ 338846 h 457200"/>
                <a:gd name="connsiteX82" fmla="*/ 149924 w 447675"/>
                <a:gd name="connsiteY82" fmla="*/ 340370 h 457200"/>
                <a:gd name="connsiteX83" fmla="*/ 151257 w 447675"/>
                <a:gd name="connsiteY83" fmla="*/ 382566 h 457200"/>
                <a:gd name="connsiteX84" fmla="*/ 152019 w 447675"/>
                <a:gd name="connsiteY84" fmla="*/ 383900 h 457200"/>
                <a:gd name="connsiteX85" fmla="*/ 174498 w 447675"/>
                <a:gd name="connsiteY85" fmla="*/ 404474 h 457200"/>
                <a:gd name="connsiteX86" fmla="*/ 203930 w 447675"/>
                <a:gd name="connsiteY86" fmla="*/ 427619 h 457200"/>
                <a:gd name="connsiteX87" fmla="*/ 207931 w 447675"/>
                <a:gd name="connsiteY87" fmla="*/ 453813 h 457200"/>
                <a:gd name="connsiteX88" fmla="*/ 223171 w 447675"/>
                <a:gd name="connsiteY88" fmla="*/ 398282 h 457200"/>
                <a:gd name="connsiteX89" fmla="*/ 240983 w 447675"/>
                <a:gd name="connsiteY89" fmla="*/ 354848 h 457200"/>
                <a:gd name="connsiteX90" fmla="*/ 258032 w 447675"/>
                <a:gd name="connsiteY90" fmla="*/ 352277 h 457200"/>
                <a:gd name="connsiteX91" fmla="*/ 283274 w 447675"/>
                <a:gd name="connsiteY91" fmla="*/ 370564 h 457200"/>
                <a:gd name="connsiteX92" fmla="*/ 284036 w 447675"/>
                <a:gd name="connsiteY92" fmla="*/ 370755 h 457200"/>
                <a:gd name="connsiteX93" fmla="*/ 321564 w 447675"/>
                <a:gd name="connsiteY93" fmla="*/ 366659 h 457200"/>
                <a:gd name="connsiteX94" fmla="*/ 366808 w 447675"/>
                <a:gd name="connsiteY94" fmla="*/ 377994 h 457200"/>
                <a:gd name="connsiteX95" fmla="*/ 367760 w 447675"/>
                <a:gd name="connsiteY95" fmla="*/ 377708 h 457200"/>
                <a:gd name="connsiteX96" fmla="*/ 402908 w 447675"/>
                <a:gd name="connsiteY96" fmla="*/ 330845 h 457200"/>
                <a:gd name="connsiteX97" fmla="*/ 431673 w 447675"/>
                <a:gd name="connsiteY97" fmla="*/ 298079 h 457200"/>
                <a:gd name="connsiteX98" fmla="*/ 431959 w 447675"/>
                <a:gd name="connsiteY98" fmla="*/ 296841 h 457200"/>
                <a:gd name="connsiteX99" fmla="*/ 427577 w 447675"/>
                <a:gd name="connsiteY99" fmla="*/ 263218 h 457200"/>
                <a:gd name="connsiteX100" fmla="*/ 442055 w 447675"/>
                <a:gd name="connsiteY100" fmla="*/ 233309 h 457200"/>
                <a:gd name="connsiteX101" fmla="*/ 441960 w 447675"/>
                <a:gd name="connsiteY101" fmla="*/ 23302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47675" h="457200">
                  <a:moveTo>
                    <a:pt x="441960" y="233023"/>
                  </a:moveTo>
                  <a:cubicBezTo>
                    <a:pt x="443198" y="221403"/>
                    <a:pt x="440055" y="210354"/>
                    <a:pt x="433959" y="201400"/>
                  </a:cubicBezTo>
                  <a:cubicBezTo>
                    <a:pt x="440912" y="193209"/>
                    <a:pt x="445103" y="182541"/>
                    <a:pt x="445199" y="171016"/>
                  </a:cubicBezTo>
                  <a:lnTo>
                    <a:pt x="445199" y="170730"/>
                  </a:lnTo>
                  <a:cubicBezTo>
                    <a:pt x="445389" y="159109"/>
                    <a:pt x="441389" y="148441"/>
                    <a:pt x="434626" y="140059"/>
                  </a:cubicBezTo>
                  <a:cubicBezTo>
                    <a:pt x="440817" y="131201"/>
                    <a:pt x="444056" y="120152"/>
                    <a:pt x="443008" y="108532"/>
                  </a:cubicBezTo>
                  <a:lnTo>
                    <a:pt x="442913" y="107579"/>
                  </a:lnTo>
                  <a:cubicBezTo>
                    <a:pt x="441770" y="95006"/>
                    <a:pt x="435864" y="84052"/>
                    <a:pt x="427196" y="76432"/>
                  </a:cubicBezTo>
                  <a:cubicBezTo>
                    <a:pt x="432911" y="64526"/>
                    <a:pt x="433673" y="50334"/>
                    <a:pt x="428149" y="37189"/>
                  </a:cubicBezTo>
                  <a:cubicBezTo>
                    <a:pt x="428054" y="36999"/>
                    <a:pt x="427673" y="35951"/>
                    <a:pt x="427577" y="35856"/>
                  </a:cubicBezTo>
                  <a:cubicBezTo>
                    <a:pt x="417100" y="11853"/>
                    <a:pt x="389382" y="1185"/>
                    <a:pt x="365379" y="11567"/>
                  </a:cubicBezTo>
                  <a:cubicBezTo>
                    <a:pt x="364046" y="12139"/>
                    <a:pt x="362712" y="12805"/>
                    <a:pt x="361474" y="13472"/>
                  </a:cubicBezTo>
                  <a:cubicBezTo>
                    <a:pt x="344615" y="3757"/>
                    <a:pt x="322707" y="5090"/>
                    <a:pt x="306991" y="18425"/>
                  </a:cubicBezTo>
                  <a:lnTo>
                    <a:pt x="306610" y="18806"/>
                  </a:lnTo>
                  <a:cubicBezTo>
                    <a:pt x="297942" y="26045"/>
                    <a:pt x="292418" y="35665"/>
                    <a:pt x="290322" y="45952"/>
                  </a:cubicBezTo>
                  <a:cubicBezTo>
                    <a:pt x="281845" y="46619"/>
                    <a:pt x="273463" y="49572"/>
                    <a:pt x="266033" y="54906"/>
                  </a:cubicBezTo>
                  <a:cubicBezTo>
                    <a:pt x="265938" y="55001"/>
                    <a:pt x="265367" y="55382"/>
                    <a:pt x="265176" y="55573"/>
                  </a:cubicBezTo>
                  <a:cubicBezTo>
                    <a:pt x="259461" y="59764"/>
                    <a:pt x="254889" y="65002"/>
                    <a:pt x="251651" y="70813"/>
                  </a:cubicBezTo>
                  <a:cubicBezTo>
                    <a:pt x="246221" y="69574"/>
                    <a:pt x="240411" y="69384"/>
                    <a:pt x="234506" y="70241"/>
                  </a:cubicBezTo>
                  <a:cubicBezTo>
                    <a:pt x="234125" y="70336"/>
                    <a:pt x="232791" y="70527"/>
                    <a:pt x="232410" y="70622"/>
                  </a:cubicBezTo>
                  <a:lnTo>
                    <a:pt x="232315" y="70622"/>
                  </a:lnTo>
                  <a:cubicBezTo>
                    <a:pt x="225552" y="71860"/>
                    <a:pt x="219361" y="74432"/>
                    <a:pt x="213931" y="78052"/>
                  </a:cubicBezTo>
                  <a:cubicBezTo>
                    <a:pt x="208502" y="73670"/>
                    <a:pt x="202025" y="70336"/>
                    <a:pt x="194786" y="68622"/>
                  </a:cubicBezTo>
                  <a:lnTo>
                    <a:pt x="194024" y="68431"/>
                  </a:lnTo>
                  <a:cubicBezTo>
                    <a:pt x="186881" y="66717"/>
                    <a:pt x="179642" y="66717"/>
                    <a:pt x="172879" y="68146"/>
                  </a:cubicBezTo>
                  <a:cubicBezTo>
                    <a:pt x="169069" y="61478"/>
                    <a:pt x="163640" y="55573"/>
                    <a:pt x="156591" y="51191"/>
                  </a:cubicBezTo>
                  <a:lnTo>
                    <a:pt x="156686" y="50905"/>
                  </a:lnTo>
                  <a:cubicBezTo>
                    <a:pt x="145828" y="43666"/>
                    <a:pt x="133160" y="41476"/>
                    <a:pt x="121253" y="43762"/>
                  </a:cubicBezTo>
                  <a:cubicBezTo>
                    <a:pt x="112205" y="27283"/>
                    <a:pt x="93821" y="17282"/>
                    <a:pt x="74009" y="19473"/>
                  </a:cubicBezTo>
                  <a:lnTo>
                    <a:pt x="71533" y="19759"/>
                  </a:lnTo>
                  <a:cubicBezTo>
                    <a:pt x="46292" y="23569"/>
                    <a:pt x="28385" y="46429"/>
                    <a:pt x="30861" y="71575"/>
                  </a:cubicBezTo>
                  <a:cubicBezTo>
                    <a:pt x="16669" y="79861"/>
                    <a:pt x="7144" y="95197"/>
                    <a:pt x="7144" y="112818"/>
                  </a:cubicBezTo>
                  <a:lnTo>
                    <a:pt x="7144" y="113770"/>
                  </a:lnTo>
                  <a:cubicBezTo>
                    <a:pt x="7144" y="124534"/>
                    <a:pt x="10763" y="134440"/>
                    <a:pt x="16764" y="142345"/>
                  </a:cubicBezTo>
                  <a:cubicBezTo>
                    <a:pt x="10763" y="150251"/>
                    <a:pt x="7144" y="160252"/>
                    <a:pt x="7144" y="171016"/>
                  </a:cubicBezTo>
                  <a:lnTo>
                    <a:pt x="7144" y="171968"/>
                  </a:lnTo>
                  <a:cubicBezTo>
                    <a:pt x="7144" y="182731"/>
                    <a:pt x="10763" y="192637"/>
                    <a:pt x="16764" y="200543"/>
                  </a:cubicBezTo>
                  <a:cubicBezTo>
                    <a:pt x="10763" y="208544"/>
                    <a:pt x="7144" y="218450"/>
                    <a:pt x="7144" y="229309"/>
                  </a:cubicBezTo>
                  <a:lnTo>
                    <a:pt x="7144" y="230261"/>
                  </a:lnTo>
                  <a:cubicBezTo>
                    <a:pt x="7144" y="241024"/>
                    <a:pt x="10859" y="250930"/>
                    <a:pt x="16955" y="258931"/>
                  </a:cubicBezTo>
                  <a:cubicBezTo>
                    <a:pt x="10859" y="266837"/>
                    <a:pt x="7144" y="276743"/>
                    <a:pt x="7144" y="287506"/>
                  </a:cubicBezTo>
                  <a:lnTo>
                    <a:pt x="7144" y="287983"/>
                  </a:lnTo>
                  <a:cubicBezTo>
                    <a:pt x="7144" y="314272"/>
                    <a:pt x="28480" y="335417"/>
                    <a:pt x="54769" y="335417"/>
                  </a:cubicBezTo>
                  <a:cubicBezTo>
                    <a:pt x="81058" y="335417"/>
                    <a:pt x="102394" y="313891"/>
                    <a:pt x="102394" y="287506"/>
                  </a:cubicBezTo>
                  <a:cubicBezTo>
                    <a:pt x="102394" y="276743"/>
                    <a:pt x="98679" y="266837"/>
                    <a:pt x="92583" y="258836"/>
                  </a:cubicBezTo>
                  <a:cubicBezTo>
                    <a:pt x="98679" y="250930"/>
                    <a:pt x="102394" y="241024"/>
                    <a:pt x="102394" y="230261"/>
                  </a:cubicBezTo>
                  <a:lnTo>
                    <a:pt x="102394" y="229309"/>
                  </a:lnTo>
                  <a:cubicBezTo>
                    <a:pt x="102394" y="218355"/>
                    <a:pt x="98679" y="208354"/>
                    <a:pt x="92488" y="200257"/>
                  </a:cubicBezTo>
                  <a:cubicBezTo>
                    <a:pt x="98679" y="192066"/>
                    <a:pt x="102394" y="181969"/>
                    <a:pt x="102394" y="171016"/>
                  </a:cubicBezTo>
                  <a:cubicBezTo>
                    <a:pt x="102394" y="160062"/>
                    <a:pt x="98679" y="149965"/>
                    <a:pt x="92488" y="141964"/>
                  </a:cubicBezTo>
                  <a:cubicBezTo>
                    <a:pt x="95822" y="137583"/>
                    <a:pt x="98393" y="132725"/>
                    <a:pt x="100108" y="127391"/>
                  </a:cubicBezTo>
                  <a:cubicBezTo>
                    <a:pt x="101251" y="128344"/>
                    <a:pt x="102489" y="129296"/>
                    <a:pt x="103823" y="130153"/>
                  </a:cubicBezTo>
                  <a:lnTo>
                    <a:pt x="105918" y="131487"/>
                  </a:lnTo>
                  <a:cubicBezTo>
                    <a:pt x="116872" y="138250"/>
                    <a:pt x="129635" y="140155"/>
                    <a:pt x="141351" y="137678"/>
                  </a:cubicBezTo>
                  <a:cubicBezTo>
                    <a:pt x="147542" y="148918"/>
                    <a:pt x="158306" y="157585"/>
                    <a:pt x="171736" y="160824"/>
                  </a:cubicBezTo>
                  <a:lnTo>
                    <a:pt x="172784" y="161110"/>
                  </a:lnTo>
                  <a:cubicBezTo>
                    <a:pt x="186214" y="164348"/>
                    <a:pt x="199739" y="161491"/>
                    <a:pt x="210312" y="154347"/>
                  </a:cubicBezTo>
                  <a:cubicBezTo>
                    <a:pt x="220599" y="162824"/>
                    <a:pt x="234410" y="166825"/>
                    <a:pt x="248603" y="164348"/>
                  </a:cubicBezTo>
                  <a:cubicBezTo>
                    <a:pt x="263747" y="162062"/>
                    <a:pt x="276225" y="152918"/>
                    <a:pt x="283178" y="140440"/>
                  </a:cubicBezTo>
                  <a:cubicBezTo>
                    <a:pt x="295942" y="143203"/>
                    <a:pt x="309848" y="140726"/>
                    <a:pt x="321278" y="132439"/>
                  </a:cubicBezTo>
                  <a:lnTo>
                    <a:pt x="322040" y="131868"/>
                  </a:lnTo>
                  <a:cubicBezTo>
                    <a:pt x="332042" y="124534"/>
                    <a:pt x="338423" y="114056"/>
                    <a:pt x="340709" y="102817"/>
                  </a:cubicBezTo>
                  <a:cubicBezTo>
                    <a:pt x="343567" y="102626"/>
                    <a:pt x="346520" y="102055"/>
                    <a:pt x="349282" y="101293"/>
                  </a:cubicBezTo>
                  <a:cubicBezTo>
                    <a:pt x="348044" y="106246"/>
                    <a:pt x="347663" y="111484"/>
                    <a:pt x="348139" y="116818"/>
                  </a:cubicBezTo>
                  <a:cubicBezTo>
                    <a:pt x="348996" y="126629"/>
                    <a:pt x="352806" y="135487"/>
                    <a:pt x="358521" y="142536"/>
                  </a:cubicBezTo>
                  <a:cubicBezTo>
                    <a:pt x="353187" y="150061"/>
                    <a:pt x="350044" y="159205"/>
                    <a:pt x="349949" y="169111"/>
                  </a:cubicBezTo>
                  <a:cubicBezTo>
                    <a:pt x="349949" y="169301"/>
                    <a:pt x="349949" y="170539"/>
                    <a:pt x="349949" y="170730"/>
                  </a:cubicBezTo>
                  <a:cubicBezTo>
                    <a:pt x="349949" y="180636"/>
                    <a:pt x="352901" y="189780"/>
                    <a:pt x="358045" y="197305"/>
                  </a:cubicBezTo>
                  <a:cubicBezTo>
                    <a:pt x="352139" y="204353"/>
                    <a:pt x="348139" y="213211"/>
                    <a:pt x="347091" y="223117"/>
                  </a:cubicBezTo>
                  <a:lnTo>
                    <a:pt x="346900" y="224737"/>
                  </a:lnTo>
                  <a:cubicBezTo>
                    <a:pt x="346043" y="234357"/>
                    <a:pt x="348139" y="243596"/>
                    <a:pt x="352425" y="251502"/>
                  </a:cubicBezTo>
                  <a:cubicBezTo>
                    <a:pt x="345948" y="257693"/>
                    <a:pt x="341186" y="265694"/>
                    <a:pt x="338900" y="274933"/>
                  </a:cubicBezTo>
                  <a:cubicBezTo>
                    <a:pt x="337852" y="279029"/>
                    <a:pt x="337375" y="283220"/>
                    <a:pt x="337471" y="287316"/>
                  </a:cubicBezTo>
                  <a:cubicBezTo>
                    <a:pt x="334994" y="288268"/>
                    <a:pt x="332613" y="289316"/>
                    <a:pt x="330422" y="290650"/>
                  </a:cubicBezTo>
                  <a:cubicBezTo>
                    <a:pt x="325279" y="285792"/>
                    <a:pt x="318992" y="281982"/>
                    <a:pt x="311753" y="279791"/>
                  </a:cubicBezTo>
                  <a:lnTo>
                    <a:pt x="310610" y="279410"/>
                  </a:lnTo>
                  <a:cubicBezTo>
                    <a:pt x="300704" y="276457"/>
                    <a:pt x="290608" y="276743"/>
                    <a:pt x="281464" y="279886"/>
                  </a:cubicBezTo>
                  <a:cubicBezTo>
                    <a:pt x="275368" y="271123"/>
                    <a:pt x="266224" y="264456"/>
                    <a:pt x="255175" y="261408"/>
                  </a:cubicBezTo>
                  <a:cubicBezTo>
                    <a:pt x="240221" y="256836"/>
                    <a:pt x="224695" y="260074"/>
                    <a:pt x="213074" y="268742"/>
                  </a:cubicBezTo>
                  <a:cubicBezTo>
                    <a:pt x="196977" y="257598"/>
                    <a:pt x="175069" y="257122"/>
                    <a:pt x="158306" y="269123"/>
                  </a:cubicBezTo>
                  <a:cubicBezTo>
                    <a:pt x="157067" y="269980"/>
                    <a:pt x="155924" y="270838"/>
                    <a:pt x="154781" y="271790"/>
                  </a:cubicBezTo>
                  <a:cubicBezTo>
                    <a:pt x="134588" y="288554"/>
                    <a:pt x="131731" y="318653"/>
                    <a:pt x="148590" y="338846"/>
                  </a:cubicBezTo>
                  <a:cubicBezTo>
                    <a:pt x="149066" y="339323"/>
                    <a:pt x="149447" y="339894"/>
                    <a:pt x="149924" y="340370"/>
                  </a:cubicBezTo>
                  <a:cubicBezTo>
                    <a:pt x="144018" y="353419"/>
                    <a:pt x="143923" y="368945"/>
                    <a:pt x="151257" y="382566"/>
                  </a:cubicBezTo>
                  <a:cubicBezTo>
                    <a:pt x="151352" y="382756"/>
                    <a:pt x="151924" y="383804"/>
                    <a:pt x="152019" y="383900"/>
                  </a:cubicBezTo>
                  <a:cubicBezTo>
                    <a:pt x="157258" y="393425"/>
                    <a:pt x="165259" y="400378"/>
                    <a:pt x="174498" y="404474"/>
                  </a:cubicBezTo>
                  <a:cubicBezTo>
                    <a:pt x="177165" y="417237"/>
                    <a:pt x="195167" y="420761"/>
                    <a:pt x="203930" y="427619"/>
                  </a:cubicBezTo>
                  <a:cubicBezTo>
                    <a:pt x="215075" y="436382"/>
                    <a:pt x="207931" y="453813"/>
                    <a:pt x="207931" y="453813"/>
                  </a:cubicBezTo>
                  <a:cubicBezTo>
                    <a:pt x="228981" y="436478"/>
                    <a:pt x="227838" y="414094"/>
                    <a:pt x="223171" y="398282"/>
                  </a:cubicBezTo>
                  <a:cubicBezTo>
                    <a:pt x="236411" y="387805"/>
                    <a:pt x="242983" y="371231"/>
                    <a:pt x="240983" y="354848"/>
                  </a:cubicBezTo>
                  <a:cubicBezTo>
                    <a:pt x="246793" y="355039"/>
                    <a:pt x="252603" y="354181"/>
                    <a:pt x="258032" y="352277"/>
                  </a:cubicBezTo>
                  <a:cubicBezTo>
                    <a:pt x="263938" y="360754"/>
                    <a:pt x="272606" y="367326"/>
                    <a:pt x="283274" y="370564"/>
                  </a:cubicBezTo>
                  <a:lnTo>
                    <a:pt x="284036" y="370755"/>
                  </a:lnTo>
                  <a:cubicBezTo>
                    <a:pt x="297085" y="374755"/>
                    <a:pt x="310610" y="372851"/>
                    <a:pt x="321564" y="366659"/>
                  </a:cubicBezTo>
                  <a:cubicBezTo>
                    <a:pt x="333280" y="377613"/>
                    <a:pt x="350234" y="382471"/>
                    <a:pt x="366808" y="377994"/>
                  </a:cubicBezTo>
                  <a:lnTo>
                    <a:pt x="367760" y="377708"/>
                  </a:lnTo>
                  <a:cubicBezTo>
                    <a:pt x="389287" y="371803"/>
                    <a:pt x="403289" y="352181"/>
                    <a:pt x="402908" y="330845"/>
                  </a:cubicBezTo>
                  <a:cubicBezTo>
                    <a:pt x="416719" y="325416"/>
                    <a:pt x="427863" y="313605"/>
                    <a:pt x="431673" y="298079"/>
                  </a:cubicBezTo>
                  <a:lnTo>
                    <a:pt x="431959" y="296841"/>
                  </a:lnTo>
                  <a:cubicBezTo>
                    <a:pt x="434816" y="284935"/>
                    <a:pt x="433007" y="273124"/>
                    <a:pt x="427577" y="263218"/>
                  </a:cubicBezTo>
                  <a:cubicBezTo>
                    <a:pt x="435578" y="255598"/>
                    <a:pt x="440912" y="245120"/>
                    <a:pt x="442055" y="233309"/>
                  </a:cubicBezTo>
                  <a:lnTo>
                    <a:pt x="441960" y="233023"/>
                  </a:lnTo>
                  <a:close/>
                </a:path>
              </a:pathLst>
            </a:custGeom>
            <a:solidFill>
              <a:srgbClr val="1E70B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sz="1467" dirty="0">
                <a:latin typeface="Arial" panose="020B0604020202020204"/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3635956" y="1852813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87" name="Group 86"/>
            <p:cNvGrpSpPr/>
            <p:nvPr/>
          </p:nvGrpSpPr>
          <p:grpSpPr>
            <a:xfrm>
              <a:off x="3661799" y="2198513"/>
              <a:ext cx="240001" cy="251310"/>
              <a:chOff x="3656928" y="2244240"/>
              <a:chExt cx="240001" cy="251310"/>
            </a:xfrm>
          </p:grpSpPr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AB1F0595-EDB1-E140-8678-83C6ACDF320C}"/>
                  </a:ext>
                </a:extLst>
              </p:cNvPr>
              <p:cNvGrpSpPr/>
              <p:nvPr/>
            </p:nvGrpSpPr>
            <p:grpSpPr>
              <a:xfrm>
                <a:off x="3724599" y="2281411"/>
                <a:ext cx="105751" cy="168566"/>
                <a:chOff x="7356475" y="1863725"/>
                <a:chExt cx="842977" cy="1290635"/>
              </a:xfrm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63500" sx="102000" sy="102000" algn="ctr" rotWithShape="0">
                  <a:schemeClr val="tx2">
                    <a:alpha val="16000"/>
                  </a:schemeClr>
                </a:outerShdw>
              </a:effectLst>
            </p:grpSpPr>
            <p:sp>
              <p:nvSpPr>
                <p:cNvPr id="95" name="Freeform 84">
                  <a:extLst>
                    <a:ext uri="{FF2B5EF4-FFF2-40B4-BE49-F238E27FC236}">
                      <a16:creationId xmlns:a16="http://schemas.microsoft.com/office/drawing/2014/main" id="{24139977-DB1A-1847-AC7E-616EF836A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2841" y="2068516"/>
                  <a:ext cx="836611" cy="1085844"/>
                </a:xfrm>
                <a:custGeom>
                  <a:avLst/>
                  <a:gdLst>
                    <a:gd name="T0" fmla="*/ 798 w 1101"/>
                    <a:gd name="T1" fmla="*/ 286 h 1430"/>
                    <a:gd name="T2" fmla="*/ 907 w 1101"/>
                    <a:gd name="T3" fmla="*/ 196 h 1430"/>
                    <a:gd name="T4" fmla="*/ 980 w 1101"/>
                    <a:gd name="T5" fmla="*/ 84 h 1430"/>
                    <a:gd name="T6" fmla="*/ 892 w 1101"/>
                    <a:gd name="T7" fmla="*/ 14 h 1430"/>
                    <a:gd name="T8" fmla="*/ 444 w 1101"/>
                    <a:gd name="T9" fmla="*/ 465 h 1430"/>
                    <a:gd name="T10" fmla="*/ 128 w 1101"/>
                    <a:gd name="T11" fmla="*/ 733 h 1430"/>
                    <a:gd name="T12" fmla="*/ 85 w 1101"/>
                    <a:gd name="T13" fmla="*/ 911 h 1430"/>
                    <a:gd name="T14" fmla="*/ 858 w 1101"/>
                    <a:gd name="T15" fmla="*/ 1418 h 1430"/>
                    <a:gd name="T16" fmla="*/ 1086 w 1101"/>
                    <a:gd name="T17" fmla="*/ 974 h 1430"/>
                    <a:gd name="T18" fmla="*/ 798 w 1101"/>
                    <a:gd name="T19" fmla="*/ 286 h 1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01" h="1430">
                      <a:moveTo>
                        <a:pt x="798" y="286"/>
                      </a:moveTo>
                      <a:cubicBezTo>
                        <a:pt x="810" y="269"/>
                        <a:pt x="866" y="215"/>
                        <a:pt x="907" y="196"/>
                      </a:cubicBezTo>
                      <a:cubicBezTo>
                        <a:pt x="948" y="177"/>
                        <a:pt x="997" y="169"/>
                        <a:pt x="980" y="84"/>
                      </a:cubicBezTo>
                      <a:cubicBezTo>
                        <a:pt x="963" y="0"/>
                        <a:pt x="892" y="14"/>
                        <a:pt x="892" y="14"/>
                      </a:cubicBezTo>
                      <a:cubicBezTo>
                        <a:pt x="635" y="58"/>
                        <a:pt x="490" y="334"/>
                        <a:pt x="444" y="465"/>
                      </a:cubicBezTo>
                      <a:cubicBezTo>
                        <a:pt x="398" y="596"/>
                        <a:pt x="257" y="683"/>
                        <a:pt x="128" y="733"/>
                      </a:cubicBezTo>
                      <a:cubicBezTo>
                        <a:pt x="0" y="784"/>
                        <a:pt x="85" y="911"/>
                        <a:pt x="85" y="911"/>
                      </a:cubicBezTo>
                      <a:cubicBezTo>
                        <a:pt x="359" y="1345"/>
                        <a:pt x="708" y="1406"/>
                        <a:pt x="858" y="1418"/>
                      </a:cubicBezTo>
                      <a:cubicBezTo>
                        <a:pt x="1009" y="1430"/>
                        <a:pt x="1072" y="1376"/>
                        <a:pt x="1086" y="974"/>
                      </a:cubicBezTo>
                      <a:cubicBezTo>
                        <a:pt x="1101" y="572"/>
                        <a:pt x="798" y="286"/>
                        <a:pt x="798" y="28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96" name="Freeform 85">
                  <a:extLst>
                    <a:ext uri="{FF2B5EF4-FFF2-40B4-BE49-F238E27FC236}">
                      <a16:creationId xmlns:a16="http://schemas.microsoft.com/office/drawing/2014/main" id="{D1585969-832E-9045-8B44-66F08B70DF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475" y="2106613"/>
                  <a:ext cx="241300" cy="544513"/>
                </a:xfrm>
                <a:custGeom>
                  <a:avLst/>
                  <a:gdLst>
                    <a:gd name="T0" fmla="*/ 139 w 317"/>
                    <a:gd name="T1" fmla="*/ 632 h 716"/>
                    <a:gd name="T2" fmla="*/ 317 w 317"/>
                    <a:gd name="T3" fmla="*/ 529 h 716"/>
                    <a:gd name="T4" fmla="*/ 252 w 317"/>
                    <a:gd name="T5" fmla="*/ 238 h 716"/>
                    <a:gd name="T6" fmla="*/ 220 w 317"/>
                    <a:gd name="T7" fmla="*/ 10 h 716"/>
                    <a:gd name="T8" fmla="*/ 121 w 317"/>
                    <a:gd name="T9" fmla="*/ 78 h 716"/>
                    <a:gd name="T10" fmla="*/ 157 w 317"/>
                    <a:gd name="T11" fmla="*/ 182 h 716"/>
                    <a:gd name="T12" fmla="*/ 121 w 317"/>
                    <a:gd name="T13" fmla="*/ 361 h 716"/>
                    <a:gd name="T14" fmla="*/ 36 w 317"/>
                    <a:gd name="T15" fmla="*/ 716 h 716"/>
                    <a:gd name="T16" fmla="*/ 139 w 317"/>
                    <a:gd name="T17" fmla="*/ 632 h 7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7" h="716">
                      <a:moveTo>
                        <a:pt x="139" y="632"/>
                      </a:moveTo>
                      <a:cubicBezTo>
                        <a:pt x="237" y="593"/>
                        <a:pt x="317" y="529"/>
                        <a:pt x="317" y="529"/>
                      </a:cubicBezTo>
                      <a:cubicBezTo>
                        <a:pt x="317" y="529"/>
                        <a:pt x="232" y="350"/>
                        <a:pt x="252" y="238"/>
                      </a:cubicBezTo>
                      <a:cubicBezTo>
                        <a:pt x="271" y="127"/>
                        <a:pt x="261" y="20"/>
                        <a:pt x="220" y="10"/>
                      </a:cubicBezTo>
                      <a:cubicBezTo>
                        <a:pt x="179" y="0"/>
                        <a:pt x="111" y="5"/>
                        <a:pt x="121" y="78"/>
                      </a:cubicBezTo>
                      <a:cubicBezTo>
                        <a:pt x="121" y="78"/>
                        <a:pt x="184" y="97"/>
                        <a:pt x="157" y="182"/>
                      </a:cubicBezTo>
                      <a:cubicBezTo>
                        <a:pt x="130" y="267"/>
                        <a:pt x="111" y="331"/>
                        <a:pt x="121" y="361"/>
                      </a:cubicBezTo>
                      <a:cubicBezTo>
                        <a:pt x="121" y="361"/>
                        <a:pt x="0" y="541"/>
                        <a:pt x="36" y="716"/>
                      </a:cubicBezTo>
                      <a:cubicBezTo>
                        <a:pt x="36" y="716"/>
                        <a:pt x="49" y="668"/>
                        <a:pt x="139" y="632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97" name="Freeform 86">
                  <a:extLst>
                    <a:ext uri="{FF2B5EF4-FFF2-40B4-BE49-F238E27FC236}">
                      <a16:creationId xmlns:a16="http://schemas.microsoft.com/office/drawing/2014/main" id="{33C54B1A-1670-4043-B393-8D0093E88D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7613" y="1863725"/>
                  <a:ext cx="420688" cy="611188"/>
                </a:xfrm>
                <a:custGeom>
                  <a:avLst/>
                  <a:gdLst>
                    <a:gd name="T0" fmla="*/ 143 w 555"/>
                    <a:gd name="T1" fmla="*/ 679 h 805"/>
                    <a:gd name="T2" fmla="*/ 272 w 555"/>
                    <a:gd name="T3" fmla="*/ 454 h 805"/>
                    <a:gd name="T4" fmla="*/ 332 w 555"/>
                    <a:gd name="T5" fmla="*/ 254 h 805"/>
                    <a:gd name="T6" fmla="*/ 463 w 555"/>
                    <a:gd name="T7" fmla="*/ 277 h 805"/>
                    <a:gd name="T8" fmla="*/ 555 w 555"/>
                    <a:gd name="T9" fmla="*/ 236 h 805"/>
                    <a:gd name="T10" fmla="*/ 400 w 555"/>
                    <a:gd name="T11" fmla="*/ 105 h 805"/>
                    <a:gd name="T12" fmla="*/ 386 w 555"/>
                    <a:gd name="T13" fmla="*/ 39 h 805"/>
                    <a:gd name="T14" fmla="*/ 349 w 555"/>
                    <a:gd name="T15" fmla="*/ 44 h 805"/>
                    <a:gd name="T16" fmla="*/ 306 w 555"/>
                    <a:gd name="T17" fmla="*/ 119 h 805"/>
                    <a:gd name="T18" fmla="*/ 272 w 555"/>
                    <a:gd name="T19" fmla="*/ 34 h 805"/>
                    <a:gd name="T20" fmla="*/ 231 w 555"/>
                    <a:gd name="T21" fmla="*/ 42 h 805"/>
                    <a:gd name="T22" fmla="*/ 209 w 555"/>
                    <a:gd name="T23" fmla="*/ 136 h 805"/>
                    <a:gd name="T24" fmla="*/ 146 w 555"/>
                    <a:gd name="T25" fmla="*/ 93 h 805"/>
                    <a:gd name="T26" fmla="*/ 80 w 555"/>
                    <a:gd name="T27" fmla="*/ 93 h 805"/>
                    <a:gd name="T28" fmla="*/ 88 w 555"/>
                    <a:gd name="T29" fmla="*/ 238 h 805"/>
                    <a:gd name="T30" fmla="*/ 15 w 555"/>
                    <a:gd name="T31" fmla="*/ 514 h 805"/>
                    <a:gd name="T32" fmla="*/ 85 w 555"/>
                    <a:gd name="T33" fmla="*/ 805 h 805"/>
                    <a:gd name="T34" fmla="*/ 143 w 555"/>
                    <a:gd name="T35" fmla="*/ 679 h 8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5" h="805">
                      <a:moveTo>
                        <a:pt x="143" y="679"/>
                      </a:moveTo>
                      <a:cubicBezTo>
                        <a:pt x="177" y="575"/>
                        <a:pt x="272" y="454"/>
                        <a:pt x="272" y="454"/>
                      </a:cubicBezTo>
                      <a:cubicBezTo>
                        <a:pt x="272" y="454"/>
                        <a:pt x="267" y="274"/>
                        <a:pt x="332" y="254"/>
                      </a:cubicBezTo>
                      <a:cubicBezTo>
                        <a:pt x="398" y="234"/>
                        <a:pt x="463" y="277"/>
                        <a:pt x="463" y="277"/>
                      </a:cubicBezTo>
                      <a:cubicBezTo>
                        <a:pt x="555" y="236"/>
                        <a:pt x="555" y="236"/>
                        <a:pt x="555" y="236"/>
                      </a:cubicBezTo>
                      <a:cubicBezTo>
                        <a:pt x="517" y="148"/>
                        <a:pt x="422" y="119"/>
                        <a:pt x="400" y="105"/>
                      </a:cubicBezTo>
                      <a:cubicBezTo>
                        <a:pt x="378" y="90"/>
                        <a:pt x="386" y="39"/>
                        <a:pt x="386" y="39"/>
                      </a:cubicBezTo>
                      <a:cubicBezTo>
                        <a:pt x="378" y="10"/>
                        <a:pt x="345" y="20"/>
                        <a:pt x="349" y="44"/>
                      </a:cubicBezTo>
                      <a:cubicBezTo>
                        <a:pt x="354" y="68"/>
                        <a:pt x="342" y="119"/>
                        <a:pt x="306" y="119"/>
                      </a:cubicBezTo>
                      <a:cubicBezTo>
                        <a:pt x="269" y="119"/>
                        <a:pt x="272" y="34"/>
                        <a:pt x="272" y="34"/>
                      </a:cubicBezTo>
                      <a:cubicBezTo>
                        <a:pt x="238" y="0"/>
                        <a:pt x="231" y="42"/>
                        <a:pt x="231" y="42"/>
                      </a:cubicBezTo>
                      <a:cubicBezTo>
                        <a:pt x="231" y="42"/>
                        <a:pt x="243" y="127"/>
                        <a:pt x="209" y="136"/>
                      </a:cubicBezTo>
                      <a:cubicBezTo>
                        <a:pt x="175" y="146"/>
                        <a:pt x="146" y="93"/>
                        <a:pt x="146" y="93"/>
                      </a:cubicBezTo>
                      <a:cubicBezTo>
                        <a:pt x="146" y="93"/>
                        <a:pt x="122" y="42"/>
                        <a:pt x="80" y="93"/>
                      </a:cubicBezTo>
                      <a:cubicBezTo>
                        <a:pt x="39" y="144"/>
                        <a:pt x="80" y="168"/>
                        <a:pt x="88" y="238"/>
                      </a:cubicBezTo>
                      <a:cubicBezTo>
                        <a:pt x="95" y="308"/>
                        <a:pt x="29" y="391"/>
                        <a:pt x="15" y="514"/>
                      </a:cubicBezTo>
                      <a:cubicBezTo>
                        <a:pt x="0" y="638"/>
                        <a:pt x="85" y="805"/>
                        <a:pt x="85" y="805"/>
                      </a:cubicBezTo>
                      <a:cubicBezTo>
                        <a:pt x="85" y="805"/>
                        <a:pt x="109" y="783"/>
                        <a:pt x="143" y="679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94" name="Oval 93"/>
              <p:cNvSpPr/>
              <p:nvPr/>
            </p:nvSpPr>
            <p:spPr>
              <a:xfrm>
                <a:off x="3656928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88" name="Group 87"/>
            <p:cNvGrpSpPr/>
            <p:nvPr/>
          </p:nvGrpSpPr>
          <p:grpSpPr>
            <a:xfrm>
              <a:off x="3059641" y="2193111"/>
              <a:ext cx="240001" cy="251310"/>
              <a:chOff x="3037091" y="2244240"/>
              <a:chExt cx="240001" cy="251310"/>
            </a:xfrm>
          </p:grpSpPr>
          <p:pic>
            <p:nvPicPr>
              <p:cNvPr id="91" name="Graphic 64">
                <a:extLst>
                  <a:ext uri="{FF2B5EF4-FFF2-40B4-BE49-F238E27FC236}">
                    <a16:creationId xmlns:a16="http://schemas.microsoft.com/office/drawing/2014/main" id="{66551585-9E95-3745-8A00-10D3B69019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97559" y="2298538"/>
                <a:ext cx="112896" cy="161057"/>
              </a:xfrm>
              <a:prstGeom prst="rect">
                <a:avLst/>
              </a:prstGeom>
              <a:solidFill>
                <a:srgbClr val="1E70B2"/>
              </a:solidFill>
            </p:spPr>
          </p:pic>
          <p:sp>
            <p:nvSpPr>
              <p:cNvPr id="92" name="Oval 91"/>
              <p:cNvSpPr/>
              <p:nvPr/>
            </p:nvSpPr>
            <p:spPr>
              <a:xfrm>
                <a:off x="3037091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89" name="Oval 88"/>
            <p:cNvSpPr/>
            <p:nvPr/>
          </p:nvSpPr>
          <p:spPr>
            <a:xfrm>
              <a:off x="3365205" y="1714790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90" name="Graphic 55">
              <a:extLst>
                <a:ext uri="{FF2B5EF4-FFF2-40B4-BE49-F238E27FC236}">
                  <a16:creationId xmlns:a16="http://schemas.microsoft.com/office/drawing/2014/main" id="{69EC1B32-3E55-1F48-8A7A-2353834E1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27954" y="1766468"/>
              <a:ext cx="113860" cy="139958"/>
            </a:xfrm>
            <a:prstGeom prst="rect">
              <a:avLst/>
            </a:prstGeom>
            <a:solidFill>
              <a:srgbClr val="1E70B2"/>
            </a:solidFill>
          </p:spPr>
        </p:pic>
      </p:grpSp>
      <p:sp>
        <p:nvSpPr>
          <p:cNvPr id="102" name="TextBox 101"/>
          <p:cNvSpPr txBox="1"/>
          <p:nvPr/>
        </p:nvSpPr>
        <p:spPr>
          <a:xfrm>
            <a:off x="582072" y="5664200"/>
            <a:ext cx="7241129" cy="1062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spcBef>
                <a:spcPts val="100"/>
              </a:spcBef>
              <a:buSzPct val="100000"/>
            </a:pPr>
            <a:r>
              <a:rPr lang="en-GB" sz="667" dirty="0">
                <a:solidFill>
                  <a:prstClr val="black"/>
                </a:solidFill>
              </a:rPr>
              <a:t>HDL-C, cholesterol v lipoproteinech o vysoké hustotě; HS, hidradenitis suppurativa. </a:t>
            </a:r>
          </a:p>
          <a:p>
            <a:pPr defTabSz="914377">
              <a:spcBef>
                <a:spcPts val="100"/>
              </a:spcBef>
              <a:buSzPct val="100000"/>
            </a:pPr>
            <a:r>
              <a:rPr lang="en-GB" sz="667" dirty="0">
                <a:solidFill>
                  <a:prstClr val="black"/>
                </a:solidFill>
              </a:rPr>
              <a:t>*Metabolický syndrom je skupina pěti rizikových faktorů, které mohou vést k onemocnění srdce, cukrovce 2. typu a mrtvici. Metabolický syndrom je diagnostikován, pokud má někdo tři nebo více z těchto rizikových faktorů: vysoký krevní tlak, vysokou hladinu glukózy v krvi, nízkou hladinu HDL-C, vysokou hladinu triglyceridů a nadměrné množství tuku kolem pasu. </a:t>
            </a:r>
            <a:r>
              <a:rPr lang="en-GB" sz="667" baseline="30000" dirty="0">
                <a:solidFill>
                  <a:prstClr val="black"/>
                </a:solidFill>
              </a:rPr>
              <a:t>12†</a:t>
            </a:r>
            <a:r>
              <a:rPr lang="en-GB" sz="667" dirty="0">
                <a:solidFill>
                  <a:prstClr val="black"/>
                </a:solidFill>
              </a:rPr>
              <a:t>Patří sem pouze diabetes 1. a 2. typu.</a:t>
            </a:r>
          </a:p>
          <a:p>
            <a:pPr defTabSz="914377">
              <a:spcBef>
                <a:spcPts val="100"/>
              </a:spcBef>
              <a:buSzPct val="100000"/>
            </a:pPr>
            <a:r>
              <a:rPr lang="en-GB" sz="667" dirty="0">
                <a:solidFill>
                  <a:prstClr val="black"/>
                </a:solidFill>
                <a:hlinkClick r:id="rId10"/>
              </a:rPr>
              <a:t>1. </a:t>
            </a:r>
            <a:r>
              <a:rPr lang="en-GB" sz="667" dirty="0" err="1">
                <a:solidFill>
                  <a:prstClr val="black"/>
                </a:solidFill>
                <a:hlinkClick r:id="rId10"/>
              </a:rPr>
              <a:t>Cartron </a:t>
            </a:r>
            <a:r>
              <a:rPr lang="en-GB" sz="667" dirty="0">
                <a:solidFill>
                  <a:prstClr val="black"/>
                </a:solidFill>
                <a:hlinkClick r:id="rId10"/>
              </a:rPr>
              <a:t>A, et al. </a:t>
            </a:r>
            <a:r>
              <a:rPr lang="en-GB" sz="667" i="1" dirty="0">
                <a:solidFill>
                  <a:prstClr val="black"/>
                </a:solidFill>
                <a:hlinkClick r:id="rId10"/>
              </a:rPr>
              <a:t>Int J </a:t>
            </a:r>
            <a:r>
              <a:rPr lang="en-GB" sz="667" i="1" dirty="0" err="1">
                <a:solidFill>
                  <a:prstClr val="black"/>
                </a:solidFill>
                <a:hlinkClick r:id="rId10"/>
              </a:rPr>
              <a:t>Womens </a:t>
            </a:r>
            <a:r>
              <a:rPr lang="en-GB" sz="667" i="1" dirty="0">
                <a:solidFill>
                  <a:prstClr val="black"/>
                </a:solidFill>
                <a:hlinkClick r:id="rId10"/>
              </a:rPr>
              <a:t>Dermatol. </a:t>
            </a:r>
            <a:r>
              <a:rPr lang="en-GB" sz="667" dirty="0">
                <a:solidFill>
                  <a:prstClr val="black"/>
                </a:solidFill>
                <a:hlinkClick r:id="rId10"/>
              </a:rPr>
              <a:t>2019;5:330-4</a:t>
            </a:r>
            <a:r>
              <a:rPr lang="en-GB" sz="667" dirty="0">
                <a:solidFill>
                  <a:prstClr val="black"/>
                </a:solidFill>
              </a:rPr>
              <a:t>; </a:t>
            </a:r>
            <a:r>
              <a:rPr lang="en-GB" sz="667" dirty="0">
                <a:solidFill>
                  <a:prstClr val="black"/>
                </a:solidFill>
                <a:hlinkClick r:id="rId11"/>
              </a:rPr>
              <a:t>2. </a:t>
            </a:r>
            <a:r>
              <a:rPr lang="en-GB" sz="667" dirty="0" err="1">
                <a:solidFill>
                  <a:prstClr val="black"/>
                </a:solidFill>
                <a:hlinkClick r:id="rId11"/>
              </a:rPr>
              <a:t>Tzellos </a:t>
            </a:r>
            <a:r>
              <a:rPr lang="en-GB" sz="667" dirty="0">
                <a:solidFill>
                  <a:prstClr val="black"/>
                </a:solidFill>
                <a:hlinkClick r:id="rId11"/>
              </a:rPr>
              <a:t>T, et al. </a:t>
            </a:r>
            <a:r>
              <a:rPr lang="en-GB" sz="667" i="1" dirty="0">
                <a:solidFill>
                  <a:prstClr val="black"/>
                </a:solidFill>
                <a:hlinkClick r:id="rId11"/>
              </a:rPr>
              <a:t>Dermatol </a:t>
            </a:r>
            <a:r>
              <a:rPr lang="en-GB" sz="667" i="1" dirty="0" err="1">
                <a:solidFill>
                  <a:prstClr val="black"/>
                </a:solidFill>
                <a:hlinkClick r:id="rId11"/>
              </a:rPr>
              <a:t>Ther</a:t>
            </a:r>
            <a:r>
              <a:rPr lang="en-GB" sz="667" i="1" dirty="0">
                <a:solidFill>
                  <a:prstClr val="black"/>
                </a:solidFill>
                <a:hlinkClick r:id="rId11"/>
              </a:rPr>
              <a:t>. </a:t>
            </a:r>
            <a:r>
              <a:rPr lang="en-GB" sz="667" dirty="0">
                <a:solidFill>
                  <a:prstClr val="black"/>
                </a:solidFill>
                <a:hlinkClick r:id="rId11"/>
              </a:rPr>
              <a:t>2020;10:63-71; </a:t>
            </a:r>
            <a:r>
              <a:rPr lang="en-GB" sz="667" dirty="0">
                <a:solidFill>
                  <a:prstClr val="black"/>
                </a:solidFill>
                <a:hlinkClick r:id="rId12"/>
              </a:rPr>
              <a:t>3. Garg A, et al. </a:t>
            </a:r>
            <a:r>
              <a:rPr lang="en-GB" sz="667" i="1" dirty="0">
                <a:solidFill>
                  <a:prstClr val="black"/>
                </a:solidFill>
                <a:hlinkClick r:id="rId12"/>
              </a:rPr>
              <a:t>J Am </a:t>
            </a:r>
            <a:r>
              <a:rPr lang="en-GB" sz="667" i="1" dirty="0" err="1">
                <a:solidFill>
                  <a:prstClr val="black"/>
                </a:solidFill>
                <a:hlinkClick r:id="rId12"/>
              </a:rPr>
              <a:t>Acad </a:t>
            </a:r>
            <a:r>
              <a:rPr lang="en-GB" sz="667" i="1" dirty="0">
                <a:solidFill>
                  <a:prstClr val="black"/>
                </a:solidFill>
                <a:hlinkClick r:id="rId12"/>
              </a:rPr>
              <a:t>Dermatol. </a:t>
            </a:r>
            <a:r>
              <a:rPr lang="en-GB" sz="667" dirty="0">
                <a:solidFill>
                  <a:prstClr val="black"/>
                </a:solidFill>
                <a:hlinkClick r:id="rId12"/>
              </a:rPr>
              <a:t>2020;82:366-76</a:t>
            </a:r>
            <a:r>
              <a:rPr lang="en-GB" sz="667" dirty="0">
                <a:solidFill>
                  <a:prstClr val="black"/>
                </a:solidFill>
              </a:rPr>
              <a:t>; </a:t>
            </a:r>
            <a:r>
              <a:rPr lang="en-GB" sz="667" dirty="0">
                <a:solidFill>
                  <a:prstClr val="black"/>
                </a:solidFill>
                <a:hlinkClick r:id="rId13"/>
              </a:rPr>
              <a:t>4. </a:t>
            </a:r>
            <a:r>
              <a:rPr lang="en-GB" sz="667" dirty="0" err="1">
                <a:solidFill>
                  <a:prstClr val="black"/>
                </a:solidFill>
                <a:hlinkClick r:id="rId13"/>
              </a:rPr>
              <a:t>Jancin </a:t>
            </a:r>
            <a:r>
              <a:rPr lang="en-GB" sz="667" dirty="0">
                <a:solidFill>
                  <a:prstClr val="black"/>
                </a:solidFill>
                <a:hlinkClick r:id="rId13"/>
              </a:rPr>
              <a:t>B. </a:t>
            </a:r>
            <a:r>
              <a:rPr lang="en-GB" sz="667" i="1" dirty="0">
                <a:solidFill>
                  <a:prstClr val="black"/>
                </a:solidFill>
                <a:hlinkClick r:id="rId13"/>
              </a:rPr>
              <a:t>Clinician Reviews. </a:t>
            </a:r>
            <a:r>
              <a:rPr lang="en-GB" sz="667" dirty="0">
                <a:solidFill>
                  <a:prstClr val="black"/>
                </a:solidFill>
                <a:hlinkClick r:id="rId13"/>
              </a:rPr>
              <a:t>Dostupné na: https://www.mdedge.com/clinicianreviews/article/79681/endocrinology/hidradenitis-suppurativa-linked-metabolic-syndrome?sso=true.                                  Dostupné v srpnu 2021</a:t>
            </a:r>
            <a:r>
              <a:rPr lang="en-GB" sz="667" dirty="0">
                <a:solidFill>
                  <a:prstClr val="black"/>
                </a:solidFill>
              </a:rPr>
              <a:t>; 5. </a:t>
            </a:r>
            <a:r>
              <a:rPr lang="en-GB" sz="667" dirty="0">
                <a:solidFill>
                  <a:prstClr val="black"/>
                </a:solidFill>
                <a:hlinkClick r:id="rId14"/>
              </a:rPr>
              <a:t>Machado MO, et al. </a:t>
            </a:r>
            <a:r>
              <a:rPr lang="en-GB" sz="667" i="1" dirty="0">
                <a:solidFill>
                  <a:prstClr val="black"/>
                </a:solidFill>
                <a:hlinkClick r:id="rId14"/>
              </a:rPr>
              <a:t>JAMA Dermatol. </a:t>
            </a:r>
            <a:r>
              <a:rPr lang="en-GB" sz="667" dirty="0">
                <a:solidFill>
                  <a:prstClr val="black"/>
                </a:solidFill>
                <a:hlinkClick r:id="rId14"/>
              </a:rPr>
              <a:t>2019;155:939-45</a:t>
            </a:r>
            <a:r>
              <a:rPr lang="en-GB" sz="667" dirty="0">
                <a:solidFill>
                  <a:prstClr val="black"/>
                </a:solidFill>
              </a:rPr>
              <a:t>; 6</a:t>
            </a:r>
            <a:r>
              <a:rPr lang="en-GB" sz="667" dirty="0">
                <a:solidFill>
                  <a:prstClr val="black"/>
                </a:solidFill>
                <a:hlinkClick r:id="rId15"/>
              </a:rPr>
              <a:t>. </a:t>
            </a:r>
            <a:r>
              <a:rPr lang="en-GB" sz="667" dirty="0" err="1">
                <a:solidFill>
                  <a:prstClr val="black"/>
                </a:solidFill>
                <a:hlinkClick r:id="rId15"/>
              </a:rPr>
              <a:t>Rondags </a:t>
            </a:r>
            <a:r>
              <a:rPr lang="en-GB" sz="667" dirty="0">
                <a:solidFill>
                  <a:prstClr val="black"/>
                </a:solidFill>
                <a:hlinkClick r:id="rId15"/>
              </a:rPr>
              <a:t>A, et al. </a:t>
            </a:r>
            <a:r>
              <a:rPr lang="en-GB" sz="667" i="1" dirty="0">
                <a:solidFill>
                  <a:prstClr val="black"/>
                </a:solidFill>
                <a:hlinkClick r:id="rId15"/>
              </a:rPr>
              <a:t>J Am </a:t>
            </a:r>
            <a:r>
              <a:rPr lang="en-GB" sz="667" i="1" dirty="0" err="1">
                <a:solidFill>
                  <a:prstClr val="black"/>
                </a:solidFill>
                <a:hlinkClick r:id="rId15"/>
              </a:rPr>
              <a:t>Acad </a:t>
            </a:r>
            <a:r>
              <a:rPr lang="en-GB" sz="667" i="1" dirty="0">
                <a:solidFill>
                  <a:prstClr val="black"/>
                </a:solidFill>
                <a:hlinkClick r:id="rId15"/>
              </a:rPr>
              <a:t>Dermatol. </a:t>
            </a:r>
            <a:r>
              <a:rPr lang="en-GB" sz="667" dirty="0">
                <a:solidFill>
                  <a:prstClr val="black"/>
                </a:solidFill>
                <a:hlinkClick r:id="rId15"/>
              </a:rPr>
              <a:t>2019;80:551-4</a:t>
            </a:r>
            <a:r>
              <a:rPr lang="en-GB" sz="667" dirty="0">
                <a:solidFill>
                  <a:prstClr val="black"/>
                </a:solidFill>
              </a:rPr>
              <a:t>; 7. </a:t>
            </a:r>
            <a:r>
              <a:rPr lang="en-GB" sz="667" dirty="0">
                <a:solidFill>
                  <a:prstClr val="black"/>
                </a:solidFill>
                <a:hlinkClick r:id="rId16"/>
              </a:rPr>
              <a:t>Chapman S, et al. </a:t>
            </a:r>
            <a:r>
              <a:rPr lang="en-GB" sz="667" i="1" dirty="0">
                <a:solidFill>
                  <a:prstClr val="black"/>
                </a:solidFill>
                <a:hlinkClick r:id="rId16"/>
              </a:rPr>
              <a:t>Acta </a:t>
            </a:r>
            <a:r>
              <a:rPr lang="en-GB" sz="667" i="1" dirty="0" err="1">
                <a:solidFill>
                  <a:prstClr val="black"/>
                </a:solidFill>
                <a:hlinkClick r:id="rId16"/>
              </a:rPr>
              <a:t>Dermatovenerol </a:t>
            </a:r>
            <a:r>
              <a:rPr lang="en-GB" sz="667" i="1" dirty="0">
                <a:solidFill>
                  <a:prstClr val="black"/>
                </a:solidFill>
                <a:hlinkClick r:id="rId16"/>
              </a:rPr>
              <a:t>APA. </a:t>
            </a:r>
            <a:r>
              <a:rPr lang="en-GB" sz="667" dirty="0">
                <a:solidFill>
                  <a:prstClr val="black"/>
                </a:solidFill>
                <a:hlinkClick r:id="rId16"/>
              </a:rPr>
              <a:t>2018;27:25-8</a:t>
            </a:r>
            <a:r>
              <a:rPr lang="en-GB" sz="667" dirty="0">
                <a:solidFill>
                  <a:prstClr val="black"/>
                </a:solidFill>
              </a:rPr>
              <a:t>; 8</a:t>
            </a:r>
            <a:r>
              <a:rPr lang="en-GB" sz="667" dirty="0">
                <a:solidFill>
                  <a:prstClr val="black"/>
                </a:solidFill>
                <a:hlinkClick r:id="rId17"/>
              </a:rPr>
              <a:t>. </a:t>
            </a:r>
            <a:r>
              <a:rPr lang="en-GB" sz="667" dirty="0" err="1">
                <a:solidFill>
                  <a:prstClr val="black"/>
                </a:solidFill>
                <a:hlinkClick r:id="rId17"/>
              </a:rPr>
              <a:t>Alikhan </a:t>
            </a:r>
            <a:r>
              <a:rPr lang="en-GB" sz="667" dirty="0">
                <a:solidFill>
                  <a:prstClr val="black"/>
                </a:solidFill>
                <a:hlinkClick r:id="rId17"/>
              </a:rPr>
              <a:t>A, et al. </a:t>
            </a:r>
            <a:r>
              <a:rPr lang="en-GB" sz="667" i="1" dirty="0">
                <a:solidFill>
                  <a:prstClr val="black"/>
                </a:solidFill>
                <a:hlinkClick r:id="rId17"/>
              </a:rPr>
              <a:t>J Am </a:t>
            </a:r>
            <a:r>
              <a:rPr lang="en-GB" sz="667" i="1" dirty="0" err="1">
                <a:solidFill>
                  <a:prstClr val="black"/>
                </a:solidFill>
                <a:hlinkClick r:id="rId17"/>
              </a:rPr>
              <a:t>Acad </a:t>
            </a:r>
            <a:r>
              <a:rPr lang="en-GB" sz="667" i="1" dirty="0">
                <a:solidFill>
                  <a:prstClr val="black"/>
                </a:solidFill>
                <a:hlinkClick r:id="rId17"/>
              </a:rPr>
              <a:t>Dermatol. </a:t>
            </a:r>
            <a:r>
              <a:rPr lang="en-GB" sz="667" dirty="0">
                <a:solidFill>
                  <a:prstClr val="black"/>
                </a:solidFill>
                <a:hlinkClick r:id="rId17"/>
              </a:rPr>
              <a:t>2019;81:79-90</a:t>
            </a:r>
            <a:r>
              <a:rPr lang="en-GB" sz="667" dirty="0">
                <a:solidFill>
                  <a:prstClr val="black"/>
                </a:solidFill>
              </a:rPr>
              <a:t>; 9. </a:t>
            </a:r>
            <a:r>
              <a:rPr lang="en-GB" sz="667" dirty="0">
                <a:solidFill>
                  <a:prstClr val="black"/>
                </a:solidFill>
                <a:hlinkClick r:id="rId18"/>
              </a:rPr>
              <a:t>Garg A, et al. </a:t>
            </a:r>
            <a:r>
              <a:rPr lang="en-GB" sz="667" i="1" dirty="0">
                <a:solidFill>
                  <a:prstClr val="black"/>
                </a:solidFill>
                <a:hlinkClick r:id="rId18"/>
              </a:rPr>
              <a:t>J Invest Dermatol. </a:t>
            </a:r>
            <a:r>
              <a:rPr lang="en-GB" sz="667" dirty="0">
                <a:solidFill>
                  <a:prstClr val="black"/>
                </a:solidFill>
                <a:hlinkClick r:id="rId18"/>
              </a:rPr>
              <a:t>2018;138:1288-92</a:t>
            </a:r>
            <a:r>
              <a:rPr lang="en-GB" sz="667" dirty="0">
                <a:solidFill>
                  <a:prstClr val="black"/>
                </a:solidFill>
              </a:rPr>
              <a:t>; </a:t>
            </a:r>
            <a:r>
              <a:rPr lang="en-GB" sz="667" dirty="0">
                <a:solidFill>
                  <a:prstClr val="black"/>
                </a:solidFill>
                <a:hlinkClick r:id="rId19"/>
              </a:rPr>
              <a:t>10. </a:t>
            </a:r>
            <a:r>
              <a:rPr lang="en-GB" sz="667" dirty="0" err="1">
                <a:solidFill>
                  <a:prstClr val="black"/>
                </a:solidFill>
                <a:hlinkClick r:id="rId19"/>
              </a:rPr>
              <a:t>Principi </a:t>
            </a:r>
            <a:r>
              <a:rPr lang="en-GB" sz="667" dirty="0">
                <a:solidFill>
                  <a:prstClr val="black"/>
                </a:solidFill>
                <a:hlinkClick r:id="rId19"/>
              </a:rPr>
              <a:t>M, et al. </a:t>
            </a:r>
            <a:r>
              <a:rPr lang="en-GB" sz="667" i="1" dirty="0">
                <a:solidFill>
                  <a:prstClr val="black"/>
                </a:solidFill>
                <a:hlinkClick r:id="rId19"/>
              </a:rPr>
              <a:t>World J Gastroenterol. </a:t>
            </a:r>
            <a:r>
              <a:rPr lang="en-GB" sz="667" dirty="0">
                <a:solidFill>
                  <a:prstClr val="black"/>
                </a:solidFill>
                <a:hlinkClick r:id="rId19"/>
              </a:rPr>
              <a:t>2016;22:4802-11</a:t>
            </a:r>
            <a:r>
              <a:rPr lang="en-GB" sz="667" dirty="0">
                <a:solidFill>
                  <a:prstClr val="black"/>
                </a:solidFill>
              </a:rPr>
              <a:t>; </a:t>
            </a:r>
            <a:r>
              <a:rPr lang="en-GB" sz="667" dirty="0">
                <a:solidFill>
                  <a:prstClr val="black"/>
                </a:solidFill>
                <a:hlinkClick r:id="rId20"/>
              </a:rPr>
              <a:t>11. </a:t>
            </a:r>
            <a:r>
              <a:rPr lang="en-GB" sz="667" dirty="0" err="1">
                <a:solidFill>
                  <a:prstClr val="black"/>
                </a:solidFill>
                <a:hlinkClick r:id="rId20"/>
              </a:rPr>
              <a:t>Egeberg </a:t>
            </a:r>
            <a:r>
              <a:rPr lang="en-GB" sz="667" dirty="0">
                <a:solidFill>
                  <a:prstClr val="black"/>
                </a:solidFill>
                <a:hlinkClick r:id="rId20"/>
              </a:rPr>
              <a:t>A, et al. </a:t>
            </a:r>
            <a:r>
              <a:rPr lang="en-GB" sz="667" i="1" dirty="0">
                <a:solidFill>
                  <a:prstClr val="black"/>
                </a:solidFill>
                <a:hlinkClick r:id="rId20"/>
              </a:rPr>
              <a:t>J Invest Dermatol. </a:t>
            </a:r>
            <a:r>
              <a:rPr lang="en-GB" sz="667" dirty="0">
                <a:solidFill>
                  <a:prstClr val="black"/>
                </a:solidFill>
                <a:hlinkClick r:id="rId20"/>
              </a:rPr>
              <a:t>2017;17:1060-4</a:t>
            </a:r>
            <a:r>
              <a:rPr lang="en-GB" sz="667" dirty="0">
                <a:solidFill>
                  <a:prstClr val="black"/>
                </a:solidFill>
              </a:rPr>
              <a:t>; </a:t>
            </a:r>
            <a:r>
              <a:rPr lang="en-GB" sz="667" dirty="0">
                <a:solidFill>
                  <a:prstClr val="black"/>
                </a:solidFill>
                <a:hlinkClick r:id="rId21"/>
              </a:rPr>
              <a:t>12. Healthline. Metabolický syndrom. Dostupné na: https://www.healthline.com/health/metabolic-syndrome. Dostupné v srpnu 2021.</a:t>
            </a:r>
            <a:endParaRPr lang="en-GB" sz="667" dirty="0">
              <a:solidFill>
                <a:prstClr val="black"/>
              </a:solidFill>
            </a:endParaRPr>
          </a:p>
          <a:p>
            <a:endParaRPr lang="en-US" sz="800" dirty="0"/>
          </a:p>
        </p:txBody>
      </p:sp>
      <p:sp>
        <p:nvSpPr>
          <p:cNvPr id="104" name="Rectangle 103">
            <a:hlinkClick r:id="rId22" action="ppaction://hlinksldjump"/>
          </p:cNvPr>
          <p:cNvSpPr/>
          <p:nvPr/>
        </p:nvSpPr>
        <p:spPr>
          <a:xfrm>
            <a:off x="11593301" y="1"/>
            <a:ext cx="598699" cy="651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121" name="Title 1">
            <a:extLst>
              <a:ext uri="{FF2B5EF4-FFF2-40B4-BE49-F238E27FC236}">
                <a16:creationId xmlns:a16="http://schemas.microsoft.com/office/drawing/2014/main" id="{0228B23C-1BF6-4D68-BF37-67D0538F843A}"/>
              </a:ext>
            </a:extLst>
          </p:cNvPr>
          <p:cNvSpPr txBox="1">
            <a:spLocks/>
          </p:cNvSpPr>
          <p:nvPr/>
        </p:nvSpPr>
        <p:spPr>
          <a:xfrm>
            <a:off x="3245224" y="125506"/>
            <a:ext cx="8785524" cy="5109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sz="3600" b="1" spc="0" dirty="0"/>
              <a:t>HS je spojena s </a:t>
            </a:r>
            <a:r>
              <a:rPr lang="en-US" sz="3600" b="1" spc="0" dirty="0" err="1"/>
              <a:t>řadou</a:t>
            </a:r>
            <a:r>
              <a:rPr lang="en-US" sz="3600" b="1" spc="0" dirty="0"/>
              <a:t> </a:t>
            </a:r>
            <a:r>
              <a:rPr lang="en-US" sz="3600" b="1" spc="0" dirty="0" err="1"/>
              <a:t>komorbidit</a:t>
            </a:r>
            <a:endParaRPr lang="en-US" sz="3600" b="1" dirty="0"/>
          </a:p>
        </p:txBody>
      </p:sp>
      <p:grpSp>
        <p:nvGrpSpPr>
          <p:cNvPr id="123" name="Graphic 47">
            <a:extLst>
              <a:ext uri="{FF2B5EF4-FFF2-40B4-BE49-F238E27FC236}">
                <a16:creationId xmlns:a16="http://schemas.microsoft.com/office/drawing/2014/main" id="{5321862B-F6C2-4CBB-BB85-E7E3F4BAAA7D}"/>
              </a:ext>
            </a:extLst>
          </p:cNvPr>
          <p:cNvGrpSpPr/>
          <p:nvPr/>
        </p:nvGrpSpPr>
        <p:grpSpPr>
          <a:xfrm>
            <a:off x="4991679" y="1248566"/>
            <a:ext cx="2148824" cy="3932567"/>
            <a:chOff x="4308205" y="295890"/>
            <a:chExt cx="3567369" cy="6528649"/>
          </a:xfrm>
          <a:solidFill>
            <a:srgbClr val="E6E6E6"/>
          </a:solidFill>
        </p:grpSpPr>
        <p:sp>
          <p:nvSpPr>
            <p:cNvPr id="124" name="Freeform 231">
              <a:extLst>
                <a:ext uri="{FF2B5EF4-FFF2-40B4-BE49-F238E27FC236}">
                  <a16:creationId xmlns:a16="http://schemas.microsoft.com/office/drawing/2014/main" id="{C3C8E21B-9D17-49DD-A2A9-C8694622878D}"/>
                </a:ext>
              </a:extLst>
            </p:cNvPr>
            <p:cNvSpPr/>
            <p:nvPr/>
          </p:nvSpPr>
          <p:spPr>
            <a:xfrm>
              <a:off x="4316511" y="295890"/>
              <a:ext cx="3559063" cy="6528649"/>
            </a:xfrm>
            <a:custGeom>
              <a:avLst/>
              <a:gdLst>
                <a:gd name="connsiteX0" fmla="*/ 3532798 w 3559063"/>
                <a:gd name="connsiteY0" fmla="*/ 5176908 h 6528649"/>
                <a:gd name="connsiteX1" fmla="*/ 3505200 w 3559063"/>
                <a:gd name="connsiteY1" fmla="*/ 5005624 h 6528649"/>
                <a:gd name="connsiteX2" fmla="*/ 3425642 w 3559063"/>
                <a:gd name="connsiteY2" fmla="*/ 4858796 h 6528649"/>
                <a:gd name="connsiteX3" fmla="*/ 3354553 w 3559063"/>
                <a:gd name="connsiteY3" fmla="*/ 4779911 h 6528649"/>
                <a:gd name="connsiteX4" fmla="*/ 3283941 w 3559063"/>
                <a:gd name="connsiteY4" fmla="*/ 4741277 h 6528649"/>
                <a:gd name="connsiteX5" fmla="*/ 3238261 w 3559063"/>
                <a:gd name="connsiteY5" fmla="*/ 4711778 h 6528649"/>
                <a:gd name="connsiteX6" fmla="*/ 3170123 w 3559063"/>
                <a:gd name="connsiteY6" fmla="*/ 4614527 h 6528649"/>
                <a:gd name="connsiteX7" fmla="*/ 3148330 w 3559063"/>
                <a:gd name="connsiteY7" fmla="*/ 4020269 h 6528649"/>
                <a:gd name="connsiteX8" fmla="*/ 3084854 w 3559063"/>
                <a:gd name="connsiteY8" fmla="*/ 3295455 h 6528649"/>
                <a:gd name="connsiteX9" fmla="*/ 3004440 w 3559063"/>
                <a:gd name="connsiteY9" fmla="*/ 2647052 h 6528649"/>
                <a:gd name="connsiteX10" fmla="*/ 2963899 w 3559063"/>
                <a:gd name="connsiteY10" fmla="*/ 2314857 h 6528649"/>
                <a:gd name="connsiteX11" fmla="*/ 2954859 w 3559063"/>
                <a:gd name="connsiteY11" fmla="*/ 2062881 h 6528649"/>
                <a:gd name="connsiteX12" fmla="*/ 2629393 w 3559063"/>
                <a:gd name="connsiteY12" fmla="*/ 1746197 h 6528649"/>
                <a:gd name="connsiteX13" fmla="*/ 2271096 w 3559063"/>
                <a:gd name="connsiteY13" fmla="*/ 1595372 h 6528649"/>
                <a:gd name="connsiteX14" fmla="*/ 2105698 w 3559063"/>
                <a:gd name="connsiteY14" fmla="*/ 1480517 h 6528649"/>
                <a:gd name="connsiteX15" fmla="*/ 2052882 w 3559063"/>
                <a:gd name="connsiteY15" fmla="*/ 1367565 h 6528649"/>
                <a:gd name="connsiteX16" fmla="*/ 2021953 w 3559063"/>
                <a:gd name="connsiteY16" fmla="*/ 1194188 h 6528649"/>
                <a:gd name="connsiteX17" fmla="*/ 2065063 w 3559063"/>
                <a:gd name="connsiteY17" fmla="*/ 972567 h 6528649"/>
                <a:gd name="connsiteX18" fmla="*/ 2217994 w 3559063"/>
                <a:gd name="connsiteY18" fmla="*/ 760461 h 6528649"/>
                <a:gd name="connsiteX19" fmla="*/ 2248637 w 3559063"/>
                <a:gd name="connsiteY19" fmla="*/ 397435 h 6528649"/>
                <a:gd name="connsiteX20" fmla="*/ 1839426 w 3559063"/>
                <a:gd name="connsiteY20" fmla="*/ 9193 h 6528649"/>
                <a:gd name="connsiteX21" fmla="*/ 1280615 w 3559063"/>
                <a:gd name="connsiteY21" fmla="*/ 176765 h 6528649"/>
                <a:gd name="connsiteX22" fmla="*/ 1198963 w 3559063"/>
                <a:gd name="connsiteY22" fmla="*/ 388966 h 6528649"/>
                <a:gd name="connsiteX23" fmla="*/ 1193443 w 3559063"/>
                <a:gd name="connsiteY23" fmla="*/ 439399 h 6528649"/>
                <a:gd name="connsiteX24" fmla="*/ 1211525 w 3559063"/>
                <a:gd name="connsiteY24" fmla="*/ 516382 h 6528649"/>
                <a:gd name="connsiteX25" fmla="*/ 1207718 w 3559063"/>
                <a:gd name="connsiteY25" fmla="*/ 549306 h 6528649"/>
                <a:gd name="connsiteX26" fmla="*/ 1103036 w 3559063"/>
                <a:gd name="connsiteY26" fmla="*/ 708029 h 6528649"/>
                <a:gd name="connsiteX27" fmla="*/ 1086382 w 3559063"/>
                <a:gd name="connsiteY27" fmla="*/ 728012 h 6528649"/>
                <a:gd name="connsiteX28" fmla="*/ 1080673 w 3559063"/>
                <a:gd name="connsiteY28" fmla="*/ 733912 h 6528649"/>
                <a:gd name="connsiteX29" fmla="*/ 1094471 w 3559063"/>
                <a:gd name="connsiteY29" fmla="*/ 781966 h 6528649"/>
                <a:gd name="connsiteX30" fmla="*/ 1143196 w 3559063"/>
                <a:gd name="connsiteY30" fmla="*/ 799666 h 6528649"/>
                <a:gd name="connsiteX31" fmla="*/ 1154140 w 3559063"/>
                <a:gd name="connsiteY31" fmla="*/ 820220 h 6528649"/>
                <a:gd name="connsiteX32" fmla="*/ 1147288 w 3559063"/>
                <a:gd name="connsiteY32" fmla="*/ 862374 h 6528649"/>
                <a:gd name="connsiteX33" fmla="*/ 1133775 w 3559063"/>
                <a:gd name="connsiteY33" fmla="*/ 868274 h 6528649"/>
                <a:gd name="connsiteX34" fmla="*/ 1145956 w 3559063"/>
                <a:gd name="connsiteY34" fmla="*/ 909287 h 6528649"/>
                <a:gd name="connsiteX35" fmla="*/ 1132062 w 3559063"/>
                <a:gd name="connsiteY35" fmla="*/ 939928 h 6528649"/>
                <a:gd name="connsiteX36" fmla="*/ 1142720 w 3559063"/>
                <a:gd name="connsiteY36" fmla="*/ 960957 h 6528649"/>
                <a:gd name="connsiteX37" fmla="*/ 1156995 w 3559063"/>
                <a:gd name="connsiteY37" fmla="*/ 968094 h 6528649"/>
                <a:gd name="connsiteX38" fmla="*/ 1176028 w 3559063"/>
                <a:gd name="connsiteY38" fmla="*/ 1059826 h 6528649"/>
                <a:gd name="connsiteX39" fmla="*/ 1217806 w 3559063"/>
                <a:gd name="connsiteY39" fmla="*/ 1145468 h 6528649"/>
                <a:gd name="connsiteX40" fmla="*/ 1298220 w 3559063"/>
                <a:gd name="connsiteY40" fmla="*/ 1151938 h 6528649"/>
                <a:gd name="connsiteX41" fmla="*/ 1446869 w 3559063"/>
                <a:gd name="connsiteY41" fmla="*/ 1186481 h 6528649"/>
                <a:gd name="connsiteX42" fmla="*/ 1511962 w 3559063"/>
                <a:gd name="connsiteY42" fmla="*/ 1247381 h 6528649"/>
                <a:gd name="connsiteX43" fmla="*/ 1506062 w 3559063"/>
                <a:gd name="connsiteY43" fmla="*/ 1367946 h 6528649"/>
                <a:gd name="connsiteX44" fmla="*/ 1453150 w 3559063"/>
                <a:gd name="connsiteY44" fmla="*/ 1480898 h 6528649"/>
                <a:gd name="connsiteX45" fmla="*/ 1287847 w 3559063"/>
                <a:gd name="connsiteY45" fmla="*/ 1595753 h 6528649"/>
                <a:gd name="connsiteX46" fmla="*/ 929455 w 3559063"/>
                <a:gd name="connsiteY46" fmla="*/ 1746577 h 6528649"/>
                <a:gd name="connsiteX47" fmla="*/ 604084 w 3559063"/>
                <a:gd name="connsiteY47" fmla="*/ 2063261 h 6528649"/>
                <a:gd name="connsiteX48" fmla="*/ 595044 w 3559063"/>
                <a:gd name="connsiteY48" fmla="*/ 2315238 h 6528649"/>
                <a:gd name="connsiteX49" fmla="*/ 554503 w 3559063"/>
                <a:gd name="connsiteY49" fmla="*/ 2647433 h 6528649"/>
                <a:gd name="connsiteX50" fmla="*/ 473993 w 3559063"/>
                <a:gd name="connsiteY50" fmla="*/ 3295836 h 6528649"/>
                <a:gd name="connsiteX51" fmla="*/ 410518 w 3559063"/>
                <a:gd name="connsiteY51" fmla="*/ 4020650 h 6528649"/>
                <a:gd name="connsiteX52" fmla="*/ 388725 w 3559063"/>
                <a:gd name="connsiteY52" fmla="*/ 4614908 h 6528649"/>
                <a:gd name="connsiteX53" fmla="*/ 320682 w 3559063"/>
                <a:gd name="connsiteY53" fmla="*/ 4712159 h 6528649"/>
                <a:gd name="connsiteX54" fmla="*/ 275003 w 3559063"/>
                <a:gd name="connsiteY54" fmla="*/ 4741658 h 6528649"/>
                <a:gd name="connsiteX55" fmla="*/ 204295 w 3559063"/>
                <a:gd name="connsiteY55" fmla="*/ 4780292 h 6528649"/>
                <a:gd name="connsiteX56" fmla="*/ 133206 w 3559063"/>
                <a:gd name="connsiteY56" fmla="*/ 4859177 h 6528649"/>
                <a:gd name="connsiteX57" fmla="*/ 53553 w 3559063"/>
                <a:gd name="connsiteY57" fmla="*/ 5005624 h 6528649"/>
                <a:gd name="connsiteX58" fmla="*/ 25860 w 3559063"/>
                <a:gd name="connsiteY58" fmla="*/ 5176908 h 6528649"/>
                <a:gd name="connsiteX59" fmla="*/ 5019 w 3559063"/>
                <a:gd name="connsiteY59" fmla="*/ 5272065 h 6528649"/>
                <a:gd name="connsiteX60" fmla="*/ 103134 w 3559063"/>
                <a:gd name="connsiteY60" fmla="*/ 5203837 h 6528649"/>
                <a:gd name="connsiteX61" fmla="*/ 148814 w 3559063"/>
                <a:gd name="connsiteY61" fmla="*/ 5090980 h 6528649"/>
                <a:gd name="connsiteX62" fmla="*/ 136728 w 3559063"/>
                <a:gd name="connsiteY62" fmla="*/ 5162063 h 6528649"/>
                <a:gd name="connsiteX63" fmla="*/ 116838 w 3559063"/>
                <a:gd name="connsiteY63" fmla="*/ 5409473 h 6528649"/>
                <a:gd name="connsiteX64" fmla="*/ 122072 w 3559063"/>
                <a:gd name="connsiteY64" fmla="*/ 5511957 h 6528649"/>
                <a:gd name="connsiteX65" fmla="*/ 160709 w 3559063"/>
                <a:gd name="connsiteY65" fmla="*/ 5529561 h 6528649"/>
                <a:gd name="connsiteX66" fmla="*/ 161375 w 3559063"/>
                <a:gd name="connsiteY66" fmla="*/ 5558775 h 6528649"/>
                <a:gd name="connsiteX67" fmla="*/ 200203 w 3559063"/>
                <a:gd name="connsiteY67" fmla="*/ 5574285 h 6528649"/>
                <a:gd name="connsiteX68" fmla="*/ 222281 w 3559063"/>
                <a:gd name="connsiteY68" fmla="*/ 5557537 h 6528649"/>
                <a:gd name="connsiteX69" fmla="*/ 266152 w 3559063"/>
                <a:gd name="connsiteY69" fmla="*/ 5567053 h 6528649"/>
                <a:gd name="connsiteX70" fmla="*/ 316590 w 3559063"/>
                <a:gd name="connsiteY70" fmla="*/ 5506723 h 6528649"/>
                <a:gd name="connsiteX71" fmla="*/ 351230 w 3559063"/>
                <a:gd name="connsiteY71" fmla="*/ 5515002 h 6528649"/>
                <a:gd name="connsiteX72" fmla="*/ 398813 w 3559063"/>
                <a:gd name="connsiteY72" fmla="*/ 5469326 h 6528649"/>
                <a:gd name="connsiteX73" fmla="*/ 454580 w 3559063"/>
                <a:gd name="connsiteY73" fmla="*/ 5359610 h 6528649"/>
                <a:gd name="connsiteX74" fmla="*/ 523955 w 3559063"/>
                <a:gd name="connsiteY74" fmla="*/ 5175575 h 6528649"/>
                <a:gd name="connsiteX75" fmla="*/ 593997 w 3559063"/>
                <a:gd name="connsiteY75" fmla="*/ 4905519 h 6528649"/>
                <a:gd name="connsiteX76" fmla="*/ 587526 w 3559063"/>
                <a:gd name="connsiteY76" fmla="*/ 4732713 h 6528649"/>
                <a:gd name="connsiteX77" fmla="*/ 612078 w 3559063"/>
                <a:gd name="connsiteY77" fmla="*/ 4546490 h 6528649"/>
                <a:gd name="connsiteX78" fmla="*/ 747689 w 3559063"/>
                <a:gd name="connsiteY78" fmla="*/ 4055002 h 6528649"/>
                <a:gd name="connsiteX79" fmla="*/ 808880 w 3559063"/>
                <a:gd name="connsiteY79" fmla="*/ 3439523 h 6528649"/>
                <a:gd name="connsiteX80" fmla="*/ 830388 w 3559063"/>
                <a:gd name="connsiteY80" fmla="*/ 3262435 h 6528649"/>
                <a:gd name="connsiteX81" fmla="*/ 997022 w 3559063"/>
                <a:gd name="connsiteY81" fmla="*/ 2646005 h 6528649"/>
                <a:gd name="connsiteX82" fmla="*/ 1014152 w 3559063"/>
                <a:gd name="connsiteY82" fmla="*/ 2595477 h 6528649"/>
                <a:gd name="connsiteX83" fmla="*/ 1016626 w 3559063"/>
                <a:gd name="connsiteY83" fmla="*/ 2606230 h 6528649"/>
                <a:gd name="connsiteX84" fmla="*/ 1013295 w 3559063"/>
                <a:gd name="connsiteY84" fmla="*/ 2791691 h 6528649"/>
                <a:gd name="connsiteX85" fmla="*/ 1096851 w 3559063"/>
                <a:gd name="connsiteY85" fmla="*/ 2921676 h 6528649"/>
                <a:gd name="connsiteX86" fmla="*/ 1133775 w 3559063"/>
                <a:gd name="connsiteY86" fmla="*/ 3099716 h 6528649"/>
                <a:gd name="connsiteX87" fmla="*/ 1119976 w 3559063"/>
                <a:gd name="connsiteY87" fmla="*/ 3423822 h 6528649"/>
                <a:gd name="connsiteX88" fmla="*/ 1058214 w 3559063"/>
                <a:gd name="connsiteY88" fmla="*/ 3606810 h 6528649"/>
                <a:gd name="connsiteX89" fmla="*/ 961811 w 3559063"/>
                <a:gd name="connsiteY89" fmla="*/ 4012085 h 6528649"/>
                <a:gd name="connsiteX90" fmla="*/ 859603 w 3559063"/>
                <a:gd name="connsiteY90" fmla="*/ 4807982 h 6528649"/>
                <a:gd name="connsiteX91" fmla="*/ 1138343 w 3559063"/>
                <a:gd name="connsiteY91" fmla="*/ 6041699 h 6528649"/>
                <a:gd name="connsiteX92" fmla="*/ 1226275 w 3559063"/>
                <a:gd name="connsiteY92" fmla="*/ 6366376 h 6528649"/>
                <a:gd name="connsiteX93" fmla="*/ 1759201 w 3559063"/>
                <a:gd name="connsiteY93" fmla="*/ 6417095 h 6528649"/>
                <a:gd name="connsiteX94" fmla="*/ 1779567 w 3559063"/>
                <a:gd name="connsiteY94" fmla="*/ 5506058 h 6528649"/>
                <a:gd name="connsiteX95" fmla="*/ 1799837 w 3559063"/>
                <a:gd name="connsiteY95" fmla="*/ 6417095 h 6528649"/>
                <a:gd name="connsiteX96" fmla="*/ 2332763 w 3559063"/>
                <a:gd name="connsiteY96" fmla="*/ 6366376 h 6528649"/>
                <a:gd name="connsiteX97" fmla="*/ 2420696 w 3559063"/>
                <a:gd name="connsiteY97" fmla="*/ 6041699 h 6528649"/>
                <a:gd name="connsiteX98" fmla="*/ 2699435 w 3559063"/>
                <a:gd name="connsiteY98" fmla="*/ 4807982 h 6528649"/>
                <a:gd name="connsiteX99" fmla="*/ 2597227 w 3559063"/>
                <a:gd name="connsiteY99" fmla="*/ 4012085 h 6528649"/>
                <a:gd name="connsiteX100" fmla="*/ 2500825 w 3559063"/>
                <a:gd name="connsiteY100" fmla="*/ 3606810 h 6528649"/>
                <a:gd name="connsiteX101" fmla="*/ 2439063 w 3559063"/>
                <a:gd name="connsiteY101" fmla="*/ 3424013 h 6528649"/>
                <a:gd name="connsiteX102" fmla="*/ 2425264 w 3559063"/>
                <a:gd name="connsiteY102" fmla="*/ 3099906 h 6528649"/>
                <a:gd name="connsiteX103" fmla="*/ 2459047 w 3559063"/>
                <a:gd name="connsiteY103" fmla="*/ 2934332 h 6528649"/>
                <a:gd name="connsiteX104" fmla="*/ 2543269 w 3559063"/>
                <a:gd name="connsiteY104" fmla="*/ 2806060 h 6528649"/>
                <a:gd name="connsiteX105" fmla="*/ 2538891 w 3559063"/>
                <a:gd name="connsiteY105" fmla="*/ 2621550 h 6528649"/>
                <a:gd name="connsiteX106" fmla="*/ 2544981 w 3559063"/>
                <a:gd name="connsiteY106" fmla="*/ 2595667 h 6528649"/>
                <a:gd name="connsiteX107" fmla="*/ 2562111 w 3559063"/>
                <a:gd name="connsiteY107" fmla="*/ 2646196 h 6528649"/>
                <a:gd name="connsiteX108" fmla="*/ 2728651 w 3559063"/>
                <a:gd name="connsiteY108" fmla="*/ 3262625 h 6528649"/>
                <a:gd name="connsiteX109" fmla="*/ 2750253 w 3559063"/>
                <a:gd name="connsiteY109" fmla="*/ 3439714 h 6528649"/>
                <a:gd name="connsiteX110" fmla="*/ 2811635 w 3559063"/>
                <a:gd name="connsiteY110" fmla="*/ 4055002 h 6528649"/>
                <a:gd name="connsiteX111" fmla="*/ 2947246 w 3559063"/>
                <a:gd name="connsiteY111" fmla="*/ 4546490 h 6528649"/>
                <a:gd name="connsiteX112" fmla="*/ 2971798 w 3559063"/>
                <a:gd name="connsiteY112" fmla="*/ 4732713 h 6528649"/>
                <a:gd name="connsiteX113" fmla="*/ 2965422 w 3559063"/>
                <a:gd name="connsiteY113" fmla="*/ 4905519 h 6528649"/>
                <a:gd name="connsiteX114" fmla="*/ 3035368 w 3559063"/>
                <a:gd name="connsiteY114" fmla="*/ 5175575 h 6528649"/>
                <a:gd name="connsiteX115" fmla="*/ 3104839 w 3559063"/>
                <a:gd name="connsiteY115" fmla="*/ 5359610 h 6528649"/>
                <a:gd name="connsiteX116" fmla="*/ 3160701 w 3559063"/>
                <a:gd name="connsiteY116" fmla="*/ 5469136 h 6528649"/>
                <a:gd name="connsiteX117" fmla="*/ 3208284 w 3559063"/>
                <a:gd name="connsiteY117" fmla="*/ 5514812 h 6528649"/>
                <a:gd name="connsiteX118" fmla="*/ 3242924 w 3559063"/>
                <a:gd name="connsiteY118" fmla="*/ 5506533 h 6528649"/>
                <a:gd name="connsiteX119" fmla="*/ 3293457 w 3559063"/>
                <a:gd name="connsiteY119" fmla="*/ 5566863 h 6528649"/>
                <a:gd name="connsiteX120" fmla="*/ 3337233 w 3559063"/>
                <a:gd name="connsiteY120" fmla="*/ 5557347 h 6528649"/>
                <a:gd name="connsiteX121" fmla="*/ 3359311 w 3559063"/>
                <a:gd name="connsiteY121" fmla="*/ 5574856 h 6528649"/>
                <a:gd name="connsiteX122" fmla="*/ 3398234 w 3559063"/>
                <a:gd name="connsiteY122" fmla="*/ 5559345 h 6528649"/>
                <a:gd name="connsiteX123" fmla="*/ 3398805 w 3559063"/>
                <a:gd name="connsiteY123" fmla="*/ 5530132 h 6528649"/>
                <a:gd name="connsiteX124" fmla="*/ 3437442 w 3559063"/>
                <a:gd name="connsiteY124" fmla="*/ 5512528 h 6528649"/>
                <a:gd name="connsiteX125" fmla="*/ 3442771 w 3559063"/>
                <a:gd name="connsiteY125" fmla="*/ 5410043 h 6528649"/>
                <a:gd name="connsiteX126" fmla="*/ 3422787 w 3559063"/>
                <a:gd name="connsiteY126" fmla="*/ 5162634 h 6528649"/>
                <a:gd name="connsiteX127" fmla="*/ 3410701 w 3559063"/>
                <a:gd name="connsiteY127" fmla="*/ 5091552 h 6528649"/>
                <a:gd name="connsiteX128" fmla="*/ 3456380 w 3559063"/>
                <a:gd name="connsiteY128" fmla="*/ 5204408 h 6528649"/>
                <a:gd name="connsiteX129" fmla="*/ 3554495 w 3559063"/>
                <a:gd name="connsiteY129" fmla="*/ 5272636 h 6528649"/>
                <a:gd name="connsiteX130" fmla="*/ 3532798 w 3559063"/>
                <a:gd name="connsiteY130" fmla="*/ 5176908 h 652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3559063" h="6528649">
                  <a:moveTo>
                    <a:pt x="3532798" y="5176908"/>
                  </a:moveTo>
                  <a:cubicBezTo>
                    <a:pt x="3522615" y="5136371"/>
                    <a:pt x="3512337" y="5024656"/>
                    <a:pt x="3505200" y="5005624"/>
                  </a:cubicBezTo>
                  <a:cubicBezTo>
                    <a:pt x="3485310" y="4953574"/>
                    <a:pt x="3460758" y="4958046"/>
                    <a:pt x="3425642" y="4858796"/>
                  </a:cubicBezTo>
                  <a:cubicBezTo>
                    <a:pt x="3412509" y="4821590"/>
                    <a:pt x="3372159" y="4794089"/>
                    <a:pt x="3354553" y="4779911"/>
                  </a:cubicBezTo>
                  <a:cubicBezTo>
                    <a:pt x="3332741" y="4764105"/>
                    <a:pt x="3309016" y="4751126"/>
                    <a:pt x="3283941" y="4741277"/>
                  </a:cubicBezTo>
                  <a:cubicBezTo>
                    <a:pt x="3268057" y="4732504"/>
                    <a:pt x="3252793" y="4722655"/>
                    <a:pt x="3238261" y="4711778"/>
                  </a:cubicBezTo>
                  <a:cubicBezTo>
                    <a:pt x="3209711" y="4691700"/>
                    <a:pt x="3175452" y="4656016"/>
                    <a:pt x="3170123" y="4614527"/>
                  </a:cubicBezTo>
                  <a:cubicBezTo>
                    <a:pt x="3144714" y="4417361"/>
                    <a:pt x="3146331" y="4218863"/>
                    <a:pt x="3148330" y="4020269"/>
                  </a:cubicBezTo>
                  <a:cubicBezTo>
                    <a:pt x="3150899" y="3776761"/>
                    <a:pt x="3148901" y="3534300"/>
                    <a:pt x="3084854" y="3295455"/>
                  </a:cubicBezTo>
                  <a:cubicBezTo>
                    <a:pt x="3028231" y="3083920"/>
                    <a:pt x="3022902" y="2864296"/>
                    <a:pt x="3004440" y="2647052"/>
                  </a:cubicBezTo>
                  <a:cubicBezTo>
                    <a:pt x="2992259" y="2504316"/>
                    <a:pt x="2976747" y="2457689"/>
                    <a:pt x="2963899" y="2314857"/>
                  </a:cubicBezTo>
                  <a:cubicBezTo>
                    <a:pt x="2959236" y="2263092"/>
                    <a:pt x="2961044" y="2114361"/>
                    <a:pt x="2954859" y="2062881"/>
                  </a:cubicBezTo>
                  <a:cubicBezTo>
                    <a:pt x="2932400" y="1875040"/>
                    <a:pt x="2830192" y="1785972"/>
                    <a:pt x="2629393" y="1746197"/>
                  </a:cubicBezTo>
                  <a:cubicBezTo>
                    <a:pt x="2483695" y="1717649"/>
                    <a:pt x="2371685" y="1647043"/>
                    <a:pt x="2271096" y="1595372"/>
                  </a:cubicBezTo>
                  <a:cubicBezTo>
                    <a:pt x="2233030" y="1576340"/>
                    <a:pt x="2138435" y="1519246"/>
                    <a:pt x="2105698" y="1480517"/>
                  </a:cubicBezTo>
                  <a:cubicBezTo>
                    <a:pt x="2085428" y="1456823"/>
                    <a:pt x="2057069" y="1390783"/>
                    <a:pt x="2052882" y="1367565"/>
                  </a:cubicBezTo>
                  <a:cubicBezTo>
                    <a:pt x="2049646" y="1349866"/>
                    <a:pt x="2023095" y="1221023"/>
                    <a:pt x="2021953" y="1194188"/>
                  </a:cubicBezTo>
                  <a:cubicBezTo>
                    <a:pt x="2016814" y="1125580"/>
                    <a:pt x="2034705" y="1015578"/>
                    <a:pt x="2065063" y="972567"/>
                  </a:cubicBezTo>
                  <a:cubicBezTo>
                    <a:pt x="2105032" y="915472"/>
                    <a:pt x="2190205" y="812512"/>
                    <a:pt x="2217994" y="760461"/>
                  </a:cubicBezTo>
                  <a:cubicBezTo>
                    <a:pt x="2282706" y="639325"/>
                    <a:pt x="2275093" y="521235"/>
                    <a:pt x="2248637" y="397435"/>
                  </a:cubicBezTo>
                  <a:cubicBezTo>
                    <a:pt x="2204575" y="189326"/>
                    <a:pt x="2113026" y="45353"/>
                    <a:pt x="1839426" y="9193"/>
                  </a:cubicBezTo>
                  <a:cubicBezTo>
                    <a:pt x="1443728" y="-43334"/>
                    <a:pt x="1302122" y="144982"/>
                    <a:pt x="1280615" y="176765"/>
                  </a:cubicBezTo>
                  <a:cubicBezTo>
                    <a:pt x="1237543" y="240332"/>
                    <a:pt x="1209612" y="312924"/>
                    <a:pt x="1198963" y="388966"/>
                  </a:cubicBezTo>
                  <a:cubicBezTo>
                    <a:pt x="1195061" y="418179"/>
                    <a:pt x="1191730" y="427695"/>
                    <a:pt x="1193443" y="439399"/>
                  </a:cubicBezTo>
                  <a:cubicBezTo>
                    <a:pt x="1196394" y="458431"/>
                    <a:pt x="1206386" y="481554"/>
                    <a:pt x="1211525" y="516382"/>
                  </a:cubicBezTo>
                  <a:cubicBezTo>
                    <a:pt x="1214770" y="527419"/>
                    <a:pt x="1213400" y="539301"/>
                    <a:pt x="1207718" y="549306"/>
                  </a:cubicBezTo>
                  <a:cubicBezTo>
                    <a:pt x="1182166" y="607814"/>
                    <a:pt x="1146755" y="661502"/>
                    <a:pt x="1103036" y="708029"/>
                  </a:cubicBezTo>
                  <a:cubicBezTo>
                    <a:pt x="1097326" y="714119"/>
                    <a:pt x="1094186" y="719924"/>
                    <a:pt x="1086382" y="728012"/>
                  </a:cubicBezTo>
                  <a:cubicBezTo>
                    <a:pt x="1084355" y="729859"/>
                    <a:pt x="1082452" y="731830"/>
                    <a:pt x="1080673" y="733912"/>
                  </a:cubicBezTo>
                  <a:cubicBezTo>
                    <a:pt x="1067730" y="752943"/>
                    <a:pt x="1085716" y="775591"/>
                    <a:pt x="1094471" y="781966"/>
                  </a:cubicBezTo>
                  <a:cubicBezTo>
                    <a:pt x="1103227" y="788342"/>
                    <a:pt x="1130920" y="795479"/>
                    <a:pt x="1143196" y="799666"/>
                  </a:cubicBezTo>
                  <a:cubicBezTo>
                    <a:pt x="1148240" y="801474"/>
                    <a:pt x="1152713" y="814891"/>
                    <a:pt x="1154140" y="820220"/>
                  </a:cubicBezTo>
                  <a:cubicBezTo>
                    <a:pt x="1158042" y="831543"/>
                    <a:pt x="1158518" y="852383"/>
                    <a:pt x="1147288" y="862374"/>
                  </a:cubicBezTo>
                  <a:cubicBezTo>
                    <a:pt x="1143767" y="865514"/>
                    <a:pt x="1137010" y="864848"/>
                    <a:pt x="1133775" y="868274"/>
                  </a:cubicBezTo>
                  <a:cubicBezTo>
                    <a:pt x="1123021" y="879788"/>
                    <a:pt x="1145956" y="909287"/>
                    <a:pt x="1145956" y="909287"/>
                  </a:cubicBezTo>
                  <a:cubicBezTo>
                    <a:pt x="1145956" y="909287"/>
                    <a:pt x="1126923" y="913188"/>
                    <a:pt x="1132062" y="939928"/>
                  </a:cubicBezTo>
                  <a:cubicBezTo>
                    <a:pt x="1133080" y="947959"/>
                    <a:pt x="1136839" y="955391"/>
                    <a:pt x="1142720" y="960957"/>
                  </a:cubicBezTo>
                  <a:cubicBezTo>
                    <a:pt x="1149667" y="965430"/>
                    <a:pt x="1153474" y="964098"/>
                    <a:pt x="1156995" y="968094"/>
                  </a:cubicBezTo>
                  <a:cubicBezTo>
                    <a:pt x="1159279" y="970663"/>
                    <a:pt x="1183832" y="1021192"/>
                    <a:pt x="1176028" y="1059826"/>
                  </a:cubicBezTo>
                  <a:cubicBezTo>
                    <a:pt x="1169081" y="1094083"/>
                    <a:pt x="1195061" y="1131289"/>
                    <a:pt x="1217806" y="1145468"/>
                  </a:cubicBezTo>
                  <a:cubicBezTo>
                    <a:pt x="1234174" y="1155840"/>
                    <a:pt x="1279473" y="1154032"/>
                    <a:pt x="1298220" y="1151938"/>
                  </a:cubicBezTo>
                  <a:cubicBezTo>
                    <a:pt x="1334479" y="1147847"/>
                    <a:pt x="1413085" y="1168781"/>
                    <a:pt x="1446869" y="1186481"/>
                  </a:cubicBezTo>
                  <a:cubicBezTo>
                    <a:pt x="1466568" y="1196853"/>
                    <a:pt x="1507489" y="1225590"/>
                    <a:pt x="1511962" y="1247381"/>
                  </a:cubicBezTo>
                  <a:cubicBezTo>
                    <a:pt x="1518052" y="1276975"/>
                    <a:pt x="1511962" y="1338257"/>
                    <a:pt x="1506062" y="1367946"/>
                  </a:cubicBezTo>
                  <a:cubicBezTo>
                    <a:pt x="1501779" y="1391164"/>
                    <a:pt x="1473420" y="1457203"/>
                    <a:pt x="1453150" y="1480898"/>
                  </a:cubicBezTo>
                  <a:cubicBezTo>
                    <a:pt x="1420508" y="1518961"/>
                    <a:pt x="1325343" y="1576055"/>
                    <a:pt x="1287847" y="1595753"/>
                  </a:cubicBezTo>
                  <a:cubicBezTo>
                    <a:pt x="1187163" y="1647423"/>
                    <a:pt x="1075153" y="1717744"/>
                    <a:pt x="929455" y="1746577"/>
                  </a:cubicBezTo>
                  <a:cubicBezTo>
                    <a:pt x="728751" y="1786353"/>
                    <a:pt x="626544" y="1875420"/>
                    <a:pt x="604084" y="2063261"/>
                  </a:cubicBezTo>
                  <a:cubicBezTo>
                    <a:pt x="597899" y="2114741"/>
                    <a:pt x="599707" y="2263092"/>
                    <a:pt x="595044" y="2315238"/>
                  </a:cubicBezTo>
                  <a:cubicBezTo>
                    <a:pt x="582196" y="2457974"/>
                    <a:pt x="566494" y="2504411"/>
                    <a:pt x="554503" y="2647433"/>
                  </a:cubicBezTo>
                  <a:cubicBezTo>
                    <a:pt x="535946" y="2864677"/>
                    <a:pt x="530712" y="3084300"/>
                    <a:pt x="473993" y="3295836"/>
                  </a:cubicBezTo>
                  <a:cubicBezTo>
                    <a:pt x="409947" y="3534681"/>
                    <a:pt x="408044" y="3777142"/>
                    <a:pt x="410518" y="4020650"/>
                  </a:cubicBezTo>
                  <a:cubicBezTo>
                    <a:pt x="412612" y="4219243"/>
                    <a:pt x="414230" y="4417742"/>
                    <a:pt x="388725" y="4614908"/>
                  </a:cubicBezTo>
                  <a:cubicBezTo>
                    <a:pt x="383396" y="4656396"/>
                    <a:pt x="348946" y="4692080"/>
                    <a:pt x="320682" y="4712159"/>
                  </a:cubicBezTo>
                  <a:cubicBezTo>
                    <a:pt x="306153" y="4723035"/>
                    <a:pt x="290891" y="4732884"/>
                    <a:pt x="275003" y="4741658"/>
                  </a:cubicBezTo>
                  <a:cubicBezTo>
                    <a:pt x="249898" y="4751497"/>
                    <a:pt x="226139" y="4764486"/>
                    <a:pt x="204295" y="4780292"/>
                  </a:cubicBezTo>
                  <a:cubicBezTo>
                    <a:pt x="186689" y="4794470"/>
                    <a:pt x="146434" y="4821971"/>
                    <a:pt x="133206" y="4859177"/>
                  </a:cubicBezTo>
                  <a:cubicBezTo>
                    <a:pt x="97995" y="4958046"/>
                    <a:pt x="73443" y="4953954"/>
                    <a:pt x="53553" y="5005624"/>
                  </a:cubicBezTo>
                  <a:cubicBezTo>
                    <a:pt x="46320" y="5024656"/>
                    <a:pt x="36043" y="5136275"/>
                    <a:pt x="25860" y="5176908"/>
                  </a:cubicBezTo>
                  <a:cubicBezTo>
                    <a:pt x="19960" y="5200602"/>
                    <a:pt x="-12206" y="5254842"/>
                    <a:pt x="5019" y="5272065"/>
                  </a:cubicBezTo>
                  <a:cubicBezTo>
                    <a:pt x="25955" y="5293380"/>
                    <a:pt x="93332" y="5268164"/>
                    <a:pt x="103134" y="5203837"/>
                  </a:cubicBezTo>
                  <a:cubicBezTo>
                    <a:pt x="110462" y="5156259"/>
                    <a:pt x="148814" y="5090980"/>
                    <a:pt x="148814" y="5090980"/>
                  </a:cubicBezTo>
                  <a:cubicBezTo>
                    <a:pt x="148814" y="5090980"/>
                    <a:pt x="139297" y="5147219"/>
                    <a:pt x="136728" y="5162063"/>
                  </a:cubicBezTo>
                  <a:cubicBezTo>
                    <a:pt x="126450" y="5226485"/>
                    <a:pt x="116838" y="5409473"/>
                    <a:pt x="116838" y="5409473"/>
                  </a:cubicBezTo>
                  <a:cubicBezTo>
                    <a:pt x="116838" y="5409473"/>
                    <a:pt x="112936" y="5476083"/>
                    <a:pt x="122072" y="5511957"/>
                  </a:cubicBezTo>
                  <a:cubicBezTo>
                    <a:pt x="126830" y="5530989"/>
                    <a:pt x="160709" y="5529561"/>
                    <a:pt x="160709" y="5529561"/>
                  </a:cubicBezTo>
                  <a:cubicBezTo>
                    <a:pt x="159291" y="5539267"/>
                    <a:pt x="159517" y="5549144"/>
                    <a:pt x="161375" y="5558775"/>
                  </a:cubicBezTo>
                  <a:cubicBezTo>
                    <a:pt x="169319" y="5572135"/>
                    <a:pt x="185242" y="5578491"/>
                    <a:pt x="200203" y="5574285"/>
                  </a:cubicBezTo>
                  <a:cubicBezTo>
                    <a:pt x="208344" y="5569813"/>
                    <a:pt x="215784" y="5564170"/>
                    <a:pt x="222281" y="5557537"/>
                  </a:cubicBezTo>
                  <a:cubicBezTo>
                    <a:pt x="222281" y="5557537"/>
                    <a:pt x="246263" y="5580470"/>
                    <a:pt x="266152" y="5567053"/>
                  </a:cubicBezTo>
                  <a:cubicBezTo>
                    <a:pt x="287945" y="5552399"/>
                    <a:pt x="316590" y="5506723"/>
                    <a:pt x="316590" y="5506723"/>
                  </a:cubicBezTo>
                  <a:cubicBezTo>
                    <a:pt x="316590" y="5506723"/>
                    <a:pt x="338764" y="5519570"/>
                    <a:pt x="351230" y="5515002"/>
                  </a:cubicBezTo>
                  <a:cubicBezTo>
                    <a:pt x="366742" y="5509388"/>
                    <a:pt x="389296" y="5483220"/>
                    <a:pt x="398813" y="5469326"/>
                  </a:cubicBezTo>
                  <a:cubicBezTo>
                    <a:pt x="419940" y="5434099"/>
                    <a:pt x="438575" y="5397435"/>
                    <a:pt x="454580" y="5359610"/>
                  </a:cubicBezTo>
                  <a:cubicBezTo>
                    <a:pt x="472376" y="5313839"/>
                    <a:pt x="498070" y="5220014"/>
                    <a:pt x="523955" y="5175575"/>
                  </a:cubicBezTo>
                  <a:cubicBezTo>
                    <a:pt x="553171" y="5125428"/>
                    <a:pt x="589144" y="5001437"/>
                    <a:pt x="593997" y="4905519"/>
                  </a:cubicBezTo>
                  <a:cubicBezTo>
                    <a:pt x="599326" y="4798086"/>
                    <a:pt x="593997" y="4821590"/>
                    <a:pt x="587526" y="4732713"/>
                  </a:cubicBezTo>
                  <a:cubicBezTo>
                    <a:pt x="582632" y="4669604"/>
                    <a:pt x="590995" y="4606173"/>
                    <a:pt x="612078" y="4546490"/>
                  </a:cubicBezTo>
                  <a:cubicBezTo>
                    <a:pt x="662231" y="4392430"/>
                    <a:pt x="702866" y="4210584"/>
                    <a:pt x="747689" y="4055002"/>
                  </a:cubicBezTo>
                  <a:cubicBezTo>
                    <a:pt x="805359" y="3854219"/>
                    <a:pt x="810117" y="3647062"/>
                    <a:pt x="808880" y="3439523"/>
                  </a:cubicBezTo>
                  <a:cubicBezTo>
                    <a:pt x="808408" y="3379812"/>
                    <a:pt x="815637" y="3320291"/>
                    <a:pt x="830388" y="3262435"/>
                  </a:cubicBezTo>
                  <a:cubicBezTo>
                    <a:pt x="883395" y="3056324"/>
                    <a:pt x="941255" y="2851450"/>
                    <a:pt x="997022" y="2646005"/>
                  </a:cubicBezTo>
                  <a:cubicBezTo>
                    <a:pt x="999944" y="2628344"/>
                    <a:pt x="1005730" y="2611273"/>
                    <a:pt x="1014152" y="2595477"/>
                  </a:cubicBezTo>
                  <a:cubicBezTo>
                    <a:pt x="1015008" y="2599093"/>
                    <a:pt x="1015770" y="2602614"/>
                    <a:pt x="1016626" y="2606230"/>
                  </a:cubicBezTo>
                  <a:cubicBezTo>
                    <a:pt x="995595" y="2661611"/>
                    <a:pt x="984080" y="2720418"/>
                    <a:pt x="1013295" y="2791691"/>
                  </a:cubicBezTo>
                  <a:cubicBezTo>
                    <a:pt x="1033280" y="2840412"/>
                    <a:pt x="1054502" y="2885802"/>
                    <a:pt x="1096851" y="2921676"/>
                  </a:cubicBezTo>
                  <a:cubicBezTo>
                    <a:pt x="1113885" y="2990095"/>
                    <a:pt x="1129588" y="3059750"/>
                    <a:pt x="1133775" y="3099716"/>
                  </a:cubicBezTo>
                  <a:cubicBezTo>
                    <a:pt x="1142340" y="3180409"/>
                    <a:pt x="1151095" y="3307159"/>
                    <a:pt x="1119976" y="3423822"/>
                  </a:cubicBezTo>
                  <a:cubicBezTo>
                    <a:pt x="1102732" y="3485893"/>
                    <a:pt x="1082119" y="3546985"/>
                    <a:pt x="1058214" y="3606810"/>
                  </a:cubicBezTo>
                  <a:cubicBezTo>
                    <a:pt x="1025001" y="3686076"/>
                    <a:pt x="984556" y="3958892"/>
                    <a:pt x="961811" y="4012085"/>
                  </a:cubicBezTo>
                  <a:cubicBezTo>
                    <a:pt x="898716" y="4160436"/>
                    <a:pt x="828580" y="4487016"/>
                    <a:pt x="859603" y="4807982"/>
                  </a:cubicBezTo>
                  <a:cubicBezTo>
                    <a:pt x="893482" y="5157115"/>
                    <a:pt x="1031948" y="5707410"/>
                    <a:pt x="1138343" y="6041699"/>
                  </a:cubicBezTo>
                  <a:cubicBezTo>
                    <a:pt x="1177551" y="6164928"/>
                    <a:pt x="1216093" y="6256945"/>
                    <a:pt x="1226275" y="6366376"/>
                  </a:cubicBezTo>
                  <a:cubicBezTo>
                    <a:pt x="1242549" y="6541655"/>
                    <a:pt x="1752254" y="6568585"/>
                    <a:pt x="1759201" y="6417095"/>
                  </a:cubicBezTo>
                  <a:cubicBezTo>
                    <a:pt x="1767005" y="6242291"/>
                    <a:pt x="1775760" y="5509197"/>
                    <a:pt x="1779567" y="5506058"/>
                  </a:cubicBezTo>
                  <a:cubicBezTo>
                    <a:pt x="1783373" y="5502917"/>
                    <a:pt x="1789083" y="6079191"/>
                    <a:pt x="1799837" y="6417095"/>
                  </a:cubicBezTo>
                  <a:cubicBezTo>
                    <a:pt x="1804881" y="6568585"/>
                    <a:pt x="2325245" y="6578862"/>
                    <a:pt x="2332763" y="6366376"/>
                  </a:cubicBezTo>
                  <a:cubicBezTo>
                    <a:pt x="2336569" y="6256564"/>
                    <a:pt x="2381487" y="6164928"/>
                    <a:pt x="2420696" y="6041699"/>
                  </a:cubicBezTo>
                  <a:cubicBezTo>
                    <a:pt x="2527186" y="5707410"/>
                    <a:pt x="2665651" y="5156734"/>
                    <a:pt x="2699435" y="4807982"/>
                  </a:cubicBezTo>
                  <a:cubicBezTo>
                    <a:pt x="2730554" y="4487016"/>
                    <a:pt x="2660322" y="4160912"/>
                    <a:pt x="2597227" y="4012085"/>
                  </a:cubicBezTo>
                  <a:cubicBezTo>
                    <a:pt x="2574578" y="3958607"/>
                    <a:pt x="2534133" y="3686076"/>
                    <a:pt x="2500825" y="3606810"/>
                  </a:cubicBezTo>
                  <a:cubicBezTo>
                    <a:pt x="2477024" y="3547013"/>
                    <a:pt x="2456402" y="3485998"/>
                    <a:pt x="2439063" y="3424013"/>
                  </a:cubicBezTo>
                  <a:cubicBezTo>
                    <a:pt x="2407943" y="3307349"/>
                    <a:pt x="2416699" y="3180600"/>
                    <a:pt x="2425264" y="3099906"/>
                  </a:cubicBezTo>
                  <a:cubicBezTo>
                    <a:pt x="2433476" y="3044134"/>
                    <a:pt x="2444753" y="2988858"/>
                    <a:pt x="2459047" y="2934332"/>
                  </a:cubicBezTo>
                  <a:cubicBezTo>
                    <a:pt x="2501777" y="2899029"/>
                    <a:pt x="2523189" y="2854115"/>
                    <a:pt x="2543269" y="2806060"/>
                  </a:cubicBezTo>
                  <a:cubicBezTo>
                    <a:pt x="2572770" y="2735739"/>
                    <a:pt x="2560874" y="2676741"/>
                    <a:pt x="2538891" y="2621550"/>
                  </a:cubicBezTo>
                  <a:cubicBezTo>
                    <a:pt x="2540889" y="2612986"/>
                    <a:pt x="2542888" y="2604326"/>
                    <a:pt x="2544981" y="2595667"/>
                  </a:cubicBezTo>
                  <a:cubicBezTo>
                    <a:pt x="2555830" y="2612986"/>
                    <a:pt x="2557639" y="2629924"/>
                    <a:pt x="2562111" y="2646196"/>
                  </a:cubicBezTo>
                  <a:cubicBezTo>
                    <a:pt x="2617783" y="2851641"/>
                    <a:pt x="2675739" y="3056515"/>
                    <a:pt x="2728651" y="3262625"/>
                  </a:cubicBezTo>
                  <a:cubicBezTo>
                    <a:pt x="2743430" y="3320481"/>
                    <a:pt x="2750691" y="3380002"/>
                    <a:pt x="2750253" y="3439714"/>
                  </a:cubicBezTo>
                  <a:cubicBezTo>
                    <a:pt x="2748921" y="3647252"/>
                    <a:pt x="2753774" y="3854315"/>
                    <a:pt x="2811635" y="4055002"/>
                  </a:cubicBezTo>
                  <a:cubicBezTo>
                    <a:pt x="2856553" y="4210584"/>
                    <a:pt x="2897284" y="4392430"/>
                    <a:pt x="2947246" y="4546490"/>
                  </a:cubicBezTo>
                  <a:cubicBezTo>
                    <a:pt x="2968420" y="4606153"/>
                    <a:pt x="2976785" y="4669604"/>
                    <a:pt x="2971798" y="4732713"/>
                  </a:cubicBezTo>
                  <a:cubicBezTo>
                    <a:pt x="2965708" y="4821590"/>
                    <a:pt x="2959998" y="4798086"/>
                    <a:pt x="2965422" y="4905519"/>
                  </a:cubicBezTo>
                  <a:cubicBezTo>
                    <a:pt x="2970180" y="5001437"/>
                    <a:pt x="3006153" y="5125428"/>
                    <a:pt x="3035368" y="5175575"/>
                  </a:cubicBezTo>
                  <a:cubicBezTo>
                    <a:pt x="3061253" y="5220014"/>
                    <a:pt x="3086948" y="5313839"/>
                    <a:pt x="3104839" y="5359610"/>
                  </a:cubicBezTo>
                  <a:cubicBezTo>
                    <a:pt x="3120846" y="5397397"/>
                    <a:pt x="3139508" y="5433995"/>
                    <a:pt x="3160701" y="5469136"/>
                  </a:cubicBezTo>
                  <a:cubicBezTo>
                    <a:pt x="3169361" y="5483029"/>
                    <a:pt x="3192486" y="5509197"/>
                    <a:pt x="3208284" y="5514812"/>
                  </a:cubicBezTo>
                  <a:cubicBezTo>
                    <a:pt x="3220846" y="5519379"/>
                    <a:pt x="3242924" y="5506533"/>
                    <a:pt x="3242924" y="5506533"/>
                  </a:cubicBezTo>
                  <a:cubicBezTo>
                    <a:pt x="3242924" y="5506533"/>
                    <a:pt x="3271474" y="5552209"/>
                    <a:pt x="3293457" y="5566863"/>
                  </a:cubicBezTo>
                  <a:cubicBezTo>
                    <a:pt x="3313251" y="5580280"/>
                    <a:pt x="3337233" y="5557347"/>
                    <a:pt x="3337233" y="5557347"/>
                  </a:cubicBezTo>
                  <a:cubicBezTo>
                    <a:pt x="3343695" y="5564227"/>
                    <a:pt x="3351136" y="5570127"/>
                    <a:pt x="3359311" y="5574856"/>
                  </a:cubicBezTo>
                  <a:cubicBezTo>
                    <a:pt x="3374300" y="5579072"/>
                    <a:pt x="3390259" y="5572715"/>
                    <a:pt x="3398234" y="5559345"/>
                  </a:cubicBezTo>
                  <a:cubicBezTo>
                    <a:pt x="3400023" y="5549706"/>
                    <a:pt x="3400213" y="5539838"/>
                    <a:pt x="3398805" y="5530132"/>
                  </a:cubicBezTo>
                  <a:cubicBezTo>
                    <a:pt x="3398805" y="5530132"/>
                    <a:pt x="3432684" y="5531179"/>
                    <a:pt x="3437442" y="5512528"/>
                  </a:cubicBezTo>
                  <a:cubicBezTo>
                    <a:pt x="3446958" y="5476558"/>
                    <a:pt x="3442771" y="5410043"/>
                    <a:pt x="3442771" y="5410043"/>
                  </a:cubicBezTo>
                  <a:cubicBezTo>
                    <a:pt x="3442771" y="5410043"/>
                    <a:pt x="3433255" y="5227056"/>
                    <a:pt x="3422787" y="5162634"/>
                  </a:cubicBezTo>
                  <a:cubicBezTo>
                    <a:pt x="3420408" y="5147790"/>
                    <a:pt x="3410701" y="5091552"/>
                    <a:pt x="3410701" y="5091552"/>
                  </a:cubicBezTo>
                  <a:cubicBezTo>
                    <a:pt x="3410701" y="5091552"/>
                    <a:pt x="3448767" y="5157020"/>
                    <a:pt x="3456380" y="5204408"/>
                  </a:cubicBezTo>
                  <a:cubicBezTo>
                    <a:pt x="3465897" y="5268735"/>
                    <a:pt x="3533654" y="5293951"/>
                    <a:pt x="3554495" y="5272636"/>
                  </a:cubicBezTo>
                  <a:cubicBezTo>
                    <a:pt x="3570769" y="5255127"/>
                    <a:pt x="3538793" y="5200888"/>
                    <a:pt x="3532798" y="5176908"/>
                  </a:cubicBezTo>
                  <a:close/>
                </a:path>
              </a:pathLst>
            </a:custGeom>
            <a:grpFill/>
            <a:ln w="9500" cap="flat">
              <a:gradFill>
                <a:gsLst>
                  <a:gs pos="0">
                    <a:srgbClr val="FFFFFF">
                      <a:alpha val="80376"/>
                      <a:lumMod val="0"/>
                      <a:lumOff val="100000"/>
                    </a:srgbClr>
                  </a:gs>
                  <a:gs pos="100000">
                    <a:schemeClr val="bg1">
                      <a:lumMod val="71000"/>
                      <a:lumOff val="29000"/>
                      <a:alpha val="79674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5" name="Freeform 232">
              <a:extLst>
                <a:ext uri="{FF2B5EF4-FFF2-40B4-BE49-F238E27FC236}">
                  <a16:creationId xmlns:a16="http://schemas.microsoft.com/office/drawing/2014/main" id="{25D55E8E-7ECA-48B6-B7A7-E32A76B2C747}"/>
                </a:ext>
              </a:extLst>
            </p:cNvPr>
            <p:cNvSpPr/>
            <p:nvPr/>
          </p:nvSpPr>
          <p:spPr>
            <a:xfrm>
              <a:off x="6941954" y="2040493"/>
              <a:ext cx="932192" cy="3530216"/>
            </a:xfrm>
            <a:custGeom>
              <a:avLst/>
              <a:gdLst>
                <a:gd name="connsiteX0" fmla="*/ 1095 w 932192"/>
                <a:gd name="connsiteY0" fmla="*/ 3782 h 3530216"/>
                <a:gd name="connsiteX1" fmla="*/ 115293 w 932192"/>
                <a:gd name="connsiteY1" fmla="*/ 41845 h 3530216"/>
                <a:gd name="connsiteX2" fmla="*/ 214646 w 932192"/>
                <a:gd name="connsiteY2" fmla="*/ 104459 h 3530216"/>
                <a:gd name="connsiteX3" fmla="*/ 280595 w 932192"/>
                <a:gd name="connsiteY3" fmla="*/ 198379 h 3530216"/>
                <a:gd name="connsiteX4" fmla="*/ 308098 w 932192"/>
                <a:gd name="connsiteY4" fmla="*/ 310855 h 3530216"/>
                <a:gd name="connsiteX5" fmla="*/ 311429 w 932192"/>
                <a:gd name="connsiteY5" fmla="*/ 369282 h 3530216"/>
                <a:gd name="connsiteX6" fmla="*/ 311905 w 932192"/>
                <a:gd name="connsiteY6" fmla="*/ 429421 h 3530216"/>
                <a:gd name="connsiteX7" fmla="*/ 312666 w 932192"/>
                <a:gd name="connsiteY7" fmla="*/ 550937 h 3530216"/>
                <a:gd name="connsiteX8" fmla="*/ 316853 w 932192"/>
                <a:gd name="connsiteY8" fmla="*/ 612504 h 3530216"/>
                <a:gd name="connsiteX9" fmla="*/ 322944 w 932192"/>
                <a:gd name="connsiteY9" fmla="*/ 673310 h 3530216"/>
                <a:gd name="connsiteX10" fmla="*/ 337885 w 932192"/>
                <a:gd name="connsiteY10" fmla="*/ 793304 h 3530216"/>
                <a:gd name="connsiteX11" fmla="*/ 348448 w 932192"/>
                <a:gd name="connsiteY11" fmla="*/ 912250 h 3530216"/>
                <a:gd name="connsiteX12" fmla="*/ 356442 w 932192"/>
                <a:gd name="connsiteY12" fmla="*/ 1032529 h 3530216"/>
                <a:gd name="connsiteX13" fmla="*/ 374809 w 932192"/>
                <a:gd name="connsiteY13" fmla="*/ 1274800 h 3530216"/>
                <a:gd name="connsiteX14" fmla="*/ 414112 w 932192"/>
                <a:gd name="connsiteY14" fmla="*/ 1517166 h 3530216"/>
                <a:gd name="connsiteX15" fmla="*/ 428863 w 932192"/>
                <a:gd name="connsiteY15" fmla="*/ 1576449 h 3530216"/>
                <a:gd name="connsiteX16" fmla="*/ 435905 w 932192"/>
                <a:gd name="connsiteY16" fmla="*/ 1604996 h 3530216"/>
                <a:gd name="connsiteX17" fmla="*/ 442281 w 932192"/>
                <a:gd name="connsiteY17" fmla="*/ 1633544 h 3530216"/>
                <a:gd name="connsiteX18" fmla="*/ 453606 w 932192"/>
                <a:gd name="connsiteY18" fmla="*/ 1691685 h 3530216"/>
                <a:gd name="connsiteX19" fmla="*/ 463123 w 932192"/>
                <a:gd name="connsiteY19" fmla="*/ 1750302 h 3530216"/>
                <a:gd name="connsiteX20" fmla="*/ 489103 w 932192"/>
                <a:gd name="connsiteY20" fmla="*/ 2227517 h 3530216"/>
                <a:gd name="connsiteX21" fmla="*/ 501189 w 932192"/>
                <a:gd name="connsiteY21" fmla="*/ 2712819 h 3530216"/>
                <a:gd name="connsiteX22" fmla="*/ 514036 w 932192"/>
                <a:gd name="connsiteY22" fmla="*/ 2834240 h 3530216"/>
                <a:gd name="connsiteX23" fmla="*/ 518128 w 932192"/>
                <a:gd name="connsiteY23" fmla="*/ 2864500 h 3530216"/>
                <a:gd name="connsiteX24" fmla="*/ 519175 w 932192"/>
                <a:gd name="connsiteY24" fmla="*/ 2872018 h 3530216"/>
                <a:gd name="connsiteX25" fmla="*/ 520888 w 932192"/>
                <a:gd name="connsiteY25" fmla="*/ 2881533 h 3530216"/>
                <a:gd name="connsiteX26" fmla="*/ 525741 w 932192"/>
                <a:gd name="connsiteY26" fmla="*/ 2899423 h 3530216"/>
                <a:gd name="connsiteX27" fmla="*/ 563807 w 932192"/>
                <a:gd name="connsiteY27" fmla="*/ 2957088 h 3530216"/>
                <a:gd name="connsiteX28" fmla="*/ 588931 w 932192"/>
                <a:gd name="connsiteY28" fmla="*/ 2979070 h 3530216"/>
                <a:gd name="connsiteX29" fmla="*/ 614816 w 932192"/>
                <a:gd name="connsiteY29" fmla="*/ 2997150 h 3530216"/>
                <a:gd name="connsiteX30" fmla="*/ 643366 w 932192"/>
                <a:gd name="connsiteY30" fmla="*/ 3014088 h 3530216"/>
                <a:gd name="connsiteX31" fmla="*/ 648314 w 932192"/>
                <a:gd name="connsiteY31" fmla="*/ 3016372 h 3530216"/>
                <a:gd name="connsiteX32" fmla="*/ 651645 w 932192"/>
                <a:gd name="connsiteY32" fmla="*/ 3017704 h 3530216"/>
                <a:gd name="connsiteX33" fmla="*/ 658307 w 932192"/>
                <a:gd name="connsiteY33" fmla="*/ 3020463 h 3530216"/>
                <a:gd name="connsiteX34" fmla="*/ 671535 w 932192"/>
                <a:gd name="connsiteY34" fmla="*/ 3026268 h 3530216"/>
                <a:gd name="connsiteX35" fmla="*/ 696849 w 932192"/>
                <a:gd name="connsiteY35" fmla="*/ 3039209 h 3530216"/>
                <a:gd name="connsiteX36" fmla="*/ 708554 w 932192"/>
                <a:gd name="connsiteY36" fmla="*/ 3046346 h 3530216"/>
                <a:gd name="connsiteX37" fmla="*/ 713883 w 932192"/>
                <a:gd name="connsiteY37" fmla="*/ 3050152 h 3530216"/>
                <a:gd name="connsiteX38" fmla="*/ 719974 w 932192"/>
                <a:gd name="connsiteY38" fmla="*/ 3054720 h 3530216"/>
                <a:gd name="connsiteX39" fmla="*/ 763179 w 932192"/>
                <a:gd name="connsiteY39" fmla="*/ 3091546 h 3530216"/>
                <a:gd name="connsiteX40" fmla="*/ 778500 w 932192"/>
                <a:gd name="connsiteY40" fmla="*/ 3112385 h 3530216"/>
                <a:gd name="connsiteX41" fmla="*/ 781260 w 932192"/>
                <a:gd name="connsiteY41" fmla="*/ 3117904 h 3530216"/>
                <a:gd name="connsiteX42" fmla="*/ 784020 w 932192"/>
                <a:gd name="connsiteY42" fmla="*/ 3124375 h 3530216"/>
                <a:gd name="connsiteX43" fmla="*/ 789825 w 932192"/>
                <a:gd name="connsiteY43" fmla="*/ 3138839 h 3530216"/>
                <a:gd name="connsiteX44" fmla="*/ 818375 w 932192"/>
                <a:gd name="connsiteY44" fmla="*/ 3194697 h 3530216"/>
                <a:gd name="connsiteX45" fmla="*/ 854442 w 932192"/>
                <a:gd name="connsiteY45" fmla="*/ 3243227 h 3530216"/>
                <a:gd name="connsiteX46" fmla="*/ 861294 w 932192"/>
                <a:gd name="connsiteY46" fmla="*/ 3255312 h 3530216"/>
                <a:gd name="connsiteX47" fmla="*/ 864339 w 932192"/>
                <a:gd name="connsiteY47" fmla="*/ 3261592 h 3530216"/>
                <a:gd name="connsiteX48" fmla="*/ 866814 w 932192"/>
                <a:gd name="connsiteY48" fmla="*/ 3267682 h 3530216"/>
                <a:gd name="connsiteX49" fmla="*/ 873000 w 932192"/>
                <a:gd name="connsiteY49" fmla="*/ 3295468 h 3530216"/>
                <a:gd name="connsiteX50" fmla="*/ 893936 w 932192"/>
                <a:gd name="connsiteY50" fmla="*/ 3414701 h 3530216"/>
                <a:gd name="connsiteX51" fmla="*/ 902596 w 932192"/>
                <a:gd name="connsiteY51" fmla="*/ 3444770 h 3530216"/>
                <a:gd name="connsiteX52" fmla="*/ 915063 w 932192"/>
                <a:gd name="connsiteY52" fmla="*/ 3472461 h 3530216"/>
                <a:gd name="connsiteX53" fmla="*/ 925531 w 932192"/>
                <a:gd name="connsiteY53" fmla="*/ 3500247 h 3530216"/>
                <a:gd name="connsiteX54" fmla="*/ 924103 w 932192"/>
                <a:gd name="connsiteY54" fmla="*/ 3527082 h 3530216"/>
                <a:gd name="connsiteX55" fmla="*/ 924103 w 932192"/>
                <a:gd name="connsiteY55" fmla="*/ 3527082 h 3530216"/>
                <a:gd name="connsiteX56" fmla="*/ 924103 w 932192"/>
                <a:gd name="connsiteY56" fmla="*/ 3529746 h 3530216"/>
                <a:gd name="connsiteX57" fmla="*/ 926673 w 932192"/>
                <a:gd name="connsiteY57" fmla="*/ 3529746 h 3530216"/>
                <a:gd name="connsiteX58" fmla="*/ 932192 w 932192"/>
                <a:gd name="connsiteY58" fmla="*/ 3514521 h 3530216"/>
                <a:gd name="connsiteX59" fmla="*/ 930289 w 932192"/>
                <a:gd name="connsiteY59" fmla="*/ 3499105 h 3530216"/>
                <a:gd name="connsiteX60" fmla="*/ 920773 w 932192"/>
                <a:gd name="connsiteY60" fmla="*/ 3470558 h 3530216"/>
                <a:gd name="connsiteX61" fmla="*/ 909543 w 932192"/>
                <a:gd name="connsiteY61" fmla="*/ 3442487 h 3530216"/>
                <a:gd name="connsiteX62" fmla="*/ 902501 w 932192"/>
                <a:gd name="connsiteY62" fmla="*/ 3413939 h 3530216"/>
                <a:gd name="connsiteX63" fmla="*/ 885371 w 932192"/>
                <a:gd name="connsiteY63" fmla="*/ 3294326 h 3530216"/>
                <a:gd name="connsiteX64" fmla="*/ 879661 w 932192"/>
                <a:gd name="connsiteY64" fmla="*/ 3264352 h 3530216"/>
                <a:gd name="connsiteX65" fmla="*/ 866719 w 932192"/>
                <a:gd name="connsiteY65" fmla="*/ 3236566 h 3530216"/>
                <a:gd name="connsiteX66" fmla="*/ 832269 w 932192"/>
                <a:gd name="connsiteY66" fmla="*/ 3186989 h 3530216"/>
                <a:gd name="connsiteX67" fmla="*/ 806194 w 932192"/>
                <a:gd name="connsiteY67" fmla="*/ 3132939 h 3530216"/>
                <a:gd name="connsiteX68" fmla="*/ 795059 w 932192"/>
                <a:gd name="connsiteY68" fmla="*/ 3104392 h 3530216"/>
                <a:gd name="connsiteX69" fmla="*/ 777834 w 932192"/>
                <a:gd name="connsiteY69" fmla="*/ 3078985 h 3530216"/>
                <a:gd name="connsiteX70" fmla="*/ 732536 w 932192"/>
                <a:gd name="connsiteY70" fmla="*/ 3038353 h 3530216"/>
                <a:gd name="connsiteX71" fmla="*/ 680766 w 932192"/>
                <a:gd name="connsiteY71" fmla="*/ 3006475 h 3530216"/>
                <a:gd name="connsiteX72" fmla="*/ 653358 w 932192"/>
                <a:gd name="connsiteY72" fmla="*/ 2994010 h 3530216"/>
                <a:gd name="connsiteX73" fmla="*/ 628044 w 932192"/>
                <a:gd name="connsiteY73" fmla="*/ 2978118 h 3530216"/>
                <a:gd name="connsiteX74" fmla="*/ 581603 w 932192"/>
                <a:gd name="connsiteY74" fmla="*/ 2940055 h 3530216"/>
                <a:gd name="connsiteX75" fmla="*/ 549533 w 932192"/>
                <a:gd name="connsiteY75" fmla="*/ 2890668 h 3530216"/>
                <a:gd name="connsiteX76" fmla="*/ 543442 w 932192"/>
                <a:gd name="connsiteY76" fmla="*/ 2862121 h 3530216"/>
                <a:gd name="connsiteX77" fmla="*/ 539921 w 932192"/>
                <a:gd name="connsiteY77" fmla="*/ 2832147 h 3530216"/>
                <a:gd name="connsiteX78" fmla="*/ 529548 w 932192"/>
                <a:gd name="connsiteY78" fmla="*/ 2711868 h 3530216"/>
                <a:gd name="connsiteX79" fmla="*/ 523743 w 932192"/>
                <a:gd name="connsiteY79" fmla="*/ 2228753 h 3530216"/>
                <a:gd name="connsiteX80" fmla="*/ 499666 w 932192"/>
                <a:gd name="connsiteY80" fmla="*/ 1745925 h 3530216"/>
                <a:gd name="connsiteX81" fmla="*/ 490150 w 932192"/>
                <a:gd name="connsiteY81" fmla="*/ 1686070 h 3530216"/>
                <a:gd name="connsiteX82" fmla="*/ 478349 w 932192"/>
                <a:gd name="connsiteY82" fmla="*/ 1626692 h 3530216"/>
                <a:gd name="connsiteX83" fmla="*/ 471782 w 932192"/>
                <a:gd name="connsiteY83" fmla="*/ 1597098 h 3530216"/>
                <a:gd name="connsiteX84" fmla="*/ 464360 w 932192"/>
                <a:gd name="connsiteY84" fmla="*/ 1567790 h 3530216"/>
                <a:gd name="connsiteX85" fmla="*/ 449609 w 932192"/>
                <a:gd name="connsiteY85" fmla="*/ 1508316 h 3530216"/>
                <a:gd name="connsiteX86" fmla="*/ 426103 w 932192"/>
                <a:gd name="connsiteY86" fmla="*/ 1390036 h 3530216"/>
                <a:gd name="connsiteX87" fmla="*/ 409830 w 932192"/>
                <a:gd name="connsiteY87" fmla="*/ 1270423 h 3530216"/>
                <a:gd name="connsiteX88" fmla="*/ 389084 w 932192"/>
                <a:gd name="connsiteY88" fmla="*/ 1029770 h 3530216"/>
                <a:gd name="connsiteX89" fmla="*/ 366530 w 932192"/>
                <a:gd name="connsiteY89" fmla="*/ 788926 h 3530216"/>
                <a:gd name="connsiteX90" fmla="*/ 349305 w 932192"/>
                <a:gd name="connsiteY90" fmla="*/ 669313 h 3530216"/>
                <a:gd name="connsiteX91" fmla="*/ 336933 w 932192"/>
                <a:gd name="connsiteY91" fmla="*/ 549320 h 3530216"/>
                <a:gd name="connsiteX92" fmla="*/ 333888 w 932192"/>
                <a:gd name="connsiteY92" fmla="*/ 428565 h 3530216"/>
                <a:gd name="connsiteX93" fmla="*/ 332270 w 932192"/>
                <a:gd name="connsiteY93" fmla="*/ 368140 h 3530216"/>
                <a:gd name="connsiteX94" fmla="*/ 327322 w 932192"/>
                <a:gd name="connsiteY94" fmla="*/ 307715 h 3530216"/>
                <a:gd name="connsiteX95" fmla="*/ 294870 w 932192"/>
                <a:gd name="connsiteY95" fmla="*/ 191052 h 3530216"/>
                <a:gd name="connsiteX96" fmla="*/ 222164 w 932192"/>
                <a:gd name="connsiteY96" fmla="*/ 94562 h 3530216"/>
                <a:gd name="connsiteX97" fmla="*/ 117958 w 932192"/>
                <a:gd name="connsiteY97" fmla="*/ 33281 h 3530216"/>
                <a:gd name="connsiteX98" fmla="*/ 2332 w 932192"/>
                <a:gd name="connsiteY98" fmla="*/ 71 h 3530216"/>
                <a:gd name="connsiteX99" fmla="*/ 96 w 932192"/>
                <a:gd name="connsiteY99" fmla="*/ 1308 h 3530216"/>
                <a:gd name="connsiteX100" fmla="*/ 48 w 932192"/>
                <a:gd name="connsiteY100" fmla="*/ 1498 h 3530216"/>
                <a:gd name="connsiteX101" fmla="*/ 1399 w 932192"/>
                <a:gd name="connsiteY101" fmla="*/ 3668 h 3530216"/>
                <a:gd name="connsiteX102" fmla="*/ 1475 w 932192"/>
                <a:gd name="connsiteY102" fmla="*/ 3687 h 353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932192" h="3530216">
                  <a:moveTo>
                    <a:pt x="1095" y="3782"/>
                  </a:moveTo>
                  <a:cubicBezTo>
                    <a:pt x="40217" y="13050"/>
                    <a:pt x="78436" y="25783"/>
                    <a:pt x="115293" y="41845"/>
                  </a:cubicBezTo>
                  <a:cubicBezTo>
                    <a:pt x="151704" y="56975"/>
                    <a:pt x="185287" y="78138"/>
                    <a:pt x="214646" y="104459"/>
                  </a:cubicBezTo>
                  <a:cubicBezTo>
                    <a:pt x="243100" y="130684"/>
                    <a:pt x="265597" y="162714"/>
                    <a:pt x="280595" y="198379"/>
                  </a:cubicBezTo>
                  <a:cubicBezTo>
                    <a:pt x="295346" y="234282"/>
                    <a:pt x="304625" y="272193"/>
                    <a:pt x="308098" y="310855"/>
                  </a:cubicBezTo>
                  <a:cubicBezTo>
                    <a:pt x="310278" y="330258"/>
                    <a:pt x="311391" y="349756"/>
                    <a:pt x="311429" y="369282"/>
                  </a:cubicBezTo>
                  <a:cubicBezTo>
                    <a:pt x="311429" y="389265"/>
                    <a:pt x="311905" y="409343"/>
                    <a:pt x="311905" y="429421"/>
                  </a:cubicBezTo>
                  <a:cubicBezTo>
                    <a:pt x="311905" y="469673"/>
                    <a:pt x="311905" y="509829"/>
                    <a:pt x="312666" y="550937"/>
                  </a:cubicBezTo>
                  <a:cubicBezTo>
                    <a:pt x="313237" y="572062"/>
                    <a:pt x="315140" y="592331"/>
                    <a:pt x="316853" y="612504"/>
                  </a:cubicBezTo>
                  <a:cubicBezTo>
                    <a:pt x="318566" y="632678"/>
                    <a:pt x="320660" y="653041"/>
                    <a:pt x="322944" y="673310"/>
                  </a:cubicBezTo>
                  <a:cubicBezTo>
                    <a:pt x="327512" y="713752"/>
                    <a:pt x="333222" y="753718"/>
                    <a:pt x="337885" y="793304"/>
                  </a:cubicBezTo>
                  <a:cubicBezTo>
                    <a:pt x="342548" y="832889"/>
                    <a:pt x="345974" y="872379"/>
                    <a:pt x="348448" y="912250"/>
                  </a:cubicBezTo>
                  <a:lnTo>
                    <a:pt x="356442" y="1032529"/>
                  </a:lnTo>
                  <a:cubicBezTo>
                    <a:pt x="361486" y="1112937"/>
                    <a:pt x="366625" y="1193726"/>
                    <a:pt x="374809" y="1274800"/>
                  </a:cubicBezTo>
                  <a:cubicBezTo>
                    <a:pt x="382927" y="1356322"/>
                    <a:pt x="396050" y="1437262"/>
                    <a:pt x="414112" y="1517166"/>
                  </a:cubicBezTo>
                  <a:lnTo>
                    <a:pt x="428863" y="1576449"/>
                  </a:lnTo>
                  <a:lnTo>
                    <a:pt x="435905" y="1604996"/>
                  </a:lnTo>
                  <a:lnTo>
                    <a:pt x="442281" y="1633544"/>
                  </a:lnTo>
                  <a:cubicBezTo>
                    <a:pt x="446659" y="1652575"/>
                    <a:pt x="449799" y="1672368"/>
                    <a:pt x="453606" y="1691685"/>
                  </a:cubicBezTo>
                  <a:cubicBezTo>
                    <a:pt x="457413" y="1711002"/>
                    <a:pt x="460267" y="1730604"/>
                    <a:pt x="463123" y="1750302"/>
                  </a:cubicBezTo>
                  <a:cubicBezTo>
                    <a:pt x="486628" y="1906931"/>
                    <a:pt x="489008" y="2066986"/>
                    <a:pt x="489103" y="2227517"/>
                  </a:cubicBezTo>
                  <a:cubicBezTo>
                    <a:pt x="489198" y="2388047"/>
                    <a:pt x="487009" y="2551052"/>
                    <a:pt x="501189" y="2712819"/>
                  </a:cubicBezTo>
                  <a:cubicBezTo>
                    <a:pt x="504615" y="2753356"/>
                    <a:pt x="508802" y="2793798"/>
                    <a:pt x="514036" y="2834240"/>
                  </a:cubicBezTo>
                  <a:lnTo>
                    <a:pt x="518128" y="2864500"/>
                  </a:lnTo>
                  <a:lnTo>
                    <a:pt x="519175" y="2872018"/>
                  </a:lnTo>
                  <a:cubicBezTo>
                    <a:pt x="519175" y="2874587"/>
                    <a:pt x="520317" y="2878108"/>
                    <a:pt x="520888" y="2881533"/>
                  </a:cubicBezTo>
                  <a:cubicBezTo>
                    <a:pt x="522058" y="2887614"/>
                    <a:pt x="523676" y="2893590"/>
                    <a:pt x="525741" y="2899423"/>
                  </a:cubicBezTo>
                  <a:cubicBezTo>
                    <a:pt x="534382" y="2921033"/>
                    <a:pt x="547334" y="2940655"/>
                    <a:pt x="563807" y="2957088"/>
                  </a:cubicBezTo>
                  <a:cubicBezTo>
                    <a:pt x="571630" y="2965015"/>
                    <a:pt x="580033" y="2972361"/>
                    <a:pt x="588931" y="2979070"/>
                  </a:cubicBezTo>
                  <a:cubicBezTo>
                    <a:pt x="597972" y="2985826"/>
                    <a:pt x="605966" y="2991250"/>
                    <a:pt x="614816" y="2997150"/>
                  </a:cubicBezTo>
                  <a:cubicBezTo>
                    <a:pt x="624000" y="3003344"/>
                    <a:pt x="633525" y="3008997"/>
                    <a:pt x="643366" y="3014088"/>
                  </a:cubicBezTo>
                  <a:lnTo>
                    <a:pt x="648314" y="3016372"/>
                  </a:lnTo>
                  <a:lnTo>
                    <a:pt x="651645" y="3017704"/>
                  </a:lnTo>
                  <a:lnTo>
                    <a:pt x="658307" y="3020463"/>
                  </a:lnTo>
                  <a:cubicBezTo>
                    <a:pt x="662779" y="3022271"/>
                    <a:pt x="667157" y="3024270"/>
                    <a:pt x="671535" y="3026268"/>
                  </a:cubicBezTo>
                  <a:cubicBezTo>
                    <a:pt x="680195" y="3030265"/>
                    <a:pt x="688760" y="3034547"/>
                    <a:pt x="696849" y="3039209"/>
                  </a:cubicBezTo>
                  <a:cubicBezTo>
                    <a:pt x="700941" y="3041493"/>
                    <a:pt x="704843" y="3043967"/>
                    <a:pt x="708554" y="3046346"/>
                  </a:cubicBezTo>
                  <a:lnTo>
                    <a:pt x="713883" y="3050152"/>
                  </a:lnTo>
                  <a:lnTo>
                    <a:pt x="719974" y="3054720"/>
                  </a:lnTo>
                  <a:cubicBezTo>
                    <a:pt x="735476" y="3065644"/>
                    <a:pt x="749932" y="3077977"/>
                    <a:pt x="763179" y="3091546"/>
                  </a:cubicBezTo>
                  <a:cubicBezTo>
                    <a:pt x="769117" y="3097845"/>
                    <a:pt x="774256" y="3104839"/>
                    <a:pt x="778500" y="3112385"/>
                  </a:cubicBezTo>
                  <a:cubicBezTo>
                    <a:pt x="779576" y="3114146"/>
                    <a:pt x="780499" y="3115992"/>
                    <a:pt x="781260" y="3117904"/>
                  </a:cubicBezTo>
                  <a:cubicBezTo>
                    <a:pt x="782021" y="3119617"/>
                    <a:pt x="783068" y="3121901"/>
                    <a:pt x="784020" y="3124375"/>
                  </a:cubicBezTo>
                  <a:lnTo>
                    <a:pt x="789825" y="3138839"/>
                  </a:lnTo>
                  <a:cubicBezTo>
                    <a:pt x="797705" y="3158251"/>
                    <a:pt x="807259" y="3176940"/>
                    <a:pt x="818375" y="3194697"/>
                  </a:cubicBezTo>
                  <a:cubicBezTo>
                    <a:pt x="829795" y="3212872"/>
                    <a:pt x="844640" y="3228097"/>
                    <a:pt x="854442" y="3243227"/>
                  </a:cubicBezTo>
                  <a:cubicBezTo>
                    <a:pt x="856926" y="3247138"/>
                    <a:pt x="859220" y="3251173"/>
                    <a:pt x="861294" y="3255312"/>
                  </a:cubicBezTo>
                  <a:cubicBezTo>
                    <a:pt x="862436" y="3257310"/>
                    <a:pt x="863388" y="3259499"/>
                    <a:pt x="864339" y="3261592"/>
                  </a:cubicBezTo>
                  <a:cubicBezTo>
                    <a:pt x="865329" y="3263552"/>
                    <a:pt x="866157" y="3265589"/>
                    <a:pt x="866814" y="3267682"/>
                  </a:cubicBezTo>
                  <a:cubicBezTo>
                    <a:pt x="869383" y="3276827"/>
                    <a:pt x="871448" y="3286095"/>
                    <a:pt x="873000" y="3295468"/>
                  </a:cubicBezTo>
                  <a:cubicBezTo>
                    <a:pt x="880137" y="3334864"/>
                    <a:pt x="885657" y="3374924"/>
                    <a:pt x="893936" y="3414701"/>
                  </a:cubicBezTo>
                  <a:cubicBezTo>
                    <a:pt x="895934" y="3424959"/>
                    <a:pt x="898837" y="3435016"/>
                    <a:pt x="902596" y="3444770"/>
                  </a:cubicBezTo>
                  <a:cubicBezTo>
                    <a:pt x="906593" y="3454286"/>
                    <a:pt x="910971" y="3463802"/>
                    <a:pt x="915063" y="3472461"/>
                  </a:cubicBezTo>
                  <a:cubicBezTo>
                    <a:pt x="919174" y="3481472"/>
                    <a:pt x="922676" y="3490760"/>
                    <a:pt x="925531" y="3500247"/>
                  </a:cubicBezTo>
                  <a:cubicBezTo>
                    <a:pt x="929166" y="3508945"/>
                    <a:pt x="928643" y="3518822"/>
                    <a:pt x="924103" y="3527082"/>
                  </a:cubicBezTo>
                  <a:lnTo>
                    <a:pt x="924103" y="3527082"/>
                  </a:lnTo>
                  <a:cubicBezTo>
                    <a:pt x="923380" y="3527824"/>
                    <a:pt x="923380" y="3529004"/>
                    <a:pt x="924103" y="3529746"/>
                  </a:cubicBezTo>
                  <a:cubicBezTo>
                    <a:pt x="924846" y="3530374"/>
                    <a:pt x="925931" y="3530374"/>
                    <a:pt x="926673" y="3529746"/>
                  </a:cubicBezTo>
                  <a:cubicBezTo>
                    <a:pt x="930251" y="3525483"/>
                    <a:pt x="932202" y="3520087"/>
                    <a:pt x="932192" y="3514521"/>
                  </a:cubicBezTo>
                  <a:cubicBezTo>
                    <a:pt x="932183" y="3509325"/>
                    <a:pt x="931545" y="3504148"/>
                    <a:pt x="930289" y="3499105"/>
                  </a:cubicBezTo>
                  <a:cubicBezTo>
                    <a:pt x="927843" y="3489361"/>
                    <a:pt x="924665" y="3479817"/>
                    <a:pt x="920773" y="3470558"/>
                  </a:cubicBezTo>
                  <a:cubicBezTo>
                    <a:pt x="917061" y="3461042"/>
                    <a:pt x="913064" y="3451527"/>
                    <a:pt x="909543" y="3442487"/>
                  </a:cubicBezTo>
                  <a:cubicBezTo>
                    <a:pt x="906336" y="3433199"/>
                    <a:pt x="903985" y="3423646"/>
                    <a:pt x="902501" y="3413939"/>
                  </a:cubicBezTo>
                  <a:cubicBezTo>
                    <a:pt x="895649" y="3374354"/>
                    <a:pt x="891271" y="3334293"/>
                    <a:pt x="885371" y="3294326"/>
                  </a:cubicBezTo>
                  <a:cubicBezTo>
                    <a:pt x="884010" y="3284240"/>
                    <a:pt x="882107" y="3274229"/>
                    <a:pt x="879661" y="3264352"/>
                  </a:cubicBezTo>
                  <a:cubicBezTo>
                    <a:pt x="876283" y="3254684"/>
                    <a:pt x="871943" y="3245378"/>
                    <a:pt x="866719" y="3236566"/>
                  </a:cubicBezTo>
                  <a:cubicBezTo>
                    <a:pt x="856060" y="3219057"/>
                    <a:pt x="842261" y="3204213"/>
                    <a:pt x="832269" y="3186989"/>
                  </a:cubicBezTo>
                  <a:cubicBezTo>
                    <a:pt x="822001" y="3169775"/>
                    <a:pt x="813274" y="3151685"/>
                    <a:pt x="806194" y="3132939"/>
                  </a:cubicBezTo>
                  <a:cubicBezTo>
                    <a:pt x="802577" y="3123424"/>
                    <a:pt x="799627" y="3113908"/>
                    <a:pt x="795059" y="3104392"/>
                  </a:cubicBezTo>
                  <a:cubicBezTo>
                    <a:pt x="790415" y="3095228"/>
                    <a:pt x="784620" y="3086693"/>
                    <a:pt x="777834" y="3078985"/>
                  </a:cubicBezTo>
                  <a:cubicBezTo>
                    <a:pt x="764130" y="3063960"/>
                    <a:pt x="748951" y="3050352"/>
                    <a:pt x="732536" y="3038353"/>
                  </a:cubicBezTo>
                  <a:cubicBezTo>
                    <a:pt x="716614" y="3025697"/>
                    <a:pt x="699237" y="3014992"/>
                    <a:pt x="680766" y="3006475"/>
                  </a:cubicBezTo>
                  <a:cubicBezTo>
                    <a:pt x="671820" y="3002003"/>
                    <a:pt x="661733" y="2998006"/>
                    <a:pt x="653358" y="2994010"/>
                  </a:cubicBezTo>
                  <a:cubicBezTo>
                    <a:pt x="644641" y="2989176"/>
                    <a:pt x="636190" y="2983875"/>
                    <a:pt x="628044" y="2978118"/>
                  </a:cubicBezTo>
                  <a:cubicBezTo>
                    <a:pt x="611238" y="2967147"/>
                    <a:pt x="595669" y="2954376"/>
                    <a:pt x="581603" y="2940055"/>
                  </a:cubicBezTo>
                  <a:cubicBezTo>
                    <a:pt x="567681" y="2925934"/>
                    <a:pt x="556765" y="2909129"/>
                    <a:pt x="549533" y="2890668"/>
                  </a:cubicBezTo>
                  <a:cubicBezTo>
                    <a:pt x="546231" y="2881467"/>
                    <a:pt x="544184" y="2871865"/>
                    <a:pt x="543442" y="2862121"/>
                  </a:cubicBezTo>
                  <a:lnTo>
                    <a:pt x="539921" y="2832147"/>
                  </a:lnTo>
                  <a:cubicBezTo>
                    <a:pt x="535448" y="2792181"/>
                    <a:pt x="532118" y="2752024"/>
                    <a:pt x="529548" y="2711868"/>
                  </a:cubicBezTo>
                  <a:cubicBezTo>
                    <a:pt x="519270" y="2551147"/>
                    <a:pt x="522220" y="2389950"/>
                    <a:pt x="523743" y="2228753"/>
                  </a:cubicBezTo>
                  <a:cubicBezTo>
                    <a:pt x="525266" y="2067557"/>
                    <a:pt x="522791" y="1905884"/>
                    <a:pt x="499666" y="1745925"/>
                  </a:cubicBezTo>
                  <a:cubicBezTo>
                    <a:pt x="497096" y="1725846"/>
                    <a:pt x="493290" y="1706054"/>
                    <a:pt x="490150" y="1686070"/>
                  </a:cubicBezTo>
                  <a:cubicBezTo>
                    <a:pt x="487009" y="1666088"/>
                    <a:pt x="482917" y="1646390"/>
                    <a:pt x="478349" y="1626692"/>
                  </a:cubicBezTo>
                  <a:lnTo>
                    <a:pt x="471782" y="1597098"/>
                  </a:lnTo>
                  <a:lnTo>
                    <a:pt x="464360" y="1567790"/>
                  </a:lnTo>
                  <a:lnTo>
                    <a:pt x="449609" y="1508316"/>
                  </a:lnTo>
                  <a:cubicBezTo>
                    <a:pt x="440092" y="1469112"/>
                    <a:pt x="432765" y="1429716"/>
                    <a:pt x="426103" y="1390036"/>
                  </a:cubicBezTo>
                  <a:cubicBezTo>
                    <a:pt x="419441" y="1350355"/>
                    <a:pt x="414398" y="1310389"/>
                    <a:pt x="409830" y="1270423"/>
                  </a:cubicBezTo>
                  <a:cubicBezTo>
                    <a:pt x="400884" y="1190395"/>
                    <a:pt x="394984" y="1110083"/>
                    <a:pt x="389084" y="1029770"/>
                  </a:cubicBezTo>
                  <a:cubicBezTo>
                    <a:pt x="383184" y="949457"/>
                    <a:pt x="377759" y="868858"/>
                    <a:pt x="366530" y="788926"/>
                  </a:cubicBezTo>
                  <a:cubicBezTo>
                    <a:pt x="361105" y="748960"/>
                    <a:pt x="354634" y="709184"/>
                    <a:pt x="349305" y="669313"/>
                  </a:cubicBezTo>
                  <a:cubicBezTo>
                    <a:pt x="343975" y="629442"/>
                    <a:pt x="339312" y="589286"/>
                    <a:pt x="336933" y="549320"/>
                  </a:cubicBezTo>
                  <a:cubicBezTo>
                    <a:pt x="334554" y="509354"/>
                    <a:pt x="334744" y="468912"/>
                    <a:pt x="333888" y="428565"/>
                  </a:cubicBezTo>
                  <a:cubicBezTo>
                    <a:pt x="333412" y="408487"/>
                    <a:pt x="333031" y="388313"/>
                    <a:pt x="332270" y="368140"/>
                  </a:cubicBezTo>
                  <a:cubicBezTo>
                    <a:pt x="331852" y="347919"/>
                    <a:pt x="330205" y="327736"/>
                    <a:pt x="327322" y="307715"/>
                  </a:cubicBezTo>
                  <a:cubicBezTo>
                    <a:pt x="322373" y="267425"/>
                    <a:pt x="311429" y="228106"/>
                    <a:pt x="294870" y="191052"/>
                  </a:cubicBezTo>
                  <a:cubicBezTo>
                    <a:pt x="277836" y="154045"/>
                    <a:pt x="253035" y="121140"/>
                    <a:pt x="222164" y="94562"/>
                  </a:cubicBezTo>
                  <a:cubicBezTo>
                    <a:pt x="191140" y="68404"/>
                    <a:pt x="155900" y="47678"/>
                    <a:pt x="117958" y="33281"/>
                  </a:cubicBezTo>
                  <a:cubicBezTo>
                    <a:pt x="80472" y="18827"/>
                    <a:pt x="41778" y="7712"/>
                    <a:pt x="2332" y="71"/>
                  </a:cubicBezTo>
                  <a:cubicBezTo>
                    <a:pt x="1371" y="-205"/>
                    <a:pt x="372" y="347"/>
                    <a:pt x="96" y="1308"/>
                  </a:cubicBezTo>
                  <a:cubicBezTo>
                    <a:pt x="77" y="1365"/>
                    <a:pt x="57" y="1432"/>
                    <a:pt x="48" y="1498"/>
                  </a:cubicBezTo>
                  <a:cubicBezTo>
                    <a:pt x="-180" y="2469"/>
                    <a:pt x="429" y="3440"/>
                    <a:pt x="1399" y="3668"/>
                  </a:cubicBezTo>
                  <a:cubicBezTo>
                    <a:pt x="1428" y="3677"/>
                    <a:pt x="1447" y="3677"/>
                    <a:pt x="1475" y="3687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Freeform 233">
              <a:extLst>
                <a:ext uri="{FF2B5EF4-FFF2-40B4-BE49-F238E27FC236}">
                  <a16:creationId xmlns:a16="http://schemas.microsoft.com/office/drawing/2014/main" id="{88884D39-078A-4FCC-92F9-CBBAD06BEDDB}"/>
                </a:ext>
              </a:extLst>
            </p:cNvPr>
            <p:cNvSpPr/>
            <p:nvPr/>
          </p:nvSpPr>
          <p:spPr>
            <a:xfrm>
              <a:off x="6200284" y="2034803"/>
              <a:ext cx="695182" cy="80967"/>
            </a:xfrm>
            <a:custGeom>
              <a:avLst/>
              <a:gdLst>
                <a:gd name="connsiteX0" fmla="*/ 0 w 695182"/>
                <a:gd name="connsiteY0" fmla="*/ 44586 h 80967"/>
                <a:gd name="connsiteX1" fmla="*/ 314046 w 695182"/>
                <a:gd name="connsiteY1" fmla="*/ 64664 h 80967"/>
                <a:gd name="connsiteX2" fmla="*/ 460124 w 695182"/>
                <a:gd name="connsiteY2" fmla="*/ 45632 h 80967"/>
                <a:gd name="connsiteX3" fmla="*/ 543109 w 695182"/>
                <a:gd name="connsiteY3" fmla="*/ 30217 h 80967"/>
                <a:gd name="connsiteX4" fmla="*/ 621430 w 695182"/>
                <a:gd name="connsiteY4" fmla="*/ 3953 h 80967"/>
                <a:gd name="connsiteX5" fmla="*/ 695183 w 695182"/>
                <a:gd name="connsiteY5" fmla="*/ 18512 h 80967"/>
                <a:gd name="connsiteX6" fmla="*/ 411304 w 695182"/>
                <a:gd name="connsiteY6" fmla="*/ 71801 h 80967"/>
                <a:gd name="connsiteX7" fmla="*/ 0 w 695182"/>
                <a:gd name="connsiteY7" fmla="*/ 44586 h 8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5182" h="80967">
                  <a:moveTo>
                    <a:pt x="0" y="44586"/>
                  </a:moveTo>
                  <a:cubicBezTo>
                    <a:pt x="97069" y="37163"/>
                    <a:pt x="216406" y="62951"/>
                    <a:pt x="314046" y="64664"/>
                  </a:cubicBezTo>
                  <a:cubicBezTo>
                    <a:pt x="352112" y="65425"/>
                    <a:pt x="389226" y="61333"/>
                    <a:pt x="460124" y="45632"/>
                  </a:cubicBezTo>
                  <a:lnTo>
                    <a:pt x="543109" y="30217"/>
                  </a:lnTo>
                  <a:cubicBezTo>
                    <a:pt x="587075" y="20035"/>
                    <a:pt x="614292" y="9663"/>
                    <a:pt x="621430" y="3953"/>
                  </a:cubicBezTo>
                  <a:cubicBezTo>
                    <a:pt x="628567" y="-1756"/>
                    <a:pt x="632659" y="-4420"/>
                    <a:pt x="695183" y="18512"/>
                  </a:cubicBezTo>
                  <a:cubicBezTo>
                    <a:pt x="632754" y="38971"/>
                    <a:pt x="481537" y="55529"/>
                    <a:pt x="411304" y="71801"/>
                  </a:cubicBezTo>
                  <a:cubicBezTo>
                    <a:pt x="283688" y="103393"/>
                    <a:pt x="127712" y="43063"/>
                    <a:pt x="0" y="44586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reeform 234">
              <a:extLst>
                <a:ext uri="{FF2B5EF4-FFF2-40B4-BE49-F238E27FC236}">
                  <a16:creationId xmlns:a16="http://schemas.microsoft.com/office/drawing/2014/main" id="{847FB3D0-D281-4A4E-815B-6ACEBD116E0B}"/>
                </a:ext>
              </a:extLst>
            </p:cNvPr>
            <p:cNvSpPr/>
            <p:nvPr/>
          </p:nvSpPr>
          <p:spPr>
            <a:xfrm>
              <a:off x="5816292" y="888035"/>
              <a:ext cx="360939" cy="503460"/>
            </a:xfrm>
            <a:custGeom>
              <a:avLst/>
              <a:gdLst>
                <a:gd name="connsiteX0" fmla="*/ 310810 w 360939"/>
                <a:gd name="connsiteY0" fmla="*/ 11116 h 503460"/>
                <a:gd name="connsiteX1" fmla="*/ 277312 w 360939"/>
                <a:gd name="connsiteY1" fmla="*/ 3504 h 503460"/>
                <a:gd name="connsiteX2" fmla="*/ 259992 w 360939"/>
                <a:gd name="connsiteY2" fmla="*/ 3504 h 503460"/>
                <a:gd name="connsiteX3" fmla="*/ 255709 w 360939"/>
                <a:gd name="connsiteY3" fmla="*/ 3504 h 503460"/>
                <a:gd name="connsiteX4" fmla="*/ 253806 w 360939"/>
                <a:gd name="connsiteY4" fmla="*/ 3504 h 503460"/>
                <a:gd name="connsiteX5" fmla="*/ 253806 w 360939"/>
                <a:gd name="connsiteY5" fmla="*/ 1981 h 503460"/>
                <a:gd name="connsiteX6" fmla="*/ 256090 w 360939"/>
                <a:gd name="connsiteY6" fmla="*/ 1981 h 503460"/>
                <a:gd name="connsiteX7" fmla="*/ 264750 w 360939"/>
                <a:gd name="connsiteY7" fmla="*/ 1505 h 503460"/>
                <a:gd name="connsiteX8" fmla="*/ 299580 w 360939"/>
                <a:gd name="connsiteY8" fmla="*/ 5121 h 503460"/>
                <a:gd name="connsiteX9" fmla="*/ 315759 w 360939"/>
                <a:gd name="connsiteY9" fmla="*/ 12734 h 503460"/>
                <a:gd name="connsiteX10" fmla="*/ 327274 w 360939"/>
                <a:gd name="connsiteY10" fmla="*/ 25961 h 503460"/>
                <a:gd name="connsiteX11" fmla="*/ 344594 w 360939"/>
                <a:gd name="connsiteY11" fmla="*/ 55935 h 503460"/>
                <a:gd name="connsiteX12" fmla="*/ 355443 w 360939"/>
                <a:gd name="connsiteY12" fmla="*/ 88765 h 503460"/>
                <a:gd name="connsiteX13" fmla="*/ 359535 w 360939"/>
                <a:gd name="connsiteY13" fmla="*/ 157563 h 503460"/>
                <a:gd name="connsiteX14" fmla="*/ 347639 w 360939"/>
                <a:gd name="connsiteY14" fmla="*/ 190583 h 503460"/>
                <a:gd name="connsiteX15" fmla="*/ 328606 w 360939"/>
                <a:gd name="connsiteY15" fmla="*/ 219130 h 503460"/>
                <a:gd name="connsiteX16" fmla="*/ 283688 w 360939"/>
                <a:gd name="connsiteY16" fmla="*/ 271943 h 503460"/>
                <a:gd name="connsiteX17" fmla="*/ 227350 w 360939"/>
                <a:gd name="connsiteY17" fmla="*/ 313622 h 503460"/>
                <a:gd name="connsiteX18" fmla="*/ 192615 w 360939"/>
                <a:gd name="connsiteY18" fmla="*/ 323899 h 503460"/>
                <a:gd name="connsiteX19" fmla="*/ 186810 w 360939"/>
                <a:gd name="connsiteY19" fmla="*/ 323328 h 503460"/>
                <a:gd name="connsiteX20" fmla="*/ 182146 w 360939"/>
                <a:gd name="connsiteY20" fmla="*/ 321425 h 503460"/>
                <a:gd name="connsiteX21" fmla="*/ 174248 w 360939"/>
                <a:gd name="connsiteY21" fmla="*/ 316762 h 503460"/>
                <a:gd name="connsiteX22" fmla="*/ 159973 w 360939"/>
                <a:gd name="connsiteY22" fmla="*/ 306104 h 503460"/>
                <a:gd name="connsiteX23" fmla="*/ 167301 w 360939"/>
                <a:gd name="connsiteY23" fmla="*/ 302869 h 503460"/>
                <a:gd name="connsiteX24" fmla="*/ 166349 w 360939"/>
                <a:gd name="connsiteY24" fmla="*/ 348069 h 503460"/>
                <a:gd name="connsiteX25" fmla="*/ 158450 w 360939"/>
                <a:gd name="connsiteY25" fmla="*/ 393078 h 503460"/>
                <a:gd name="connsiteX26" fmla="*/ 140749 w 360939"/>
                <a:gd name="connsiteY26" fmla="*/ 435709 h 503460"/>
                <a:gd name="connsiteX27" fmla="*/ 108488 w 360939"/>
                <a:gd name="connsiteY27" fmla="*/ 470346 h 503460"/>
                <a:gd name="connsiteX28" fmla="*/ 108488 w 360939"/>
                <a:gd name="connsiteY28" fmla="*/ 470346 h 503460"/>
                <a:gd name="connsiteX29" fmla="*/ 107917 w 360939"/>
                <a:gd name="connsiteY29" fmla="*/ 470346 h 503460"/>
                <a:gd name="connsiteX30" fmla="*/ 381 w 360939"/>
                <a:gd name="connsiteY30" fmla="*/ 503270 h 503460"/>
                <a:gd name="connsiteX31" fmla="*/ 105062 w 360939"/>
                <a:gd name="connsiteY31" fmla="*/ 462448 h 503460"/>
                <a:gd name="connsiteX32" fmla="*/ 104396 w 360939"/>
                <a:gd name="connsiteY32" fmla="*/ 462448 h 503460"/>
                <a:gd name="connsiteX33" fmla="*/ 133612 w 360939"/>
                <a:gd name="connsiteY33" fmla="*/ 430951 h 503460"/>
                <a:gd name="connsiteX34" fmla="*/ 150742 w 360939"/>
                <a:gd name="connsiteY34" fmla="*/ 390509 h 503460"/>
                <a:gd name="connsiteX35" fmla="*/ 158736 w 360939"/>
                <a:gd name="connsiteY35" fmla="*/ 346927 h 503460"/>
                <a:gd name="connsiteX36" fmla="*/ 159973 w 360939"/>
                <a:gd name="connsiteY36" fmla="*/ 302298 h 503460"/>
                <a:gd name="connsiteX37" fmla="*/ 159973 w 360939"/>
                <a:gd name="connsiteY37" fmla="*/ 296303 h 503460"/>
                <a:gd name="connsiteX38" fmla="*/ 164541 w 360939"/>
                <a:gd name="connsiteY38" fmla="*/ 300204 h 503460"/>
                <a:gd name="connsiteX39" fmla="*/ 181480 w 360939"/>
                <a:gd name="connsiteY39" fmla="*/ 312670 h 503460"/>
                <a:gd name="connsiteX40" fmla="*/ 190236 w 360939"/>
                <a:gd name="connsiteY40" fmla="*/ 316572 h 503460"/>
                <a:gd name="connsiteX41" fmla="*/ 199752 w 360939"/>
                <a:gd name="connsiteY41" fmla="*/ 315620 h 503460"/>
                <a:gd name="connsiteX42" fmla="*/ 237818 w 360939"/>
                <a:gd name="connsiteY42" fmla="*/ 299063 h 503460"/>
                <a:gd name="connsiteX43" fmla="*/ 301864 w 360939"/>
                <a:gd name="connsiteY43" fmla="*/ 243300 h 503460"/>
                <a:gd name="connsiteX44" fmla="*/ 328130 w 360939"/>
                <a:gd name="connsiteY44" fmla="*/ 209710 h 503460"/>
                <a:gd name="connsiteX45" fmla="*/ 350208 w 360939"/>
                <a:gd name="connsiteY45" fmla="*/ 173550 h 503460"/>
                <a:gd name="connsiteX46" fmla="*/ 357156 w 360939"/>
                <a:gd name="connsiteY46" fmla="*/ 132156 h 503460"/>
                <a:gd name="connsiteX47" fmla="*/ 352683 w 360939"/>
                <a:gd name="connsiteY47" fmla="*/ 90002 h 503460"/>
                <a:gd name="connsiteX48" fmla="*/ 357917 w 360939"/>
                <a:gd name="connsiteY48" fmla="*/ 132156 h 503460"/>
                <a:gd name="connsiteX49" fmla="*/ 351636 w 360939"/>
                <a:gd name="connsiteY49" fmla="*/ 174121 h 503460"/>
                <a:gd name="connsiteX50" fmla="*/ 330129 w 360939"/>
                <a:gd name="connsiteY50" fmla="*/ 211042 h 503460"/>
                <a:gd name="connsiteX51" fmla="*/ 304339 w 360939"/>
                <a:gd name="connsiteY51" fmla="*/ 245299 h 503460"/>
                <a:gd name="connsiteX52" fmla="*/ 240388 w 360939"/>
                <a:gd name="connsiteY52" fmla="*/ 302964 h 503460"/>
                <a:gd name="connsiteX53" fmla="*/ 200989 w 360939"/>
                <a:gd name="connsiteY53" fmla="*/ 321710 h 503460"/>
                <a:gd name="connsiteX54" fmla="*/ 195470 w 360939"/>
                <a:gd name="connsiteY54" fmla="*/ 322471 h 503460"/>
                <a:gd name="connsiteX55" fmla="*/ 189474 w 360939"/>
                <a:gd name="connsiteY55" fmla="*/ 322471 h 503460"/>
                <a:gd name="connsiteX56" fmla="*/ 178530 w 360939"/>
                <a:gd name="connsiteY56" fmla="*/ 317904 h 503460"/>
                <a:gd name="connsiteX57" fmla="*/ 160734 w 360939"/>
                <a:gd name="connsiteY57" fmla="*/ 305153 h 503460"/>
                <a:gd name="connsiteX58" fmla="*/ 165397 w 360939"/>
                <a:gd name="connsiteY58" fmla="*/ 303059 h 503460"/>
                <a:gd name="connsiteX59" fmla="*/ 164636 w 360939"/>
                <a:gd name="connsiteY59" fmla="*/ 348164 h 503460"/>
                <a:gd name="connsiteX60" fmla="*/ 156928 w 360939"/>
                <a:gd name="connsiteY60" fmla="*/ 392983 h 503460"/>
                <a:gd name="connsiteX61" fmla="*/ 139512 w 360939"/>
                <a:gd name="connsiteY61" fmla="*/ 435233 h 503460"/>
                <a:gd name="connsiteX62" fmla="*/ 107727 w 360939"/>
                <a:gd name="connsiteY62" fmla="*/ 469680 h 503460"/>
                <a:gd name="connsiteX63" fmla="*/ 107727 w 360939"/>
                <a:gd name="connsiteY63" fmla="*/ 469680 h 503460"/>
                <a:gd name="connsiteX64" fmla="*/ 107251 w 360939"/>
                <a:gd name="connsiteY64" fmla="*/ 469680 h 503460"/>
                <a:gd name="connsiteX65" fmla="*/ 0 w 360939"/>
                <a:gd name="connsiteY65" fmla="*/ 503461 h 503460"/>
                <a:gd name="connsiteX66" fmla="*/ 104682 w 360939"/>
                <a:gd name="connsiteY66" fmla="*/ 461782 h 503460"/>
                <a:gd name="connsiteX67" fmla="*/ 103825 w 360939"/>
                <a:gd name="connsiteY67" fmla="*/ 461782 h 503460"/>
                <a:gd name="connsiteX68" fmla="*/ 132375 w 360939"/>
                <a:gd name="connsiteY68" fmla="*/ 430475 h 503460"/>
                <a:gd name="connsiteX69" fmla="*/ 149314 w 360939"/>
                <a:gd name="connsiteY69" fmla="*/ 390223 h 503460"/>
                <a:gd name="connsiteX70" fmla="*/ 157023 w 360939"/>
                <a:gd name="connsiteY70" fmla="*/ 346927 h 503460"/>
                <a:gd name="connsiteX71" fmla="*/ 158165 w 360939"/>
                <a:gd name="connsiteY71" fmla="*/ 302393 h 503460"/>
                <a:gd name="connsiteX72" fmla="*/ 158165 w 360939"/>
                <a:gd name="connsiteY72" fmla="*/ 292877 h 503460"/>
                <a:gd name="connsiteX73" fmla="*/ 165397 w 360939"/>
                <a:gd name="connsiteY73" fmla="*/ 298967 h 503460"/>
                <a:gd name="connsiteX74" fmla="*/ 178720 w 360939"/>
                <a:gd name="connsiteY74" fmla="*/ 309054 h 503460"/>
                <a:gd name="connsiteX75" fmla="*/ 191853 w 360939"/>
                <a:gd name="connsiteY75" fmla="*/ 314859 h 503460"/>
                <a:gd name="connsiteX76" fmla="*/ 223163 w 360939"/>
                <a:gd name="connsiteY76" fmla="*/ 305343 h 503460"/>
                <a:gd name="connsiteX77" fmla="*/ 277692 w 360939"/>
                <a:gd name="connsiteY77" fmla="*/ 265282 h 503460"/>
                <a:gd name="connsiteX78" fmla="*/ 322420 w 360939"/>
                <a:gd name="connsiteY78" fmla="*/ 214087 h 503460"/>
                <a:gd name="connsiteX79" fmla="*/ 341453 w 360939"/>
                <a:gd name="connsiteY79" fmla="*/ 185540 h 503460"/>
                <a:gd name="connsiteX80" fmla="*/ 353444 w 360939"/>
                <a:gd name="connsiteY80" fmla="*/ 154899 h 503460"/>
                <a:gd name="connsiteX81" fmla="*/ 350494 w 360939"/>
                <a:gd name="connsiteY81" fmla="*/ 88289 h 503460"/>
                <a:gd name="connsiteX82" fmla="*/ 324323 w 360939"/>
                <a:gd name="connsiteY82" fmla="*/ 26437 h 503460"/>
                <a:gd name="connsiteX83" fmla="*/ 264845 w 360939"/>
                <a:gd name="connsiteY83" fmla="*/ 1791 h 503460"/>
                <a:gd name="connsiteX84" fmla="*/ 256185 w 360939"/>
                <a:gd name="connsiteY84" fmla="*/ 1791 h 503460"/>
                <a:gd name="connsiteX85" fmla="*/ 253711 w 360939"/>
                <a:gd name="connsiteY85" fmla="*/ 363 h 503460"/>
                <a:gd name="connsiteX86" fmla="*/ 259897 w 360939"/>
                <a:gd name="connsiteY86" fmla="*/ 363 h 503460"/>
                <a:gd name="connsiteX87" fmla="*/ 277407 w 360939"/>
                <a:gd name="connsiteY87" fmla="*/ 363 h 503460"/>
                <a:gd name="connsiteX88" fmla="*/ 310810 w 360939"/>
                <a:gd name="connsiteY88" fmla="*/ 11116 h 503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360939" h="503460">
                  <a:moveTo>
                    <a:pt x="310810" y="11116"/>
                  </a:moveTo>
                  <a:cubicBezTo>
                    <a:pt x="300256" y="6390"/>
                    <a:pt x="288874" y="3801"/>
                    <a:pt x="277312" y="3504"/>
                  </a:cubicBezTo>
                  <a:cubicBezTo>
                    <a:pt x="271545" y="3075"/>
                    <a:pt x="265759" y="3075"/>
                    <a:pt x="259992" y="3504"/>
                  </a:cubicBezTo>
                  <a:lnTo>
                    <a:pt x="255709" y="3504"/>
                  </a:lnTo>
                  <a:lnTo>
                    <a:pt x="253806" y="3504"/>
                  </a:lnTo>
                  <a:cubicBezTo>
                    <a:pt x="253806" y="4836"/>
                    <a:pt x="253806" y="1696"/>
                    <a:pt x="253806" y="1981"/>
                  </a:cubicBezTo>
                  <a:lnTo>
                    <a:pt x="256090" y="1981"/>
                  </a:lnTo>
                  <a:lnTo>
                    <a:pt x="264750" y="1505"/>
                  </a:lnTo>
                  <a:cubicBezTo>
                    <a:pt x="276465" y="1232"/>
                    <a:pt x="288170" y="2447"/>
                    <a:pt x="299580" y="5121"/>
                  </a:cubicBezTo>
                  <a:cubicBezTo>
                    <a:pt x="305519" y="6288"/>
                    <a:pt x="311076" y="8903"/>
                    <a:pt x="315759" y="12734"/>
                  </a:cubicBezTo>
                  <a:cubicBezTo>
                    <a:pt x="320022" y="16753"/>
                    <a:pt x="323876" y="21184"/>
                    <a:pt x="327274" y="25961"/>
                  </a:cubicBezTo>
                  <a:cubicBezTo>
                    <a:pt x="334230" y="35222"/>
                    <a:pt x="340045" y="45286"/>
                    <a:pt x="344594" y="55935"/>
                  </a:cubicBezTo>
                  <a:cubicBezTo>
                    <a:pt x="349019" y="66594"/>
                    <a:pt x="352645" y="77567"/>
                    <a:pt x="355443" y="88765"/>
                  </a:cubicBezTo>
                  <a:cubicBezTo>
                    <a:pt x="360943" y="111264"/>
                    <a:pt x="362333" y="134572"/>
                    <a:pt x="359535" y="157563"/>
                  </a:cubicBezTo>
                  <a:cubicBezTo>
                    <a:pt x="357784" y="169246"/>
                    <a:pt x="353739" y="180468"/>
                    <a:pt x="347639" y="190583"/>
                  </a:cubicBezTo>
                  <a:cubicBezTo>
                    <a:pt x="341824" y="200443"/>
                    <a:pt x="335477" y="209973"/>
                    <a:pt x="328606" y="219130"/>
                  </a:cubicBezTo>
                  <a:cubicBezTo>
                    <a:pt x="315426" y="238182"/>
                    <a:pt x="300380" y="255873"/>
                    <a:pt x="283688" y="271943"/>
                  </a:cubicBezTo>
                  <a:cubicBezTo>
                    <a:pt x="266967" y="288419"/>
                    <a:pt x="248001" y="302451"/>
                    <a:pt x="227350" y="313622"/>
                  </a:cubicBezTo>
                  <a:cubicBezTo>
                    <a:pt x="216606" y="319413"/>
                    <a:pt x="204777" y="322913"/>
                    <a:pt x="192615" y="323899"/>
                  </a:cubicBezTo>
                  <a:cubicBezTo>
                    <a:pt x="190664" y="324127"/>
                    <a:pt x="188684" y="323933"/>
                    <a:pt x="186810" y="323328"/>
                  </a:cubicBezTo>
                  <a:cubicBezTo>
                    <a:pt x="185220" y="322784"/>
                    <a:pt x="183660" y="322150"/>
                    <a:pt x="182146" y="321425"/>
                  </a:cubicBezTo>
                  <a:cubicBezTo>
                    <a:pt x="179425" y="320026"/>
                    <a:pt x="176789" y="318469"/>
                    <a:pt x="174248" y="316762"/>
                  </a:cubicBezTo>
                  <a:cubicBezTo>
                    <a:pt x="169309" y="313456"/>
                    <a:pt x="164550" y="309898"/>
                    <a:pt x="159973" y="306104"/>
                  </a:cubicBezTo>
                  <a:lnTo>
                    <a:pt x="167301" y="302869"/>
                  </a:lnTo>
                  <a:cubicBezTo>
                    <a:pt x="167301" y="317904"/>
                    <a:pt x="167301" y="332748"/>
                    <a:pt x="166349" y="348069"/>
                  </a:cubicBezTo>
                  <a:cubicBezTo>
                    <a:pt x="165140" y="363284"/>
                    <a:pt x="162495" y="378357"/>
                    <a:pt x="158450" y="393078"/>
                  </a:cubicBezTo>
                  <a:cubicBezTo>
                    <a:pt x="154558" y="408046"/>
                    <a:pt x="148601" y="422387"/>
                    <a:pt x="140749" y="435709"/>
                  </a:cubicBezTo>
                  <a:cubicBezTo>
                    <a:pt x="132898" y="449659"/>
                    <a:pt x="121840" y="461525"/>
                    <a:pt x="108488" y="470346"/>
                  </a:cubicBezTo>
                  <a:lnTo>
                    <a:pt x="108488" y="470346"/>
                  </a:lnTo>
                  <a:lnTo>
                    <a:pt x="107917" y="470346"/>
                  </a:lnTo>
                  <a:lnTo>
                    <a:pt x="381" y="503270"/>
                  </a:lnTo>
                  <a:lnTo>
                    <a:pt x="105062" y="462448"/>
                  </a:lnTo>
                  <a:lnTo>
                    <a:pt x="104396" y="462448"/>
                  </a:lnTo>
                  <a:cubicBezTo>
                    <a:pt x="116406" y="454312"/>
                    <a:pt x="126399" y="443540"/>
                    <a:pt x="133612" y="430951"/>
                  </a:cubicBezTo>
                  <a:cubicBezTo>
                    <a:pt x="141130" y="418314"/>
                    <a:pt x="146897" y="404706"/>
                    <a:pt x="150742" y="390509"/>
                  </a:cubicBezTo>
                  <a:cubicBezTo>
                    <a:pt x="154729" y="376254"/>
                    <a:pt x="157403" y="361667"/>
                    <a:pt x="158736" y="346927"/>
                  </a:cubicBezTo>
                  <a:cubicBezTo>
                    <a:pt x="160258" y="332273"/>
                    <a:pt x="159783" y="317238"/>
                    <a:pt x="159973" y="302298"/>
                  </a:cubicBezTo>
                  <a:lnTo>
                    <a:pt x="159973" y="296303"/>
                  </a:lnTo>
                  <a:lnTo>
                    <a:pt x="164541" y="300204"/>
                  </a:lnTo>
                  <a:cubicBezTo>
                    <a:pt x="169880" y="304768"/>
                    <a:pt x="175532" y="308934"/>
                    <a:pt x="181480" y="312670"/>
                  </a:cubicBezTo>
                  <a:cubicBezTo>
                    <a:pt x="184145" y="314482"/>
                    <a:pt x="187105" y="315803"/>
                    <a:pt x="190236" y="316572"/>
                  </a:cubicBezTo>
                  <a:cubicBezTo>
                    <a:pt x="193433" y="316535"/>
                    <a:pt x="196612" y="316218"/>
                    <a:pt x="199752" y="315620"/>
                  </a:cubicBezTo>
                  <a:cubicBezTo>
                    <a:pt x="213351" y="312502"/>
                    <a:pt x="226265" y="306887"/>
                    <a:pt x="237818" y="299063"/>
                  </a:cubicBezTo>
                  <a:cubicBezTo>
                    <a:pt x="261638" y="283514"/>
                    <a:pt x="283184" y="264749"/>
                    <a:pt x="301864" y="243300"/>
                  </a:cubicBezTo>
                  <a:cubicBezTo>
                    <a:pt x="311381" y="232452"/>
                    <a:pt x="319946" y="221319"/>
                    <a:pt x="328130" y="209710"/>
                  </a:cubicBezTo>
                  <a:cubicBezTo>
                    <a:pt x="336581" y="198357"/>
                    <a:pt x="343975" y="186253"/>
                    <a:pt x="350208" y="173550"/>
                  </a:cubicBezTo>
                  <a:cubicBezTo>
                    <a:pt x="355224" y="160344"/>
                    <a:pt x="357584" y="146277"/>
                    <a:pt x="357156" y="132156"/>
                  </a:cubicBezTo>
                  <a:cubicBezTo>
                    <a:pt x="356899" y="118002"/>
                    <a:pt x="355395" y="103897"/>
                    <a:pt x="352683" y="90002"/>
                  </a:cubicBezTo>
                  <a:cubicBezTo>
                    <a:pt x="355661" y="103873"/>
                    <a:pt x="357412" y="117979"/>
                    <a:pt x="357917" y="132156"/>
                  </a:cubicBezTo>
                  <a:cubicBezTo>
                    <a:pt x="358688" y="146425"/>
                    <a:pt x="356546" y="160702"/>
                    <a:pt x="351636" y="174121"/>
                  </a:cubicBezTo>
                  <a:cubicBezTo>
                    <a:pt x="345621" y="187067"/>
                    <a:pt x="338427" y="199427"/>
                    <a:pt x="330129" y="211042"/>
                  </a:cubicBezTo>
                  <a:cubicBezTo>
                    <a:pt x="322011" y="222841"/>
                    <a:pt x="313408" y="234260"/>
                    <a:pt x="304339" y="245299"/>
                  </a:cubicBezTo>
                  <a:cubicBezTo>
                    <a:pt x="285782" y="267376"/>
                    <a:pt x="264265" y="286782"/>
                    <a:pt x="240388" y="302964"/>
                  </a:cubicBezTo>
                  <a:cubicBezTo>
                    <a:pt x="228511" y="311575"/>
                    <a:pt x="215159" y="317929"/>
                    <a:pt x="200989" y="321710"/>
                  </a:cubicBezTo>
                  <a:cubicBezTo>
                    <a:pt x="199172" y="322104"/>
                    <a:pt x="197325" y="322358"/>
                    <a:pt x="195470" y="322471"/>
                  </a:cubicBezTo>
                  <a:cubicBezTo>
                    <a:pt x="193481" y="322670"/>
                    <a:pt x="191463" y="322670"/>
                    <a:pt x="189474" y="322471"/>
                  </a:cubicBezTo>
                  <a:cubicBezTo>
                    <a:pt x="185563" y="321671"/>
                    <a:pt x="181851" y="320120"/>
                    <a:pt x="178530" y="317904"/>
                  </a:cubicBezTo>
                  <a:cubicBezTo>
                    <a:pt x="172287" y="314099"/>
                    <a:pt x="166340" y="309837"/>
                    <a:pt x="160734" y="305153"/>
                  </a:cubicBezTo>
                  <a:lnTo>
                    <a:pt x="165397" y="303059"/>
                  </a:lnTo>
                  <a:cubicBezTo>
                    <a:pt x="165397" y="318094"/>
                    <a:pt x="165968" y="332939"/>
                    <a:pt x="164636" y="348164"/>
                  </a:cubicBezTo>
                  <a:cubicBezTo>
                    <a:pt x="163494" y="363313"/>
                    <a:pt x="160906" y="378319"/>
                    <a:pt x="156928" y="392983"/>
                  </a:cubicBezTo>
                  <a:cubicBezTo>
                    <a:pt x="153073" y="407789"/>
                    <a:pt x="147211" y="422006"/>
                    <a:pt x="139512" y="435233"/>
                  </a:cubicBezTo>
                  <a:cubicBezTo>
                    <a:pt x="131804" y="449078"/>
                    <a:pt x="120908" y="460887"/>
                    <a:pt x="107727" y="469680"/>
                  </a:cubicBezTo>
                  <a:lnTo>
                    <a:pt x="107727" y="469680"/>
                  </a:lnTo>
                  <a:lnTo>
                    <a:pt x="107251" y="469680"/>
                  </a:lnTo>
                  <a:lnTo>
                    <a:pt x="0" y="503461"/>
                  </a:lnTo>
                  <a:lnTo>
                    <a:pt x="104682" y="461782"/>
                  </a:lnTo>
                  <a:lnTo>
                    <a:pt x="103825" y="461782"/>
                  </a:lnTo>
                  <a:cubicBezTo>
                    <a:pt x="115578" y="453627"/>
                    <a:pt x="125333" y="442922"/>
                    <a:pt x="132375" y="430475"/>
                  </a:cubicBezTo>
                  <a:cubicBezTo>
                    <a:pt x="139865" y="417905"/>
                    <a:pt x="145565" y="404364"/>
                    <a:pt x="149314" y="390223"/>
                  </a:cubicBezTo>
                  <a:cubicBezTo>
                    <a:pt x="153254" y="376073"/>
                    <a:pt x="155833" y="361572"/>
                    <a:pt x="157023" y="346927"/>
                  </a:cubicBezTo>
                  <a:cubicBezTo>
                    <a:pt x="158545" y="332368"/>
                    <a:pt x="158070" y="317238"/>
                    <a:pt x="158165" y="302393"/>
                  </a:cubicBezTo>
                  <a:lnTo>
                    <a:pt x="158165" y="292877"/>
                  </a:lnTo>
                  <a:lnTo>
                    <a:pt x="165397" y="298967"/>
                  </a:lnTo>
                  <a:cubicBezTo>
                    <a:pt x="169651" y="302570"/>
                    <a:pt x="174096" y="305937"/>
                    <a:pt x="178720" y="309054"/>
                  </a:cubicBezTo>
                  <a:cubicBezTo>
                    <a:pt x="183193" y="311909"/>
                    <a:pt x="188237" y="315335"/>
                    <a:pt x="191853" y="314859"/>
                  </a:cubicBezTo>
                  <a:cubicBezTo>
                    <a:pt x="202826" y="313829"/>
                    <a:pt x="213475" y="310593"/>
                    <a:pt x="223163" y="305343"/>
                  </a:cubicBezTo>
                  <a:cubicBezTo>
                    <a:pt x="243119" y="294603"/>
                    <a:pt x="261476" y="281117"/>
                    <a:pt x="277692" y="265282"/>
                  </a:cubicBezTo>
                  <a:cubicBezTo>
                    <a:pt x="294194" y="249672"/>
                    <a:pt x="309164" y="232529"/>
                    <a:pt x="322420" y="214087"/>
                  </a:cubicBezTo>
                  <a:cubicBezTo>
                    <a:pt x="329082" y="204571"/>
                    <a:pt x="335648" y="195626"/>
                    <a:pt x="341453" y="185540"/>
                  </a:cubicBezTo>
                  <a:cubicBezTo>
                    <a:pt x="347449" y="176227"/>
                    <a:pt x="351531" y="165809"/>
                    <a:pt x="353444" y="154899"/>
                  </a:cubicBezTo>
                  <a:cubicBezTo>
                    <a:pt x="356385" y="132695"/>
                    <a:pt x="355385" y="110146"/>
                    <a:pt x="350494" y="88289"/>
                  </a:cubicBezTo>
                  <a:cubicBezTo>
                    <a:pt x="345755" y="66204"/>
                    <a:pt x="336876" y="45216"/>
                    <a:pt x="324323" y="26437"/>
                  </a:cubicBezTo>
                  <a:cubicBezTo>
                    <a:pt x="313475" y="4645"/>
                    <a:pt x="287209" y="2552"/>
                    <a:pt x="264845" y="1791"/>
                  </a:cubicBezTo>
                  <a:lnTo>
                    <a:pt x="256185" y="1791"/>
                  </a:lnTo>
                  <a:cubicBezTo>
                    <a:pt x="256185" y="1791"/>
                    <a:pt x="253520" y="-969"/>
                    <a:pt x="253711" y="363"/>
                  </a:cubicBezTo>
                  <a:lnTo>
                    <a:pt x="259897" y="363"/>
                  </a:lnTo>
                  <a:cubicBezTo>
                    <a:pt x="265721" y="-111"/>
                    <a:pt x="271583" y="-111"/>
                    <a:pt x="277407" y="363"/>
                  </a:cubicBezTo>
                  <a:cubicBezTo>
                    <a:pt x="289150" y="1655"/>
                    <a:pt x="300513" y="5313"/>
                    <a:pt x="310810" y="11116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reeform 235">
              <a:extLst>
                <a:ext uri="{FF2B5EF4-FFF2-40B4-BE49-F238E27FC236}">
                  <a16:creationId xmlns:a16="http://schemas.microsoft.com/office/drawing/2014/main" id="{556AA059-4045-4263-9244-15904EFA7DD4}"/>
                </a:ext>
              </a:extLst>
            </p:cNvPr>
            <p:cNvSpPr/>
            <p:nvPr/>
          </p:nvSpPr>
          <p:spPr>
            <a:xfrm>
              <a:off x="6369773" y="1660886"/>
              <a:ext cx="893316" cy="695410"/>
            </a:xfrm>
            <a:custGeom>
              <a:avLst/>
              <a:gdLst>
                <a:gd name="connsiteX0" fmla="*/ 18176 w 893316"/>
                <a:gd name="connsiteY0" fmla="*/ 74318 h 695410"/>
                <a:gd name="connsiteX1" fmla="*/ 35116 w 893316"/>
                <a:gd name="connsiteY1" fmla="*/ 109717 h 695410"/>
                <a:gd name="connsiteX2" fmla="*/ 60811 w 893316"/>
                <a:gd name="connsiteY2" fmla="*/ 141404 h 695410"/>
                <a:gd name="connsiteX3" fmla="*/ 184526 w 893316"/>
                <a:gd name="connsiteY3" fmla="*/ 233992 h 695410"/>
                <a:gd name="connsiteX4" fmla="*/ 250665 w 893316"/>
                <a:gd name="connsiteY4" fmla="*/ 272055 h 695410"/>
                <a:gd name="connsiteX5" fmla="*/ 317281 w 893316"/>
                <a:gd name="connsiteY5" fmla="*/ 309166 h 695410"/>
                <a:gd name="connsiteX6" fmla="*/ 458126 w 893316"/>
                <a:gd name="connsiteY6" fmla="*/ 373112 h 695410"/>
                <a:gd name="connsiteX7" fmla="*/ 533116 w 893316"/>
                <a:gd name="connsiteY7" fmla="*/ 395284 h 695410"/>
                <a:gd name="connsiteX8" fmla="*/ 571182 w 893316"/>
                <a:gd name="connsiteY8" fmla="*/ 403753 h 695410"/>
                <a:gd name="connsiteX9" fmla="*/ 607250 w 893316"/>
                <a:gd name="connsiteY9" fmla="*/ 411270 h 695410"/>
                <a:gd name="connsiteX10" fmla="*/ 742670 w 893316"/>
                <a:gd name="connsiteY10" fmla="*/ 460657 h 695410"/>
                <a:gd name="connsiteX11" fmla="*/ 757802 w 893316"/>
                <a:gd name="connsiteY11" fmla="*/ 470173 h 695410"/>
                <a:gd name="connsiteX12" fmla="*/ 772647 w 893316"/>
                <a:gd name="connsiteY12" fmla="*/ 479689 h 695410"/>
                <a:gd name="connsiteX13" fmla="*/ 799865 w 893316"/>
                <a:gd name="connsiteY13" fmla="*/ 502526 h 695410"/>
                <a:gd name="connsiteX14" fmla="*/ 845734 w 893316"/>
                <a:gd name="connsiteY14" fmla="*/ 557527 h 695410"/>
                <a:gd name="connsiteX15" fmla="*/ 893317 w 893316"/>
                <a:gd name="connsiteY15" fmla="*/ 695411 h 695410"/>
                <a:gd name="connsiteX16" fmla="*/ 859248 w 893316"/>
                <a:gd name="connsiteY16" fmla="*/ 550295 h 695410"/>
                <a:gd name="connsiteX17" fmla="*/ 814330 w 893316"/>
                <a:gd name="connsiteY17" fmla="*/ 489014 h 695410"/>
                <a:gd name="connsiteX18" fmla="*/ 786351 w 893316"/>
                <a:gd name="connsiteY18" fmla="*/ 463226 h 695410"/>
                <a:gd name="connsiteX19" fmla="*/ 770934 w 893316"/>
                <a:gd name="connsiteY19" fmla="*/ 451998 h 695410"/>
                <a:gd name="connsiteX20" fmla="*/ 755042 w 893316"/>
                <a:gd name="connsiteY20" fmla="*/ 441435 h 695410"/>
                <a:gd name="connsiteX21" fmla="*/ 614292 w 893316"/>
                <a:gd name="connsiteY21" fmla="*/ 385102 h 695410"/>
                <a:gd name="connsiteX22" fmla="*/ 540444 w 893316"/>
                <a:gd name="connsiteY22" fmla="*/ 368259 h 695410"/>
                <a:gd name="connsiteX23" fmla="*/ 468404 w 893316"/>
                <a:gd name="connsiteY23" fmla="*/ 346088 h 695410"/>
                <a:gd name="connsiteX24" fmla="*/ 196231 w 893316"/>
                <a:gd name="connsiteY24" fmla="*/ 214485 h 695410"/>
                <a:gd name="connsiteX25" fmla="*/ 131709 w 893316"/>
                <a:gd name="connsiteY25" fmla="*/ 175090 h 695410"/>
                <a:gd name="connsiteX26" fmla="*/ 71089 w 893316"/>
                <a:gd name="connsiteY26" fmla="*/ 130175 h 695410"/>
                <a:gd name="connsiteX27" fmla="*/ 45775 w 893316"/>
                <a:gd name="connsiteY27" fmla="*/ 102770 h 695410"/>
                <a:gd name="connsiteX28" fmla="*/ 27217 w 893316"/>
                <a:gd name="connsiteY28" fmla="*/ 70131 h 695410"/>
                <a:gd name="connsiteX29" fmla="*/ 11705 w 893316"/>
                <a:gd name="connsiteY29" fmla="*/ 35684 h 695410"/>
                <a:gd name="connsiteX30" fmla="*/ 0 w 893316"/>
                <a:gd name="connsiteY30" fmla="*/ 0 h 695410"/>
                <a:gd name="connsiteX31" fmla="*/ 18176 w 893316"/>
                <a:gd name="connsiteY31" fmla="*/ 74318 h 695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93316" h="695410">
                  <a:moveTo>
                    <a:pt x="18176" y="74318"/>
                  </a:moveTo>
                  <a:cubicBezTo>
                    <a:pt x="22906" y="86536"/>
                    <a:pt x="28569" y="98364"/>
                    <a:pt x="35116" y="109717"/>
                  </a:cubicBezTo>
                  <a:cubicBezTo>
                    <a:pt x="42263" y="121354"/>
                    <a:pt x="50904" y="132012"/>
                    <a:pt x="60811" y="141404"/>
                  </a:cubicBezTo>
                  <a:cubicBezTo>
                    <a:pt x="98801" y="176384"/>
                    <a:pt x="140255" y="207405"/>
                    <a:pt x="184526" y="233992"/>
                  </a:cubicBezTo>
                  <a:cubicBezTo>
                    <a:pt x="207080" y="247885"/>
                    <a:pt x="228682" y="259399"/>
                    <a:pt x="250665" y="272055"/>
                  </a:cubicBezTo>
                  <a:cubicBezTo>
                    <a:pt x="272649" y="284711"/>
                    <a:pt x="294727" y="296986"/>
                    <a:pt x="317281" y="309166"/>
                  </a:cubicBezTo>
                  <a:cubicBezTo>
                    <a:pt x="362732" y="333641"/>
                    <a:pt x="409782" y="355004"/>
                    <a:pt x="458126" y="373112"/>
                  </a:cubicBezTo>
                  <a:cubicBezTo>
                    <a:pt x="482774" y="381486"/>
                    <a:pt x="507707" y="389384"/>
                    <a:pt x="533116" y="395284"/>
                  </a:cubicBezTo>
                  <a:cubicBezTo>
                    <a:pt x="545678" y="398615"/>
                    <a:pt x="558811" y="400898"/>
                    <a:pt x="571182" y="403753"/>
                  </a:cubicBezTo>
                  <a:lnTo>
                    <a:pt x="607250" y="411270"/>
                  </a:lnTo>
                  <a:cubicBezTo>
                    <a:pt x="654490" y="421290"/>
                    <a:pt x="700074" y="437914"/>
                    <a:pt x="742670" y="460657"/>
                  </a:cubicBezTo>
                  <a:cubicBezTo>
                    <a:pt x="747933" y="463464"/>
                    <a:pt x="752996" y="466643"/>
                    <a:pt x="757802" y="470173"/>
                  </a:cubicBezTo>
                  <a:cubicBezTo>
                    <a:pt x="762750" y="473408"/>
                    <a:pt x="767889" y="476453"/>
                    <a:pt x="772647" y="479689"/>
                  </a:cubicBezTo>
                  <a:cubicBezTo>
                    <a:pt x="782126" y="486806"/>
                    <a:pt x="791214" y="494429"/>
                    <a:pt x="799865" y="502526"/>
                  </a:cubicBezTo>
                  <a:cubicBezTo>
                    <a:pt x="817594" y="518675"/>
                    <a:pt x="833030" y="537183"/>
                    <a:pt x="845734" y="557527"/>
                  </a:cubicBezTo>
                  <a:cubicBezTo>
                    <a:pt x="871524" y="598635"/>
                    <a:pt x="893317" y="695411"/>
                    <a:pt x="893317" y="695411"/>
                  </a:cubicBezTo>
                  <a:cubicBezTo>
                    <a:pt x="887322" y="645167"/>
                    <a:pt x="883229" y="595210"/>
                    <a:pt x="859248" y="550295"/>
                  </a:cubicBezTo>
                  <a:cubicBezTo>
                    <a:pt x="847124" y="527924"/>
                    <a:pt x="832012" y="507313"/>
                    <a:pt x="814330" y="489014"/>
                  </a:cubicBezTo>
                  <a:cubicBezTo>
                    <a:pt x="805536" y="479860"/>
                    <a:pt x="796191" y="471248"/>
                    <a:pt x="786351" y="463226"/>
                  </a:cubicBezTo>
                  <a:cubicBezTo>
                    <a:pt x="781402" y="459230"/>
                    <a:pt x="776073" y="455709"/>
                    <a:pt x="770934" y="451998"/>
                  </a:cubicBezTo>
                  <a:cubicBezTo>
                    <a:pt x="765872" y="448144"/>
                    <a:pt x="760561" y="444614"/>
                    <a:pt x="755042" y="441435"/>
                  </a:cubicBezTo>
                  <a:cubicBezTo>
                    <a:pt x="711228" y="415676"/>
                    <a:pt x="663778" y="396683"/>
                    <a:pt x="614292" y="385102"/>
                  </a:cubicBezTo>
                  <a:cubicBezTo>
                    <a:pt x="589644" y="379202"/>
                    <a:pt x="564806" y="374349"/>
                    <a:pt x="540444" y="368259"/>
                  </a:cubicBezTo>
                  <a:cubicBezTo>
                    <a:pt x="516063" y="362112"/>
                    <a:pt x="492024" y="354709"/>
                    <a:pt x="468404" y="346088"/>
                  </a:cubicBezTo>
                  <a:cubicBezTo>
                    <a:pt x="373238" y="312592"/>
                    <a:pt x="285782" y="260446"/>
                    <a:pt x="196231" y="214485"/>
                  </a:cubicBezTo>
                  <a:cubicBezTo>
                    <a:pt x="174343" y="202114"/>
                    <a:pt x="152836" y="188887"/>
                    <a:pt x="131709" y="175090"/>
                  </a:cubicBezTo>
                  <a:cubicBezTo>
                    <a:pt x="110572" y="161406"/>
                    <a:pt x="90331" y="146409"/>
                    <a:pt x="71089" y="130175"/>
                  </a:cubicBezTo>
                  <a:cubicBezTo>
                    <a:pt x="61496" y="122173"/>
                    <a:pt x="52988" y="112961"/>
                    <a:pt x="45775" y="102770"/>
                  </a:cubicBezTo>
                  <a:cubicBezTo>
                    <a:pt x="38856" y="92322"/>
                    <a:pt x="32651" y="81417"/>
                    <a:pt x="27217" y="70131"/>
                  </a:cubicBezTo>
                  <a:cubicBezTo>
                    <a:pt x="21602" y="58807"/>
                    <a:pt x="16464" y="47293"/>
                    <a:pt x="11705" y="35684"/>
                  </a:cubicBezTo>
                  <a:cubicBezTo>
                    <a:pt x="6852" y="24122"/>
                    <a:pt x="2941" y="12190"/>
                    <a:pt x="0" y="0"/>
                  </a:cubicBezTo>
                  <a:cubicBezTo>
                    <a:pt x="4311" y="25169"/>
                    <a:pt x="10382" y="50005"/>
                    <a:pt x="18176" y="74318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reeform 236">
              <a:extLst>
                <a:ext uri="{FF2B5EF4-FFF2-40B4-BE49-F238E27FC236}">
                  <a16:creationId xmlns:a16="http://schemas.microsoft.com/office/drawing/2014/main" id="{5BFCD464-A133-4625-A4A0-54BB28CC12CE}"/>
                </a:ext>
              </a:extLst>
            </p:cNvPr>
            <p:cNvSpPr/>
            <p:nvPr/>
          </p:nvSpPr>
          <p:spPr>
            <a:xfrm>
              <a:off x="4927638" y="1664309"/>
              <a:ext cx="894744" cy="715872"/>
            </a:xfrm>
            <a:custGeom>
              <a:avLst/>
              <a:gdLst>
                <a:gd name="connsiteX0" fmla="*/ 870001 w 894744"/>
                <a:gd name="connsiteY0" fmla="*/ 74987 h 715872"/>
                <a:gd name="connsiteX1" fmla="*/ 853062 w 894744"/>
                <a:gd name="connsiteY1" fmla="*/ 110386 h 715872"/>
                <a:gd name="connsiteX2" fmla="*/ 827082 w 894744"/>
                <a:gd name="connsiteY2" fmla="*/ 142073 h 715872"/>
                <a:gd name="connsiteX3" fmla="*/ 703367 w 894744"/>
                <a:gd name="connsiteY3" fmla="*/ 234661 h 715872"/>
                <a:gd name="connsiteX4" fmla="*/ 636751 w 894744"/>
                <a:gd name="connsiteY4" fmla="*/ 272724 h 715872"/>
                <a:gd name="connsiteX5" fmla="*/ 570136 w 894744"/>
                <a:gd name="connsiteY5" fmla="*/ 309836 h 715872"/>
                <a:gd name="connsiteX6" fmla="*/ 429291 w 894744"/>
                <a:gd name="connsiteY6" fmla="*/ 373782 h 715872"/>
                <a:gd name="connsiteX7" fmla="*/ 354396 w 894744"/>
                <a:gd name="connsiteY7" fmla="*/ 396048 h 715872"/>
                <a:gd name="connsiteX8" fmla="*/ 316330 w 894744"/>
                <a:gd name="connsiteY8" fmla="*/ 404422 h 715872"/>
                <a:gd name="connsiteX9" fmla="*/ 280357 w 894744"/>
                <a:gd name="connsiteY9" fmla="*/ 411940 h 715872"/>
                <a:gd name="connsiteX10" fmla="*/ 144937 w 894744"/>
                <a:gd name="connsiteY10" fmla="*/ 461326 h 715872"/>
                <a:gd name="connsiteX11" fmla="*/ 129710 w 894744"/>
                <a:gd name="connsiteY11" fmla="*/ 470842 h 715872"/>
                <a:gd name="connsiteX12" fmla="*/ 114960 w 894744"/>
                <a:gd name="connsiteY12" fmla="*/ 480358 h 715872"/>
                <a:gd name="connsiteX13" fmla="*/ 87742 w 894744"/>
                <a:gd name="connsiteY13" fmla="*/ 503196 h 715872"/>
                <a:gd name="connsiteX14" fmla="*/ 42253 w 894744"/>
                <a:gd name="connsiteY14" fmla="*/ 558292 h 715872"/>
                <a:gd name="connsiteX15" fmla="*/ 0 w 894744"/>
                <a:gd name="connsiteY15" fmla="*/ 715873 h 715872"/>
                <a:gd name="connsiteX16" fmla="*/ 29216 w 894744"/>
                <a:gd name="connsiteY16" fmla="*/ 551346 h 715872"/>
                <a:gd name="connsiteX17" fmla="*/ 74039 w 894744"/>
                <a:gd name="connsiteY17" fmla="*/ 490064 h 715872"/>
                <a:gd name="connsiteX18" fmla="*/ 102112 w 894744"/>
                <a:gd name="connsiteY18" fmla="*/ 464276 h 715872"/>
                <a:gd name="connsiteX19" fmla="*/ 117529 w 894744"/>
                <a:gd name="connsiteY19" fmla="*/ 453048 h 715872"/>
                <a:gd name="connsiteX20" fmla="*/ 133422 w 894744"/>
                <a:gd name="connsiteY20" fmla="*/ 442485 h 715872"/>
                <a:gd name="connsiteX21" fmla="*/ 274076 w 894744"/>
                <a:gd name="connsiteY21" fmla="*/ 386152 h 715872"/>
                <a:gd name="connsiteX22" fmla="*/ 347925 w 894744"/>
                <a:gd name="connsiteY22" fmla="*/ 369309 h 715872"/>
                <a:gd name="connsiteX23" fmla="*/ 420060 w 894744"/>
                <a:gd name="connsiteY23" fmla="*/ 347233 h 715872"/>
                <a:gd name="connsiteX24" fmla="*/ 692233 w 894744"/>
                <a:gd name="connsiteY24" fmla="*/ 215535 h 715872"/>
                <a:gd name="connsiteX25" fmla="*/ 756660 w 894744"/>
                <a:gd name="connsiteY25" fmla="*/ 176140 h 715872"/>
                <a:gd name="connsiteX26" fmla="*/ 817280 w 894744"/>
                <a:gd name="connsiteY26" fmla="*/ 131225 h 715872"/>
                <a:gd name="connsiteX27" fmla="*/ 842689 w 894744"/>
                <a:gd name="connsiteY27" fmla="*/ 103820 h 715872"/>
                <a:gd name="connsiteX28" fmla="*/ 894745 w 894744"/>
                <a:gd name="connsiteY28" fmla="*/ 3 h 715872"/>
                <a:gd name="connsiteX29" fmla="*/ 870001 w 894744"/>
                <a:gd name="connsiteY29" fmla="*/ 74987 h 71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4744" h="715872">
                  <a:moveTo>
                    <a:pt x="870001" y="74987"/>
                  </a:moveTo>
                  <a:cubicBezTo>
                    <a:pt x="865291" y="87215"/>
                    <a:pt x="859629" y="99043"/>
                    <a:pt x="853062" y="110386"/>
                  </a:cubicBezTo>
                  <a:cubicBezTo>
                    <a:pt x="845858" y="122062"/>
                    <a:pt x="837112" y="132719"/>
                    <a:pt x="827082" y="142073"/>
                  </a:cubicBezTo>
                  <a:cubicBezTo>
                    <a:pt x="789102" y="177063"/>
                    <a:pt x="747647" y="208084"/>
                    <a:pt x="703367" y="234661"/>
                  </a:cubicBezTo>
                  <a:cubicBezTo>
                    <a:pt x="680813" y="248554"/>
                    <a:pt x="659115" y="260069"/>
                    <a:pt x="636751" y="272724"/>
                  </a:cubicBezTo>
                  <a:cubicBezTo>
                    <a:pt x="614387" y="285380"/>
                    <a:pt x="592785" y="297656"/>
                    <a:pt x="570136" y="309836"/>
                  </a:cubicBezTo>
                  <a:cubicBezTo>
                    <a:pt x="524723" y="334387"/>
                    <a:pt x="477663" y="355749"/>
                    <a:pt x="429291" y="373782"/>
                  </a:cubicBezTo>
                  <a:cubicBezTo>
                    <a:pt x="404738" y="382155"/>
                    <a:pt x="379805" y="390054"/>
                    <a:pt x="354396" y="396048"/>
                  </a:cubicBezTo>
                  <a:cubicBezTo>
                    <a:pt x="341739" y="399379"/>
                    <a:pt x="328701" y="401568"/>
                    <a:pt x="316330" y="404422"/>
                  </a:cubicBezTo>
                  <a:lnTo>
                    <a:pt x="280357" y="411940"/>
                  </a:lnTo>
                  <a:cubicBezTo>
                    <a:pt x="233121" y="421960"/>
                    <a:pt x="187532" y="438584"/>
                    <a:pt x="144937" y="461326"/>
                  </a:cubicBezTo>
                  <a:cubicBezTo>
                    <a:pt x="139681" y="464200"/>
                    <a:pt x="134597" y="467379"/>
                    <a:pt x="129710" y="470842"/>
                  </a:cubicBezTo>
                  <a:cubicBezTo>
                    <a:pt x="124857" y="474173"/>
                    <a:pt x="120194" y="477218"/>
                    <a:pt x="114960" y="480358"/>
                  </a:cubicBezTo>
                  <a:cubicBezTo>
                    <a:pt x="105482" y="487476"/>
                    <a:pt x="96397" y="495098"/>
                    <a:pt x="87742" y="503196"/>
                  </a:cubicBezTo>
                  <a:cubicBezTo>
                    <a:pt x="70138" y="519401"/>
                    <a:pt x="54832" y="537938"/>
                    <a:pt x="42253" y="558292"/>
                  </a:cubicBezTo>
                  <a:cubicBezTo>
                    <a:pt x="16654" y="599210"/>
                    <a:pt x="0" y="715873"/>
                    <a:pt x="0" y="715873"/>
                  </a:cubicBezTo>
                  <a:cubicBezTo>
                    <a:pt x="5995" y="665725"/>
                    <a:pt x="5234" y="596355"/>
                    <a:pt x="29216" y="551346"/>
                  </a:cubicBezTo>
                  <a:cubicBezTo>
                    <a:pt x="41307" y="528983"/>
                    <a:pt x="56385" y="508363"/>
                    <a:pt x="74039" y="490064"/>
                  </a:cubicBezTo>
                  <a:cubicBezTo>
                    <a:pt x="82841" y="480881"/>
                    <a:pt x="92218" y="472270"/>
                    <a:pt x="102112" y="464276"/>
                  </a:cubicBezTo>
                  <a:cubicBezTo>
                    <a:pt x="107061" y="460280"/>
                    <a:pt x="112390" y="456854"/>
                    <a:pt x="117529" y="453048"/>
                  </a:cubicBezTo>
                  <a:cubicBezTo>
                    <a:pt x="122595" y="449194"/>
                    <a:pt x="127903" y="445664"/>
                    <a:pt x="133422" y="442485"/>
                  </a:cubicBezTo>
                  <a:cubicBezTo>
                    <a:pt x="177197" y="416717"/>
                    <a:pt x="224618" y="397733"/>
                    <a:pt x="274076" y="386152"/>
                  </a:cubicBezTo>
                  <a:cubicBezTo>
                    <a:pt x="298819" y="380252"/>
                    <a:pt x="323657" y="375399"/>
                    <a:pt x="347925" y="369309"/>
                  </a:cubicBezTo>
                  <a:cubicBezTo>
                    <a:pt x="372192" y="363219"/>
                    <a:pt x="396364" y="355511"/>
                    <a:pt x="420060" y="347233"/>
                  </a:cubicBezTo>
                  <a:cubicBezTo>
                    <a:pt x="515225" y="313642"/>
                    <a:pt x="602682" y="261591"/>
                    <a:pt x="692233" y="215535"/>
                  </a:cubicBezTo>
                  <a:cubicBezTo>
                    <a:pt x="714121" y="202850"/>
                    <a:pt x="735599" y="189719"/>
                    <a:pt x="756660" y="176140"/>
                  </a:cubicBezTo>
                  <a:cubicBezTo>
                    <a:pt x="777796" y="162456"/>
                    <a:pt x="798037" y="147459"/>
                    <a:pt x="817280" y="131225"/>
                  </a:cubicBezTo>
                  <a:cubicBezTo>
                    <a:pt x="826949" y="123280"/>
                    <a:pt x="835495" y="114059"/>
                    <a:pt x="842689" y="103820"/>
                  </a:cubicBezTo>
                  <a:cubicBezTo>
                    <a:pt x="849731" y="93543"/>
                    <a:pt x="892175" y="12088"/>
                    <a:pt x="894745" y="3"/>
                  </a:cubicBezTo>
                  <a:cubicBezTo>
                    <a:pt x="894745" y="-473"/>
                    <a:pt x="879423" y="51008"/>
                    <a:pt x="870001" y="74987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reeform 237">
              <a:extLst>
                <a:ext uri="{FF2B5EF4-FFF2-40B4-BE49-F238E27FC236}">
                  <a16:creationId xmlns:a16="http://schemas.microsoft.com/office/drawing/2014/main" id="{69E18D2C-8858-4E99-B9C5-CDE4882A75D2}"/>
                </a:ext>
              </a:extLst>
            </p:cNvPr>
            <p:cNvSpPr/>
            <p:nvPr/>
          </p:nvSpPr>
          <p:spPr>
            <a:xfrm>
              <a:off x="5293263" y="2037467"/>
              <a:ext cx="695182" cy="80967"/>
            </a:xfrm>
            <a:custGeom>
              <a:avLst/>
              <a:gdLst>
                <a:gd name="connsiteX0" fmla="*/ 695183 w 695182"/>
                <a:gd name="connsiteY0" fmla="*/ 44586 h 80967"/>
                <a:gd name="connsiteX1" fmla="*/ 381137 w 695182"/>
                <a:gd name="connsiteY1" fmla="*/ 64664 h 80967"/>
                <a:gd name="connsiteX2" fmla="*/ 235058 w 695182"/>
                <a:gd name="connsiteY2" fmla="*/ 45632 h 80967"/>
                <a:gd name="connsiteX3" fmla="*/ 152074 w 695182"/>
                <a:gd name="connsiteY3" fmla="*/ 30217 h 80967"/>
                <a:gd name="connsiteX4" fmla="*/ 73753 w 695182"/>
                <a:gd name="connsiteY4" fmla="*/ 3953 h 80967"/>
                <a:gd name="connsiteX5" fmla="*/ 0 w 695182"/>
                <a:gd name="connsiteY5" fmla="*/ 18512 h 80967"/>
                <a:gd name="connsiteX6" fmla="*/ 283973 w 695182"/>
                <a:gd name="connsiteY6" fmla="*/ 71801 h 80967"/>
                <a:gd name="connsiteX7" fmla="*/ 695183 w 695182"/>
                <a:gd name="connsiteY7" fmla="*/ 44586 h 8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5182" h="80967">
                  <a:moveTo>
                    <a:pt x="695183" y="44586"/>
                  </a:moveTo>
                  <a:cubicBezTo>
                    <a:pt x="598114" y="37163"/>
                    <a:pt x="478777" y="62951"/>
                    <a:pt x="381137" y="64664"/>
                  </a:cubicBezTo>
                  <a:cubicBezTo>
                    <a:pt x="343071" y="65425"/>
                    <a:pt x="305957" y="61333"/>
                    <a:pt x="235058" y="45632"/>
                  </a:cubicBezTo>
                  <a:lnTo>
                    <a:pt x="152074" y="30217"/>
                  </a:lnTo>
                  <a:cubicBezTo>
                    <a:pt x="108108" y="20035"/>
                    <a:pt x="80891" y="9663"/>
                    <a:pt x="73753" y="3953"/>
                  </a:cubicBezTo>
                  <a:cubicBezTo>
                    <a:pt x="66616" y="-1756"/>
                    <a:pt x="62524" y="-4420"/>
                    <a:pt x="0" y="18512"/>
                  </a:cubicBezTo>
                  <a:cubicBezTo>
                    <a:pt x="62428" y="38971"/>
                    <a:pt x="213646" y="55529"/>
                    <a:pt x="283973" y="71801"/>
                  </a:cubicBezTo>
                  <a:cubicBezTo>
                    <a:pt x="411495" y="103393"/>
                    <a:pt x="567471" y="43063"/>
                    <a:pt x="695183" y="44586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reeform 238">
              <a:extLst>
                <a:ext uri="{FF2B5EF4-FFF2-40B4-BE49-F238E27FC236}">
                  <a16:creationId xmlns:a16="http://schemas.microsoft.com/office/drawing/2014/main" id="{3938CDAE-D6CA-4DF6-8B47-D18376618465}"/>
                </a:ext>
              </a:extLst>
            </p:cNvPr>
            <p:cNvSpPr/>
            <p:nvPr/>
          </p:nvSpPr>
          <p:spPr>
            <a:xfrm>
              <a:off x="4308205" y="2043576"/>
              <a:ext cx="933225" cy="3513217"/>
            </a:xfrm>
            <a:custGeom>
              <a:avLst/>
              <a:gdLst>
                <a:gd name="connsiteX0" fmla="*/ 931480 w 933225"/>
                <a:gd name="connsiteY0" fmla="*/ 3555 h 3513217"/>
                <a:gd name="connsiteX1" fmla="*/ 817282 w 933225"/>
                <a:gd name="connsiteY1" fmla="*/ 41047 h 3513217"/>
                <a:gd name="connsiteX2" fmla="*/ 717929 w 933225"/>
                <a:gd name="connsiteY2" fmla="*/ 103375 h 3513217"/>
                <a:gd name="connsiteX3" fmla="*/ 651980 w 933225"/>
                <a:gd name="connsiteY3" fmla="*/ 196819 h 3513217"/>
                <a:gd name="connsiteX4" fmla="*/ 624477 w 933225"/>
                <a:gd name="connsiteY4" fmla="*/ 308820 h 3513217"/>
                <a:gd name="connsiteX5" fmla="*/ 621146 w 933225"/>
                <a:gd name="connsiteY5" fmla="*/ 367056 h 3513217"/>
                <a:gd name="connsiteX6" fmla="*/ 621146 w 933225"/>
                <a:gd name="connsiteY6" fmla="*/ 426815 h 3513217"/>
                <a:gd name="connsiteX7" fmla="*/ 620385 w 933225"/>
                <a:gd name="connsiteY7" fmla="*/ 547760 h 3513217"/>
                <a:gd name="connsiteX8" fmla="*/ 616197 w 933225"/>
                <a:gd name="connsiteY8" fmla="*/ 609042 h 3513217"/>
                <a:gd name="connsiteX9" fmla="*/ 610107 w 933225"/>
                <a:gd name="connsiteY9" fmla="*/ 669562 h 3513217"/>
                <a:gd name="connsiteX10" fmla="*/ 595166 w 933225"/>
                <a:gd name="connsiteY10" fmla="*/ 788984 h 3513217"/>
                <a:gd name="connsiteX11" fmla="*/ 584603 w 933225"/>
                <a:gd name="connsiteY11" fmla="*/ 907455 h 3513217"/>
                <a:gd name="connsiteX12" fmla="*/ 576609 w 933225"/>
                <a:gd name="connsiteY12" fmla="*/ 1027163 h 3513217"/>
                <a:gd name="connsiteX13" fmla="*/ 558242 w 933225"/>
                <a:gd name="connsiteY13" fmla="*/ 1268292 h 3513217"/>
                <a:gd name="connsiteX14" fmla="*/ 518938 w 933225"/>
                <a:gd name="connsiteY14" fmla="*/ 1509516 h 3513217"/>
                <a:gd name="connsiteX15" fmla="*/ 504378 w 933225"/>
                <a:gd name="connsiteY15" fmla="*/ 1568704 h 3513217"/>
                <a:gd name="connsiteX16" fmla="*/ 497241 w 933225"/>
                <a:gd name="connsiteY16" fmla="*/ 1597252 h 3513217"/>
                <a:gd name="connsiteX17" fmla="*/ 490960 w 933225"/>
                <a:gd name="connsiteY17" fmla="*/ 1625799 h 3513217"/>
                <a:gd name="connsiteX18" fmla="*/ 479635 w 933225"/>
                <a:gd name="connsiteY18" fmla="*/ 1683654 h 3513217"/>
                <a:gd name="connsiteX19" fmla="*/ 470119 w 933225"/>
                <a:gd name="connsiteY19" fmla="*/ 1741986 h 3513217"/>
                <a:gd name="connsiteX20" fmla="*/ 444043 w 933225"/>
                <a:gd name="connsiteY20" fmla="*/ 2217012 h 3513217"/>
                <a:gd name="connsiteX21" fmla="*/ 432053 w 933225"/>
                <a:gd name="connsiteY21" fmla="*/ 2699936 h 3513217"/>
                <a:gd name="connsiteX22" fmla="*/ 419205 w 933225"/>
                <a:gd name="connsiteY22" fmla="*/ 2820786 h 3513217"/>
                <a:gd name="connsiteX23" fmla="*/ 415018 w 933225"/>
                <a:gd name="connsiteY23" fmla="*/ 2850856 h 3513217"/>
                <a:gd name="connsiteX24" fmla="*/ 413971 w 933225"/>
                <a:gd name="connsiteY24" fmla="*/ 2858373 h 3513217"/>
                <a:gd name="connsiteX25" fmla="*/ 412353 w 933225"/>
                <a:gd name="connsiteY25" fmla="*/ 2867889 h 3513217"/>
                <a:gd name="connsiteX26" fmla="*/ 407024 w 933225"/>
                <a:gd name="connsiteY26" fmla="*/ 2885683 h 3513217"/>
                <a:gd name="connsiteX27" fmla="*/ 368482 w 933225"/>
                <a:gd name="connsiteY27" fmla="*/ 2942778 h 3513217"/>
                <a:gd name="connsiteX28" fmla="*/ 343358 w 933225"/>
                <a:gd name="connsiteY28" fmla="*/ 2964664 h 3513217"/>
                <a:gd name="connsiteX29" fmla="*/ 317473 w 933225"/>
                <a:gd name="connsiteY29" fmla="*/ 2982649 h 3513217"/>
                <a:gd name="connsiteX30" fmla="*/ 288924 w 933225"/>
                <a:gd name="connsiteY30" fmla="*/ 2999491 h 3513217"/>
                <a:gd name="connsiteX31" fmla="*/ 283975 w 933225"/>
                <a:gd name="connsiteY31" fmla="*/ 3001775 h 3513217"/>
                <a:gd name="connsiteX32" fmla="*/ 280644 w 933225"/>
                <a:gd name="connsiteY32" fmla="*/ 3003108 h 3513217"/>
                <a:gd name="connsiteX33" fmla="*/ 273983 w 933225"/>
                <a:gd name="connsiteY33" fmla="*/ 3005772 h 3513217"/>
                <a:gd name="connsiteX34" fmla="*/ 260755 w 933225"/>
                <a:gd name="connsiteY34" fmla="*/ 3011576 h 3513217"/>
                <a:gd name="connsiteX35" fmla="*/ 235441 w 933225"/>
                <a:gd name="connsiteY35" fmla="*/ 3024518 h 3513217"/>
                <a:gd name="connsiteX36" fmla="*/ 223736 w 933225"/>
                <a:gd name="connsiteY36" fmla="*/ 3031655 h 3513217"/>
                <a:gd name="connsiteX37" fmla="*/ 218406 w 933225"/>
                <a:gd name="connsiteY37" fmla="*/ 3035366 h 3513217"/>
                <a:gd name="connsiteX38" fmla="*/ 212316 w 933225"/>
                <a:gd name="connsiteY38" fmla="*/ 3039933 h 3513217"/>
                <a:gd name="connsiteX39" fmla="*/ 169111 w 933225"/>
                <a:gd name="connsiteY39" fmla="*/ 3076569 h 3513217"/>
                <a:gd name="connsiteX40" fmla="*/ 153694 w 933225"/>
                <a:gd name="connsiteY40" fmla="*/ 3097409 h 3513217"/>
                <a:gd name="connsiteX41" fmla="*/ 151029 w 933225"/>
                <a:gd name="connsiteY41" fmla="*/ 3102833 h 3513217"/>
                <a:gd name="connsiteX42" fmla="*/ 148270 w 933225"/>
                <a:gd name="connsiteY42" fmla="*/ 3109303 h 3513217"/>
                <a:gd name="connsiteX43" fmla="*/ 142464 w 933225"/>
                <a:gd name="connsiteY43" fmla="*/ 3123577 h 3513217"/>
                <a:gd name="connsiteX44" fmla="*/ 113915 w 933225"/>
                <a:gd name="connsiteY44" fmla="*/ 3179244 h 3513217"/>
                <a:gd name="connsiteX45" fmla="*/ 77847 w 933225"/>
                <a:gd name="connsiteY45" fmla="*/ 3227584 h 3513217"/>
                <a:gd name="connsiteX46" fmla="*/ 70995 w 933225"/>
                <a:gd name="connsiteY46" fmla="*/ 3239574 h 3513217"/>
                <a:gd name="connsiteX47" fmla="*/ 67950 w 933225"/>
                <a:gd name="connsiteY47" fmla="*/ 3245854 h 3513217"/>
                <a:gd name="connsiteX48" fmla="*/ 65476 w 933225"/>
                <a:gd name="connsiteY48" fmla="*/ 3251849 h 3513217"/>
                <a:gd name="connsiteX49" fmla="*/ 59290 w 933225"/>
                <a:gd name="connsiteY49" fmla="*/ 3279540 h 3513217"/>
                <a:gd name="connsiteX50" fmla="*/ 38354 w 933225"/>
                <a:gd name="connsiteY50" fmla="*/ 3398296 h 3513217"/>
                <a:gd name="connsiteX51" fmla="*/ 29693 w 933225"/>
                <a:gd name="connsiteY51" fmla="*/ 3428176 h 3513217"/>
                <a:gd name="connsiteX52" fmla="*/ 17227 w 933225"/>
                <a:gd name="connsiteY52" fmla="*/ 3455677 h 3513217"/>
                <a:gd name="connsiteX53" fmla="*/ 6759 w 933225"/>
                <a:gd name="connsiteY53" fmla="*/ 3483367 h 3513217"/>
                <a:gd name="connsiteX54" fmla="*/ 8186 w 933225"/>
                <a:gd name="connsiteY54" fmla="*/ 3510106 h 3513217"/>
                <a:gd name="connsiteX55" fmla="*/ 8186 w 933225"/>
                <a:gd name="connsiteY55" fmla="*/ 3510106 h 3513217"/>
                <a:gd name="connsiteX56" fmla="*/ 8199 w 933225"/>
                <a:gd name="connsiteY56" fmla="*/ 3512666 h 3513217"/>
                <a:gd name="connsiteX57" fmla="*/ 8186 w 933225"/>
                <a:gd name="connsiteY57" fmla="*/ 3512676 h 3513217"/>
                <a:gd name="connsiteX58" fmla="*/ 5521 w 933225"/>
                <a:gd name="connsiteY58" fmla="*/ 3512676 h 3513217"/>
                <a:gd name="connsiteX59" fmla="*/ 2 w 933225"/>
                <a:gd name="connsiteY59" fmla="*/ 3497545 h 3513217"/>
                <a:gd name="connsiteX60" fmla="*/ 1905 w 933225"/>
                <a:gd name="connsiteY60" fmla="*/ 3482225 h 3513217"/>
                <a:gd name="connsiteX61" fmla="*/ 11422 w 933225"/>
                <a:gd name="connsiteY61" fmla="*/ 3453678 h 3513217"/>
                <a:gd name="connsiteX62" fmla="*/ 22651 w 933225"/>
                <a:gd name="connsiteY62" fmla="*/ 3425797 h 3513217"/>
                <a:gd name="connsiteX63" fmla="*/ 29693 w 933225"/>
                <a:gd name="connsiteY63" fmla="*/ 3397250 h 3513217"/>
                <a:gd name="connsiteX64" fmla="*/ 46823 w 933225"/>
                <a:gd name="connsiteY64" fmla="*/ 3278303 h 3513217"/>
                <a:gd name="connsiteX65" fmla="*/ 52533 w 933225"/>
                <a:gd name="connsiteY65" fmla="*/ 3248423 h 3513217"/>
                <a:gd name="connsiteX66" fmla="*/ 65476 w 933225"/>
                <a:gd name="connsiteY66" fmla="*/ 3219876 h 3513217"/>
                <a:gd name="connsiteX67" fmla="*/ 99926 w 933225"/>
                <a:gd name="connsiteY67" fmla="*/ 3170489 h 3513217"/>
                <a:gd name="connsiteX68" fmla="*/ 126001 w 933225"/>
                <a:gd name="connsiteY68" fmla="*/ 3116726 h 3513217"/>
                <a:gd name="connsiteX69" fmla="*/ 137135 w 933225"/>
                <a:gd name="connsiteY69" fmla="*/ 3088178 h 3513217"/>
                <a:gd name="connsiteX70" fmla="*/ 154360 w 933225"/>
                <a:gd name="connsiteY70" fmla="*/ 3062962 h 3513217"/>
                <a:gd name="connsiteX71" fmla="*/ 199849 w 933225"/>
                <a:gd name="connsiteY71" fmla="*/ 3023186 h 3513217"/>
                <a:gd name="connsiteX72" fmla="*/ 251429 w 933225"/>
                <a:gd name="connsiteY72" fmla="*/ 2991498 h 3513217"/>
                <a:gd name="connsiteX73" fmla="*/ 278836 w 933225"/>
                <a:gd name="connsiteY73" fmla="*/ 2979128 h 3513217"/>
                <a:gd name="connsiteX74" fmla="*/ 304531 w 933225"/>
                <a:gd name="connsiteY74" fmla="*/ 2962951 h 3513217"/>
                <a:gd name="connsiteX75" fmla="*/ 350972 w 933225"/>
                <a:gd name="connsiteY75" fmla="*/ 2925554 h 3513217"/>
                <a:gd name="connsiteX76" fmla="*/ 383042 w 933225"/>
                <a:gd name="connsiteY76" fmla="*/ 2876358 h 3513217"/>
                <a:gd name="connsiteX77" fmla="*/ 389133 w 933225"/>
                <a:gd name="connsiteY77" fmla="*/ 2847811 h 3513217"/>
                <a:gd name="connsiteX78" fmla="*/ 392654 w 933225"/>
                <a:gd name="connsiteY78" fmla="*/ 2817931 h 3513217"/>
                <a:gd name="connsiteX79" fmla="*/ 403027 w 933225"/>
                <a:gd name="connsiteY79" fmla="*/ 2698223 h 3513217"/>
                <a:gd name="connsiteX80" fmla="*/ 408737 w 933225"/>
                <a:gd name="connsiteY80" fmla="*/ 2217393 h 3513217"/>
                <a:gd name="connsiteX81" fmla="*/ 432909 w 933225"/>
                <a:gd name="connsiteY81" fmla="*/ 1736752 h 3513217"/>
                <a:gd name="connsiteX82" fmla="*/ 442426 w 933225"/>
                <a:gd name="connsiteY82" fmla="*/ 1677279 h 3513217"/>
                <a:gd name="connsiteX83" fmla="*/ 454321 w 933225"/>
                <a:gd name="connsiteY83" fmla="*/ 1618091 h 3513217"/>
                <a:gd name="connsiteX84" fmla="*/ 460888 w 933225"/>
                <a:gd name="connsiteY84" fmla="*/ 1588687 h 3513217"/>
                <a:gd name="connsiteX85" fmla="*/ 468311 w 933225"/>
                <a:gd name="connsiteY85" fmla="*/ 1559474 h 3513217"/>
                <a:gd name="connsiteX86" fmla="*/ 483061 w 933225"/>
                <a:gd name="connsiteY86" fmla="*/ 1501238 h 3513217"/>
                <a:gd name="connsiteX87" fmla="*/ 506567 w 933225"/>
                <a:gd name="connsiteY87" fmla="*/ 1383528 h 3513217"/>
                <a:gd name="connsiteX88" fmla="*/ 522840 w 933225"/>
                <a:gd name="connsiteY88" fmla="*/ 1264486 h 3513217"/>
                <a:gd name="connsiteX89" fmla="*/ 543586 w 933225"/>
                <a:gd name="connsiteY89" fmla="*/ 1024879 h 3513217"/>
                <a:gd name="connsiteX90" fmla="*/ 566141 w 933225"/>
                <a:gd name="connsiteY90" fmla="*/ 785273 h 3513217"/>
                <a:gd name="connsiteX91" fmla="*/ 583365 w 933225"/>
                <a:gd name="connsiteY91" fmla="*/ 666136 h 3513217"/>
                <a:gd name="connsiteX92" fmla="*/ 595737 w 933225"/>
                <a:gd name="connsiteY92" fmla="*/ 546713 h 3513217"/>
                <a:gd name="connsiteX93" fmla="*/ 598782 w 933225"/>
                <a:gd name="connsiteY93" fmla="*/ 426625 h 3513217"/>
                <a:gd name="connsiteX94" fmla="*/ 600400 w 933225"/>
                <a:gd name="connsiteY94" fmla="*/ 366390 h 3513217"/>
                <a:gd name="connsiteX95" fmla="*/ 605253 w 933225"/>
                <a:gd name="connsiteY95" fmla="*/ 306251 h 3513217"/>
                <a:gd name="connsiteX96" fmla="*/ 637610 w 933225"/>
                <a:gd name="connsiteY96" fmla="*/ 190158 h 3513217"/>
                <a:gd name="connsiteX97" fmla="*/ 710316 w 933225"/>
                <a:gd name="connsiteY97" fmla="*/ 94049 h 3513217"/>
                <a:gd name="connsiteX98" fmla="*/ 814522 w 933225"/>
                <a:gd name="connsiteY98" fmla="*/ 33149 h 3513217"/>
                <a:gd name="connsiteX99" fmla="*/ 930909 w 933225"/>
                <a:gd name="connsiteY99" fmla="*/ 34 h 3513217"/>
                <a:gd name="connsiteX100" fmla="*/ 933193 w 933225"/>
                <a:gd name="connsiteY100" fmla="*/ 1461 h 3513217"/>
                <a:gd name="connsiteX101" fmla="*/ 931766 w 933225"/>
                <a:gd name="connsiteY101" fmla="*/ 3745 h 3513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933225" h="3513217">
                  <a:moveTo>
                    <a:pt x="931480" y="3555"/>
                  </a:moveTo>
                  <a:cubicBezTo>
                    <a:pt x="892387" y="12680"/>
                    <a:pt x="854175" y="25222"/>
                    <a:pt x="817282" y="41047"/>
                  </a:cubicBezTo>
                  <a:cubicBezTo>
                    <a:pt x="780924" y="56148"/>
                    <a:pt x="747344" y="77207"/>
                    <a:pt x="717929" y="103375"/>
                  </a:cubicBezTo>
                  <a:cubicBezTo>
                    <a:pt x="689498" y="129429"/>
                    <a:pt x="667005" y="161297"/>
                    <a:pt x="651980" y="196819"/>
                  </a:cubicBezTo>
                  <a:cubicBezTo>
                    <a:pt x="637239" y="232561"/>
                    <a:pt x="627968" y="270319"/>
                    <a:pt x="624477" y="308820"/>
                  </a:cubicBezTo>
                  <a:cubicBezTo>
                    <a:pt x="622246" y="328156"/>
                    <a:pt x="621135" y="347596"/>
                    <a:pt x="621146" y="367056"/>
                  </a:cubicBezTo>
                  <a:cubicBezTo>
                    <a:pt x="621146" y="386849"/>
                    <a:pt x="621146" y="406832"/>
                    <a:pt x="621146" y="426815"/>
                  </a:cubicBezTo>
                  <a:cubicBezTo>
                    <a:pt x="621146" y="466876"/>
                    <a:pt x="621146" y="506842"/>
                    <a:pt x="620385" y="547760"/>
                  </a:cubicBezTo>
                  <a:cubicBezTo>
                    <a:pt x="619814" y="568790"/>
                    <a:pt x="617910" y="588963"/>
                    <a:pt x="616197" y="609042"/>
                  </a:cubicBezTo>
                  <a:cubicBezTo>
                    <a:pt x="614484" y="629120"/>
                    <a:pt x="612391" y="649388"/>
                    <a:pt x="610107" y="669562"/>
                  </a:cubicBezTo>
                  <a:cubicBezTo>
                    <a:pt x="605539" y="709813"/>
                    <a:pt x="599829" y="749589"/>
                    <a:pt x="595166" y="788984"/>
                  </a:cubicBezTo>
                  <a:cubicBezTo>
                    <a:pt x="590503" y="828379"/>
                    <a:pt x="587077" y="867679"/>
                    <a:pt x="584603" y="907455"/>
                  </a:cubicBezTo>
                  <a:lnTo>
                    <a:pt x="576609" y="1027163"/>
                  </a:lnTo>
                  <a:cubicBezTo>
                    <a:pt x="571565" y="1107191"/>
                    <a:pt x="566426" y="1187599"/>
                    <a:pt x="558242" y="1268292"/>
                  </a:cubicBezTo>
                  <a:cubicBezTo>
                    <a:pt x="550119" y="1349433"/>
                    <a:pt x="536993" y="1429993"/>
                    <a:pt x="518938" y="1509516"/>
                  </a:cubicBezTo>
                  <a:lnTo>
                    <a:pt x="504378" y="1568704"/>
                  </a:lnTo>
                  <a:lnTo>
                    <a:pt x="497241" y="1597252"/>
                  </a:lnTo>
                  <a:lnTo>
                    <a:pt x="490960" y="1625799"/>
                  </a:lnTo>
                  <a:cubicBezTo>
                    <a:pt x="486582" y="1644830"/>
                    <a:pt x="483442" y="1664433"/>
                    <a:pt x="479635" y="1683654"/>
                  </a:cubicBezTo>
                  <a:cubicBezTo>
                    <a:pt x="475829" y="1702876"/>
                    <a:pt x="472974" y="1722384"/>
                    <a:pt x="470119" y="1741986"/>
                  </a:cubicBezTo>
                  <a:cubicBezTo>
                    <a:pt x="446613" y="1897949"/>
                    <a:pt x="444139" y="2057243"/>
                    <a:pt x="444043" y="2217012"/>
                  </a:cubicBezTo>
                  <a:cubicBezTo>
                    <a:pt x="443948" y="2376781"/>
                    <a:pt x="446232" y="2538549"/>
                    <a:pt x="432053" y="2699936"/>
                  </a:cubicBezTo>
                  <a:cubicBezTo>
                    <a:pt x="428627" y="2740283"/>
                    <a:pt x="424439" y="2780534"/>
                    <a:pt x="419205" y="2820786"/>
                  </a:cubicBezTo>
                  <a:lnTo>
                    <a:pt x="415018" y="2850856"/>
                  </a:lnTo>
                  <a:lnTo>
                    <a:pt x="413971" y="2858373"/>
                  </a:lnTo>
                  <a:cubicBezTo>
                    <a:pt x="413971" y="2860942"/>
                    <a:pt x="412924" y="2864463"/>
                    <a:pt x="412353" y="2867889"/>
                  </a:cubicBezTo>
                  <a:cubicBezTo>
                    <a:pt x="411026" y="2873941"/>
                    <a:pt x="409244" y="2879898"/>
                    <a:pt x="407024" y="2885683"/>
                  </a:cubicBezTo>
                  <a:cubicBezTo>
                    <a:pt x="398217" y="2907151"/>
                    <a:pt x="385099" y="2926582"/>
                    <a:pt x="368482" y="2942778"/>
                  </a:cubicBezTo>
                  <a:cubicBezTo>
                    <a:pt x="360654" y="2950676"/>
                    <a:pt x="352257" y="2957993"/>
                    <a:pt x="343358" y="2964664"/>
                  </a:cubicBezTo>
                  <a:cubicBezTo>
                    <a:pt x="333842" y="2971325"/>
                    <a:pt x="326324" y="2976749"/>
                    <a:pt x="317473" y="2982649"/>
                  </a:cubicBezTo>
                  <a:cubicBezTo>
                    <a:pt x="308278" y="2988786"/>
                    <a:pt x="298746" y="2994410"/>
                    <a:pt x="288924" y="2999491"/>
                  </a:cubicBezTo>
                  <a:cubicBezTo>
                    <a:pt x="287687" y="3000158"/>
                    <a:pt x="285593" y="3001014"/>
                    <a:pt x="283975" y="3001775"/>
                  </a:cubicBezTo>
                  <a:lnTo>
                    <a:pt x="280644" y="3003108"/>
                  </a:lnTo>
                  <a:lnTo>
                    <a:pt x="273983" y="3005772"/>
                  </a:lnTo>
                  <a:lnTo>
                    <a:pt x="260755" y="3011576"/>
                  </a:lnTo>
                  <a:cubicBezTo>
                    <a:pt x="252095" y="3015573"/>
                    <a:pt x="243530" y="3019855"/>
                    <a:pt x="235441" y="3024518"/>
                  </a:cubicBezTo>
                  <a:cubicBezTo>
                    <a:pt x="231380" y="3026802"/>
                    <a:pt x="227478" y="3029181"/>
                    <a:pt x="223736" y="3031655"/>
                  </a:cubicBezTo>
                  <a:lnTo>
                    <a:pt x="218406" y="3035366"/>
                  </a:lnTo>
                  <a:lnTo>
                    <a:pt x="212316" y="3039933"/>
                  </a:lnTo>
                  <a:cubicBezTo>
                    <a:pt x="196845" y="3050829"/>
                    <a:pt x="182384" y="3063085"/>
                    <a:pt x="169111" y="3076569"/>
                  </a:cubicBezTo>
                  <a:cubicBezTo>
                    <a:pt x="163132" y="3082850"/>
                    <a:pt x="157954" y="3089853"/>
                    <a:pt x="153694" y="3097409"/>
                  </a:cubicBezTo>
                  <a:cubicBezTo>
                    <a:pt x="152673" y="3099150"/>
                    <a:pt x="151783" y="3100958"/>
                    <a:pt x="151029" y="3102833"/>
                  </a:cubicBezTo>
                  <a:cubicBezTo>
                    <a:pt x="150268" y="3104450"/>
                    <a:pt x="149221" y="3106829"/>
                    <a:pt x="148270" y="3109303"/>
                  </a:cubicBezTo>
                  <a:lnTo>
                    <a:pt x="142464" y="3123577"/>
                  </a:lnTo>
                  <a:cubicBezTo>
                    <a:pt x="134598" y="3142932"/>
                    <a:pt x="125045" y="3161564"/>
                    <a:pt x="113915" y="3179244"/>
                  </a:cubicBezTo>
                  <a:cubicBezTo>
                    <a:pt x="102495" y="3197324"/>
                    <a:pt x="87649" y="3212454"/>
                    <a:pt x="77847" y="3227584"/>
                  </a:cubicBezTo>
                  <a:cubicBezTo>
                    <a:pt x="75360" y="3231457"/>
                    <a:pt x="73073" y="3235463"/>
                    <a:pt x="70995" y="3239574"/>
                  </a:cubicBezTo>
                  <a:cubicBezTo>
                    <a:pt x="69853" y="3241572"/>
                    <a:pt x="68902" y="3243761"/>
                    <a:pt x="67950" y="3245854"/>
                  </a:cubicBezTo>
                  <a:cubicBezTo>
                    <a:pt x="66982" y="3247786"/>
                    <a:pt x="66155" y="3249793"/>
                    <a:pt x="65476" y="3251849"/>
                  </a:cubicBezTo>
                  <a:cubicBezTo>
                    <a:pt x="62905" y="3260956"/>
                    <a:pt x="60840" y="3270205"/>
                    <a:pt x="59290" y="3279540"/>
                  </a:cubicBezTo>
                  <a:cubicBezTo>
                    <a:pt x="52153" y="3318745"/>
                    <a:pt x="46633" y="3358616"/>
                    <a:pt x="38354" y="3398296"/>
                  </a:cubicBezTo>
                  <a:cubicBezTo>
                    <a:pt x="36350" y="3408488"/>
                    <a:pt x="33453" y="3418489"/>
                    <a:pt x="29693" y="3428176"/>
                  </a:cubicBezTo>
                  <a:cubicBezTo>
                    <a:pt x="25697" y="3437692"/>
                    <a:pt x="21319" y="3446636"/>
                    <a:pt x="17227" y="3455677"/>
                  </a:cubicBezTo>
                  <a:cubicBezTo>
                    <a:pt x="13070" y="3464640"/>
                    <a:pt x="9572" y="3473899"/>
                    <a:pt x="6759" y="3483367"/>
                  </a:cubicBezTo>
                  <a:cubicBezTo>
                    <a:pt x="3122" y="3492026"/>
                    <a:pt x="3648" y="3501875"/>
                    <a:pt x="8186" y="3510106"/>
                  </a:cubicBezTo>
                  <a:lnTo>
                    <a:pt x="8186" y="3510106"/>
                  </a:lnTo>
                  <a:cubicBezTo>
                    <a:pt x="8896" y="3510810"/>
                    <a:pt x="8901" y="3511952"/>
                    <a:pt x="8199" y="3512666"/>
                  </a:cubicBezTo>
                  <a:cubicBezTo>
                    <a:pt x="8194" y="3512666"/>
                    <a:pt x="8190" y="3512676"/>
                    <a:pt x="8186" y="3512676"/>
                  </a:cubicBezTo>
                  <a:cubicBezTo>
                    <a:pt x="7446" y="3513399"/>
                    <a:pt x="6262" y="3513399"/>
                    <a:pt x="5521" y="3512676"/>
                  </a:cubicBezTo>
                  <a:cubicBezTo>
                    <a:pt x="1964" y="3508431"/>
                    <a:pt x="11" y="3503084"/>
                    <a:pt x="2" y="3497545"/>
                  </a:cubicBezTo>
                  <a:cubicBezTo>
                    <a:pt x="-40" y="3492379"/>
                    <a:pt x="600" y="3487221"/>
                    <a:pt x="1905" y="3482225"/>
                  </a:cubicBezTo>
                  <a:cubicBezTo>
                    <a:pt x="4344" y="3472481"/>
                    <a:pt x="7526" y="3462937"/>
                    <a:pt x="11422" y="3453678"/>
                  </a:cubicBezTo>
                  <a:cubicBezTo>
                    <a:pt x="15133" y="3444162"/>
                    <a:pt x="19130" y="3435122"/>
                    <a:pt x="22651" y="3425797"/>
                  </a:cubicBezTo>
                  <a:cubicBezTo>
                    <a:pt x="25818" y="3416500"/>
                    <a:pt x="28174" y="3406946"/>
                    <a:pt x="29693" y="3397250"/>
                  </a:cubicBezTo>
                  <a:cubicBezTo>
                    <a:pt x="36545" y="3357854"/>
                    <a:pt x="40923" y="3317983"/>
                    <a:pt x="46823" y="3278303"/>
                  </a:cubicBezTo>
                  <a:cubicBezTo>
                    <a:pt x="48174" y="3268245"/>
                    <a:pt x="50080" y="3258272"/>
                    <a:pt x="52533" y="3248423"/>
                  </a:cubicBezTo>
                  <a:cubicBezTo>
                    <a:pt x="55839" y="3238480"/>
                    <a:pt x="60177" y="3228916"/>
                    <a:pt x="65476" y="3219876"/>
                  </a:cubicBezTo>
                  <a:cubicBezTo>
                    <a:pt x="76134" y="3202367"/>
                    <a:pt x="89933" y="3187713"/>
                    <a:pt x="99926" y="3170489"/>
                  </a:cubicBezTo>
                  <a:cubicBezTo>
                    <a:pt x="110207" y="3153380"/>
                    <a:pt x="118934" y="3135386"/>
                    <a:pt x="126001" y="3116726"/>
                  </a:cubicBezTo>
                  <a:cubicBezTo>
                    <a:pt x="129617" y="3107210"/>
                    <a:pt x="132567" y="3097694"/>
                    <a:pt x="137135" y="3088178"/>
                  </a:cubicBezTo>
                  <a:cubicBezTo>
                    <a:pt x="141808" y="3079091"/>
                    <a:pt x="147594" y="3070622"/>
                    <a:pt x="154360" y="3062962"/>
                  </a:cubicBezTo>
                  <a:cubicBezTo>
                    <a:pt x="168137" y="3048193"/>
                    <a:pt x="183379" y="3034871"/>
                    <a:pt x="199849" y="3023186"/>
                  </a:cubicBezTo>
                  <a:cubicBezTo>
                    <a:pt x="215703" y="3010587"/>
                    <a:pt x="233022" y="2999948"/>
                    <a:pt x="251429" y="2991498"/>
                  </a:cubicBezTo>
                  <a:cubicBezTo>
                    <a:pt x="260374" y="2987026"/>
                    <a:pt x="270462" y="2983124"/>
                    <a:pt x="278836" y="2979128"/>
                  </a:cubicBezTo>
                  <a:cubicBezTo>
                    <a:pt x="287694" y="2974218"/>
                    <a:pt x="296272" y="2968813"/>
                    <a:pt x="304531" y="2962951"/>
                  </a:cubicBezTo>
                  <a:cubicBezTo>
                    <a:pt x="321313" y="2952198"/>
                    <a:pt x="336884" y="2939657"/>
                    <a:pt x="350972" y="2925554"/>
                  </a:cubicBezTo>
                  <a:cubicBezTo>
                    <a:pt x="364872" y="2911490"/>
                    <a:pt x="375781" y="2894752"/>
                    <a:pt x="383042" y="2876358"/>
                  </a:cubicBezTo>
                  <a:cubicBezTo>
                    <a:pt x="386318" y="2867147"/>
                    <a:pt x="388366" y="2857555"/>
                    <a:pt x="389133" y="2847811"/>
                  </a:cubicBezTo>
                  <a:lnTo>
                    <a:pt x="392654" y="2817931"/>
                  </a:lnTo>
                  <a:cubicBezTo>
                    <a:pt x="397032" y="2778155"/>
                    <a:pt x="400489" y="2738256"/>
                    <a:pt x="403027" y="2698223"/>
                  </a:cubicBezTo>
                  <a:cubicBezTo>
                    <a:pt x="413305" y="2538263"/>
                    <a:pt x="410355" y="2377828"/>
                    <a:pt x="408737" y="2217393"/>
                  </a:cubicBezTo>
                  <a:cubicBezTo>
                    <a:pt x="407119" y="2056957"/>
                    <a:pt x="409784" y="1895951"/>
                    <a:pt x="432909" y="1736752"/>
                  </a:cubicBezTo>
                  <a:cubicBezTo>
                    <a:pt x="435478" y="1716864"/>
                    <a:pt x="439285" y="1697072"/>
                    <a:pt x="442426" y="1677279"/>
                  </a:cubicBezTo>
                  <a:cubicBezTo>
                    <a:pt x="445566" y="1657486"/>
                    <a:pt x="449753" y="1637694"/>
                    <a:pt x="454321" y="1618091"/>
                  </a:cubicBezTo>
                  <a:lnTo>
                    <a:pt x="460888" y="1588687"/>
                  </a:lnTo>
                  <a:lnTo>
                    <a:pt x="468311" y="1559474"/>
                  </a:lnTo>
                  <a:lnTo>
                    <a:pt x="483061" y="1501238"/>
                  </a:lnTo>
                  <a:cubicBezTo>
                    <a:pt x="492578" y="1462223"/>
                    <a:pt x="499905" y="1422923"/>
                    <a:pt x="506567" y="1383528"/>
                  </a:cubicBezTo>
                  <a:cubicBezTo>
                    <a:pt x="513229" y="1344133"/>
                    <a:pt x="518272" y="1304262"/>
                    <a:pt x="522840" y="1264486"/>
                  </a:cubicBezTo>
                  <a:cubicBezTo>
                    <a:pt x="531786" y="1184839"/>
                    <a:pt x="537686" y="1104907"/>
                    <a:pt x="543586" y="1024879"/>
                  </a:cubicBezTo>
                  <a:cubicBezTo>
                    <a:pt x="549487" y="944852"/>
                    <a:pt x="554911" y="864825"/>
                    <a:pt x="566141" y="785273"/>
                  </a:cubicBezTo>
                  <a:cubicBezTo>
                    <a:pt x="571565" y="745402"/>
                    <a:pt x="578036" y="705912"/>
                    <a:pt x="583365" y="666136"/>
                  </a:cubicBezTo>
                  <a:cubicBezTo>
                    <a:pt x="588695" y="626360"/>
                    <a:pt x="592882" y="586584"/>
                    <a:pt x="595737" y="546713"/>
                  </a:cubicBezTo>
                  <a:cubicBezTo>
                    <a:pt x="598592" y="506842"/>
                    <a:pt x="597926" y="466686"/>
                    <a:pt x="598782" y="426625"/>
                  </a:cubicBezTo>
                  <a:cubicBezTo>
                    <a:pt x="598782" y="406547"/>
                    <a:pt x="599639" y="386468"/>
                    <a:pt x="600400" y="366390"/>
                  </a:cubicBezTo>
                  <a:cubicBezTo>
                    <a:pt x="600831" y="346264"/>
                    <a:pt x="602452" y="326186"/>
                    <a:pt x="605253" y="306251"/>
                  </a:cubicBezTo>
                  <a:cubicBezTo>
                    <a:pt x="610191" y="266161"/>
                    <a:pt x="621097" y="227022"/>
                    <a:pt x="637610" y="190158"/>
                  </a:cubicBezTo>
                  <a:cubicBezTo>
                    <a:pt x="654707" y="153304"/>
                    <a:pt x="679498" y="120532"/>
                    <a:pt x="710316" y="94049"/>
                  </a:cubicBezTo>
                  <a:cubicBezTo>
                    <a:pt x="741383" y="68043"/>
                    <a:pt x="776611" y="47451"/>
                    <a:pt x="814522" y="33149"/>
                  </a:cubicBezTo>
                  <a:cubicBezTo>
                    <a:pt x="852273" y="18723"/>
                    <a:pt x="891219" y="7646"/>
                    <a:pt x="930909" y="34"/>
                  </a:cubicBezTo>
                  <a:cubicBezTo>
                    <a:pt x="931925" y="-156"/>
                    <a:pt x="932915" y="472"/>
                    <a:pt x="933193" y="1461"/>
                  </a:cubicBezTo>
                  <a:cubicBezTo>
                    <a:pt x="933379" y="2479"/>
                    <a:pt x="932760" y="3469"/>
                    <a:pt x="931766" y="3745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reeform 239">
              <a:extLst>
                <a:ext uri="{FF2B5EF4-FFF2-40B4-BE49-F238E27FC236}">
                  <a16:creationId xmlns:a16="http://schemas.microsoft.com/office/drawing/2014/main" id="{A0A87F9D-D27D-43AD-8EA2-6265C11D5298}"/>
                </a:ext>
              </a:extLst>
            </p:cNvPr>
            <p:cNvSpPr/>
            <p:nvPr/>
          </p:nvSpPr>
          <p:spPr>
            <a:xfrm>
              <a:off x="6726061" y="3393989"/>
              <a:ext cx="324553" cy="2941887"/>
            </a:xfrm>
            <a:custGeom>
              <a:avLst/>
              <a:gdLst>
                <a:gd name="connsiteX0" fmla="*/ 10384 w 324553"/>
                <a:gd name="connsiteY0" fmla="*/ 2941887 h 2941887"/>
                <a:gd name="connsiteX1" fmla="*/ 181681 w 324553"/>
                <a:gd name="connsiteY1" fmla="*/ 2209175 h 2941887"/>
                <a:gd name="connsiteX2" fmla="*/ 245823 w 324553"/>
                <a:gd name="connsiteY2" fmla="*/ 1840059 h 2941887"/>
                <a:gd name="connsiteX3" fmla="*/ 265522 w 324553"/>
                <a:gd name="connsiteY3" fmla="*/ 1655073 h 2941887"/>
                <a:gd name="connsiteX4" fmla="*/ 266854 w 324553"/>
                <a:gd name="connsiteY4" fmla="*/ 1469897 h 2941887"/>
                <a:gd name="connsiteX5" fmla="*/ 218225 w 324553"/>
                <a:gd name="connsiteY5" fmla="*/ 1102779 h 2941887"/>
                <a:gd name="connsiteX6" fmla="*/ 165694 w 324553"/>
                <a:gd name="connsiteY6" fmla="*/ 926548 h 2941887"/>
                <a:gd name="connsiteX7" fmla="*/ 163600 w 324553"/>
                <a:gd name="connsiteY7" fmla="*/ 921029 h 2941887"/>
                <a:gd name="connsiteX8" fmla="*/ 161316 w 324553"/>
                <a:gd name="connsiteY8" fmla="*/ 914463 h 2941887"/>
                <a:gd name="connsiteX9" fmla="*/ 157319 w 324553"/>
                <a:gd name="connsiteY9" fmla="*/ 901807 h 2941887"/>
                <a:gd name="connsiteX10" fmla="*/ 151228 w 324553"/>
                <a:gd name="connsiteY10" fmla="*/ 877922 h 2941887"/>
                <a:gd name="connsiteX11" fmla="*/ 141141 w 324553"/>
                <a:gd name="connsiteY11" fmla="*/ 831105 h 2941887"/>
                <a:gd name="connsiteX12" fmla="*/ 123821 w 324553"/>
                <a:gd name="connsiteY12" fmla="*/ 738327 h 2941887"/>
                <a:gd name="connsiteX13" fmla="*/ 86706 w 324553"/>
                <a:gd name="connsiteY13" fmla="*/ 555244 h 2941887"/>
                <a:gd name="connsiteX14" fmla="*/ 80711 w 324553"/>
                <a:gd name="connsiteY14" fmla="*/ 533262 h 2941887"/>
                <a:gd name="connsiteX15" fmla="*/ 73669 w 324553"/>
                <a:gd name="connsiteY15" fmla="*/ 512232 h 2941887"/>
                <a:gd name="connsiteX16" fmla="*/ 57681 w 324553"/>
                <a:gd name="connsiteY16" fmla="*/ 467223 h 2941887"/>
                <a:gd name="connsiteX17" fmla="*/ 29131 w 324553"/>
                <a:gd name="connsiteY17" fmla="*/ 376633 h 2941887"/>
                <a:gd name="connsiteX18" fmla="*/ 8005 w 324553"/>
                <a:gd name="connsiteY18" fmla="*/ 283474 h 2941887"/>
                <a:gd name="connsiteX19" fmla="*/ 106 w 324553"/>
                <a:gd name="connsiteY19" fmla="*/ 188316 h 2941887"/>
                <a:gd name="connsiteX20" fmla="*/ 3246 w 324553"/>
                <a:gd name="connsiteY20" fmla="*/ 93635 h 2941887"/>
                <a:gd name="connsiteX21" fmla="*/ 14666 w 324553"/>
                <a:gd name="connsiteY21" fmla="*/ 0 h 2941887"/>
                <a:gd name="connsiteX22" fmla="*/ 55968 w 324553"/>
                <a:gd name="connsiteY22" fmla="*/ 368259 h 2941887"/>
                <a:gd name="connsiteX23" fmla="*/ 88229 w 324553"/>
                <a:gd name="connsiteY23" fmla="*/ 455899 h 2941887"/>
                <a:gd name="connsiteX24" fmla="*/ 105835 w 324553"/>
                <a:gd name="connsiteY24" fmla="*/ 498720 h 2941887"/>
                <a:gd name="connsiteX25" fmla="*/ 114875 w 324553"/>
                <a:gd name="connsiteY25" fmla="*/ 521939 h 2941887"/>
                <a:gd name="connsiteX26" fmla="*/ 122393 w 324553"/>
                <a:gd name="connsiteY26" fmla="*/ 545062 h 2941887"/>
                <a:gd name="connsiteX27" fmla="*/ 146470 w 324553"/>
                <a:gd name="connsiteY27" fmla="*/ 637269 h 2941887"/>
                <a:gd name="connsiteX28" fmla="*/ 167216 w 324553"/>
                <a:gd name="connsiteY28" fmla="*/ 729382 h 2941887"/>
                <a:gd name="connsiteX29" fmla="*/ 187677 w 324553"/>
                <a:gd name="connsiteY29" fmla="*/ 821018 h 2941887"/>
                <a:gd name="connsiteX30" fmla="*/ 198526 w 324553"/>
                <a:gd name="connsiteY30" fmla="*/ 865933 h 2941887"/>
                <a:gd name="connsiteX31" fmla="*/ 204521 w 324553"/>
                <a:gd name="connsiteY31" fmla="*/ 887533 h 2941887"/>
                <a:gd name="connsiteX32" fmla="*/ 207757 w 324553"/>
                <a:gd name="connsiteY32" fmla="*/ 897049 h 2941887"/>
                <a:gd name="connsiteX33" fmla="*/ 209375 w 324553"/>
                <a:gd name="connsiteY33" fmla="*/ 901521 h 2941887"/>
                <a:gd name="connsiteX34" fmla="*/ 211563 w 324553"/>
                <a:gd name="connsiteY34" fmla="*/ 907040 h 2941887"/>
                <a:gd name="connsiteX35" fmla="*/ 270566 w 324553"/>
                <a:gd name="connsiteY35" fmla="*/ 1090028 h 2941887"/>
                <a:gd name="connsiteX36" fmla="*/ 323382 w 324553"/>
                <a:gd name="connsiteY36" fmla="*/ 1467613 h 2941887"/>
                <a:gd name="connsiteX37" fmla="*/ 320623 w 324553"/>
                <a:gd name="connsiteY37" fmla="*/ 1658689 h 2941887"/>
                <a:gd name="connsiteX38" fmla="*/ 316721 w 324553"/>
                <a:gd name="connsiteY38" fmla="*/ 1706268 h 2941887"/>
                <a:gd name="connsiteX39" fmla="*/ 311487 w 324553"/>
                <a:gd name="connsiteY39" fmla="*/ 1753847 h 2941887"/>
                <a:gd name="connsiteX40" fmla="*/ 298640 w 324553"/>
                <a:gd name="connsiteY40" fmla="*/ 1847957 h 2941887"/>
                <a:gd name="connsiteX41" fmla="*/ 224601 w 324553"/>
                <a:gd name="connsiteY41" fmla="*/ 2219071 h 2941887"/>
                <a:gd name="connsiteX42" fmla="*/ 10384 w 324553"/>
                <a:gd name="connsiteY42" fmla="*/ 2941887 h 2941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24553" h="2941887">
                  <a:moveTo>
                    <a:pt x="10384" y="2941887"/>
                  </a:moveTo>
                  <a:cubicBezTo>
                    <a:pt x="74335" y="2698950"/>
                    <a:pt x="131910" y="2454872"/>
                    <a:pt x="181681" y="2209175"/>
                  </a:cubicBezTo>
                  <a:cubicBezTo>
                    <a:pt x="205663" y="2086422"/>
                    <a:pt x="229264" y="1963479"/>
                    <a:pt x="245823" y="1840059"/>
                  </a:cubicBezTo>
                  <a:cubicBezTo>
                    <a:pt x="253531" y="1778302"/>
                    <a:pt x="262001" y="1716355"/>
                    <a:pt x="265522" y="1655073"/>
                  </a:cubicBezTo>
                  <a:cubicBezTo>
                    <a:pt x="269043" y="1593792"/>
                    <a:pt x="269329" y="1531369"/>
                    <a:pt x="266854" y="1469897"/>
                  </a:cubicBezTo>
                  <a:cubicBezTo>
                    <a:pt x="261754" y="1346306"/>
                    <a:pt x="245480" y="1223430"/>
                    <a:pt x="218225" y="1102779"/>
                  </a:cubicBezTo>
                  <a:cubicBezTo>
                    <a:pt x="205254" y="1042773"/>
                    <a:pt x="187686" y="983861"/>
                    <a:pt x="165694" y="926548"/>
                  </a:cubicBezTo>
                  <a:lnTo>
                    <a:pt x="163600" y="921029"/>
                  </a:lnTo>
                  <a:lnTo>
                    <a:pt x="161316" y="914463"/>
                  </a:lnTo>
                  <a:cubicBezTo>
                    <a:pt x="159765" y="910314"/>
                    <a:pt x="158433" y="906089"/>
                    <a:pt x="157319" y="901807"/>
                  </a:cubicBezTo>
                  <a:cubicBezTo>
                    <a:pt x="155035" y="893718"/>
                    <a:pt x="152942" y="885725"/>
                    <a:pt x="151228" y="877922"/>
                  </a:cubicBezTo>
                  <a:cubicBezTo>
                    <a:pt x="147422" y="862126"/>
                    <a:pt x="144186" y="846616"/>
                    <a:pt x="141141" y="831105"/>
                  </a:cubicBezTo>
                  <a:cubicBezTo>
                    <a:pt x="135050" y="800084"/>
                    <a:pt x="129436" y="769157"/>
                    <a:pt x="123821" y="738327"/>
                  </a:cubicBezTo>
                  <a:cubicBezTo>
                    <a:pt x="112401" y="676664"/>
                    <a:pt x="101362" y="614622"/>
                    <a:pt x="86706" y="555244"/>
                  </a:cubicBezTo>
                  <a:cubicBezTo>
                    <a:pt x="84993" y="547726"/>
                    <a:pt x="82709" y="540589"/>
                    <a:pt x="80711" y="533262"/>
                  </a:cubicBezTo>
                  <a:cubicBezTo>
                    <a:pt x="78712" y="525935"/>
                    <a:pt x="76238" y="519560"/>
                    <a:pt x="73669" y="512232"/>
                  </a:cubicBezTo>
                  <a:cubicBezTo>
                    <a:pt x="67959" y="497007"/>
                    <a:pt x="62820" y="482258"/>
                    <a:pt x="57681" y="467223"/>
                  </a:cubicBezTo>
                  <a:cubicBezTo>
                    <a:pt x="47593" y="437248"/>
                    <a:pt x="37982" y="407178"/>
                    <a:pt x="29131" y="376633"/>
                  </a:cubicBezTo>
                  <a:cubicBezTo>
                    <a:pt x="20281" y="346021"/>
                    <a:pt x="13220" y="314914"/>
                    <a:pt x="8005" y="283474"/>
                  </a:cubicBezTo>
                  <a:cubicBezTo>
                    <a:pt x="3189" y="251977"/>
                    <a:pt x="553" y="220175"/>
                    <a:pt x="106" y="188316"/>
                  </a:cubicBezTo>
                  <a:cubicBezTo>
                    <a:pt x="-370" y="156629"/>
                    <a:pt x="772" y="125037"/>
                    <a:pt x="3246" y="93635"/>
                  </a:cubicBezTo>
                  <a:cubicBezTo>
                    <a:pt x="5721" y="62233"/>
                    <a:pt x="10003" y="31021"/>
                    <a:pt x="14666" y="0"/>
                  </a:cubicBezTo>
                  <a:cubicBezTo>
                    <a:pt x="7529" y="125132"/>
                    <a:pt x="11526" y="252167"/>
                    <a:pt x="55968" y="368259"/>
                  </a:cubicBezTo>
                  <a:cubicBezTo>
                    <a:pt x="66056" y="397634"/>
                    <a:pt x="76809" y="426848"/>
                    <a:pt x="88229" y="455899"/>
                  </a:cubicBezTo>
                  <a:cubicBezTo>
                    <a:pt x="93939" y="470268"/>
                    <a:pt x="99839" y="484922"/>
                    <a:pt x="105835" y="498720"/>
                  </a:cubicBezTo>
                  <a:cubicBezTo>
                    <a:pt x="108785" y="506047"/>
                    <a:pt x="112306" y="514326"/>
                    <a:pt x="114875" y="521939"/>
                  </a:cubicBezTo>
                  <a:cubicBezTo>
                    <a:pt x="117445" y="529551"/>
                    <a:pt x="120300" y="537354"/>
                    <a:pt x="122393" y="545062"/>
                  </a:cubicBezTo>
                  <a:cubicBezTo>
                    <a:pt x="131910" y="575797"/>
                    <a:pt x="139238" y="606533"/>
                    <a:pt x="146470" y="637269"/>
                  </a:cubicBezTo>
                  <a:cubicBezTo>
                    <a:pt x="153703" y="668005"/>
                    <a:pt x="160459" y="698741"/>
                    <a:pt x="167216" y="729382"/>
                  </a:cubicBezTo>
                  <a:cubicBezTo>
                    <a:pt x="173973" y="760022"/>
                    <a:pt x="180634" y="790663"/>
                    <a:pt x="187677" y="821018"/>
                  </a:cubicBezTo>
                  <a:cubicBezTo>
                    <a:pt x="191198" y="836148"/>
                    <a:pt x="194624" y="851278"/>
                    <a:pt x="198526" y="865933"/>
                  </a:cubicBezTo>
                  <a:cubicBezTo>
                    <a:pt x="200334" y="873450"/>
                    <a:pt x="202332" y="880587"/>
                    <a:pt x="204521" y="887533"/>
                  </a:cubicBezTo>
                  <a:cubicBezTo>
                    <a:pt x="205406" y="890769"/>
                    <a:pt x="206481" y="893947"/>
                    <a:pt x="207757" y="897049"/>
                  </a:cubicBezTo>
                  <a:lnTo>
                    <a:pt x="209375" y="901521"/>
                  </a:lnTo>
                  <a:lnTo>
                    <a:pt x="211563" y="907040"/>
                  </a:lnTo>
                  <a:cubicBezTo>
                    <a:pt x="235878" y="966438"/>
                    <a:pt x="255606" y="1027615"/>
                    <a:pt x="270566" y="1090028"/>
                  </a:cubicBezTo>
                  <a:cubicBezTo>
                    <a:pt x="299934" y="1213962"/>
                    <a:pt x="317616" y="1340378"/>
                    <a:pt x="323382" y="1467613"/>
                  </a:cubicBezTo>
                  <a:cubicBezTo>
                    <a:pt x="325571" y="1531178"/>
                    <a:pt x="324715" y="1595029"/>
                    <a:pt x="320623" y="1658689"/>
                  </a:cubicBezTo>
                  <a:lnTo>
                    <a:pt x="316721" y="1706268"/>
                  </a:lnTo>
                  <a:cubicBezTo>
                    <a:pt x="315198" y="1722064"/>
                    <a:pt x="313200" y="1737765"/>
                    <a:pt x="311487" y="1753847"/>
                  </a:cubicBezTo>
                  <a:cubicBezTo>
                    <a:pt x="308156" y="1785439"/>
                    <a:pt x="303112" y="1816555"/>
                    <a:pt x="298640" y="1847957"/>
                  </a:cubicBezTo>
                  <a:cubicBezTo>
                    <a:pt x="278655" y="1972680"/>
                    <a:pt x="253978" y="2096385"/>
                    <a:pt x="224601" y="2219071"/>
                  </a:cubicBezTo>
                  <a:cubicBezTo>
                    <a:pt x="167578" y="2464045"/>
                    <a:pt x="96051" y="2705402"/>
                    <a:pt x="10384" y="2941887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reeform 240">
              <a:extLst>
                <a:ext uri="{FF2B5EF4-FFF2-40B4-BE49-F238E27FC236}">
                  <a16:creationId xmlns:a16="http://schemas.microsoft.com/office/drawing/2014/main" id="{B429DAE6-535A-424C-962E-4FC63C7048F2}"/>
                </a:ext>
              </a:extLst>
            </p:cNvPr>
            <p:cNvSpPr/>
            <p:nvPr/>
          </p:nvSpPr>
          <p:spPr>
            <a:xfrm>
              <a:off x="5139256" y="3394274"/>
              <a:ext cx="325041" cy="2941601"/>
            </a:xfrm>
            <a:custGeom>
              <a:avLst/>
              <a:gdLst>
                <a:gd name="connsiteX0" fmla="*/ 314456 w 325041"/>
                <a:gd name="connsiteY0" fmla="*/ 2941602 h 2941601"/>
                <a:gd name="connsiteX1" fmla="*/ 99953 w 325041"/>
                <a:gd name="connsiteY1" fmla="*/ 2218405 h 2941601"/>
                <a:gd name="connsiteX2" fmla="*/ 25914 w 325041"/>
                <a:gd name="connsiteY2" fmla="*/ 1847291 h 2941601"/>
                <a:gd name="connsiteX3" fmla="*/ 13067 w 325041"/>
                <a:gd name="connsiteY3" fmla="*/ 1753181 h 2941601"/>
                <a:gd name="connsiteX4" fmla="*/ 7833 w 325041"/>
                <a:gd name="connsiteY4" fmla="*/ 1705602 h 2941601"/>
                <a:gd name="connsiteX5" fmla="*/ 3931 w 325041"/>
                <a:gd name="connsiteY5" fmla="*/ 1658023 h 2941601"/>
                <a:gd name="connsiteX6" fmla="*/ 1171 w 325041"/>
                <a:gd name="connsiteY6" fmla="*/ 1466947 h 2941601"/>
                <a:gd name="connsiteX7" fmla="*/ 53988 w 325041"/>
                <a:gd name="connsiteY7" fmla="*/ 1090028 h 2941601"/>
                <a:gd name="connsiteX8" fmla="*/ 112895 w 325041"/>
                <a:gd name="connsiteY8" fmla="*/ 907041 h 2941601"/>
                <a:gd name="connsiteX9" fmla="*/ 115179 w 325041"/>
                <a:gd name="connsiteY9" fmla="*/ 901521 h 2941601"/>
                <a:gd name="connsiteX10" fmla="*/ 116797 w 325041"/>
                <a:gd name="connsiteY10" fmla="*/ 897049 h 2941601"/>
                <a:gd name="connsiteX11" fmla="*/ 120033 w 325041"/>
                <a:gd name="connsiteY11" fmla="*/ 887533 h 2941601"/>
                <a:gd name="connsiteX12" fmla="*/ 126028 w 325041"/>
                <a:gd name="connsiteY12" fmla="*/ 865933 h 2941601"/>
                <a:gd name="connsiteX13" fmla="*/ 136877 w 325041"/>
                <a:gd name="connsiteY13" fmla="*/ 821018 h 2941601"/>
                <a:gd name="connsiteX14" fmla="*/ 157338 w 325041"/>
                <a:gd name="connsiteY14" fmla="*/ 729382 h 2941601"/>
                <a:gd name="connsiteX15" fmla="*/ 178084 w 325041"/>
                <a:gd name="connsiteY15" fmla="*/ 637269 h 2941601"/>
                <a:gd name="connsiteX16" fmla="*/ 202065 w 325041"/>
                <a:gd name="connsiteY16" fmla="*/ 545062 h 2941601"/>
                <a:gd name="connsiteX17" fmla="*/ 209678 w 325041"/>
                <a:gd name="connsiteY17" fmla="*/ 521939 h 2941601"/>
                <a:gd name="connsiteX18" fmla="*/ 219195 w 325041"/>
                <a:gd name="connsiteY18" fmla="*/ 498720 h 2941601"/>
                <a:gd name="connsiteX19" fmla="*/ 236801 w 325041"/>
                <a:gd name="connsiteY19" fmla="*/ 455899 h 2941601"/>
                <a:gd name="connsiteX20" fmla="*/ 269062 w 325041"/>
                <a:gd name="connsiteY20" fmla="*/ 368259 h 2941601"/>
                <a:gd name="connsiteX21" fmla="*/ 310363 w 325041"/>
                <a:gd name="connsiteY21" fmla="*/ 0 h 2941601"/>
                <a:gd name="connsiteX22" fmla="*/ 321783 w 325041"/>
                <a:gd name="connsiteY22" fmla="*/ 93635 h 2941601"/>
                <a:gd name="connsiteX23" fmla="*/ 324924 w 325041"/>
                <a:gd name="connsiteY23" fmla="*/ 188316 h 2941601"/>
                <a:gd name="connsiteX24" fmla="*/ 317025 w 325041"/>
                <a:gd name="connsiteY24" fmla="*/ 283474 h 2941601"/>
                <a:gd name="connsiteX25" fmla="*/ 295898 w 325041"/>
                <a:gd name="connsiteY25" fmla="*/ 376633 h 2941601"/>
                <a:gd name="connsiteX26" fmla="*/ 267349 w 325041"/>
                <a:gd name="connsiteY26" fmla="*/ 467223 h 2941601"/>
                <a:gd name="connsiteX27" fmla="*/ 251456 w 325041"/>
                <a:gd name="connsiteY27" fmla="*/ 512232 h 2941601"/>
                <a:gd name="connsiteX28" fmla="*/ 244414 w 325041"/>
                <a:gd name="connsiteY28" fmla="*/ 533262 h 2941601"/>
                <a:gd name="connsiteX29" fmla="*/ 238418 w 325041"/>
                <a:gd name="connsiteY29" fmla="*/ 555244 h 2941601"/>
                <a:gd name="connsiteX30" fmla="*/ 201304 w 325041"/>
                <a:gd name="connsiteY30" fmla="*/ 738327 h 2941601"/>
                <a:gd name="connsiteX31" fmla="*/ 183984 w 325041"/>
                <a:gd name="connsiteY31" fmla="*/ 831105 h 2941601"/>
                <a:gd name="connsiteX32" fmla="*/ 173896 w 325041"/>
                <a:gd name="connsiteY32" fmla="*/ 877922 h 2941601"/>
                <a:gd name="connsiteX33" fmla="*/ 167806 w 325041"/>
                <a:gd name="connsiteY33" fmla="*/ 901807 h 2941601"/>
                <a:gd name="connsiteX34" fmla="*/ 163809 w 325041"/>
                <a:gd name="connsiteY34" fmla="*/ 914463 h 2941601"/>
                <a:gd name="connsiteX35" fmla="*/ 161525 w 325041"/>
                <a:gd name="connsiteY35" fmla="*/ 921029 h 2941601"/>
                <a:gd name="connsiteX36" fmla="*/ 159431 w 325041"/>
                <a:gd name="connsiteY36" fmla="*/ 926548 h 2941601"/>
                <a:gd name="connsiteX37" fmla="*/ 106900 w 325041"/>
                <a:gd name="connsiteY37" fmla="*/ 1102779 h 2941601"/>
                <a:gd name="connsiteX38" fmla="*/ 58175 w 325041"/>
                <a:gd name="connsiteY38" fmla="*/ 1469516 h 2941601"/>
                <a:gd name="connsiteX39" fmla="*/ 59508 w 325041"/>
                <a:gd name="connsiteY39" fmla="*/ 1654693 h 2941601"/>
                <a:gd name="connsiteX40" fmla="*/ 79207 w 325041"/>
                <a:gd name="connsiteY40" fmla="*/ 1839679 h 2941601"/>
                <a:gd name="connsiteX41" fmla="*/ 143348 w 325041"/>
                <a:gd name="connsiteY41" fmla="*/ 2208794 h 2941601"/>
                <a:gd name="connsiteX42" fmla="*/ 314456 w 325041"/>
                <a:gd name="connsiteY42" fmla="*/ 2941602 h 2941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25041" h="2941601">
                  <a:moveTo>
                    <a:pt x="314456" y="2941602"/>
                  </a:moveTo>
                  <a:cubicBezTo>
                    <a:pt x="228683" y="2705002"/>
                    <a:pt x="157052" y="2463512"/>
                    <a:pt x="99953" y="2218405"/>
                  </a:cubicBezTo>
                  <a:cubicBezTo>
                    <a:pt x="70642" y="2095909"/>
                    <a:pt x="45963" y="1972205"/>
                    <a:pt x="25914" y="1847291"/>
                  </a:cubicBezTo>
                  <a:cubicBezTo>
                    <a:pt x="21441" y="1815890"/>
                    <a:pt x="16398" y="1784773"/>
                    <a:pt x="13067" y="1753181"/>
                  </a:cubicBezTo>
                  <a:cubicBezTo>
                    <a:pt x="11354" y="1737384"/>
                    <a:pt x="9355" y="1721683"/>
                    <a:pt x="7833" y="1705602"/>
                  </a:cubicBezTo>
                  <a:lnTo>
                    <a:pt x="3931" y="1658023"/>
                  </a:lnTo>
                  <a:cubicBezTo>
                    <a:pt x="-161" y="1594363"/>
                    <a:pt x="-1018" y="1530512"/>
                    <a:pt x="1171" y="1466947"/>
                  </a:cubicBezTo>
                  <a:cubicBezTo>
                    <a:pt x="6977" y="1339931"/>
                    <a:pt x="24660" y="1213743"/>
                    <a:pt x="53988" y="1090028"/>
                  </a:cubicBezTo>
                  <a:cubicBezTo>
                    <a:pt x="68963" y="1027634"/>
                    <a:pt x="88656" y="966457"/>
                    <a:pt x="112895" y="907041"/>
                  </a:cubicBezTo>
                  <a:lnTo>
                    <a:pt x="115179" y="901521"/>
                  </a:lnTo>
                  <a:lnTo>
                    <a:pt x="116797" y="897049"/>
                  </a:lnTo>
                  <a:cubicBezTo>
                    <a:pt x="118068" y="893947"/>
                    <a:pt x="119148" y="890769"/>
                    <a:pt x="120033" y="887533"/>
                  </a:cubicBezTo>
                  <a:cubicBezTo>
                    <a:pt x="122222" y="880587"/>
                    <a:pt x="124220" y="873450"/>
                    <a:pt x="126028" y="865933"/>
                  </a:cubicBezTo>
                  <a:cubicBezTo>
                    <a:pt x="129930" y="851278"/>
                    <a:pt x="133356" y="836148"/>
                    <a:pt x="136877" y="821018"/>
                  </a:cubicBezTo>
                  <a:cubicBezTo>
                    <a:pt x="143919" y="790663"/>
                    <a:pt x="150581" y="760022"/>
                    <a:pt x="157338" y="729382"/>
                  </a:cubicBezTo>
                  <a:cubicBezTo>
                    <a:pt x="164094" y="698741"/>
                    <a:pt x="170851" y="668005"/>
                    <a:pt x="178084" y="637269"/>
                  </a:cubicBezTo>
                  <a:cubicBezTo>
                    <a:pt x="185316" y="606533"/>
                    <a:pt x="192644" y="575797"/>
                    <a:pt x="202065" y="545062"/>
                  </a:cubicBezTo>
                  <a:cubicBezTo>
                    <a:pt x="204254" y="537354"/>
                    <a:pt x="207109" y="529646"/>
                    <a:pt x="209678" y="521939"/>
                  </a:cubicBezTo>
                  <a:cubicBezTo>
                    <a:pt x="212248" y="514231"/>
                    <a:pt x="215769" y="506047"/>
                    <a:pt x="219195" y="498720"/>
                  </a:cubicBezTo>
                  <a:cubicBezTo>
                    <a:pt x="225190" y="484922"/>
                    <a:pt x="231091" y="470173"/>
                    <a:pt x="236801" y="455899"/>
                  </a:cubicBezTo>
                  <a:cubicBezTo>
                    <a:pt x="248220" y="426905"/>
                    <a:pt x="258974" y="397691"/>
                    <a:pt x="269062" y="368259"/>
                  </a:cubicBezTo>
                  <a:cubicBezTo>
                    <a:pt x="313504" y="252167"/>
                    <a:pt x="317501" y="125132"/>
                    <a:pt x="310363" y="0"/>
                  </a:cubicBezTo>
                  <a:cubicBezTo>
                    <a:pt x="315027" y="31021"/>
                    <a:pt x="319119" y="62233"/>
                    <a:pt x="321783" y="93635"/>
                  </a:cubicBezTo>
                  <a:cubicBezTo>
                    <a:pt x="324448" y="125037"/>
                    <a:pt x="325399" y="156629"/>
                    <a:pt x="324924" y="188316"/>
                  </a:cubicBezTo>
                  <a:cubicBezTo>
                    <a:pt x="324476" y="220175"/>
                    <a:pt x="321840" y="251977"/>
                    <a:pt x="317025" y="283474"/>
                  </a:cubicBezTo>
                  <a:cubicBezTo>
                    <a:pt x="311810" y="314914"/>
                    <a:pt x="304749" y="346021"/>
                    <a:pt x="295898" y="376633"/>
                  </a:cubicBezTo>
                  <a:cubicBezTo>
                    <a:pt x="287238" y="407178"/>
                    <a:pt x="277722" y="437248"/>
                    <a:pt x="267349" y="467223"/>
                  </a:cubicBezTo>
                  <a:cubicBezTo>
                    <a:pt x="262305" y="482258"/>
                    <a:pt x="257166" y="497007"/>
                    <a:pt x="251456" y="512232"/>
                  </a:cubicBezTo>
                  <a:cubicBezTo>
                    <a:pt x="248887" y="519560"/>
                    <a:pt x="246507" y="525935"/>
                    <a:pt x="244414" y="533262"/>
                  </a:cubicBezTo>
                  <a:cubicBezTo>
                    <a:pt x="242320" y="540589"/>
                    <a:pt x="240131" y="547726"/>
                    <a:pt x="238418" y="555244"/>
                  </a:cubicBezTo>
                  <a:cubicBezTo>
                    <a:pt x="223763" y="614907"/>
                    <a:pt x="212724" y="676664"/>
                    <a:pt x="201304" y="738327"/>
                  </a:cubicBezTo>
                  <a:cubicBezTo>
                    <a:pt x="195689" y="769157"/>
                    <a:pt x="190074" y="800084"/>
                    <a:pt x="183984" y="831105"/>
                  </a:cubicBezTo>
                  <a:cubicBezTo>
                    <a:pt x="180939" y="846616"/>
                    <a:pt x="177703" y="862126"/>
                    <a:pt x="173896" y="877922"/>
                  </a:cubicBezTo>
                  <a:cubicBezTo>
                    <a:pt x="172183" y="885725"/>
                    <a:pt x="170090" y="893718"/>
                    <a:pt x="167806" y="901807"/>
                  </a:cubicBezTo>
                  <a:cubicBezTo>
                    <a:pt x="166692" y="906089"/>
                    <a:pt x="165360" y="910314"/>
                    <a:pt x="163809" y="914463"/>
                  </a:cubicBezTo>
                  <a:lnTo>
                    <a:pt x="161525" y="921029"/>
                  </a:lnTo>
                  <a:lnTo>
                    <a:pt x="159431" y="926548"/>
                  </a:lnTo>
                  <a:cubicBezTo>
                    <a:pt x="137438" y="983861"/>
                    <a:pt x="119873" y="1042773"/>
                    <a:pt x="106900" y="1102779"/>
                  </a:cubicBezTo>
                  <a:cubicBezTo>
                    <a:pt x="79636" y="1223306"/>
                    <a:pt x="63328" y="1346049"/>
                    <a:pt x="58175" y="1469516"/>
                  </a:cubicBezTo>
                  <a:cubicBezTo>
                    <a:pt x="55701" y="1531273"/>
                    <a:pt x="55986" y="1593221"/>
                    <a:pt x="59508" y="1654693"/>
                  </a:cubicBezTo>
                  <a:cubicBezTo>
                    <a:pt x="63029" y="1716164"/>
                    <a:pt x="71498" y="1778397"/>
                    <a:pt x="79207" y="1839679"/>
                  </a:cubicBezTo>
                  <a:cubicBezTo>
                    <a:pt x="95956" y="1963384"/>
                    <a:pt x="119367" y="2086041"/>
                    <a:pt x="143348" y="2208794"/>
                  </a:cubicBezTo>
                  <a:cubicBezTo>
                    <a:pt x="192929" y="2454586"/>
                    <a:pt x="250504" y="2698665"/>
                    <a:pt x="314456" y="2941602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reeform 241">
              <a:extLst>
                <a:ext uri="{FF2B5EF4-FFF2-40B4-BE49-F238E27FC236}">
                  <a16:creationId xmlns:a16="http://schemas.microsoft.com/office/drawing/2014/main" id="{591538CE-8731-4DC1-8E18-68EECE9EF7C1}"/>
                </a:ext>
              </a:extLst>
            </p:cNvPr>
            <p:cNvSpPr/>
            <p:nvPr/>
          </p:nvSpPr>
          <p:spPr>
            <a:xfrm>
              <a:off x="4465324" y="5199886"/>
              <a:ext cx="264274" cy="187269"/>
            </a:xfrm>
            <a:custGeom>
              <a:avLst/>
              <a:gdLst>
                <a:gd name="connsiteX0" fmla="*/ 0 w 264274"/>
                <a:gd name="connsiteY0" fmla="*/ 187270 h 187269"/>
                <a:gd name="connsiteX1" fmla="*/ 49581 w 264274"/>
                <a:gd name="connsiteY1" fmla="*/ 119803 h 187269"/>
                <a:gd name="connsiteX2" fmla="*/ 79368 w 264274"/>
                <a:gd name="connsiteY2" fmla="*/ 89829 h 187269"/>
                <a:gd name="connsiteX3" fmla="*/ 98401 w 264274"/>
                <a:gd name="connsiteY3" fmla="*/ 78124 h 187269"/>
                <a:gd name="connsiteX4" fmla="*/ 118481 w 264274"/>
                <a:gd name="connsiteY4" fmla="*/ 71368 h 187269"/>
                <a:gd name="connsiteX5" fmla="*/ 197658 w 264274"/>
                <a:gd name="connsiteY5" fmla="*/ 46722 h 187269"/>
                <a:gd name="connsiteX6" fmla="*/ 264274 w 264274"/>
                <a:gd name="connsiteY6" fmla="*/ 0 h 187269"/>
                <a:gd name="connsiteX7" fmla="*/ 237533 w 264274"/>
                <a:gd name="connsiteY7" fmla="*/ 32639 h 187269"/>
                <a:gd name="connsiteX8" fmla="*/ 201084 w 264274"/>
                <a:gd name="connsiteY8" fmla="*/ 54620 h 187269"/>
                <a:gd name="connsiteX9" fmla="*/ 120860 w 264274"/>
                <a:gd name="connsiteY9" fmla="*/ 79742 h 187269"/>
                <a:gd name="connsiteX10" fmla="*/ 101066 w 264274"/>
                <a:gd name="connsiteY10" fmla="*/ 85166 h 187269"/>
                <a:gd name="connsiteX11" fmla="*/ 84031 w 264274"/>
                <a:gd name="connsiteY11" fmla="*/ 94682 h 187269"/>
                <a:gd name="connsiteX12" fmla="*/ 53959 w 264274"/>
                <a:gd name="connsiteY12" fmla="*/ 123229 h 187269"/>
                <a:gd name="connsiteX13" fmla="*/ 0 w 264274"/>
                <a:gd name="connsiteY13" fmla="*/ 187270 h 187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4274" h="187269">
                  <a:moveTo>
                    <a:pt x="0" y="187270"/>
                  </a:moveTo>
                  <a:cubicBezTo>
                    <a:pt x="14966" y="163671"/>
                    <a:pt x="31532" y="141128"/>
                    <a:pt x="49581" y="119803"/>
                  </a:cubicBezTo>
                  <a:cubicBezTo>
                    <a:pt x="58657" y="109003"/>
                    <a:pt x="68621" y="98973"/>
                    <a:pt x="79368" y="89829"/>
                  </a:cubicBezTo>
                  <a:cubicBezTo>
                    <a:pt x="85088" y="84995"/>
                    <a:pt x="91504" y="81045"/>
                    <a:pt x="98401" y="78124"/>
                  </a:cubicBezTo>
                  <a:cubicBezTo>
                    <a:pt x="105158" y="75365"/>
                    <a:pt x="111724" y="73461"/>
                    <a:pt x="118481" y="71368"/>
                  </a:cubicBezTo>
                  <a:cubicBezTo>
                    <a:pt x="145317" y="63375"/>
                    <a:pt x="172249" y="56904"/>
                    <a:pt x="197658" y="46722"/>
                  </a:cubicBezTo>
                  <a:cubicBezTo>
                    <a:pt x="223817" y="37720"/>
                    <a:pt x="246906" y="21534"/>
                    <a:pt x="264274" y="0"/>
                  </a:cubicBezTo>
                  <a:cubicBezTo>
                    <a:pt x="257803" y="12675"/>
                    <a:pt x="248683" y="23799"/>
                    <a:pt x="237533" y="32639"/>
                  </a:cubicBezTo>
                  <a:cubicBezTo>
                    <a:pt x="226336" y="41441"/>
                    <a:pt x="214093" y="48825"/>
                    <a:pt x="201084" y="54620"/>
                  </a:cubicBezTo>
                  <a:cubicBezTo>
                    <a:pt x="175114" y="65278"/>
                    <a:pt x="148272" y="73690"/>
                    <a:pt x="120860" y="79742"/>
                  </a:cubicBezTo>
                  <a:cubicBezTo>
                    <a:pt x="114198" y="81455"/>
                    <a:pt x="107442" y="83263"/>
                    <a:pt x="101066" y="85166"/>
                  </a:cubicBezTo>
                  <a:cubicBezTo>
                    <a:pt x="94983" y="87554"/>
                    <a:pt x="89252" y="90752"/>
                    <a:pt x="84031" y="94682"/>
                  </a:cubicBezTo>
                  <a:cubicBezTo>
                    <a:pt x="73246" y="103360"/>
                    <a:pt x="63189" y="112913"/>
                    <a:pt x="53959" y="123229"/>
                  </a:cubicBezTo>
                  <a:cubicBezTo>
                    <a:pt x="34545" y="143783"/>
                    <a:pt x="16939" y="165384"/>
                    <a:pt x="0" y="187270"/>
                  </a:cubicBezTo>
                  <a:close/>
                </a:path>
              </a:pathLst>
            </a:custGeom>
            <a:grpFill/>
            <a:ln w="3175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5" name="Freeform 242">
              <a:extLst>
                <a:ext uri="{FF2B5EF4-FFF2-40B4-BE49-F238E27FC236}">
                  <a16:creationId xmlns:a16="http://schemas.microsoft.com/office/drawing/2014/main" id="{84DA52E1-25E7-452A-85B6-D25B5AA48A0D}"/>
                </a:ext>
              </a:extLst>
            </p:cNvPr>
            <p:cNvSpPr/>
            <p:nvPr/>
          </p:nvSpPr>
          <p:spPr>
            <a:xfrm>
              <a:off x="7477973" y="5199886"/>
              <a:ext cx="263703" cy="187269"/>
            </a:xfrm>
            <a:custGeom>
              <a:avLst/>
              <a:gdLst>
                <a:gd name="connsiteX0" fmla="*/ 263703 w 263703"/>
                <a:gd name="connsiteY0" fmla="*/ 187270 h 187269"/>
                <a:gd name="connsiteX1" fmla="*/ 210315 w 263703"/>
                <a:gd name="connsiteY1" fmla="*/ 123229 h 187269"/>
                <a:gd name="connsiteX2" fmla="*/ 180148 w 263703"/>
                <a:gd name="connsiteY2" fmla="*/ 94682 h 187269"/>
                <a:gd name="connsiteX3" fmla="*/ 163114 w 263703"/>
                <a:gd name="connsiteY3" fmla="*/ 85166 h 187269"/>
                <a:gd name="connsiteX4" fmla="*/ 143319 w 263703"/>
                <a:gd name="connsiteY4" fmla="*/ 79742 h 187269"/>
                <a:gd name="connsiteX5" fmla="*/ 63095 w 263703"/>
                <a:gd name="connsiteY5" fmla="*/ 54620 h 187269"/>
                <a:gd name="connsiteX6" fmla="*/ 26742 w 263703"/>
                <a:gd name="connsiteY6" fmla="*/ 32639 h 187269"/>
                <a:gd name="connsiteX7" fmla="*/ 0 w 263703"/>
                <a:gd name="connsiteY7" fmla="*/ 0 h 187269"/>
                <a:gd name="connsiteX8" fmla="*/ 66616 w 263703"/>
                <a:gd name="connsiteY8" fmla="*/ 46722 h 187269"/>
                <a:gd name="connsiteX9" fmla="*/ 145889 w 263703"/>
                <a:gd name="connsiteY9" fmla="*/ 71368 h 187269"/>
                <a:gd name="connsiteX10" fmla="*/ 165968 w 263703"/>
                <a:gd name="connsiteY10" fmla="*/ 78124 h 187269"/>
                <a:gd name="connsiteX11" fmla="*/ 184526 w 263703"/>
                <a:gd name="connsiteY11" fmla="*/ 89829 h 187269"/>
                <a:gd name="connsiteX12" fmla="*/ 214313 w 263703"/>
                <a:gd name="connsiteY12" fmla="*/ 119803 h 187269"/>
                <a:gd name="connsiteX13" fmla="*/ 263703 w 263703"/>
                <a:gd name="connsiteY13" fmla="*/ 187270 h 187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3703" h="187269">
                  <a:moveTo>
                    <a:pt x="263703" y="187270"/>
                  </a:moveTo>
                  <a:cubicBezTo>
                    <a:pt x="246764" y="165098"/>
                    <a:pt x="229254" y="143498"/>
                    <a:pt x="210315" y="123229"/>
                  </a:cubicBezTo>
                  <a:cubicBezTo>
                    <a:pt x="201056" y="112904"/>
                    <a:pt x="190959" y="103360"/>
                    <a:pt x="180148" y="94682"/>
                  </a:cubicBezTo>
                  <a:cubicBezTo>
                    <a:pt x="174943" y="90732"/>
                    <a:pt x="169204" y="87526"/>
                    <a:pt x="163114" y="85166"/>
                  </a:cubicBezTo>
                  <a:cubicBezTo>
                    <a:pt x="156833" y="83263"/>
                    <a:pt x="149981" y="81455"/>
                    <a:pt x="143319" y="79742"/>
                  </a:cubicBezTo>
                  <a:cubicBezTo>
                    <a:pt x="115902" y="73690"/>
                    <a:pt x="89065" y="65278"/>
                    <a:pt x="63095" y="54620"/>
                  </a:cubicBezTo>
                  <a:cubicBezTo>
                    <a:pt x="50124" y="48797"/>
                    <a:pt x="37924" y="41422"/>
                    <a:pt x="26742" y="32639"/>
                  </a:cubicBezTo>
                  <a:cubicBezTo>
                    <a:pt x="15588" y="23799"/>
                    <a:pt x="6471" y="12675"/>
                    <a:pt x="0" y="0"/>
                  </a:cubicBezTo>
                  <a:cubicBezTo>
                    <a:pt x="17358" y="21543"/>
                    <a:pt x="40455" y="37739"/>
                    <a:pt x="66616" y="46722"/>
                  </a:cubicBezTo>
                  <a:cubicBezTo>
                    <a:pt x="92120" y="56904"/>
                    <a:pt x="119052" y="63375"/>
                    <a:pt x="145889" y="71368"/>
                  </a:cubicBezTo>
                  <a:cubicBezTo>
                    <a:pt x="152550" y="73461"/>
                    <a:pt x="159212" y="75365"/>
                    <a:pt x="165968" y="78124"/>
                  </a:cubicBezTo>
                  <a:cubicBezTo>
                    <a:pt x="172716" y="81064"/>
                    <a:pt x="178968" y="85004"/>
                    <a:pt x="184526" y="89829"/>
                  </a:cubicBezTo>
                  <a:cubicBezTo>
                    <a:pt x="195298" y="98945"/>
                    <a:pt x="205262" y="108974"/>
                    <a:pt x="214313" y="119803"/>
                  </a:cubicBezTo>
                  <a:cubicBezTo>
                    <a:pt x="232299" y="141137"/>
                    <a:pt x="248800" y="163680"/>
                    <a:pt x="263703" y="187270"/>
                  </a:cubicBezTo>
                  <a:close/>
                </a:path>
              </a:pathLst>
            </a:custGeom>
            <a:grpFill/>
            <a:ln w="3175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Freeform 243">
              <a:extLst>
                <a:ext uri="{FF2B5EF4-FFF2-40B4-BE49-F238E27FC236}">
                  <a16:creationId xmlns:a16="http://schemas.microsoft.com/office/drawing/2014/main" id="{0D8B8D91-ACDA-4E60-9A5F-4EDC4FE6A96A}"/>
                </a:ext>
              </a:extLst>
            </p:cNvPr>
            <p:cNvSpPr/>
            <p:nvPr/>
          </p:nvSpPr>
          <p:spPr>
            <a:xfrm>
              <a:off x="5308108" y="3943523"/>
              <a:ext cx="180148" cy="628800"/>
            </a:xfrm>
            <a:custGeom>
              <a:avLst/>
              <a:gdLst>
                <a:gd name="connsiteX0" fmla="*/ 70423 w 180148"/>
                <a:gd name="connsiteY0" fmla="*/ 1808 h 628800"/>
                <a:gd name="connsiteX1" fmla="*/ 46251 w 180148"/>
                <a:gd name="connsiteY1" fmla="*/ 168524 h 628800"/>
                <a:gd name="connsiteX2" fmla="*/ 52532 w 180148"/>
                <a:gd name="connsiteY2" fmla="*/ 326961 h 628800"/>
                <a:gd name="connsiteX3" fmla="*/ 55863 w 180148"/>
                <a:gd name="connsiteY3" fmla="*/ 345992 h 628800"/>
                <a:gd name="connsiteX4" fmla="*/ 60145 w 180148"/>
                <a:gd name="connsiteY4" fmla="*/ 365024 h 628800"/>
                <a:gd name="connsiteX5" fmla="*/ 64903 w 180148"/>
                <a:gd name="connsiteY5" fmla="*/ 384055 h 628800"/>
                <a:gd name="connsiteX6" fmla="*/ 70233 w 180148"/>
                <a:gd name="connsiteY6" fmla="*/ 403087 h 628800"/>
                <a:gd name="connsiteX7" fmla="*/ 97831 w 180148"/>
                <a:gd name="connsiteY7" fmla="*/ 477500 h 628800"/>
                <a:gd name="connsiteX8" fmla="*/ 180149 w 180148"/>
                <a:gd name="connsiteY8" fmla="*/ 625279 h 628800"/>
                <a:gd name="connsiteX9" fmla="*/ 176913 w 180148"/>
                <a:gd name="connsiteY9" fmla="*/ 628800 h 628800"/>
                <a:gd name="connsiteX10" fmla="*/ 145413 w 180148"/>
                <a:gd name="connsiteY10" fmla="*/ 599206 h 628800"/>
                <a:gd name="connsiteX11" fmla="*/ 116007 w 180148"/>
                <a:gd name="connsiteY11" fmla="*/ 567519 h 628800"/>
                <a:gd name="connsiteX12" fmla="*/ 102113 w 180148"/>
                <a:gd name="connsiteY12" fmla="*/ 550866 h 628800"/>
                <a:gd name="connsiteX13" fmla="*/ 89266 w 180148"/>
                <a:gd name="connsiteY13" fmla="*/ 533357 h 628800"/>
                <a:gd name="connsiteX14" fmla="*/ 65379 w 180148"/>
                <a:gd name="connsiteY14" fmla="*/ 497293 h 628800"/>
                <a:gd name="connsiteX15" fmla="*/ 5711 w 180148"/>
                <a:gd name="connsiteY15" fmla="*/ 335525 h 628800"/>
                <a:gd name="connsiteX16" fmla="*/ 9041 w 180148"/>
                <a:gd name="connsiteY16" fmla="*/ 162719 h 628800"/>
                <a:gd name="connsiteX17" fmla="*/ 66140 w 180148"/>
                <a:gd name="connsiteY17" fmla="*/ 0 h 6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0148" h="628800">
                  <a:moveTo>
                    <a:pt x="70423" y="1808"/>
                  </a:moveTo>
                  <a:cubicBezTo>
                    <a:pt x="58870" y="56818"/>
                    <a:pt x="50800" y="112495"/>
                    <a:pt x="46251" y="168524"/>
                  </a:cubicBezTo>
                  <a:cubicBezTo>
                    <a:pt x="42587" y="221403"/>
                    <a:pt x="44690" y="274529"/>
                    <a:pt x="52532" y="326961"/>
                  </a:cubicBezTo>
                  <a:lnTo>
                    <a:pt x="55863" y="345992"/>
                  </a:lnTo>
                  <a:cubicBezTo>
                    <a:pt x="57100" y="352368"/>
                    <a:pt x="58908" y="358648"/>
                    <a:pt x="60145" y="365024"/>
                  </a:cubicBezTo>
                  <a:cubicBezTo>
                    <a:pt x="61392" y="371447"/>
                    <a:pt x="62981" y="377804"/>
                    <a:pt x="64903" y="384055"/>
                  </a:cubicBezTo>
                  <a:cubicBezTo>
                    <a:pt x="66616" y="390240"/>
                    <a:pt x="68139" y="396711"/>
                    <a:pt x="70233" y="403087"/>
                  </a:cubicBezTo>
                  <a:cubicBezTo>
                    <a:pt x="78103" y="428370"/>
                    <a:pt x="87315" y="453206"/>
                    <a:pt x="97831" y="477500"/>
                  </a:cubicBezTo>
                  <a:cubicBezTo>
                    <a:pt x="122155" y="528428"/>
                    <a:pt x="149648" y="577786"/>
                    <a:pt x="180149" y="625279"/>
                  </a:cubicBezTo>
                  <a:lnTo>
                    <a:pt x="176913" y="628800"/>
                  </a:lnTo>
                  <a:cubicBezTo>
                    <a:pt x="166445" y="619284"/>
                    <a:pt x="155596" y="609769"/>
                    <a:pt x="145413" y="599206"/>
                  </a:cubicBezTo>
                  <a:cubicBezTo>
                    <a:pt x="135231" y="588644"/>
                    <a:pt x="124953" y="578843"/>
                    <a:pt x="116007" y="567519"/>
                  </a:cubicBezTo>
                  <a:lnTo>
                    <a:pt x="102113" y="550866"/>
                  </a:lnTo>
                  <a:cubicBezTo>
                    <a:pt x="97735" y="545157"/>
                    <a:pt x="93643" y="539257"/>
                    <a:pt x="89266" y="533357"/>
                  </a:cubicBezTo>
                  <a:cubicBezTo>
                    <a:pt x="80415" y="521939"/>
                    <a:pt x="73183" y="509378"/>
                    <a:pt x="65379" y="497293"/>
                  </a:cubicBezTo>
                  <a:cubicBezTo>
                    <a:pt x="35697" y="447506"/>
                    <a:pt x="15474" y="392657"/>
                    <a:pt x="5711" y="335525"/>
                  </a:cubicBezTo>
                  <a:cubicBezTo>
                    <a:pt x="-2892" y="278145"/>
                    <a:pt x="-1769" y="219728"/>
                    <a:pt x="9041" y="162719"/>
                  </a:cubicBezTo>
                  <a:cubicBezTo>
                    <a:pt x="19243" y="105777"/>
                    <a:pt x="38514" y="50833"/>
                    <a:pt x="66140" y="0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7" name="Freeform 244">
              <a:extLst>
                <a:ext uri="{FF2B5EF4-FFF2-40B4-BE49-F238E27FC236}">
                  <a16:creationId xmlns:a16="http://schemas.microsoft.com/office/drawing/2014/main" id="{B3FA1A7F-51E4-46D3-8EE8-463DCF792ABC}"/>
                </a:ext>
              </a:extLst>
            </p:cNvPr>
            <p:cNvSpPr/>
            <p:nvPr/>
          </p:nvSpPr>
          <p:spPr>
            <a:xfrm>
              <a:off x="6718173" y="3943618"/>
              <a:ext cx="169560" cy="575702"/>
            </a:xfrm>
            <a:custGeom>
              <a:avLst/>
              <a:gdLst>
                <a:gd name="connsiteX0" fmla="*/ 114864 w 169560"/>
                <a:gd name="connsiteY0" fmla="*/ 0 h 575702"/>
                <a:gd name="connsiteX1" fmla="*/ 163780 w 169560"/>
                <a:gd name="connsiteY1" fmla="*/ 149397 h 575702"/>
                <a:gd name="connsiteX2" fmla="*/ 163780 w 169560"/>
                <a:gd name="connsiteY2" fmla="*/ 307644 h 575702"/>
                <a:gd name="connsiteX3" fmla="*/ 113627 w 169560"/>
                <a:gd name="connsiteY3" fmla="*/ 459896 h 575702"/>
                <a:gd name="connsiteX4" fmla="*/ 66045 w 169560"/>
                <a:gd name="connsiteY4" fmla="*/ 525650 h 575702"/>
                <a:gd name="connsiteX5" fmla="*/ 3426 w 169560"/>
                <a:gd name="connsiteY5" fmla="*/ 575703 h 575702"/>
                <a:gd name="connsiteX6" fmla="*/ 0 w 169560"/>
                <a:gd name="connsiteY6" fmla="*/ 572467 h 575702"/>
                <a:gd name="connsiteX7" fmla="*/ 78226 w 169560"/>
                <a:gd name="connsiteY7" fmla="*/ 445242 h 575702"/>
                <a:gd name="connsiteX8" fmla="*/ 116292 w 169560"/>
                <a:gd name="connsiteY8" fmla="*/ 300412 h 575702"/>
                <a:gd name="connsiteX9" fmla="*/ 124762 w 169560"/>
                <a:gd name="connsiteY9" fmla="*/ 150444 h 575702"/>
                <a:gd name="connsiteX10" fmla="*/ 119813 w 169560"/>
                <a:gd name="connsiteY10" fmla="*/ 75270 h 575702"/>
                <a:gd name="connsiteX11" fmla="*/ 109440 w 169560"/>
                <a:gd name="connsiteY11" fmla="*/ 761 h 575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9560" h="575702">
                  <a:moveTo>
                    <a:pt x="114864" y="0"/>
                  </a:moveTo>
                  <a:cubicBezTo>
                    <a:pt x="140197" y="46380"/>
                    <a:pt x="156785" y="97023"/>
                    <a:pt x="163780" y="149397"/>
                  </a:cubicBezTo>
                  <a:cubicBezTo>
                    <a:pt x="171488" y="201867"/>
                    <a:pt x="171488" y="255174"/>
                    <a:pt x="163780" y="307644"/>
                  </a:cubicBezTo>
                  <a:cubicBezTo>
                    <a:pt x="156290" y="360980"/>
                    <a:pt x="139303" y="412546"/>
                    <a:pt x="113627" y="459896"/>
                  </a:cubicBezTo>
                  <a:cubicBezTo>
                    <a:pt x="100247" y="483504"/>
                    <a:pt x="84288" y="505553"/>
                    <a:pt x="66045" y="525650"/>
                  </a:cubicBezTo>
                  <a:cubicBezTo>
                    <a:pt x="47840" y="545424"/>
                    <a:pt x="26722" y="562304"/>
                    <a:pt x="3426" y="575703"/>
                  </a:cubicBezTo>
                  <a:lnTo>
                    <a:pt x="0" y="572467"/>
                  </a:lnTo>
                  <a:cubicBezTo>
                    <a:pt x="32775" y="534566"/>
                    <a:pt x="59193" y="491603"/>
                    <a:pt x="78226" y="445242"/>
                  </a:cubicBezTo>
                  <a:cubicBezTo>
                    <a:pt x="96821" y="398719"/>
                    <a:pt x="109611" y="350075"/>
                    <a:pt x="116292" y="300412"/>
                  </a:cubicBezTo>
                  <a:cubicBezTo>
                    <a:pt x="123496" y="250769"/>
                    <a:pt x="126322" y="200582"/>
                    <a:pt x="124762" y="150444"/>
                  </a:cubicBezTo>
                  <a:cubicBezTo>
                    <a:pt x="124096" y="125322"/>
                    <a:pt x="122383" y="100296"/>
                    <a:pt x="119813" y="75270"/>
                  </a:cubicBezTo>
                  <a:cubicBezTo>
                    <a:pt x="117244" y="50243"/>
                    <a:pt x="114198" y="25312"/>
                    <a:pt x="109440" y="761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8" name="Freeform 245">
              <a:extLst>
                <a:ext uri="{FF2B5EF4-FFF2-40B4-BE49-F238E27FC236}">
                  <a16:creationId xmlns:a16="http://schemas.microsoft.com/office/drawing/2014/main" id="{5081947B-6B14-49CD-9353-DB90B1CE2515}"/>
                </a:ext>
              </a:extLst>
            </p:cNvPr>
            <p:cNvSpPr/>
            <p:nvPr/>
          </p:nvSpPr>
          <p:spPr>
            <a:xfrm>
              <a:off x="7269561" y="3341938"/>
              <a:ext cx="100462" cy="264252"/>
            </a:xfrm>
            <a:custGeom>
              <a:avLst/>
              <a:gdLst>
                <a:gd name="connsiteX0" fmla="*/ 54340 w 100462"/>
                <a:gd name="connsiteY0" fmla="*/ 0 h 264252"/>
                <a:gd name="connsiteX1" fmla="*/ 93833 w 100462"/>
                <a:gd name="connsiteY1" fmla="*/ 67942 h 264252"/>
                <a:gd name="connsiteX2" fmla="*/ 98591 w 100462"/>
                <a:gd name="connsiteY2" fmla="*/ 144068 h 264252"/>
                <a:gd name="connsiteX3" fmla="*/ 70042 w 100462"/>
                <a:gd name="connsiteY3" fmla="*/ 217530 h 264252"/>
                <a:gd name="connsiteX4" fmla="*/ 3426 w 100462"/>
                <a:gd name="connsiteY4" fmla="*/ 264252 h 264252"/>
                <a:gd name="connsiteX5" fmla="*/ 0 w 100462"/>
                <a:gd name="connsiteY5" fmla="*/ 261017 h 264252"/>
                <a:gd name="connsiteX6" fmla="*/ 34640 w 100462"/>
                <a:gd name="connsiteY6" fmla="*/ 202876 h 264252"/>
                <a:gd name="connsiteX7" fmla="*/ 51580 w 100462"/>
                <a:gd name="connsiteY7" fmla="*/ 137122 h 264252"/>
                <a:gd name="connsiteX8" fmla="*/ 55862 w 100462"/>
                <a:gd name="connsiteY8" fmla="*/ 69084 h 264252"/>
                <a:gd name="connsiteX9" fmla="*/ 53864 w 100462"/>
                <a:gd name="connsiteY9" fmla="*/ 34828 h 264252"/>
                <a:gd name="connsiteX10" fmla="*/ 49772 w 100462"/>
                <a:gd name="connsiteY10" fmla="*/ 856 h 26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462" h="264252">
                  <a:moveTo>
                    <a:pt x="54340" y="0"/>
                  </a:moveTo>
                  <a:cubicBezTo>
                    <a:pt x="73601" y="18508"/>
                    <a:pt x="87286" y="42050"/>
                    <a:pt x="93833" y="67942"/>
                  </a:cubicBezTo>
                  <a:cubicBezTo>
                    <a:pt x="100580" y="92731"/>
                    <a:pt x="102198" y="118633"/>
                    <a:pt x="98591" y="144068"/>
                  </a:cubicBezTo>
                  <a:cubicBezTo>
                    <a:pt x="94728" y="170389"/>
                    <a:pt x="84973" y="195510"/>
                    <a:pt x="70042" y="217530"/>
                  </a:cubicBezTo>
                  <a:cubicBezTo>
                    <a:pt x="54235" y="240663"/>
                    <a:pt x="30567" y="257267"/>
                    <a:pt x="3426" y="264252"/>
                  </a:cubicBezTo>
                  <a:lnTo>
                    <a:pt x="0" y="261017"/>
                  </a:lnTo>
                  <a:cubicBezTo>
                    <a:pt x="14151" y="243318"/>
                    <a:pt x="25809" y="223753"/>
                    <a:pt x="34640" y="202876"/>
                  </a:cubicBezTo>
                  <a:cubicBezTo>
                    <a:pt x="42806" y="181684"/>
                    <a:pt x="48487" y="159617"/>
                    <a:pt x="51580" y="137122"/>
                  </a:cubicBezTo>
                  <a:cubicBezTo>
                    <a:pt x="54911" y="114598"/>
                    <a:pt x="56338" y="91846"/>
                    <a:pt x="55862" y="69084"/>
                  </a:cubicBezTo>
                  <a:cubicBezTo>
                    <a:pt x="55862" y="57665"/>
                    <a:pt x="54911" y="46246"/>
                    <a:pt x="53864" y="34828"/>
                  </a:cubicBezTo>
                  <a:cubicBezTo>
                    <a:pt x="52817" y="23409"/>
                    <a:pt x="51675" y="11990"/>
                    <a:pt x="49772" y="856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reeform 246">
              <a:extLst>
                <a:ext uri="{FF2B5EF4-FFF2-40B4-BE49-F238E27FC236}">
                  <a16:creationId xmlns:a16="http://schemas.microsoft.com/office/drawing/2014/main" id="{D5F22162-F004-48EC-9300-E0D5C3D21F3C}"/>
                </a:ext>
              </a:extLst>
            </p:cNvPr>
            <p:cNvSpPr/>
            <p:nvPr/>
          </p:nvSpPr>
          <p:spPr>
            <a:xfrm>
              <a:off x="4835681" y="3419396"/>
              <a:ext cx="63787" cy="264442"/>
            </a:xfrm>
            <a:custGeom>
              <a:avLst/>
              <a:gdLst>
                <a:gd name="connsiteX0" fmla="*/ 13921 w 63787"/>
                <a:gd name="connsiteY0" fmla="*/ 1047 h 264442"/>
                <a:gd name="connsiteX1" fmla="*/ 63787 w 63787"/>
                <a:gd name="connsiteY1" fmla="*/ 261303 h 264442"/>
                <a:gd name="connsiteX2" fmla="*/ 60266 w 63787"/>
                <a:gd name="connsiteY2" fmla="*/ 264443 h 264442"/>
                <a:gd name="connsiteX3" fmla="*/ 22200 w 63787"/>
                <a:gd name="connsiteY3" fmla="*/ 206111 h 264442"/>
                <a:gd name="connsiteX4" fmla="*/ 3167 w 63787"/>
                <a:gd name="connsiteY4" fmla="*/ 138740 h 264442"/>
                <a:gd name="connsiteX5" fmla="*/ 407 w 63787"/>
                <a:gd name="connsiteY5" fmla="*/ 68989 h 264442"/>
                <a:gd name="connsiteX6" fmla="*/ 9924 w 63787"/>
                <a:gd name="connsiteY6" fmla="*/ 0 h 2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787" h="264442">
                  <a:moveTo>
                    <a:pt x="13921" y="1047"/>
                  </a:moveTo>
                  <a:cubicBezTo>
                    <a:pt x="25721" y="114665"/>
                    <a:pt x="61504" y="232755"/>
                    <a:pt x="63787" y="261303"/>
                  </a:cubicBezTo>
                  <a:lnTo>
                    <a:pt x="60266" y="264443"/>
                  </a:lnTo>
                  <a:cubicBezTo>
                    <a:pt x="44260" y="247381"/>
                    <a:pt x="31376" y="227636"/>
                    <a:pt x="22200" y="206111"/>
                  </a:cubicBezTo>
                  <a:cubicBezTo>
                    <a:pt x="13298" y="184453"/>
                    <a:pt x="6912" y="161853"/>
                    <a:pt x="3167" y="138740"/>
                  </a:cubicBezTo>
                  <a:cubicBezTo>
                    <a:pt x="301" y="115607"/>
                    <a:pt x="-622" y="92274"/>
                    <a:pt x="407" y="68989"/>
                  </a:cubicBezTo>
                  <a:cubicBezTo>
                    <a:pt x="1244" y="45733"/>
                    <a:pt x="4432" y="22619"/>
                    <a:pt x="9924" y="0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reeform 247">
              <a:extLst>
                <a:ext uri="{FF2B5EF4-FFF2-40B4-BE49-F238E27FC236}">
                  <a16:creationId xmlns:a16="http://schemas.microsoft.com/office/drawing/2014/main" id="{6D46B4C2-E54F-4769-90D3-55B0A844CDF5}"/>
                </a:ext>
              </a:extLst>
            </p:cNvPr>
            <p:cNvSpPr/>
            <p:nvPr/>
          </p:nvSpPr>
          <p:spPr>
            <a:xfrm>
              <a:off x="5310275" y="2688111"/>
              <a:ext cx="522575" cy="590562"/>
            </a:xfrm>
            <a:custGeom>
              <a:avLst/>
              <a:gdLst>
                <a:gd name="connsiteX0" fmla="*/ 30761 w 522575"/>
                <a:gd name="connsiteY0" fmla="*/ 0 h 590562"/>
                <a:gd name="connsiteX1" fmla="*/ 74061 w 522575"/>
                <a:gd name="connsiteY1" fmla="*/ 53193 h 590562"/>
                <a:gd name="connsiteX2" fmla="*/ 81864 w 522575"/>
                <a:gd name="connsiteY2" fmla="*/ 90209 h 590562"/>
                <a:gd name="connsiteX3" fmla="*/ 74442 w 522575"/>
                <a:gd name="connsiteY3" fmla="*/ 125893 h 590562"/>
                <a:gd name="connsiteX4" fmla="*/ 31617 w 522575"/>
                <a:gd name="connsiteY4" fmla="*/ 250264 h 590562"/>
                <a:gd name="connsiteX5" fmla="*/ 24765 w 522575"/>
                <a:gd name="connsiteY5" fmla="*/ 310689 h 590562"/>
                <a:gd name="connsiteX6" fmla="*/ 35233 w 522575"/>
                <a:gd name="connsiteY6" fmla="*/ 369116 h 590562"/>
                <a:gd name="connsiteX7" fmla="*/ 59881 w 522575"/>
                <a:gd name="connsiteY7" fmla="*/ 427066 h 590562"/>
                <a:gd name="connsiteX8" fmla="*/ 91952 w 522575"/>
                <a:gd name="connsiteY8" fmla="*/ 479118 h 590562"/>
                <a:gd name="connsiteX9" fmla="*/ 134491 w 522575"/>
                <a:gd name="connsiteY9" fmla="*/ 519940 h 590562"/>
                <a:gd name="connsiteX10" fmla="*/ 188069 w 522575"/>
                <a:gd name="connsiteY10" fmla="*/ 548487 h 590562"/>
                <a:gd name="connsiteX11" fmla="*/ 202534 w 522575"/>
                <a:gd name="connsiteY11" fmla="*/ 554102 h 590562"/>
                <a:gd name="connsiteX12" fmla="*/ 217475 w 522575"/>
                <a:gd name="connsiteY12" fmla="*/ 558955 h 590562"/>
                <a:gd name="connsiteX13" fmla="*/ 224993 w 522575"/>
                <a:gd name="connsiteY13" fmla="*/ 561334 h 590562"/>
                <a:gd name="connsiteX14" fmla="*/ 231940 w 522575"/>
                <a:gd name="connsiteY14" fmla="*/ 562856 h 590562"/>
                <a:gd name="connsiteX15" fmla="*/ 246025 w 522575"/>
                <a:gd name="connsiteY15" fmla="*/ 565425 h 590562"/>
                <a:gd name="connsiteX16" fmla="*/ 305217 w 522575"/>
                <a:gd name="connsiteY16" fmla="*/ 562571 h 590562"/>
                <a:gd name="connsiteX17" fmla="*/ 335290 w 522575"/>
                <a:gd name="connsiteY17" fmla="*/ 554863 h 590562"/>
                <a:gd name="connsiteX18" fmla="*/ 364696 w 522575"/>
                <a:gd name="connsiteY18" fmla="*/ 543444 h 590562"/>
                <a:gd name="connsiteX19" fmla="*/ 421129 w 522575"/>
                <a:gd name="connsiteY19" fmla="*/ 513089 h 590562"/>
                <a:gd name="connsiteX20" fmla="*/ 473375 w 522575"/>
                <a:gd name="connsiteY20" fmla="*/ 474170 h 590562"/>
                <a:gd name="connsiteX21" fmla="*/ 497452 w 522575"/>
                <a:gd name="connsiteY21" fmla="*/ 451617 h 590562"/>
                <a:gd name="connsiteX22" fmla="*/ 520196 w 522575"/>
                <a:gd name="connsiteY22" fmla="*/ 427352 h 590562"/>
                <a:gd name="connsiteX23" fmla="*/ 522575 w 522575"/>
                <a:gd name="connsiteY23" fmla="*/ 428970 h 590562"/>
                <a:gd name="connsiteX24" fmla="*/ 480417 w 522575"/>
                <a:gd name="connsiteY24" fmla="*/ 480926 h 590562"/>
                <a:gd name="connsiteX25" fmla="*/ 430170 w 522575"/>
                <a:gd name="connsiteY25" fmla="*/ 525174 h 590562"/>
                <a:gd name="connsiteX26" fmla="*/ 373070 w 522575"/>
                <a:gd name="connsiteY26" fmla="*/ 560668 h 590562"/>
                <a:gd name="connsiteX27" fmla="*/ 342522 w 522575"/>
                <a:gd name="connsiteY27" fmla="*/ 574466 h 590562"/>
                <a:gd name="connsiteX28" fmla="*/ 310356 w 522575"/>
                <a:gd name="connsiteY28" fmla="*/ 583981 h 590562"/>
                <a:gd name="connsiteX29" fmla="*/ 243741 w 522575"/>
                <a:gd name="connsiteY29" fmla="*/ 589881 h 590562"/>
                <a:gd name="connsiteX30" fmla="*/ 226991 w 522575"/>
                <a:gd name="connsiteY30" fmla="*/ 587407 h 590562"/>
                <a:gd name="connsiteX31" fmla="*/ 218712 w 522575"/>
                <a:gd name="connsiteY31" fmla="*/ 585789 h 590562"/>
                <a:gd name="connsiteX32" fmla="*/ 210623 w 522575"/>
                <a:gd name="connsiteY32" fmla="*/ 583505 h 590562"/>
                <a:gd name="connsiteX33" fmla="*/ 194540 w 522575"/>
                <a:gd name="connsiteY33" fmla="*/ 578843 h 590562"/>
                <a:gd name="connsiteX34" fmla="*/ 178648 w 522575"/>
                <a:gd name="connsiteY34" fmla="*/ 573228 h 590562"/>
                <a:gd name="connsiteX35" fmla="*/ 118789 w 522575"/>
                <a:gd name="connsiteY35" fmla="*/ 542683 h 590562"/>
                <a:gd name="connsiteX36" fmla="*/ 69588 w 522575"/>
                <a:gd name="connsiteY36" fmla="*/ 496627 h 590562"/>
                <a:gd name="connsiteX37" fmla="*/ 34948 w 522575"/>
                <a:gd name="connsiteY37" fmla="*/ 439056 h 590562"/>
                <a:gd name="connsiteX38" fmla="*/ 9539 w 522575"/>
                <a:gd name="connsiteY38" fmla="*/ 377204 h 590562"/>
                <a:gd name="connsiteX39" fmla="*/ 22 w 522575"/>
                <a:gd name="connsiteY39" fmla="*/ 310594 h 590562"/>
                <a:gd name="connsiteX40" fmla="*/ 10205 w 522575"/>
                <a:gd name="connsiteY40" fmla="*/ 243984 h 590562"/>
                <a:gd name="connsiteX41" fmla="*/ 60547 w 522575"/>
                <a:gd name="connsiteY41" fmla="*/ 120279 h 590562"/>
                <a:gd name="connsiteX42" fmla="*/ 70064 w 522575"/>
                <a:gd name="connsiteY42" fmla="*/ 88782 h 590562"/>
                <a:gd name="connsiteX43" fmla="*/ 65686 w 522575"/>
                <a:gd name="connsiteY43" fmla="*/ 56904 h 590562"/>
                <a:gd name="connsiteX44" fmla="*/ 29143 w 522575"/>
                <a:gd name="connsiteY44" fmla="*/ 1713 h 590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22575" h="590562">
                  <a:moveTo>
                    <a:pt x="30761" y="0"/>
                  </a:moveTo>
                  <a:cubicBezTo>
                    <a:pt x="45797" y="16462"/>
                    <a:pt x="62736" y="31307"/>
                    <a:pt x="74061" y="53193"/>
                  </a:cubicBezTo>
                  <a:cubicBezTo>
                    <a:pt x="79904" y="64621"/>
                    <a:pt x="82597" y="77401"/>
                    <a:pt x="81864" y="90209"/>
                  </a:cubicBezTo>
                  <a:cubicBezTo>
                    <a:pt x="80799" y="102351"/>
                    <a:pt x="78315" y="114332"/>
                    <a:pt x="74442" y="125893"/>
                  </a:cubicBezTo>
                  <a:cubicBezTo>
                    <a:pt x="59596" y="169285"/>
                    <a:pt x="41324" y="209441"/>
                    <a:pt x="31617" y="250264"/>
                  </a:cubicBezTo>
                  <a:cubicBezTo>
                    <a:pt x="26916" y="270057"/>
                    <a:pt x="24622" y="290344"/>
                    <a:pt x="24765" y="310689"/>
                  </a:cubicBezTo>
                  <a:cubicBezTo>
                    <a:pt x="25203" y="330587"/>
                    <a:pt x="28734" y="350303"/>
                    <a:pt x="35233" y="369116"/>
                  </a:cubicBezTo>
                  <a:cubicBezTo>
                    <a:pt x="42437" y="388851"/>
                    <a:pt x="50660" y="408187"/>
                    <a:pt x="59881" y="427066"/>
                  </a:cubicBezTo>
                  <a:cubicBezTo>
                    <a:pt x="68675" y="445517"/>
                    <a:pt x="79428" y="462969"/>
                    <a:pt x="91952" y="479118"/>
                  </a:cubicBezTo>
                  <a:cubicBezTo>
                    <a:pt x="103971" y="494809"/>
                    <a:pt x="118322" y="508569"/>
                    <a:pt x="134491" y="519940"/>
                  </a:cubicBezTo>
                  <a:cubicBezTo>
                    <a:pt x="151221" y="531435"/>
                    <a:pt x="169198" y="541008"/>
                    <a:pt x="188069" y="548487"/>
                  </a:cubicBezTo>
                  <a:lnTo>
                    <a:pt x="202534" y="554102"/>
                  </a:lnTo>
                  <a:lnTo>
                    <a:pt x="217475" y="558955"/>
                  </a:lnTo>
                  <a:lnTo>
                    <a:pt x="224993" y="561334"/>
                  </a:lnTo>
                  <a:lnTo>
                    <a:pt x="231940" y="562856"/>
                  </a:lnTo>
                  <a:cubicBezTo>
                    <a:pt x="236556" y="564103"/>
                    <a:pt x="241266" y="564959"/>
                    <a:pt x="246025" y="565425"/>
                  </a:cubicBezTo>
                  <a:cubicBezTo>
                    <a:pt x="265781" y="567643"/>
                    <a:pt x="285766" y="566672"/>
                    <a:pt x="305217" y="562571"/>
                  </a:cubicBezTo>
                  <a:cubicBezTo>
                    <a:pt x="315381" y="560592"/>
                    <a:pt x="325431" y="558022"/>
                    <a:pt x="335290" y="554863"/>
                  </a:cubicBezTo>
                  <a:cubicBezTo>
                    <a:pt x="344806" y="551152"/>
                    <a:pt x="354989" y="547917"/>
                    <a:pt x="364696" y="543444"/>
                  </a:cubicBezTo>
                  <a:cubicBezTo>
                    <a:pt x="384385" y="535042"/>
                    <a:pt x="403266" y="524888"/>
                    <a:pt x="421129" y="513089"/>
                  </a:cubicBezTo>
                  <a:cubicBezTo>
                    <a:pt x="439486" y="501432"/>
                    <a:pt x="456949" y="488424"/>
                    <a:pt x="473375" y="474170"/>
                  </a:cubicBezTo>
                  <a:cubicBezTo>
                    <a:pt x="481559" y="466843"/>
                    <a:pt x="489838" y="459610"/>
                    <a:pt x="497452" y="451617"/>
                  </a:cubicBezTo>
                  <a:cubicBezTo>
                    <a:pt x="505065" y="443624"/>
                    <a:pt x="512678" y="435631"/>
                    <a:pt x="520196" y="427352"/>
                  </a:cubicBezTo>
                  <a:lnTo>
                    <a:pt x="522575" y="428970"/>
                  </a:lnTo>
                  <a:cubicBezTo>
                    <a:pt x="509937" y="447392"/>
                    <a:pt x="495834" y="464768"/>
                    <a:pt x="480417" y="480926"/>
                  </a:cubicBezTo>
                  <a:cubicBezTo>
                    <a:pt x="464857" y="496969"/>
                    <a:pt x="448051" y="511766"/>
                    <a:pt x="430170" y="525174"/>
                  </a:cubicBezTo>
                  <a:cubicBezTo>
                    <a:pt x="412250" y="538715"/>
                    <a:pt x="393141" y="550591"/>
                    <a:pt x="373070" y="560668"/>
                  </a:cubicBezTo>
                  <a:cubicBezTo>
                    <a:pt x="363554" y="566092"/>
                    <a:pt x="352800" y="570183"/>
                    <a:pt x="342522" y="574466"/>
                  </a:cubicBezTo>
                  <a:cubicBezTo>
                    <a:pt x="331987" y="578253"/>
                    <a:pt x="321253" y="581431"/>
                    <a:pt x="310356" y="583981"/>
                  </a:cubicBezTo>
                  <a:cubicBezTo>
                    <a:pt x="288659" y="589757"/>
                    <a:pt x="266123" y="591756"/>
                    <a:pt x="243741" y="589881"/>
                  </a:cubicBezTo>
                  <a:cubicBezTo>
                    <a:pt x="238107" y="589472"/>
                    <a:pt x="232502" y="588654"/>
                    <a:pt x="226991" y="587407"/>
                  </a:cubicBezTo>
                  <a:lnTo>
                    <a:pt x="218712" y="585789"/>
                  </a:lnTo>
                  <a:lnTo>
                    <a:pt x="210623" y="583505"/>
                  </a:lnTo>
                  <a:lnTo>
                    <a:pt x="194540" y="578843"/>
                  </a:lnTo>
                  <a:lnTo>
                    <a:pt x="178648" y="573228"/>
                  </a:lnTo>
                  <a:cubicBezTo>
                    <a:pt x="157559" y="565454"/>
                    <a:pt x="137460" y="555196"/>
                    <a:pt x="118789" y="542683"/>
                  </a:cubicBezTo>
                  <a:cubicBezTo>
                    <a:pt x="100117" y="529951"/>
                    <a:pt x="83520" y="514421"/>
                    <a:pt x="69588" y="496627"/>
                  </a:cubicBezTo>
                  <a:cubicBezTo>
                    <a:pt x="55979" y="478756"/>
                    <a:pt x="44360" y="459449"/>
                    <a:pt x="34948" y="439056"/>
                  </a:cubicBezTo>
                  <a:cubicBezTo>
                    <a:pt x="25193" y="418988"/>
                    <a:pt x="16705" y="398329"/>
                    <a:pt x="9539" y="377204"/>
                  </a:cubicBezTo>
                  <a:cubicBezTo>
                    <a:pt x="2906" y="355632"/>
                    <a:pt x="-301" y="333156"/>
                    <a:pt x="22" y="310594"/>
                  </a:cubicBezTo>
                  <a:cubicBezTo>
                    <a:pt x="384" y="288032"/>
                    <a:pt x="3810" y="265622"/>
                    <a:pt x="10205" y="243984"/>
                  </a:cubicBezTo>
                  <a:cubicBezTo>
                    <a:pt x="22481" y="200782"/>
                    <a:pt x="43608" y="161197"/>
                    <a:pt x="60547" y="120279"/>
                  </a:cubicBezTo>
                  <a:cubicBezTo>
                    <a:pt x="65020" y="110221"/>
                    <a:pt x="68218" y="99639"/>
                    <a:pt x="70064" y="88782"/>
                  </a:cubicBezTo>
                  <a:cubicBezTo>
                    <a:pt x="71434" y="77953"/>
                    <a:pt x="69931" y="66962"/>
                    <a:pt x="65686" y="56904"/>
                  </a:cubicBezTo>
                  <a:cubicBezTo>
                    <a:pt x="57312" y="36540"/>
                    <a:pt x="42181" y="19698"/>
                    <a:pt x="29143" y="1713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reeform 248">
              <a:extLst>
                <a:ext uri="{FF2B5EF4-FFF2-40B4-BE49-F238E27FC236}">
                  <a16:creationId xmlns:a16="http://schemas.microsoft.com/office/drawing/2014/main" id="{D9827E86-A3DE-4DC8-BA2C-AD18CAEA6BAA}"/>
                </a:ext>
              </a:extLst>
            </p:cNvPr>
            <p:cNvSpPr/>
            <p:nvPr/>
          </p:nvSpPr>
          <p:spPr>
            <a:xfrm>
              <a:off x="6348837" y="2688016"/>
              <a:ext cx="543142" cy="610548"/>
            </a:xfrm>
            <a:custGeom>
              <a:avLst/>
              <a:gdLst>
                <a:gd name="connsiteX0" fmla="*/ 494003 w 543142"/>
                <a:gd name="connsiteY0" fmla="*/ 1808 h 610548"/>
                <a:gd name="connsiteX1" fmla="*/ 476969 w 543142"/>
                <a:gd name="connsiteY1" fmla="*/ 30355 h 610548"/>
                <a:gd name="connsiteX2" fmla="*/ 463551 w 543142"/>
                <a:gd name="connsiteY2" fmla="*/ 58902 h 610548"/>
                <a:gd name="connsiteX3" fmla="*/ 462218 w 543142"/>
                <a:gd name="connsiteY3" fmla="*/ 87450 h 610548"/>
                <a:gd name="connsiteX4" fmla="*/ 472972 w 543142"/>
                <a:gd name="connsiteY4" fmla="*/ 115997 h 610548"/>
                <a:gd name="connsiteX5" fmla="*/ 530071 w 543142"/>
                <a:gd name="connsiteY5" fmla="*/ 239035 h 610548"/>
                <a:gd name="connsiteX6" fmla="*/ 533878 w 543142"/>
                <a:gd name="connsiteY6" fmla="*/ 383389 h 610548"/>
                <a:gd name="connsiteX7" fmla="*/ 507897 w 543142"/>
                <a:gd name="connsiteY7" fmla="*/ 448763 h 610548"/>
                <a:gd name="connsiteX8" fmla="*/ 470973 w 543142"/>
                <a:gd name="connsiteY8" fmla="*/ 510710 h 610548"/>
                <a:gd name="connsiteX9" fmla="*/ 416634 w 543142"/>
                <a:gd name="connsiteY9" fmla="*/ 561143 h 610548"/>
                <a:gd name="connsiteX10" fmla="*/ 351636 w 543142"/>
                <a:gd name="connsiteY10" fmla="*/ 593687 h 610548"/>
                <a:gd name="connsiteX11" fmla="*/ 334697 w 543142"/>
                <a:gd name="connsiteY11" fmla="*/ 599206 h 610548"/>
                <a:gd name="connsiteX12" fmla="*/ 317662 w 543142"/>
                <a:gd name="connsiteY12" fmla="*/ 603774 h 610548"/>
                <a:gd name="connsiteX13" fmla="*/ 309097 w 543142"/>
                <a:gd name="connsiteY13" fmla="*/ 605963 h 610548"/>
                <a:gd name="connsiteX14" fmla="*/ 299581 w 543142"/>
                <a:gd name="connsiteY14" fmla="*/ 607675 h 610548"/>
                <a:gd name="connsiteX15" fmla="*/ 280548 w 543142"/>
                <a:gd name="connsiteY15" fmla="*/ 610054 h 610548"/>
                <a:gd name="connsiteX16" fmla="*/ 207460 w 543142"/>
                <a:gd name="connsiteY16" fmla="*/ 601585 h 610548"/>
                <a:gd name="connsiteX17" fmla="*/ 142177 w 543142"/>
                <a:gd name="connsiteY17" fmla="*/ 573990 h 610548"/>
                <a:gd name="connsiteX18" fmla="*/ 85078 w 543142"/>
                <a:gd name="connsiteY18" fmla="*/ 534024 h 610548"/>
                <a:gd name="connsiteX19" fmla="*/ 37495 w 543142"/>
                <a:gd name="connsiteY19" fmla="*/ 485112 h 610548"/>
                <a:gd name="connsiteX20" fmla="*/ 0 w 543142"/>
                <a:gd name="connsiteY20" fmla="*/ 428589 h 610548"/>
                <a:gd name="connsiteX21" fmla="*/ 2379 w 543142"/>
                <a:gd name="connsiteY21" fmla="*/ 426971 h 610548"/>
                <a:gd name="connsiteX22" fmla="*/ 94594 w 543142"/>
                <a:gd name="connsiteY22" fmla="*/ 522129 h 610548"/>
                <a:gd name="connsiteX23" fmla="*/ 151027 w 543142"/>
                <a:gd name="connsiteY23" fmla="*/ 556956 h 610548"/>
                <a:gd name="connsiteX24" fmla="*/ 181385 w 543142"/>
                <a:gd name="connsiteY24" fmla="*/ 570374 h 610548"/>
                <a:gd name="connsiteX25" fmla="*/ 213075 w 543142"/>
                <a:gd name="connsiteY25" fmla="*/ 579889 h 610548"/>
                <a:gd name="connsiteX26" fmla="*/ 278549 w 543142"/>
                <a:gd name="connsiteY26" fmla="*/ 585313 h 610548"/>
                <a:gd name="connsiteX27" fmla="*/ 294727 w 543142"/>
                <a:gd name="connsiteY27" fmla="*/ 582839 h 610548"/>
                <a:gd name="connsiteX28" fmla="*/ 302816 w 543142"/>
                <a:gd name="connsiteY28" fmla="*/ 581222 h 610548"/>
                <a:gd name="connsiteX29" fmla="*/ 310810 w 543142"/>
                <a:gd name="connsiteY29" fmla="*/ 578938 h 610548"/>
                <a:gd name="connsiteX30" fmla="*/ 326703 w 543142"/>
                <a:gd name="connsiteY30" fmla="*/ 574275 h 610548"/>
                <a:gd name="connsiteX31" fmla="*/ 342310 w 543142"/>
                <a:gd name="connsiteY31" fmla="*/ 568661 h 610548"/>
                <a:gd name="connsiteX32" fmla="*/ 400836 w 543142"/>
                <a:gd name="connsiteY32" fmla="*/ 538401 h 610548"/>
                <a:gd name="connsiteX33" fmla="*/ 448419 w 543142"/>
                <a:gd name="connsiteY33" fmla="*/ 493201 h 610548"/>
                <a:gd name="connsiteX34" fmla="*/ 482774 w 543142"/>
                <a:gd name="connsiteY34" fmla="*/ 436773 h 610548"/>
                <a:gd name="connsiteX35" fmla="*/ 508088 w 543142"/>
                <a:gd name="connsiteY35" fmla="*/ 375491 h 610548"/>
                <a:gd name="connsiteX36" fmla="*/ 517604 w 543142"/>
                <a:gd name="connsiteY36" fmla="*/ 310499 h 610548"/>
                <a:gd name="connsiteX37" fmla="*/ 508088 w 543142"/>
                <a:gd name="connsiteY37" fmla="*/ 245316 h 610548"/>
                <a:gd name="connsiteX38" fmla="*/ 458602 w 543142"/>
                <a:gd name="connsiteY38" fmla="*/ 121611 h 610548"/>
                <a:gd name="connsiteX39" fmla="*/ 449085 w 543142"/>
                <a:gd name="connsiteY39" fmla="*/ 89162 h 610548"/>
                <a:gd name="connsiteX40" fmla="*/ 453844 w 543142"/>
                <a:gd name="connsiteY40" fmla="*/ 55667 h 610548"/>
                <a:gd name="connsiteX41" fmla="*/ 491053 w 543142"/>
                <a:gd name="connsiteY41" fmla="*/ 0 h 610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43142" h="610548">
                  <a:moveTo>
                    <a:pt x="494003" y="1808"/>
                  </a:moveTo>
                  <a:lnTo>
                    <a:pt x="476969" y="30355"/>
                  </a:lnTo>
                  <a:cubicBezTo>
                    <a:pt x="471383" y="39310"/>
                    <a:pt x="466881" y="48892"/>
                    <a:pt x="463551" y="58902"/>
                  </a:cubicBezTo>
                  <a:cubicBezTo>
                    <a:pt x="460600" y="68133"/>
                    <a:pt x="460144" y="77982"/>
                    <a:pt x="462218" y="87450"/>
                  </a:cubicBezTo>
                  <a:cubicBezTo>
                    <a:pt x="464616" y="97365"/>
                    <a:pt x="468232" y="106957"/>
                    <a:pt x="472972" y="115997"/>
                  </a:cubicBezTo>
                  <a:cubicBezTo>
                    <a:pt x="492005" y="154821"/>
                    <a:pt x="515606" y="193931"/>
                    <a:pt x="530071" y="239035"/>
                  </a:cubicBezTo>
                  <a:cubicBezTo>
                    <a:pt x="546087" y="285624"/>
                    <a:pt x="547420" y="336020"/>
                    <a:pt x="533878" y="383389"/>
                  </a:cubicBezTo>
                  <a:cubicBezTo>
                    <a:pt x="526693" y="405742"/>
                    <a:pt x="518014" y="427580"/>
                    <a:pt x="507897" y="448763"/>
                  </a:cubicBezTo>
                  <a:cubicBezTo>
                    <a:pt x="497896" y="470706"/>
                    <a:pt x="485515" y="491479"/>
                    <a:pt x="470973" y="510710"/>
                  </a:cubicBezTo>
                  <a:cubicBezTo>
                    <a:pt x="455556" y="530208"/>
                    <a:pt x="437228" y="547222"/>
                    <a:pt x="416634" y="561143"/>
                  </a:cubicBezTo>
                  <a:cubicBezTo>
                    <a:pt x="396392" y="574627"/>
                    <a:pt x="374561" y="585561"/>
                    <a:pt x="351636" y="593687"/>
                  </a:cubicBezTo>
                  <a:lnTo>
                    <a:pt x="334697" y="599206"/>
                  </a:lnTo>
                  <a:cubicBezTo>
                    <a:pt x="329082" y="600919"/>
                    <a:pt x="323372" y="602252"/>
                    <a:pt x="317662" y="603774"/>
                  </a:cubicBezTo>
                  <a:lnTo>
                    <a:pt x="309097" y="605963"/>
                  </a:lnTo>
                  <a:lnTo>
                    <a:pt x="299581" y="607675"/>
                  </a:lnTo>
                  <a:cubicBezTo>
                    <a:pt x="293309" y="608950"/>
                    <a:pt x="286943" y="609740"/>
                    <a:pt x="280548" y="610054"/>
                  </a:cubicBezTo>
                  <a:cubicBezTo>
                    <a:pt x="255871" y="611796"/>
                    <a:pt x="231090" y="608922"/>
                    <a:pt x="207460" y="601585"/>
                  </a:cubicBezTo>
                  <a:cubicBezTo>
                    <a:pt x="184621" y="595191"/>
                    <a:pt x="162685" y="585913"/>
                    <a:pt x="142177" y="573990"/>
                  </a:cubicBezTo>
                  <a:cubicBezTo>
                    <a:pt x="121964" y="562437"/>
                    <a:pt x="102855" y="549058"/>
                    <a:pt x="85078" y="534024"/>
                  </a:cubicBezTo>
                  <a:cubicBezTo>
                    <a:pt x="67882" y="519074"/>
                    <a:pt x="51970" y="502717"/>
                    <a:pt x="37495" y="485112"/>
                  </a:cubicBezTo>
                  <a:cubicBezTo>
                    <a:pt x="23249" y="467489"/>
                    <a:pt x="10697" y="448563"/>
                    <a:pt x="0" y="428589"/>
                  </a:cubicBezTo>
                  <a:lnTo>
                    <a:pt x="2379" y="426971"/>
                  </a:lnTo>
                  <a:cubicBezTo>
                    <a:pt x="27569" y="463626"/>
                    <a:pt x="58746" y="495799"/>
                    <a:pt x="94594" y="522129"/>
                  </a:cubicBezTo>
                  <a:cubicBezTo>
                    <a:pt x="112305" y="535432"/>
                    <a:pt x="131195" y="547088"/>
                    <a:pt x="151027" y="556956"/>
                  </a:cubicBezTo>
                  <a:cubicBezTo>
                    <a:pt x="160915" y="561933"/>
                    <a:pt x="171050" y="566415"/>
                    <a:pt x="181385" y="570374"/>
                  </a:cubicBezTo>
                  <a:cubicBezTo>
                    <a:pt x="191739" y="574208"/>
                    <a:pt x="202322" y="577387"/>
                    <a:pt x="213075" y="579889"/>
                  </a:cubicBezTo>
                  <a:cubicBezTo>
                    <a:pt x="234421" y="585475"/>
                    <a:pt x="256575" y="587312"/>
                    <a:pt x="278549" y="585313"/>
                  </a:cubicBezTo>
                  <a:cubicBezTo>
                    <a:pt x="284002" y="584914"/>
                    <a:pt x="289407" y="584086"/>
                    <a:pt x="294727" y="582839"/>
                  </a:cubicBezTo>
                  <a:lnTo>
                    <a:pt x="302816" y="581222"/>
                  </a:lnTo>
                  <a:lnTo>
                    <a:pt x="310810" y="578938"/>
                  </a:lnTo>
                  <a:lnTo>
                    <a:pt x="326703" y="574275"/>
                  </a:lnTo>
                  <a:lnTo>
                    <a:pt x="342310" y="568661"/>
                  </a:lnTo>
                  <a:cubicBezTo>
                    <a:pt x="362923" y="560877"/>
                    <a:pt x="382565" y="550724"/>
                    <a:pt x="400836" y="538401"/>
                  </a:cubicBezTo>
                  <a:cubicBezTo>
                    <a:pt x="418908" y="525849"/>
                    <a:pt x="434963" y="510605"/>
                    <a:pt x="448419" y="493201"/>
                  </a:cubicBezTo>
                  <a:cubicBezTo>
                    <a:pt x="461857" y="475673"/>
                    <a:pt x="473371" y="456756"/>
                    <a:pt x="482774" y="436773"/>
                  </a:cubicBezTo>
                  <a:cubicBezTo>
                    <a:pt x="492471" y="416885"/>
                    <a:pt x="500922" y="396426"/>
                    <a:pt x="508088" y="375491"/>
                  </a:cubicBezTo>
                  <a:cubicBezTo>
                    <a:pt x="514664" y="354461"/>
                    <a:pt x="517871" y="332528"/>
                    <a:pt x="517604" y="310499"/>
                  </a:cubicBezTo>
                  <a:cubicBezTo>
                    <a:pt x="517385" y="288441"/>
                    <a:pt x="514188" y="266517"/>
                    <a:pt x="508088" y="245316"/>
                  </a:cubicBezTo>
                  <a:cubicBezTo>
                    <a:pt x="496192" y="202590"/>
                    <a:pt x="475351" y="163005"/>
                    <a:pt x="458602" y="121611"/>
                  </a:cubicBezTo>
                  <a:cubicBezTo>
                    <a:pt x="454081" y="111239"/>
                    <a:pt x="450884" y="100334"/>
                    <a:pt x="449085" y="89162"/>
                  </a:cubicBezTo>
                  <a:cubicBezTo>
                    <a:pt x="447762" y="77772"/>
                    <a:pt x="449399" y="66239"/>
                    <a:pt x="453844" y="55667"/>
                  </a:cubicBezTo>
                  <a:cubicBezTo>
                    <a:pt x="462694" y="34637"/>
                    <a:pt x="478016" y="17604"/>
                    <a:pt x="491053" y="0"/>
                  </a:cubicBez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" name="Freeform 249">
              <a:extLst>
                <a:ext uri="{FF2B5EF4-FFF2-40B4-BE49-F238E27FC236}">
                  <a16:creationId xmlns:a16="http://schemas.microsoft.com/office/drawing/2014/main" id="{E5B75BCD-0753-4AD1-9D24-A6DE234F22B4}"/>
                </a:ext>
              </a:extLst>
            </p:cNvPr>
            <p:cNvSpPr/>
            <p:nvPr/>
          </p:nvSpPr>
          <p:spPr>
            <a:xfrm>
              <a:off x="6016805" y="5734290"/>
              <a:ext cx="81842" cy="1050728"/>
            </a:xfrm>
            <a:custGeom>
              <a:avLst/>
              <a:gdLst>
                <a:gd name="connsiteX0" fmla="*/ 78797 w 81842"/>
                <a:gd name="connsiteY0" fmla="*/ 0 h 1050728"/>
                <a:gd name="connsiteX1" fmla="*/ 54530 w 81842"/>
                <a:gd name="connsiteY1" fmla="*/ 247409 h 1050728"/>
                <a:gd name="connsiteX2" fmla="*/ 47773 w 81842"/>
                <a:gd name="connsiteY2" fmla="*/ 371114 h 1050728"/>
                <a:gd name="connsiteX3" fmla="*/ 43871 w 81842"/>
                <a:gd name="connsiteY3" fmla="*/ 494819 h 1050728"/>
                <a:gd name="connsiteX4" fmla="*/ 42539 w 81842"/>
                <a:gd name="connsiteY4" fmla="*/ 618523 h 1050728"/>
                <a:gd name="connsiteX5" fmla="*/ 40826 w 81842"/>
                <a:gd name="connsiteY5" fmla="*/ 763829 h 1050728"/>
                <a:gd name="connsiteX6" fmla="*/ 4283 w 81842"/>
                <a:gd name="connsiteY6" fmla="*/ 1040452 h 1050728"/>
                <a:gd name="connsiteX7" fmla="*/ 0 w 81842"/>
                <a:gd name="connsiteY7" fmla="*/ 1050729 h 1050728"/>
                <a:gd name="connsiteX8" fmla="*/ 59193 w 81842"/>
                <a:gd name="connsiteY8" fmla="*/ 994490 h 1050728"/>
                <a:gd name="connsiteX9" fmla="*/ 60240 w 81842"/>
                <a:gd name="connsiteY9" fmla="*/ 990399 h 1050728"/>
                <a:gd name="connsiteX10" fmla="*/ 72326 w 81842"/>
                <a:gd name="connsiteY10" fmla="*/ 495580 h 1050728"/>
                <a:gd name="connsiteX11" fmla="*/ 81842 w 81842"/>
                <a:gd name="connsiteY11" fmla="*/ 761 h 105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842" h="1050728">
                  <a:moveTo>
                    <a:pt x="78797" y="0"/>
                  </a:moveTo>
                  <a:cubicBezTo>
                    <a:pt x="66901" y="82311"/>
                    <a:pt x="59764" y="164718"/>
                    <a:pt x="54530" y="247409"/>
                  </a:cubicBezTo>
                  <a:cubicBezTo>
                    <a:pt x="51389" y="288613"/>
                    <a:pt x="50057" y="329911"/>
                    <a:pt x="47773" y="371114"/>
                  </a:cubicBezTo>
                  <a:lnTo>
                    <a:pt x="43871" y="494819"/>
                  </a:lnTo>
                  <a:cubicBezTo>
                    <a:pt x="43396" y="536117"/>
                    <a:pt x="42634" y="577415"/>
                    <a:pt x="42539" y="618523"/>
                  </a:cubicBezTo>
                  <a:cubicBezTo>
                    <a:pt x="42444" y="659631"/>
                    <a:pt x="42539" y="722530"/>
                    <a:pt x="40826" y="763829"/>
                  </a:cubicBezTo>
                  <a:cubicBezTo>
                    <a:pt x="33974" y="895337"/>
                    <a:pt x="45204" y="934161"/>
                    <a:pt x="4283" y="1040452"/>
                  </a:cubicBezTo>
                  <a:cubicBezTo>
                    <a:pt x="2950" y="1043782"/>
                    <a:pt x="0" y="1050729"/>
                    <a:pt x="0" y="1050729"/>
                  </a:cubicBezTo>
                  <a:cubicBezTo>
                    <a:pt x="0" y="1050729"/>
                    <a:pt x="47583" y="1032649"/>
                    <a:pt x="59193" y="994490"/>
                  </a:cubicBezTo>
                  <a:lnTo>
                    <a:pt x="60240" y="990399"/>
                  </a:lnTo>
                  <a:lnTo>
                    <a:pt x="72326" y="495580"/>
                  </a:lnTo>
                  <a:lnTo>
                    <a:pt x="81842" y="761"/>
                  </a:ln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reeform 250">
              <a:extLst>
                <a:ext uri="{FF2B5EF4-FFF2-40B4-BE49-F238E27FC236}">
                  <a16:creationId xmlns:a16="http://schemas.microsoft.com/office/drawing/2014/main" id="{10C39BBE-A24E-48C0-BF4C-B3D7AC699775}"/>
                </a:ext>
              </a:extLst>
            </p:cNvPr>
            <p:cNvSpPr/>
            <p:nvPr/>
          </p:nvSpPr>
          <p:spPr>
            <a:xfrm>
              <a:off x="6095602" y="5734290"/>
              <a:ext cx="81937" cy="1050728"/>
            </a:xfrm>
            <a:custGeom>
              <a:avLst/>
              <a:gdLst>
                <a:gd name="connsiteX0" fmla="*/ 3140 w 81937"/>
                <a:gd name="connsiteY0" fmla="*/ 0 h 1050728"/>
                <a:gd name="connsiteX1" fmla="*/ 27408 w 81937"/>
                <a:gd name="connsiteY1" fmla="*/ 247409 h 1050728"/>
                <a:gd name="connsiteX2" fmla="*/ 34164 w 81937"/>
                <a:gd name="connsiteY2" fmla="*/ 371114 h 1050728"/>
                <a:gd name="connsiteX3" fmla="*/ 38066 w 81937"/>
                <a:gd name="connsiteY3" fmla="*/ 494819 h 1050728"/>
                <a:gd name="connsiteX4" fmla="*/ 39398 w 81937"/>
                <a:gd name="connsiteY4" fmla="*/ 618523 h 1050728"/>
                <a:gd name="connsiteX5" fmla="*/ 41111 w 81937"/>
                <a:gd name="connsiteY5" fmla="*/ 763829 h 1050728"/>
                <a:gd name="connsiteX6" fmla="*/ 77655 w 81937"/>
                <a:gd name="connsiteY6" fmla="*/ 1040452 h 1050728"/>
                <a:gd name="connsiteX7" fmla="*/ 81937 w 81937"/>
                <a:gd name="connsiteY7" fmla="*/ 1050729 h 1050728"/>
                <a:gd name="connsiteX8" fmla="*/ 24172 w 81937"/>
                <a:gd name="connsiteY8" fmla="*/ 990018 h 1050728"/>
                <a:gd name="connsiteX9" fmla="*/ 23220 w 81937"/>
                <a:gd name="connsiteY9" fmla="*/ 985927 h 1050728"/>
                <a:gd name="connsiteX10" fmla="*/ 9517 w 81937"/>
                <a:gd name="connsiteY10" fmla="*/ 495390 h 1050728"/>
                <a:gd name="connsiteX11" fmla="*/ 0 w 81937"/>
                <a:gd name="connsiteY11" fmla="*/ 571 h 105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37" h="1050728">
                  <a:moveTo>
                    <a:pt x="3140" y="0"/>
                  </a:moveTo>
                  <a:cubicBezTo>
                    <a:pt x="15036" y="82311"/>
                    <a:pt x="22173" y="164718"/>
                    <a:pt x="27408" y="247409"/>
                  </a:cubicBezTo>
                  <a:cubicBezTo>
                    <a:pt x="30548" y="288613"/>
                    <a:pt x="31880" y="329911"/>
                    <a:pt x="34164" y="371114"/>
                  </a:cubicBezTo>
                  <a:lnTo>
                    <a:pt x="38066" y="494819"/>
                  </a:lnTo>
                  <a:cubicBezTo>
                    <a:pt x="38066" y="536117"/>
                    <a:pt x="39303" y="577415"/>
                    <a:pt x="39398" y="618523"/>
                  </a:cubicBezTo>
                  <a:cubicBezTo>
                    <a:pt x="39494" y="659631"/>
                    <a:pt x="38923" y="722530"/>
                    <a:pt x="41111" y="763829"/>
                  </a:cubicBezTo>
                  <a:cubicBezTo>
                    <a:pt x="47963" y="895337"/>
                    <a:pt x="36734" y="934161"/>
                    <a:pt x="77655" y="1040452"/>
                  </a:cubicBezTo>
                  <a:cubicBezTo>
                    <a:pt x="78987" y="1043782"/>
                    <a:pt x="81937" y="1050729"/>
                    <a:pt x="81937" y="1050729"/>
                  </a:cubicBezTo>
                  <a:cubicBezTo>
                    <a:pt x="81937" y="1050729"/>
                    <a:pt x="35972" y="1028081"/>
                    <a:pt x="24172" y="990018"/>
                  </a:cubicBezTo>
                  <a:lnTo>
                    <a:pt x="23220" y="985927"/>
                  </a:lnTo>
                  <a:lnTo>
                    <a:pt x="9517" y="495390"/>
                  </a:lnTo>
                  <a:lnTo>
                    <a:pt x="0" y="571"/>
                  </a:lnTo>
                  <a:close/>
                </a:path>
              </a:pathLst>
            </a:custGeom>
            <a:grpFill/>
            <a:ln w="95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44" name="Group Spine">
            <a:extLst>
              <a:ext uri="{FF2B5EF4-FFF2-40B4-BE49-F238E27FC236}">
                <a16:creationId xmlns:a16="http://schemas.microsoft.com/office/drawing/2014/main" id="{F87AAC99-D38C-4B91-AD16-74247B71211B}"/>
              </a:ext>
            </a:extLst>
          </p:cNvPr>
          <p:cNvGrpSpPr/>
          <p:nvPr/>
        </p:nvGrpSpPr>
        <p:grpSpPr>
          <a:xfrm>
            <a:off x="5925343" y="1865961"/>
            <a:ext cx="283895" cy="2043391"/>
            <a:chOff x="7007513" y="2511782"/>
            <a:chExt cx="177473" cy="1277397"/>
          </a:xfrm>
          <a:gradFill>
            <a:gsLst>
              <a:gs pos="95000">
                <a:schemeClr val="bg1">
                  <a:alpha val="0"/>
                </a:schemeClr>
              </a:gs>
              <a:gs pos="10000">
                <a:schemeClr val="bg1">
                  <a:alpha val="0"/>
                </a:schemeClr>
              </a:gs>
              <a:gs pos="63000">
                <a:schemeClr val="bg1"/>
              </a:gs>
            </a:gsLst>
            <a:lin ang="16200000" scaled="0"/>
          </a:gradFill>
        </p:grpSpPr>
        <p:sp>
          <p:nvSpPr>
            <p:cNvPr id="145" name="Freeform: Shape 24">
              <a:extLst>
                <a:ext uri="{FF2B5EF4-FFF2-40B4-BE49-F238E27FC236}">
                  <a16:creationId xmlns:a16="http://schemas.microsoft.com/office/drawing/2014/main" id="{87081CD1-75B4-4F00-A0E7-DF27B22D69E6}"/>
                </a:ext>
              </a:extLst>
            </p:cNvPr>
            <p:cNvSpPr/>
            <p:nvPr/>
          </p:nvSpPr>
          <p:spPr>
            <a:xfrm>
              <a:off x="7024807" y="2511782"/>
              <a:ext cx="136035" cy="54414"/>
            </a:xfrm>
            <a:custGeom>
              <a:avLst/>
              <a:gdLst>
                <a:gd name="connsiteX0" fmla="*/ 88639 w 127172"/>
                <a:gd name="connsiteY0" fmla="*/ 9665 h 50868"/>
                <a:gd name="connsiteX1" fmla="*/ 84951 w 127172"/>
                <a:gd name="connsiteY1" fmla="*/ 13608 h 50868"/>
                <a:gd name="connsiteX2" fmla="*/ 93344 w 127172"/>
                <a:gd name="connsiteY2" fmla="*/ 19457 h 50868"/>
                <a:gd name="connsiteX3" fmla="*/ 111276 w 127172"/>
                <a:gd name="connsiteY3" fmla="*/ 31793 h 50868"/>
                <a:gd name="connsiteX4" fmla="*/ 116363 w 127172"/>
                <a:gd name="connsiteY4" fmla="*/ 31920 h 50868"/>
                <a:gd name="connsiteX5" fmla="*/ 124120 w 127172"/>
                <a:gd name="connsiteY5" fmla="*/ 39932 h 50868"/>
                <a:gd name="connsiteX6" fmla="*/ 116363 w 127172"/>
                <a:gd name="connsiteY6" fmla="*/ 47435 h 50868"/>
                <a:gd name="connsiteX7" fmla="*/ 91310 w 127172"/>
                <a:gd name="connsiteY7" fmla="*/ 43620 h 50868"/>
                <a:gd name="connsiteX8" fmla="*/ 48325 w 127172"/>
                <a:gd name="connsiteY8" fmla="*/ 45019 h 50868"/>
                <a:gd name="connsiteX9" fmla="*/ 15134 w 127172"/>
                <a:gd name="connsiteY9" fmla="*/ 47181 h 50868"/>
                <a:gd name="connsiteX10" fmla="*/ 9538 w 127172"/>
                <a:gd name="connsiteY10" fmla="*/ 39805 h 50868"/>
                <a:gd name="connsiteX11" fmla="*/ 16532 w 127172"/>
                <a:gd name="connsiteY11" fmla="*/ 32047 h 50868"/>
                <a:gd name="connsiteX12" fmla="*/ 26706 w 127172"/>
                <a:gd name="connsiteY12" fmla="*/ 31920 h 50868"/>
                <a:gd name="connsiteX13" fmla="*/ 39296 w 127172"/>
                <a:gd name="connsiteY13" fmla="*/ 22128 h 50868"/>
                <a:gd name="connsiteX14" fmla="*/ 41204 w 127172"/>
                <a:gd name="connsiteY14" fmla="*/ 16532 h 50868"/>
                <a:gd name="connsiteX15" fmla="*/ 47817 w 127172"/>
                <a:gd name="connsiteY15" fmla="*/ 13226 h 50868"/>
                <a:gd name="connsiteX16" fmla="*/ 56464 w 127172"/>
                <a:gd name="connsiteY16" fmla="*/ 9538 h 50868"/>
                <a:gd name="connsiteX17" fmla="*/ 88639 w 127172"/>
                <a:gd name="connsiteY17" fmla="*/ 9665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172" h="50868">
                  <a:moveTo>
                    <a:pt x="88639" y="9665"/>
                  </a:moveTo>
                  <a:cubicBezTo>
                    <a:pt x="90292" y="13099"/>
                    <a:pt x="80500" y="15261"/>
                    <a:pt x="84951" y="13608"/>
                  </a:cubicBezTo>
                  <a:cubicBezTo>
                    <a:pt x="89911" y="11827"/>
                    <a:pt x="92073" y="15388"/>
                    <a:pt x="93344" y="19457"/>
                  </a:cubicBezTo>
                  <a:cubicBezTo>
                    <a:pt x="97414" y="32810"/>
                    <a:pt x="95252" y="31793"/>
                    <a:pt x="111276" y="31793"/>
                  </a:cubicBezTo>
                  <a:cubicBezTo>
                    <a:pt x="116871" y="31793"/>
                    <a:pt x="110767" y="31666"/>
                    <a:pt x="116363" y="31920"/>
                  </a:cubicBezTo>
                  <a:cubicBezTo>
                    <a:pt x="121195" y="32047"/>
                    <a:pt x="124120" y="34591"/>
                    <a:pt x="124120" y="39932"/>
                  </a:cubicBezTo>
                  <a:cubicBezTo>
                    <a:pt x="124120" y="45273"/>
                    <a:pt x="121322" y="47690"/>
                    <a:pt x="116363" y="47435"/>
                  </a:cubicBezTo>
                  <a:cubicBezTo>
                    <a:pt x="100212" y="46927"/>
                    <a:pt x="107460" y="48580"/>
                    <a:pt x="91310" y="43620"/>
                  </a:cubicBezTo>
                  <a:cubicBezTo>
                    <a:pt x="73378" y="38025"/>
                    <a:pt x="66384" y="39296"/>
                    <a:pt x="48325" y="45019"/>
                  </a:cubicBezTo>
                  <a:cubicBezTo>
                    <a:pt x="33573" y="49724"/>
                    <a:pt x="30013" y="46927"/>
                    <a:pt x="15134" y="47181"/>
                  </a:cubicBezTo>
                  <a:cubicBezTo>
                    <a:pt x="11064" y="47308"/>
                    <a:pt x="9538" y="43747"/>
                    <a:pt x="9538" y="39805"/>
                  </a:cubicBezTo>
                  <a:cubicBezTo>
                    <a:pt x="9538" y="34972"/>
                    <a:pt x="12081" y="32175"/>
                    <a:pt x="16532" y="32047"/>
                  </a:cubicBezTo>
                  <a:cubicBezTo>
                    <a:pt x="23781" y="31793"/>
                    <a:pt x="19457" y="31412"/>
                    <a:pt x="26706" y="31920"/>
                  </a:cubicBezTo>
                  <a:cubicBezTo>
                    <a:pt x="34209" y="32556"/>
                    <a:pt x="38152" y="29631"/>
                    <a:pt x="39296" y="22128"/>
                  </a:cubicBezTo>
                  <a:cubicBezTo>
                    <a:pt x="39551" y="20220"/>
                    <a:pt x="40441" y="18313"/>
                    <a:pt x="41204" y="16532"/>
                  </a:cubicBezTo>
                  <a:cubicBezTo>
                    <a:pt x="42348" y="13353"/>
                    <a:pt x="44510" y="11191"/>
                    <a:pt x="47817" y="13226"/>
                  </a:cubicBezTo>
                  <a:cubicBezTo>
                    <a:pt x="52522" y="15897"/>
                    <a:pt x="54430" y="12844"/>
                    <a:pt x="56464" y="9538"/>
                  </a:cubicBezTo>
                  <a:cubicBezTo>
                    <a:pt x="71216" y="9665"/>
                    <a:pt x="74141" y="9665"/>
                    <a:pt x="88639" y="96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46" name="Freeform: Shape 25">
              <a:extLst>
                <a:ext uri="{FF2B5EF4-FFF2-40B4-BE49-F238E27FC236}">
                  <a16:creationId xmlns:a16="http://schemas.microsoft.com/office/drawing/2014/main" id="{0C9C36F2-4D81-4682-91B4-C7EDA4B3D68F}"/>
                </a:ext>
              </a:extLst>
            </p:cNvPr>
            <p:cNvSpPr/>
            <p:nvPr/>
          </p:nvSpPr>
          <p:spPr>
            <a:xfrm>
              <a:off x="7007513" y="3680350"/>
              <a:ext cx="176846" cy="108829"/>
            </a:xfrm>
            <a:custGeom>
              <a:avLst/>
              <a:gdLst>
                <a:gd name="connsiteX0" fmla="*/ 156184 w 165323"/>
                <a:gd name="connsiteY0" fmla="*/ 68904 h 101737"/>
                <a:gd name="connsiteX1" fmla="*/ 141432 w 165323"/>
                <a:gd name="connsiteY1" fmla="*/ 91922 h 101737"/>
                <a:gd name="connsiteX2" fmla="*/ 130368 w 165323"/>
                <a:gd name="connsiteY2" fmla="*/ 100188 h 101737"/>
                <a:gd name="connsiteX3" fmla="*/ 108494 w 165323"/>
                <a:gd name="connsiteY3" fmla="*/ 98535 h 101737"/>
                <a:gd name="connsiteX4" fmla="*/ 57498 w 165323"/>
                <a:gd name="connsiteY4" fmla="*/ 98408 h 101737"/>
                <a:gd name="connsiteX5" fmla="*/ 34989 w 165323"/>
                <a:gd name="connsiteY5" fmla="*/ 100061 h 101737"/>
                <a:gd name="connsiteX6" fmla="*/ 18456 w 165323"/>
                <a:gd name="connsiteY6" fmla="*/ 89888 h 101737"/>
                <a:gd name="connsiteX7" fmla="*/ 10826 w 165323"/>
                <a:gd name="connsiteY7" fmla="*/ 81621 h 101737"/>
                <a:gd name="connsiteX8" fmla="*/ 10826 w 165323"/>
                <a:gd name="connsiteY8" fmla="*/ 60256 h 101737"/>
                <a:gd name="connsiteX9" fmla="*/ 21636 w 165323"/>
                <a:gd name="connsiteY9" fmla="*/ 54534 h 101737"/>
                <a:gd name="connsiteX10" fmla="*/ 37278 w 165323"/>
                <a:gd name="connsiteY10" fmla="*/ 60638 h 101737"/>
                <a:gd name="connsiteX11" fmla="*/ 47197 w 165323"/>
                <a:gd name="connsiteY11" fmla="*/ 47539 h 101737"/>
                <a:gd name="connsiteX12" fmla="*/ 50504 w 165323"/>
                <a:gd name="connsiteY12" fmla="*/ 26174 h 101737"/>
                <a:gd name="connsiteX13" fmla="*/ 59660 w 165323"/>
                <a:gd name="connsiteY13" fmla="*/ 22232 h 101737"/>
                <a:gd name="connsiteX14" fmla="*/ 66019 w 165323"/>
                <a:gd name="connsiteY14" fmla="*/ 19943 h 101737"/>
                <a:gd name="connsiteX15" fmla="*/ 68689 w 165323"/>
                <a:gd name="connsiteY15" fmla="*/ 9769 h 101737"/>
                <a:gd name="connsiteX16" fmla="*/ 78990 w 165323"/>
                <a:gd name="connsiteY16" fmla="*/ 22232 h 101737"/>
                <a:gd name="connsiteX17" fmla="*/ 79372 w 165323"/>
                <a:gd name="connsiteY17" fmla="*/ 33423 h 101737"/>
                <a:gd name="connsiteX18" fmla="*/ 83060 w 165323"/>
                <a:gd name="connsiteY18" fmla="*/ 37874 h 101737"/>
                <a:gd name="connsiteX19" fmla="*/ 86875 w 165323"/>
                <a:gd name="connsiteY19" fmla="*/ 33550 h 101737"/>
                <a:gd name="connsiteX20" fmla="*/ 87129 w 165323"/>
                <a:gd name="connsiteY20" fmla="*/ 23122 h 101737"/>
                <a:gd name="connsiteX21" fmla="*/ 97303 w 165323"/>
                <a:gd name="connsiteY21" fmla="*/ 9769 h 101737"/>
                <a:gd name="connsiteX22" fmla="*/ 99974 w 165323"/>
                <a:gd name="connsiteY22" fmla="*/ 19816 h 101737"/>
                <a:gd name="connsiteX23" fmla="*/ 105696 w 165323"/>
                <a:gd name="connsiteY23" fmla="*/ 22486 h 101737"/>
                <a:gd name="connsiteX24" fmla="*/ 114726 w 165323"/>
                <a:gd name="connsiteY24" fmla="*/ 25793 h 101737"/>
                <a:gd name="connsiteX25" fmla="*/ 118414 w 165323"/>
                <a:gd name="connsiteY25" fmla="*/ 45504 h 101737"/>
                <a:gd name="connsiteX26" fmla="*/ 130368 w 165323"/>
                <a:gd name="connsiteY26" fmla="*/ 59748 h 101737"/>
                <a:gd name="connsiteX27" fmla="*/ 142576 w 165323"/>
                <a:gd name="connsiteY27" fmla="*/ 54915 h 101737"/>
                <a:gd name="connsiteX28" fmla="*/ 155675 w 165323"/>
                <a:gd name="connsiteY28" fmla="*/ 62546 h 101737"/>
                <a:gd name="connsiteX29" fmla="*/ 156184 w 165323"/>
                <a:gd name="connsiteY29" fmla="*/ 68904 h 101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5323" h="101737">
                  <a:moveTo>
                    <a:pt x="156184" y="68904"/>
                  </a:moveTo>
                  <a:cubicBezTo>
                    <a:pt x="156184" y="85055"/>
                    <a:pt x="154658" y="87217"/>
                    <a:pt x="141432" y="91922"/>
                  </a:cubicBezTo>
                  <a:cubicBezTo>
                    <a:pt x="133801" y="94593"/>
                    <a:pt x="137998" y="97391"/>
                    <a:pt x="130368" y="100188"/>
                  </a:cubicBezTo>
                  <a:cubicBezTo>
                    <a:pt x="122865" y="102859"/>
                    <a:pt x="115489" y="102478"/>
                    <a:pt x="108494" y="98535"/>
                  </a:cubicBezTo>
                  <a:cubicBezTo>
                    <a:pt x="83696" y="84546"/>
                    <a:pt x="82297" y="84546"/>
                    <a:pt x="57498" y="98408"/>
                  </a:cubicBezTo>
                  <a:cubicBezTo>
                    <a:pt x="50249" y="102478"/>
                    <a:pt x="42746" y="102986"/>
                    <a:pt x="34989" y="100061"/>
                  </a:cubicBezTo>
                  <a:cubicBezTo>
                    <a:pt x="25578" y="96628"/>
                    <a:pt x="27867" y="93194"/>
                    <a:pt x="18456" y="89888"/>
                  </a:cubicBezTo>
                  <a:cubicBezTo>
                    <a:pt x="14387" y="88489"/>
                    <a:pt x="11843" y="85945"/>
                    <a:pt x="10826" y="81621"/>
                  </a:cubicBezTo>
                  <a:cubicBezTo>
                    <a:pt x="9173" y="74500"/>
                    <a:pt x="9046" y="67378"/>
                    <a:pt x="10826" y="60256"/>
                  </a:cubicBezTo>
                  <a:cubicBezTo>
                    <a:pt x="12352" y="54407"/>
                    <a:pt x="15659" y="51863"/>
                    <a:pt x="21636" y="54534"/>
                  </a:cubicBezTo>
                  <a:cubicBezTo>
                    <a:pt x="26722" y="56823"/>
                    <a:pt x="32064" y="58858"/>
                    <a:pt x="37278" y="60638"/>
                  </a:cubicBezTo>
                  <a:cubicBezTo>
                    <a:pt x="49105" y="64835"/>
                    <a:pt x="45162" y="60129"/>
                    <a:pt x="47197" y="47539"/>
                  </a:cubicBezTo>
                  <a:cubicBezTo>
                    <a:pt x="48342" y="40418"/>
                    <a:pt x="49232" y="33296"/>
                    <a:pt x="50504" y="26174"/>
                  </a:cubicBezTo>
                  <a:cubicBezTo>
                    <a:pt x="51775" y="18417"/>
                    <a:pt x="54065" y="17400"/>
                    <a:pt x="59660" y="22232"/>
                  </a:cubicBezTo>
                  <a:cubicBezTo>
                    <a:pt x="63730" y="25793"/>
                    <a:pt x="64747" y="24648"/>
                    <a:pt x="66019" y="19943"/>
                  </a:cubicBezTo>
                  <a:cubicBezTo>
                    <a:pt x="68435" y="11168"/>
                    <a:pt x="60296" y="9006"/>
                    <a:pt x="68689" y="9769"/>
                  </a:cubicBezTo>
                  <a:cubicBezTo>
                    <a:pt x="76065" y="10532"/>
                    <a:pt x="77973" y="16128"/>
                    <a:pt x="78990" y="22232"/>
                  </a:cubicBezTo>
                  <a:cubicBezTo>
                    <a:pt x="79499" y="25920"/>
                    <a:pt x="79245" y="29735"/>
                    <a:pt x="79372" y="33423"/>
                  </a:cubicBezTo>
                  <a:cubicBezTo>
                    <a:pt x="79499" y="35839"/>
                    <a:pt x="80135" y="37874"/>
                    <a:pt x="83060" y="37874"/>
                  </a:cubicBezTo>
                  <a:cubicBezTo>
                    <a:pt x="85985" y="37874"/>
                    <a:pt x="86748" y="36094"/>
                    <a:pt x="86875" y="33550"/>
                  </a:cubicBezTo>
                  <a:cubicBezTo>
                    <a:pt x="86875" y="30117"/>
                    <a:pt x="86748" y="26556"/>
                    <a:pt x="87129" y="23122"/>
                  </a:cubicBezTo>
                  <a:cubicBezTo>
                    <a:pt x="87892" y="16637"/>
                    <a:pt x="89546" y="10659"/>
                    <a:pt x="97303" y="9769"/>
                  </a:cubicBezTo>
                  <a:cubicBezTo>
                    <a:pt x="105696" y="8752"/>
                    <a:pt x="97176" y="10914"/>
                    <a:pt x="99974" y="19816"/>
                  </a:cubicBezTo>
                  <a:cubicBezTo>
                    <a:pt x="100991" y="23122"/>
                    <a:pt x="101500" y="26556"/>
                    <a:pt x="105696" y="22486"/>
                  </a:cubicBezTo>
                  <a:cubicBezTo>
                    <a:pt x="110656" y="17908"/>
                    <a:pt x="113454" y="21342"/>
                    <a:pt x="114726" y="25793"/>
                  </a:cubicBezTo>
                  <a:cubicBezTo>
                    <a:pt x="116506" y="32279"/>
                    <a:pt x="117396" y="38892"/>
                    <a:pt x="118414" y="45504"/>
                  </a:cubicBezTo>
                  <a:cubicBezTo>
                    <a:pt x="120703" y="60511"/>
                    <a:pt x="116379" y="65089"/>
                    <a:pt x="130368" y="59748"/>
                  </a:cubicBezTo>
                  <a:cubicBezTo>
                    <a:pt x="134437" y="58222"/>
                    <a:pt x="138507" y="56569"/>
                    <a:pt x="142576" y="54915"/>
                  </a:cubicBezTo>
                  <a:cubicBezTo>
                    <a:pt x="150843" y="51736"/>
                    <a:pt x="154022" y="53516"/>
                    <a:pt x="155675" y="62546"/>
                  </a:cubicBezTo>
                  <a:cubicBezTo>
                    <a:pt x="156184" y="65598"/>
                    <a:pt x="156184" y="68268"/>
                    <a:pt x="156184" y="689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47" name="Freeform: Shape 26">
              <a:extLst>
                <a:ext uri="{FF2B5EF4-FFF2-40B4-BE49-F238E27FC236}">
                  <a16:creationId xmlns:a16="http://schemas.microsoft.com/office/drawing/2014/main" id="{953FCBA9-B0DF-444C-A9D4-1E5B071059D7}"/>
                </a:ext>
              </a:extLst>
            </p:cNvPr>
            <p:cNvSpPr/>
            <p:nvPr/>
          </p:nvSpPr>
          <p:spPr>
            <a:xfrm>
              <a:off x="7008140" y="3581155"/>
              <a:ext cx="176846" cy="108829"/>
            </a:xfrm>
            <a:custGeom>
              <a:avLst/>
              <a:gdLst>
                <a:gd name="connsiteX0" fmla="*/ 63652 w 165323"/>
                <a:gd name="connsiteY0" fmla="*/ 25307 h 101737"/>
                <a:gd name="connsiteX1" fmla="*/ 65942 w 165323"/>
                <a:gd name="connsiteY1" fmla="*/ 17677 h 101737"/>
                <a:gd name="connsiteX2" fmla="*/ 65942 w 165323"/>
                <a:gd name="connsiteY2" fmla="*/ 9665 h 101737"/>
                <a:gd name="connsiteX3" fmla="*/ 77387 w 165323"/>
                <a:gd name="connsiteY3" fmla="*/ 17931 h 101737"/>
                <a:gd name="connsiteX4" fmla="*/ 78659 w 165323"/>
                <a:gd name="connsiteY4" fmla="*/ 32683 h 101737"/>
                <a:gd name="connsiteX5" fmla="*/ 82474 w 165323"/>
                <a:gd name="connsiteY5" fmla="*/ 37770 h 101737"/>
                <a:gd name="connsiteX6" fmla="*/ 86289 w 165323"/>
                <a:gd name="connsiteY6" fmla="*/ 32556 h 101737"/>
                <a:gd name="connsiteX7" fmla="*/ 87179 w 165323"/>
                <a:gd name="connsiteY7" fmla="*/ 19203 h 101737"/>
                <a:gd name="connsiteX8" fmla="*/ 98243 w 165323"/>
                <a:gd name="connsiteY8" fmla="*/ 9538 h 101737"/>
                <a:gd name="connsiteX9" fmla="*/ 99134 w 165323"/>
                <a:gd name="connsiteY9" fmla="*/ 18186 h 101737"/>
                <a:gd name="connsiteX10" fmla="*/ 101168 w 165323"/>
                <a:gd name="connsiteY10" fmla="*/ 24926 h 101737"/>
                <a:gd name="connsiteX11" fmla="*/ 103839 w 165323"/>
                <a:gd name="connsiteY11" fmla="*/ 23273 h 101737"/>
                <a:gd name="connsiteX12" fmla="*/ 114776 w 165323"/>
                <a:gd name="connsiteY12" fmla="*/ 27215 h 101737"/>
                <a:gd name="connsiteX13" fmla="*/ 119354 w 165323"/>
                <a:gd name="connsiteY13" fmla="*/ 53667 h 101737"/>
                <a:gd name="connsiteX14" fmla="*/ 135632 w 165323"/>
                <a:gd name="connsiteY14" fmla="*/ 67910 h 101737"/>
                <a:gd name="connsiteX15" fmla="*/ 145170 w 165323"/>
                <a:gd name="connsiteY15" fmla="*/ 67910 h 101737"/>
                <a:gd name="connsiteX16" fmla="*/ 154835 w 165323"/>
                <a:gd name="connsiteY16" fmla="*/ 75922 h 101737"/>
                <a:gd name="connsiteX17" fmla="*/ 155852 w 165323"/>
                <a:gd name="connsiteY17" fmla="*/ 86223 h 101737"/>
                <a:gd name="connsiteX18" fmla="*/ 138430 w 165323"/>
                <a:gd name="connsiteY18" fmla="*/ 104535 h 101737"/>
                <a:gd name="connsiteX19" fmla="*/ 131181 w 165323"/>
                <a:gd name="connsiteY19" fmla="*/ 104535 h 101737"/>
                <a:gd name="connsiteX20" fmla="*/ 102313 w 165323"/>
                <a:gd name="connsiteY20" fmla="*/ 94870 h 101737"/>
                <a:gd name="connsiteX21" fmla="*/ 55259 w 165323"/>
                <a:gd name="connsiteY21" fmla="*/ 99321 h 101737"/>
                <a:gd name="connsiteX22" fmla="*/ 39108 w 165323"/>
                <a:gd name="connsiteY22" fmla="*/ 104535 h 101737"/>
                <a:gd name="connsiteX23" fmla="*/ 21559 w 165323"/>
                <a:gd name="connsiteY23" fmla="*/ 104535 h 101737"/>
                <a:gd name="connsiteX24" fmla="*/ 10113 w 165323"/>
                <a:gd name="connsiteY24" fmla="*/ 94743 h 101737"/>
                <a:gd name="connsiteX25" fmla="*/ 9604 w 165323"/>
                <a:gd name="connsiteY25" fmla="*/ 83552 h 101737"/>
                <a:gd name="connsiteX26" fmla="*/ 25119 w 165323"/>
                <a:gd name="connsiteY26" fmla="*/ 67910 h 101737"/>
                <a:gd name="connsiteX27" fmla="*/ 35293 w 165323"/>
                <a:gd name="connsiteY27" fmla="*/ 68037 h 101737"/>
                <a:gd name="connsiteX28" fmla="*/ 45213 w 165323"/>
                <a:gd name="connsiteY28" fmla="*/ 59771 h 101737"/>
                <a:gd name="connsiteX29" fmla="*/ 49664 w 165323"/>
                <a:gd name="connsiteY29" fmla="*/ 30267 h 101737"/>
                <a:gd name="connsiteX30" fmla="*/ 63652 w 165323"/>
                <a:gd name="connsiteY30" fmla="*/ 25307 h 101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65323" h="101737">
                  <a:moveTo>
                    <a:pt x="63652" y="25307"/>
                  </a:moveTo>
                  <a:cubicBezTo>
                    <a:pt x="64543" y="22382"/>
                    <a:pt x="65179" y="20093"/>
                    <a:pt x="65942" y="17677"/>
                  </a:cubicBezTo>
                  <a:cubicBezTo>
                    <a:pt x="67722" y="11954"/>
                    <a:pt x="59965" y="9792"/>
                    <a:pt x="65942" y="9665"/>
                  </a:cubicBezTo>
                  <a:cubicBezTo>
                    <a:pt x="72046" y="9665"/>
                    <a:pt x="75480" y="12336"/>
                    <a:pt x="77387" y="17931"/>
                  </a:cubicBezTo>
                  <a:cubicBezTo>
                    <a:pt x="79040" y="22764"/>
                    <a:pt x="78532" y="27723"/>
                    <a:pt x="78659" y="32683"/>
                  </a:cubicBezTo>
                  <a:cubicBezTo>
                    <a:pt x="78786" y="35354"/>
                    <a:pt x="79040" y="37770"/>
                    <a:pt x="82474" y="37770"/>
                  </a:cubicBezTo>
                  <a:cubicBezTo>
                    <a:pt x="85908" y="37770"/>
                    <a:pt x="86162" y="35227"/>
                    <a:pt x="86289" y="32556"/>
                  </a:cubicBezTo>
                  <a:cubicBezTo>
                    <a:pt x="86416" y="28105"/>
                    <a:pt x="86289" y="23527"/>
                    <a:pt x="87179" y="19203"/>
                  </a:cubicBezTo>
                  <a:cubicBezTo>
                    <a:pt x="88324" y="13480"/>
                    <a:pt x="91376" y="9538"/>
                    <a:pt x="98243" y="9538"/>
                  </a:cubicBezTo>
                  <a:cubicBezTo>
                    <a:pt x="104729" y="9538"/>
                    <a:pt x="97353" y="11700"/>
                    <a:pt x="99134" y="18186"/>
                  </a:cubicBezTo>
                  <a:cubicBezTo>
                    <a:pt x="99642" y="20348"/>
                    <a:pt x="100405" y="22382"/>
                    <a:pt x="101168" y="24926"/>
                  </a:cubicBezTo>
                  <a:cubicBezTo>
                    <a:pt x="102313" y="24290"/>
                    <a:pt x="103076" y="23781"/>
                    <a:pt x="103839" y="23273"/>
                  </a:cubicBezTo>
                  <a:cubicBezTo>
                    <a:pt x="109943" y="18567"/>
                    <a:pt x="112995" y="19330"/>
                    <a:pt x="114776" y="27215"/>
                  </a:cubicBezTo>
                  <a:cubicBezTo>
                    <a:pt x="116810" y="35863"/>
                    <a:pt x="117828" y="44892"/>
                    <a:pt x="119354" y="53667"/>
                  </a:cubicBezTo>
                  <a:cubicBezTo>
                    <a:pt x="122152" y="70581"/>
                    <a:pt x="119099" y="67656"/>
                    <a:pt x="135632" y="67910"/>
                  </a:cubicBezTo>
                  <a:cubicBezTo>
                    <a:pt x="142626" y="68037"/>
                    <a:pt x="138048" y="68037"/>
                    <a:pt x="145170" y="67910"/>
                  </a:cubicBezTo>
                  <a:cubicBezTo>
                    <a:pt x="150765" y="67783"/>
                    <a:pt x="153945" y="70453"/>
                    <a:pt x="154835" y="75922"/>
                  </a:cubicBezTo>
                  <a:cubicBezTo>
                    <a:pt x="155471" y="79355"/>
                    <a:pt x="155852" y="82789"/>
                    <a:pt x="155852" y="86223"/>
                  </a:cubicBezTo>
                  <a:cubicBezTo>
                    <a:pt x="155852" y="101992"/>
                    <a:pt x="153436" y="104535"/>
                    <a:pt x="138430" y="104535"/>
                  </a:cubicBezTo>
                  <a:cubicBezTo>
                    <a:pt x="136013" y="104535"/>
                    <a:pt x="133597" y="104408"/>
                    <a:pt x="131181" y="104535"/>
                  </a:cubicBezTo>
                  <a:cubicBezTo>
                    <a:pt x="116683" y="105426"/>
                    <a:pt x="115412" y="103391"/>
                    <a:pt x="102313" y="94870"/>
                  </a:cubicBezTo>
                  <a:cubicBezTo>
                    <a:pt x="78786" y="79610"/>
                    <a:pt x="77769" y="83425"/>
                    <a:pt x="55259" y="99321"/>
                  </a:cubicBezTo>
                  <a:cubicBezTo>
                    <a:pt x="50172" y="102882"/>
                    <a:pt x="45213" y="104790"/>
                    <a:pt x="39108" y="104535"/>
                  </a:cubicBezTo>
                  <a:cubicBezTo>
                    <a:pt x="29443" y="104154"/>
                    <a:pt x="31351" y="104154"/>
                    <a:pt x="21559" y="104535"/>
                  </a:cubicBezTo>
                  <a:cubicBezTo>
                    <a:pt x="14564" y="104790"/>
                    <a:pt x="11131" y="101229"/>
                    <a:pt x="10113" y="94743"/>
                  </a:cubicBezTo>
                  <a:cubicBezTo>
                    <a:pt x="9477" y="91055"/>
                    <a:pt x="9477" y="87367"/>
                    <a:pt x="9604" y="83552"/>
                  </a:cubicBezTo>
                  <a:cubicBezTo>
                    <a:pt x="9859" y="70581"/>
                    <a:pt x="12402" y="67910"/>
                    <a:pt x="25119" y="67910"/>
                  </a:cubicBezTo>
                  <a:cubicBezTo>
                    <a:pt x="32368" y="67910"/>
                    <a:pt x="28044" y="67528"/>
                    <a:pt x="35293" y="68037"/>
                  </a:cubicBezTo>
                  <a:cubicBezTo>
                    <a:pt x="41397" y="68419"/>
                    <a:pt x="44577" y="66765"/>
                    <a:pt x="45213" y="59771"/>
                  </a:cubicBezTo>
                  <a:cubicBezTo>
                    <a:pt x="46103" y="49851"/>
                    <a:pt x="48010" y="40059"/>
                    <a:pt x="49664" y="30267"/>
                  </a:cubicBezTo>
                  <a:cubicBezTo>
                    <a:pt x="51698" y="16151"/>
                    <a:pt x="51953" y="16151"/>
                    <a:pt x="63652" y="253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48" name="Freeform: Shape 27">
              <a:extLst>
                <a:ext uri="{FF2B5EF4-FFF2-40B4-BE49-F238E27FC236}">
                  <a16:creationId xmlns:a16="http://schemas.microsoft.com/office/drawing/2014/main" id="{DE7F3D48-ABE5-4ABC-B1F1-4DCCDE3C8E74}"/>
                </a:ext>
              </a:extLst>
            </p:cNvPr>
            <p:cNvSpPr/>
            <p:nvPr/>
          </p:nvSpPr>
          <p:spPr>
            <a:xfrm>
              <a:off x="7016371" y="3490368"/>
              <a:ext cx="149638" cy="108829"/>
            </a:xfrm>
            <a:custGeom>
              <a:avLst/>
              <a:gdLst>
                <a:gd name="connsiteX0" fmla="*/ 122850 w 139889"/>
                <a:gd name="connsiteY0" fmla="*/ 96699 h 101737"/>
                <a:gd name="connsiteX1" fmla="*/ 93346 w 139889"/>
                <a:gd name="connsiteY1" fmla="*/ 88560 h 101737"/>
                <a:gd name="connsiteX2" fmla="*/ 51125 w 139889"/>
                <a:gd name="connsiteY2" fmla="*/ 91485 h 101737"/>
                <a:gd name="connsiteX3" fmla="*/ 34211 w 139889"/>
                <a:gd name="connsiteY3" fmla="*/ 96826 h 101737"/>
                <a:gd name="connsiteX4" fmla="*/ 22512 w 139889"/>
                <a:gd name="connsiteY4" fmla="*/ 96699 h 101737"/>
                <a:gd name="connsiteX5" fmla="*/ 16026 w 139889"/>
                <a:gd name="connsiteY5" fmla="*/ 95936 h 101737"/>
                <a:gd name="connsiteX6" fmla="*/ 10176 w 139889"/>
                <a:gd name="connsiteY6" fmla="*/ 72409 h 101737"/>
                <a:gd name="connsiteX7" fmla="*/ 19714 w 139889"/>
                <a:gd name="connsiteY7" fmla="*/ 62617 h 101737"/>
                <a:gd name="connsiteX8" fmla="*/ 34338 w 139889"/>
                <a:gd name="connsiteY8" fmla="*/ 62617 h 101737"/>
                <a:gd name="connsiteX9" fmla="*/ 40824 w 139889"/>
                <a:gd name="connsiteY9" fmla="*/ 57022 h 101737"/>
                <a:gd name="connsiteX10" fmla="*/ 45784 w 139889"/>
                <a:gd name="connsiteY10" fmla="*/ 24593 h 101737"/>
                <a:gd name="connsiteX11" fmla="*/ 54432 w 139889"/>
                <a:gd name="connsiteY11" fmla="*/ 20905 h 101737"/>
                <a:gd name="connsiteX12" fmla="*/ 59900 w 139889"/>
                <a:gd name="connsiteY12" fmla="*/ 18743 h 101737"/>
                <a:gd name="connsiteX13" fmla="*/ 61808 w 139889"/>
                <a:gd name="connsiteY13" fmla="*/ 9713 h 101737"/>
                <a:gd name="connsiteX14" fmla="*/ 70964 w 139889"/>
                <a:gd name="connsiteY14" fmla="*/ 21286 h 101737"/>
                <a:gd name="connsiteX15" fmla="*/ 72109 w 139889"/>
                <a:gd name="connsiteY15" fmla="*/ 31714 h 101737"/>
                <a:gd name="connsiteX16" fmla="*/ 74779 w 139889"/>
                <a:gd name="connsiteY16" fmla="*/ 34639 h 101737"/>
                <a:gd name="connsiteX17" fmla="*/ 77323 w 139889"/>
                <a:gd name="connsiteY17" fmla="*/ 31587 h 101737"/>
                <a:gd name="connsiteX18" fmla="*/ 78849 w 139889"/>
                <a:gd name="connsiteY18" fmla="*/ 18997 h 101737"/>
                <a:gd name="connsiteX19" fmla="*/ 88514 w 139889"/>
                <a:gd name="connsiteY19" fmla="*/ 9586 h 101737"/>
                <a:gd name="connsiteX20" fmla="*/ 100722 w 139889"/>
                <a:gd name="connsiteY20" fmla="*/ 17471 h 101737"/>
                <a:gd name="connsiteX21" fmla="*/ 95890 w 139889"/>
                <a:gd name="connsiteY21" fmla="*/ 20396 h 101737"/>
                <a:gd name="connsiteX22" fmla="*/ 103266 w 139889"/>
                <a:gd name="connsiteY22" fmla="*/ 25483 h 101737"/>
                <a:gd name="connsiteX23" fmla="*/ 107462 w 139889"/>
                <a:gd name="connsiteY23" fmla="*/ 49646 h 101737"/>
                <a:gd name="connsiteX24" fmla="*/ 122342 w 139889"/>
                <a:gd name="connsiteY24" fmla="*/ 62617 h 101737"/>
                <a:gd name="connsiteX25" fmla="*/ 128192 w 139889"/>
                <a:gd name="connsiteY25" fmla="*/ 62744 h 101737"/>
                <a:gd name="connsiteX26" fmla="*/ 133151 w 139889"/>
                <a:gd name="connsiteY26" fmla="*/ 63380 h 101737"/>
                <a:gd name="connsiteX27" fmla="*/ 139383 w 139889"/>
                <a:gd name="connsiteY27" fmla="*/ 86653 h 101737"/>
                <a:gd name="connsiteX28" fmla="*/ 130099 w 139889"/>
                <a:gd name="connsiteY28" fmla="*/ 96826 h 101737"/>
                <a:gd name="connsiteX29" fmla="*/ 122850 w 139889"/>
                <a:gd name="connsiteY29" fmla="*/ 96699 h 101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9889" h="101737">
                  <a:moveTo>
                    <a:pt x="122850" y="96699"/>
                  </a:moveTo>
                  <a:cubicBezTo>
                    <a:pt x="113185" y="98098"/>
                    <a:pt x="103393" y="95173"/>
                    <a:pt x="93346" y="88560"/>
                  </a:cubicBezTo>
                  <a:cubicBezTo>
                    <a:pt x="71346" y="74317"/>
                    <a:pt x="72236" y="76606"/>
                    <a:pt x="51125" y="91485"/>
                  </a:cubicBezTo>
                  <a:cubicBezTo>
                    <a:pt x="45784" y="95300"/>
                    <a:pt x="40570" y="97081"/>
                    <a:pt x="34211" y="96826"/>
                  </a:cubicBezTo>
                  <a:cubicBezTo>
                    <a:pt x="26454" y="96572"/>
                    <a:pt x="30269" y="96826"/>
                    <a:pt x="22512" y="96699"/>
                  </a:cubicBezTo>
                  <a:cubicBezTo>
                    <a:pt x="20350" y="96699"/>
                    <a:pt x="17806" y="96954"/>
                    <a:pt x="16026" y="95936"/>
                  </a:cubicBezTo>
                  <a:cubicBezTo>
                    <a:pt x="6361" y="90341"/>
                    <a:pt x="10430" y="80548"/>
                    <a:pt x="10176" y="72409"/>
                  </a:cubicBezTo>
                  <a:cubicBezTo>
                    <a:pt x="10049" y="66432"/>
                    <a:pt x="13482" y="62617"/>
                    <a:pt x="19714" y="62617"/>
                  </a:cubicBezTo>
                  <a:cubicBezTo>
                    <a:pt x="28489" y="62617"/>
                    <a:pt x="25564" y="62363"/>
                    <a:pt x="34338" y="62617"/>
                  </a:cubicBezTo>
                  <a:cubicBezTo>
                    <a:pt x="38662" y="62744"/>
                    <a:pt x="40316" y="61473"/>
                    <a:pt x="40824" y="57022"/>
                  </a:cubicBezTo>
                  <a:cubicBezTo>
                    <a:pt x="42096" y="46212"/>
                    <a:pt x="43876" y="35402"/>
                    <a:pt x="45784" y="24593"/>
                  </a:cubicBezTo>
                  <a:cubicBezTo>
                    <a:pt x="47183" y="17089"/>
                    <a:pt x="48455" y="16581"/>
                    <a:pt x="54432" y="20905"/>
                  </a:cubicBezTo>
                  <a:cubicBezTo>
                    <a:pt x="57865" y="23321"/>
                    <a:pt x="59010" y="22304"/>
                    <a:pt x="59900" y="18743"/>
                  </a:cubicBezTo>
                  <a:cubicBezTo>
                    <a:pt x="61553" y="11240"/>
                    <a:pt x="54686" y="8823"/>
                    <a:pt x="61808" y="9713"/>
                  </a:cubicBezTo>
                  <a:cubicBezTo>
                    <a:pt x="68802" y="10476"/>
                    <a:pt x="70074" y="15818"/>
                    <a:pt x="70964" y="21286"/>
                  </a:cubicBezTo>
                  <a:cubicBezTo>
                    <a:pt x="71600" y="24720"/>
                    <a:pt x="71727" y="28153"/>
                    <a:pt x="72109" y="31714"/>
                  </a:cubicBezTo>
                  <a:cubicBezTo>
                    <a:pt x="72236" y="33240"/>
                    <a:pt x="72999" y="34639"/>
                    <a:pt x="74779" y="34639"/>
                  </a:cubicBezTo>
                  <a:cubicBezTo>
                    <a:pt x="76560" y="34639"/>
                    <a:pt x="77068" y="33113"/>
                    <a:pt x="77323" y="31587"/>
                  </a:cubicBezTo>
                  <a:cubicBezTo>
                    <a:pt x="77831" y="27390"/>
                    <a:pt x="77959" y="23194"/>
                    <a:pt x="78849" y="18997"/>
                  </a:cubicBezTo>
                  <a:cubicBezTo>
                    <a:pt x="79993" y="13910"/>
                    <a:pt x="82282" y="9968"/>
                    <a:pt x="88514" y="9586"/>
                  </a:cubicBezTo>
                  <a:cubicBezTo>
                    <a:pt x="94618" y="9332"/>
                    <a:pt x="99196" y="10985"/>
                    <a:pt x="100722" y="17471"/>
                  </a:cubicBezTo>
                  <a:cubicBezTo>
                    <a:pt x="101867" y="21922"/>
                    <a:pt x="91439" y="23321"/>
                    <a:pt x="95890" y="20396"/>
                  </a:cubicBezTo>
                  <a:cubicBezTo>
                    <a:pt x="100849" y="17089"/>
                    <a:pt x="102503" y="22176"/>
                    <a:pt x="103266" y="25483"/>
                  </a:cubicBezTo>
                  <a:cubicBezTo>
                    <a:pt x="105046" y="33495"/>
                    <a:pt x="106191" y="41634"/>
                    <a:pt x="107462" y="49646"/>
                  </a:cubicBezTo>
                  <a:cubicBezTo>
                    <a:pt x="109370" y="62617"/>
                    <a:pt x="109370" y="62617"/>
                    <a:pt x="122342" y="62617"/>
                  </a:cubicBezTo>
                  <a:cubicBezTo>
                    <a:pt x="128192" y="62617"/>
                    <a:pt x="122342" y="62617"/>
                    <a:pt x="128192" y="62744"/>
                  </a:cubicBezTo>
                  <a:cubicBezTo>
                    <a:pt x="129845" y="62744"/>
                    <a:pt x="131752" y="62744"/>
                    <a:pt x="133151" y="63380"/>
                  </a:cubicBezTo>
                  <a:cubicBezTo>
                    <a:pt x="143325" y="68721"/>
                    <a:pt x="139001" y="78514"/>
                    <a:pt x="139383" y="86653"/>
                  </a:cubicBezTo>
                  <a:cubicBezTo>
                    <a:pt x="139637" y="92375"/>
                    <a:pt x="136585" y="96699"/>
                    <a:pt x="130099" y="96826"/>
                  </a:cubicBezTo>
                  <a:cubicBezTo>
                    <a:pt x="124249" y="96826"/>
                    <a:pt x="130353" y="96699"/>
                    <a:pt x="122850" y="966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49" name="Freeform: Shape 28">
              <a:extLst>
                <a:ext uri="{FF2B5EF4-FFF2-40B4-BE49-F238E27FC236}">
                  <a16:creationId xmlns:a16="http://schemas.microsoft.com/office/drawing/2014/main" id="{12DCF7E2-BCD8-4A86-A519-EB09AB2C4D1F}"/>
                </a:ext>
              </a:extLst>
            </p:cNvPr>
            <p:cNvSpPr/>
            <p:nvPr/>
          </p:nvSpPr>
          <p:spPr>
            <a:xfrm>
              <a:off x="7026576" y="3408879"/>
              <a:ext cx="136035" cy="95224"/>
            </a:xfrm>
            <a:custGeom>
              <a:avLst/>
              <a:gdLst>
                <a:gd name="connsiteX0" fmla="*/ 106824 w 127172"/>
                <a:gd name="connsiteY0" fmla="*/ 87800 h 89020"/>
                <a:gd name="connsiteX1" fmla="*/ 92200 w 127172"/>
                <a:gd name="connsiteY1" fmla="*/ 80551 h 89020"/>
                <a:gd name="connsiteX2" fmla="*/ 45782 w 127172"/>
                <a:gd name="connsiteY2" fmla="*/ 82840 h 89020"/>
                <a:gd name="connsiteX3" fmla="*/ 28868 w 127172"/>
                <a:gd name="connsiteY3" fmla="*/ 87927 h 89020"/>
                <a:gd name="connsiteX4" fmla="*/ 19457 w 127172"/>
                <a:gd name="connsiteY4" fmla="*/ 87800 h 89020"/>
                <a:gd name="connsiteX5" fmla="*/ 10047 w 127172"/>
                <a:gd name="connsiteY5" fmla="*/ 79533 h 89020"/>
                <a:gd name="connsiteX6" fmla="*/ 9665 w 127172"/>
                <a:gd name="connsiteY6" fmla="*/ 68342 h 89020"/>
                <a:gd name="connsiteX7" fmla="*/ 20983 w 127172"/>
                <a:gd name="connsiteY7" fmla="*/ 57406 h 89020"/>
                <a:gd name="connsiteX8" fmla="*/ 28232 w 127172"/>
                <a:gd name="connsiteY8" fmla="*/ 57533 h 89020"/>
                <a:gd name="connsiteX9" fmla="*/ 36753 w 127172"/>
                <a:gd name="connsiteY9" fmla="*/ 50030 h 89020"/>
                <a:gd name="connsiteX10" fmla="*/ 40441 w 127172"/>
                <a:gd name="connsiteY10" fmla="*/ 24214 h 89020"/>
                <a:gd name="connsiteX11" fmla="*/ 48834 w 127172"/>
                <a:gd name="connsiteY11" fmla="*/ 19763 h 89020"/>
                <a:gd name="connsiteX12" fmla="*/ 53412 w 127172"/>
                <a:gd name="connsiteY12" fmla="*/ 17601 h 89020"/>
                <a:gd name="connsiteX13" fmla="*/ 53794 w 127172"/>
                <a:gd name="connsiteY13" fmla="*/ 9716 h 89020"/>
                <a:gd name="connsiteX14" fmla="*/ 62314 w 127172"/>
                <a:gd name="connsiteY14" fmla="*/ 21162 h 89020"/>
                <a:gd name="connsiteX15" fmla="*/ 62696 w 127172"/>
                <a:gd name="connsiteY15" fmla="*/ 27902 h 89020"/>
                <a:gd name="connsiteX16" fmla="*/ 65366 w 127172"/>
                <a:gd name="connsiteY16" fmla="*/ 31590 h 89020"/>
                <a:gd name="connsiteX17" fmla="*/ 67655 w 127172"/>
                <a:gd name="connsiteY17" fmla="*/ 27647 h 89020"/>
                <a:gd name="connsiteX18" fmla="*/ 69182 w 127172"/>
                <a:gd name="connsiteY18" fmla="*/ 16583 h 89020"/>
                <a:gd name="connsiteX19" fmla="*/ 77575 w 127172"/>
                <a:gd name="connsiteY19" fmla="*/ 9589 h 89020"/>
                <a:gd name="connsiteX20" fmla="*/ 88003 w 127172"/>
                <a:gd name="connsiteY20" fmla="*/ 15693 h 89020"/>
                <a:gd name="connsiteX21" fmla="*/ 83043 w 127172"/>
                <a:gd name="connsiteY21" fmla="*/ 19254 h 89020"/>
                <a:gd name="connsiteX22" fmla="*/ 89783 w 127172"/>
                <a:gd name="connsiteY22" fmla="*/ 25231 h 89020"/>
                <a:gd name="connsiteX23" fmla="*/ 93344 w 127172"/>
                <a:gd name="connsiteY23" fmla="*/ 47995 h 89020"/>
                <a:gd name="connsiteX24" fmla="*/ 103772 w 127172"/>
                <a:gd name="connsiteY24" fmla="*/ 57533 h 89020"/>
                <a:gd name="connsiteX25" fmla="*/ 111784 w 127172"/>
                <a:gd name="connsiteY25" fmla="*/ 57406 h 89020"/>
                <a:gd name="connsiteX26" fmla="*/ 119796 w 127172"/>
                <a:gd name="connsiteY26" fmla="*/ 63510 h 89020"/>
                <a:gd name="connsiteX27" fmla="*/ 119923 w 127172"/>
                <a:gd name="connsiteY27" fmla="*/ 81187 h 89020"/>
                <a:gd name="connsiteX28" fmla="*/ 111403 w 127172"/>
                <a:gd name="connsiteY28" fmla="*/ 87800 h 89020"/>
                <a:gd name="connsiteX29" fmla="*/ 106824 w 127172"/>
                <a:gd name="connsiteY29" fmla="*/ 87800 h 89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172" h="89020">
                  <a:moveTo>
                    <a:pt x="106824" y="87800"/>
                  </a:moveTo>
                  <a:cubicBezTo>
                    <a:pt x="98177" y="89199"/>
                    <a:pt x="101102" y="86401"/>
                    <a:pt x="92200" y="80551"/>
                  </a:cubicBezTo>
                  <a:cubicBezTo>
                    <a:pt x="72742" y="67961"/>
                    <a:pt x="64476" y="69868"/>
                    <a:pt x="45782" y="82840"/>
                  </a:cubicBezTo>
                  <a:cubicBezTo>
                    <a:pt x="40441" y="86528"/>
                    <a:pt x="35099" y="88181"/>
                    <a:pt x="28868" y="87927"/>
                  </a:cubicBezTo>
                  <a:cubicBezTo>
                    <a:pt x="21874" y="87672"/>
                    <a:pt x="26452" y="87800"/>
                    <a:pt x="19457" y="87800"/>
                  </a:cubicBezTo>
                  <a:cubicBezTo>
                    <a:pt x="13862" y="87927"/>
                    <a:pt x="10810" y="84875"/>
                    <a:pt x="10047" y="79533"/>
                  </a:cubicBezTo>
                  <a:cubicBezTo>
                    <a:pt x="9538" y="75846"/>
                    <a:pt x="9411" y="72030"/>
                    <a:pt x="9665" y="68342"/>
                  </a:cubicBezTo>
                  <a:cubicBezTo>
                    <a:pt x="10174" y="59822"/>
                    <a:pt x="12717" y="57533"/>
                    <a:pt x="20983" y="57406"/>
                  </a:cubicBezTo>
                  <a:cubicBezTo>
                    <a:pt x="27342" y="57406"/>
                    <a:pt x="22001" y="57024"/>
                    <a:pt x="28232" y="57533"/>
                  </a:cubicBezTo>
                  <a:cubicBezTo>
                    <a:pt x="33955" y="58041"/>
                    <a:pt x="35990" y="55371"/>
                    <a:pt x="36753" y="50030"/>
                  </a:cubicBezTo>
                  <a:cubicBezTo>
                    <a:pt x="37770" y="41382"/>
                    <a:pt x="39042" y="32861"/>
                    <a:pt x="40441" y="24214"/>
                  </a:cubicBezTo>
                  <a:cubicBezTo>
                    <a:pt x="41204" y="19254"/>
                    <a:pt x="42221" y="13786"/>
                    <a:pt x="48834" y="19763"/>
                  </a:cubicBezTo>
                  <a:cubicBezTo>
                    <a:pt x="51250" y="21925"/>
                    <a:pt x="52649" y="20271"/>
                    <a:pt x="53412" y="17601"/>
                  </a:cubicBezTo>
                  <a:cubicBezTo>
                    <a:pt x="55066" y="11242"/>
                    <a:pt x="47562" y="8826"/>
                    <a:pt x="53794" y="9716"/>
                  </a:cubicBezTo>
                  <a:cubicBezTo>
                    <a:pt x="60280" y="10606"/>
                    <a:pt x="61297" y="16075"/>
                    <a:pt x="62314" y="21162"/>
                  </a:cubicBezTo>
                  <a:cubicBezTo>
                    <a:pt x="62823" y="23323"/>
                    <a:pt x="62569" y="25613"/>
                    <a:pt x="62696" y="27902"/>
                  </a:cubicBezTo>
                  <a:cubicBezTo>
                    <a:pt x="62823" y="29682"/>
                    <a:pt x="62950" y="31717"/>
                    <a:pt x="65366" y="31590"/>
                  </a:cubicBezTo>
                  <a:cubicBezTo>
                    <a:pt x="67655" y="31462"/>
                    <a:pt x="67655" y="29301"/>
                    <a:pt x="67655" y="27647"/>
                  </a:cubicBezTo>
                  <a:cubicBezTo>
                    <a:pt x="67783" y="23959"/>
                    <a:pt x="67783" y="20144"/>
                    <a:pt x="69182" y="16583"/>
                  </a:cubicBezTo>
                  <a:cubicBezTo>
                    <a:pt x="70708" y="12514"/>
                    <a:pt x="72870" y="9843"/>
                    <a:pt x="77575" y="9589"/>
                  </a:cubicBezTo>
                  <a:cubicBezTo>
                    <a:pt x="82407" y="9335"/>
                    <a:pt x="86223" y="10733"/>
                    <a:pt x="88003" y="15693"/>
                  </a:cubicBezTo>
                  <a:cubicBezTo>
                    <a:pt x="89148" y="18873"/>
                    <a:pt x="77702" y="22433"/>
                    <a:pt x="83043" y="19254"/>
                  </a:cubicBezTo>
                  <a:cubicBezTo>
                    <a:pt x="87876" y="16456"/>
                    <a:pt x="89148" y="21797"/>
                    <a:pt x="89783" y="25231"/>
                  </a:cubicBezTo>
                  <a:cubicBezTo>
                    <a:pt x="91309" y="32734"/>
                    <a:pt x="92581" y="40364"/>
                    <a:pt x="93344" y="47995"/>
                  </a:cubicBezTo>
                  <a:cubicBezTo>
                    <a:pt x="93980" y="54735"/>
                    <a:pt x="96396" y="58296"/>
                    <a:pt x="103772" y="57533"/>
                  </a:cubicBezTo>
                  <a:cubicBezTo>
                    <a:pt x="110258" y="56897"/>
                    <a:pt x="105171" y="57533"/>
                    <a:pt x="111784" y="57406"/>
                  </a:cubicBezTo>
                  <a:cubicBezTo>
                    <a:pt x="116108" y="57278"/>
                    <a:pt x="118652" y="59440"/>
                    <a:pt x="119796" y="63510"/>
                  </a:cubicBezTo>
                  <a:cubicBezTo>
                    <a:pt x="121449" y="69360"/>
                    <a:pt x="121449" y="75337"/>
                    <a:pt x="119923" y="81187"/>
                  </a:cubicBezTo>
                  <a:cubicBezTo>
                    <a:pt x="118779" y="85638"/>
                    <a:pt x="115854" y="87672"/>
                    <a:pt x="111403" y="87800"/>
                  </a:cubicBezTo>
                  <a:cubicBezTo>
                    <a:pt x="106570" y="87927"/>
                    <a:pt x="113437" y="87800"/>
                    <a:pt x="106824" y="878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0" name="Freeform: Shape 29">
              <a:extLst>
                <a:ext uri="{FF2B5EF4-FFF2-40B4-BE49-F238E27FC236}">
                  <a16:creationId xmlns:a16="http://schemas.microsoft.com/office/drawing/2014/main" id="{56F0E44D-9562-45A9-BCDB-C4FE41CCDE7F}"/>
                </a:ext>
              </a:extLst>
            </p:cNvPr>
            <p:cNvSpPr/>
            <p:nvPr/>
          </p:nvSpPr>
          <p:spPr>
            <a:xfrm>
              <a:off x="7026458" y="3287544"/>
              <a:ext cx="136035" cy="81621"/>
            </a:xfrm>
            <a:custGeom>
              <a:avLst/>
              <a:gdLst>
                <a:gd name="connsiteX0" fmla="*/ 106807 w 127172"/>
                <a:gd name="connsiteY0" fmla="*/ 68590 h 76303"/>
                <a:gd name="connsiteX1" fmla="*/ 91419 w 127172"/>
                <a:gd name="connsiteY1" fmla="*/ 62867 h 76303"/>
                <a:gd name="connsiteX2" fmla="*/ 46909 w 127172"/>
                <a:gd name="connsiteY2" fmla="*/ 64520 h 76303"/>
                <a:gd name="connsiteX3" fmla="*/ 15752 w 127172"/>
                <a:gd name="connsiteY3" fmla="*/ 67827 h 76303"/>
                <a:gd name="connsiteX4" fmla="*/ 9648 w 127172"/>
                <a:gd name="connsiteY4" fmla="*/ 54601 h 76303"/>
                <a:gd name="connsiteX5" fmla="*/ 18041 w 127172"/>
                <a:gd name="connsiteY5" fmla="*/ 45445 h 76303"/>
                <a:gd name="connsiteX6" fmla="*/ 29741 w 127172"/>
                <a:gd name="connsiteY6" fmla="*/ 45445 h 76303"/>
                <a:gd name="connsiteX7" fmla="*/ 36736 w 127172"/>
                <a:gd name="connsiteY7" fmla="*/ 39722 h 76303"/>
                <a:gd name="connsiteX8" fmla="*/ 40678 w 127172"/>
                <a:gd name="connsiteY8" fmla="*/ 20773 h 76303"/>
                <a:gd name="connsiteX9" fmla="*/ 45765 w 127172"/>
                <a:gd name="connsiteY9" fmla="*/ 16195 h 76303"/>
                <a:gd name="connsiteX10" fmla="*/ 55430 w 127172"/>
                <a:gd name="connsiteY10" fmla="*/ 13143 h 76303"/>
                <a:gd name="connsiteX11" fmla="*/ 55048 w 127172"/>
                <a:gd name="connsiteY11" fmla="*/ 9963 h 76303"/>
                <a:gd name="connsiteX12" fmla="*/ 62170 w 127172"/>
                <a:gd name="connsiteY12" fmla="*/ 17594 h 76303"/>
                <a:gd name="connsiteX13" fmla="*/ 62933 w 127172"/>
                <a:gd name="connsiteY13" fmla="*/ 23444 h 76303"/>
                <a:gd name="connsiteX14" fmla="*/ 65222 w 127172"/>
                <a:gd name="connsiteY14" fmla="*/ 26750 h 76303"/>
                <a:gd name="connsiteX15" fmla="*/ 67893 w 127172"/>
                <a:gd name="connsiteY15" fmla="*/ 23189 h 76303"/>
                <a:gd name="connsiteX16" fmla="*/ 68529 w 127172"/>
                <a:gd name="connsiteY16" fmla="*/ 17975 h 76303"/>
                <a:gd name="connsiteX17" fmla="*/ 76032 w 127172"/>
                <a:gd name="connsiteY17" fmla="*/ 9836 h 76303"/>
                <a:gd name="connsiteX18" fmla="*/ 87732 w 127172"/>
                <a:gd name="connsiteY18" fmla="*/ 13779 h 76303"/>
                <a:gd name="connsiteX19" fmla="*/ 83280 w 127172"/>
                <a:gd name="connsiteY19" fmla="*/ 16831 h 76303"/>
                <a:gd name="connsiteX20" fmla="*/ 90275 w 127172"/>
                <a:gd name="connsiteY20" fmla="*/ 21918 h 76303"/>
                <a:gd name="connsiteX21" fmla="*/ 93836 w 127172"/>
                <a:gd name="connsiteY21" fmla="*/ 38704 h 76303"/>
                <a:gd name="connsiteX22" fmla="*/ 101721 w 127172"/>
                <a:gd name="connsiteY22" fmla="*/ 45317 h 76303"/>
                <a:gd name="connsiteX23" fmla="*/ 111894 w 127172"/>
                <a:gd name="connsiteY23" fmla="*/ 45317 h 76303"/>
                <a:gd name="connsiteX24" fmla="*/ 121305 w 127172"/>
                <a:gd name="connsiteY24" fmla="*/ 56508 h 76303"/>
                <a:gd name="connsiteX25" fmla="*/ 112403 w 127172"/>
                <a:gd name="connsiteY25" fmla="*/ 68208 h 76303"/>
                <a:gd name="connsiteX26" fmla="*/ 106807 w 127172"/>
                <a:gd name="connsiteY26" fmla="*/ 68590 h 7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7172" h="76303">
                  <a:moveTo>
                    <a:pt x="106807" y="68590"/>
                  </a:moveTo>
                  <a:cubicBezTo>
                    <a:pt x="98287" y="69734"/>
                    <a:pt x="100830" y="67318"/>
                    <a:pt x="91419" y="62867"/>
                  </a:cubicBezTo>
                  <a:cubicBezTo>
                    <a:pt x="72725" y="54092"/>
                    <a:pt x="65222" y="54982"/>
                    <a:pt x="46909" y="64520"/>
                  </a:cubicBezTo>
                  <a:cubicBezTo>
                    <a:pt x="32920" y="71769"/>
                    <a:pt x="29996" y="68335"/>
                    <a:pt x="15752" y="67827"/>
                  </a:cubicBezTo>
                  <a:cubicBezTo>
                    <a:pt x="9012" y="67572"/>
                    <a:pt x="9394" y="60069"/>
                    <a:pt x="9648" y="54601"/>
                  </a:cubicBezTo>
                  <a:cubicBezTo>
                    <a:pt x="9902" y="49387"/>
                    <a:pt x="12191" y="45572"/>
                    <a:pt x="18041" y="45445"/>
                  </a:cubicBezTo>
                  <a:cubicBezTo>
                    <a:pt x="25799" y="45445"/>
                    <a:pt x="21857" y="45190"/>
                    <a:pt x="29741" y="45445"/>
                  </a:cubicBezTo>
                  <a:cubicBezTo>
                    <a:pt x="33938" y="45572"/>
                    <a:pt x="35972" y="43664"/>
                    <a:pt x="36736" y="39722"/>
                  </a:cubicBezTo>
                  <a:cubicBezTo>
                    <a:pt x="38007" y="33363"/>
                    <a:pt x="39152" y="27004"/>
                    <a:pt x="40678" y="20773"/>
                  </a:cubicBezTo>
                  <a:cubicBezTo>
                    <a:pt x="41314" y="18230"/>
                    <a:pt x="42585" y="14415"/>
                    <a:pt x="45765" y="16195"/>
                  </a:cubicBezTo>
                  <a:cubicBezTo>
                    <a:pt x="50597" y="18865"/>
                    <a:pt x="52759" y="17594"/>
                    <a:pt x="55430" y="13143"/>
                  </a:cubicBezTo>
                  <a:cubicBezTo>
                    <a:pt x="57846" y="8946"/>
                    <a:pt x="50852" y="9328"/>
                    <a:pt x="55048" y="9963"/>
                  </a:cubicBezTo>
                  <a:cubicBezTo>
                    <a:pt x="59118" y="10599"/>
                    <a:pt x="61153" y="13779"/>
                    <a:pt x="62170" y="17594"/>
                  </a:cubicBezTo>
                  <a:cubicBezTo>
                    <a:pt x="62679" y="19501"/>
                    <a:pt x="62679" y="21536"/>
                    <a:pt x="62933" y="23444"/>
                  </a:cubicBezTo>
                  <a:cubicBezTo>
                    <a:pt x="63060" y="24970"/>
                    <a:pt x="63315" y="26623"/>
                    <a:pt x="65222" y="26750"/>
                  </a:cubicBezTo>
                  <a:cubicBezTo>
                    <a:pt x="67638" y="26877"/>
                    <a:pt x="67765" y="24970"/>
                    <a:pt x="67893" y="23189"/>
                  </a:cubicBezTo>
                  <a:cubicBezTo>
                    <a:pt x="68020" y="21409"/>
                    <a:pt x="68020" y="19629"/>
                    <a:pt x="68529" y="17975"/>
                  </a:cubicBezTo>
                  <a:cubicBezTo>
                    <a:pt x="69546" y="13906"/>
                    <a:pt x="71581" y="10472"/>
                    <a:pt x="76032" y="9836"/>
                  </a:cubicBezTo>
                  <a:cubicBezTo>
                    <a:pt x="80483" y="9200"/>
                    <a:pt x="84934" y="9200"/>
                    <a:pt x="87732" y="13779"/>
                  </a:cubicBezTo>
                  <a:cubicBezTo>
                    <a:pt x="89512" y="16831"/>
                    <a:pt x="78957" y="19120"/>
                    <a:pt x="83280" y="16831"/>
                  </a:cubicBezTo>
                  <a:cubicBezTo>
                    <a:pt x="87732" y="14542"/>
                    <a:pt x="89385" y="18611"/>
                    <a:pt x="90275" y="21918"/>
                  </a:cubicBezTo>
                  <a:cubicBezTo>
                    <a:pt x="91801" y="27386"/>
                    <a:pt x="92818" y="32982"/>
                    <a:pt x="93836" y="38704"/>
                  </a:cubicBezTo>
                  <a:cubicBezTo>
                    <a:pt x="94599" y="43410"/>
                    <a:pt x="96761" y="45572"/>
                    <a:pt x="101721" y="45317"/>
                  </a:cubicBezTo>
                  <a:cubicBezTo>
                    <a:pt x="108969" y="44936"/>
                    <a:pt x="104645" y="45063"/>
                    <a:pt x="111894" y="45317"/>
                  </a:cubicBezTo>
                  <a:cubicBezTo>
                    <a:pt x="118762" y="45445"/>
                    <a:pt x="121178" y="48497"/>
                    <a:pt x="121305" y="56508"/>
                  </a:cubicBezTo>
                  <a:cubicBezTo>
                    <a:pt x="121432" y="64520"/>
                    <a:pt x="119016" y="67954"/>
                    <a:pt x="112403" y="68208"/>
                  </a:cubicBezTo>
                  <a:cubicBezTo>
                    <a:pt x="106934" y="68844"/>
                    <a:pt x="113547" y="68590"/>
                    <a:pt x="106807" y="685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1" name="Freeform: Shape 30">
              <a:extLst>
                <a:ext uri="{FF2B5EF4-FFF2-40B4-BE49-F238E27FC236}">
                  <a16:creationId xmlns:a16="http://schemas.microsoft.com/office/drawing/2014/main" id="{6671E94A-B182-4DAB-A7D1-9571DDC79ECE}"/>
                </a:ext>
              </a:extLst>
            </p:cNvPr>
            <p:cNvSpPr/>
            <p:nvPr/>
          </p:nvSpPr>
          <p:spPr>
            <a:xfrm>
              <a:off x="7026440" y="3227552"/>
              <a:ext cx="136035" cy="81621"/>
            </a:xfrm>
            <a:custGeom>
              <a:avLst/>
              <a:gdLst>
                <a:gd name="connsiteX0" fmla="*/ 106952 w 127172"/>
                <a:gd name="connsiteY0" fmla="*/ 68081 h 76303"/>
                <a:gd name="connsiteX1" fmla="*/ 91437 w 127172"/>
                <a:gd name="connsiteY1" fmla="*/ 62485 h 76303"/>
                <a:gd name="connsiteX2" fmla="*/ 48834 w 127172"/>
                <a:gd name="connsiteY2" fmla="*/ 63248 h 76303"/>
                <a:gd name="connsiteX3" fmla="*/ 25816 w 127172"/>
                <a:gd name="connsiteY3" fmla="*/ 68208 h 76303"/>
                <a:gd name="connsiteX4" fmla="*/ 17804 w 127172"/>
                <a:gd name="connsiteY4" fmla="*/ 68081 h 76303"/>
                <a:gd name="connsiteX5" fmla="*/ 9538 w 127172"/>
                <a:gd name="connsiteY5" fmla="*/ 56508 h 76303"/>
                <a:gd name="connsiteX6" fmla="*/ 17931 w 127172"/>
                <a:gd name="connsiteY6" fmla="*/ 45190 h 76303"/>
                <a:gd name="connsiteX7" fmla="*/ 26706 w 127172"/>
                <a:gd name="connsiteY7" fmla="*/ 45190 h 76303"/>
                <a:gd name="connsiteX8" fmla="*/ 37388 w 127172"/>
                <a:gd name="connsiteY8" fmla="*/ 36542 h 76303"/>
                <a:gd name="connsiteX9" fmla="*/ 40441 w 127172"/>
                <a:gd name="connsiteY9" fmla="*/ 21281 h 76303"/>
                <a:gd name="connsiteX10" fmla="*/ 48453 w 127172"/>
                <a:gd name="connsiteY10" fmla="*/ 17212 h 76303"/>
                <a:gd name="connsiteX11" fmla="*/ 53794 w 127172"/>
                <a:gd name="connsiteY11" fmla="*/ 15431 h 76303"/>
                <a:gd name="connsiteX12" fmla="*/ 54302 w 127172"/>
                <a:gd name="connsiteY12" fmla="*/ 9836 h 76303"/>
                <a:gd name="connsiteX13" fmla="*/ 62569 w 127172"/>
                <a:gd name="connsiteY13" fmla="*/ 19882 h 76303"/>
                <a:gd name="connsiteX14" fmla="*/ 62823 w 127172"/>
                <a:gd name="connsiteY14" fmla="*/ 22044 h 76303"/>
                <a:gd name="connsiteX15" fmla="*/ 65366 w 127172"/>
                <a:gd name="connsiteY15" fmla="*/ 26623 h 76303"/>
                <a:gd name="connsiteX16" fmla="*/ 67910 w 127172"/>
                <a:gd name="connsiteY16" fmla="*/ 22171 h 76303"/>
                <a:gd name="connsiteX17" fmla="*/ 81390 w 127172"/>
                <a:gd name="connsiteY17" fmla="*/ 9836 h 76303"/>
                <a:gd name="connsiteX18" fmla="*/ 86477 w 127172"/>
                <a:gd name="connsiteY18" fmla="*/ 12379 h 76303"/>
                <a:gd name="connsiteX19" fmla="*/ 85078 w 127172"/>
                <a:gd name="connsiteY19" fmla="*/ 16830 h 76303"/>
                <a:gd name="connsiteX20" fmla="*/ 90292 w 127172"/>
                <a:gd name="connsiteY20" fmla="*/ 22807 h 76303"/>
                <a:gd name="connsiteX21" fmla="*/ 93599 w 127172"/>
                <a:gd name="connsiteY21" fmla="*/ 38831 h 76303"/>
                <a:gd name="connsiteX22" fmla="*/ 101610 w 127172"/>
                <a:gd name="connsiteY22" fmla="*/ 45317 h 76303"/>
                <a:gd name="connsiteX23" fmla="*/ 111784 w 127172"/>
                <a:gd name="connsiteY23" fmla="*/ 45317 h 76303"/>
                <a:gd name="connsiteX24" fmla="*/ 121195 w 127172"/>
                <a:gd name="connsiteY24" fmla="*/ 57271 h 76303"/>
                <a:gd name="connsiteX25" fmla="*/ 111530 w 127172"/>
                <a:gd name="connsiteY25" fmla="*/ 68335 h 76303"/>
                <a:gd name="connsiteX26" fmla="*/ 106952 w 127172"/>
                <a:gd name="connsiteY26" fmla="*/ 68081 h 7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7172" h="76303">
                  <a:moveTo>
                    <a:pt x="106952" y="68081"/>
                  </a:moveTo>
                  <a:cubicBezTo>
                    <a:pt x="98813" y="69098"/>
                    <a:pt x="101102" y="67063"/>
                    <a:pt x="91437" y="62485"/>
                  </a:cubicBezTo>
                  <a:cubicBezTo>
                    <a:pt x="73633" y="53964"/>
                    <a:pt x="66638" y="54600"/>
                    <a:pt x="48834" y="63248"/>
                  </a:cubicBezTo>
                  <a:cubicBezTo>
                    <a:pt x="41331" y="66936"/>
                    <a:pt x="33955" y="68589"/>
                    <a:pt x="25816" y="68208"/>
                  </a:cubicBezTo>
                  <a:cubicBezTo>
                    <a:pt x="19330" y="67826"/>
                    <a:pt x="24417" y="68335"/>
                    <a:pt x="17804" y="68081"/>
                  </a:cubicBezTo>
                  <a:cubicBezTo>
                    <a:pt x="10428" y="67826"/>
                    <a:pt x="9538" y="62358"/>
                    <a:pt x="9538" y="56508"/>
                  </a:cubicBezTo>
                  <a:cubicBezTo>
                    <a:pt x="9538" y="50658"/>
                    <a:pt x="10682" y="45317"/>
                    <a:pt x="17931" y="45190"/>
                  </a:cubicBezTo>
                  <a:cubicBezTo>
                    <a:pt x="24671" y="45062"/>
                    <a:pt x="19839" y="44808"/>
                    <a:pt x="26706" y="45190"/>
                  </a:cubicBezTo>
                  <a:cubicBezTo>
                    <a:pt x="33192" y="45698"/>
                    <a:pt x="36625" y="43536"/>
                    <a:pt x="37388" y="36542"/>
                  </a:cubicBezTo>
                  <a:cubicBezTo>
                    <a:pt x="37897" y="31328"/>
                    <a:pt x="39296" y="26368"/>
                    <a:pt x="40441" y="21281"/>
                  </a:cubicBezTo>
                  <a:cubicBezTo>
                    <a:pt x="41458" y="16830"/>
                    <a:pt x="43366" y="13524"/>
                    <a:pt x="48453" y="17212"/>
                  </a:cubicBezTo>
                  <a:cubicBezTo>
                    <a:pt x="51123" y="19119"/>
                    <a:pt x="52649" y="18484"/>
                    <a:pt x="53794" y="15431"/>
                  </a:cubicBezTo>
                  <a:cubicBezTo>
                    <a:pt x="56083" y="9836"/>
                    <a:pt x="49088" y="9073"/>
                    <a:pt x="54302" y="9836"/>
                  </a:cubicBezTo>
                  <a:cubicBezTo>
                    <a:pt x="59898" y="10599"/>
                    <a:pt x="61551" y="14923"/>
                    <a:pt x="62569" y="19882"/>
                  </a:cubicBezTo>
                  <a:cubicBezTo>
                    <a:pt x="62696" y="20645"/>
                    <a:pt x="62696" y="21408"/>
                    <a:pt x="62823" y="22044"/>
                  </a:cubicBezTo>
                  <a:cubicBezTo>
                    <a:pt x="63077" y="23952"/>
                    <a:pt x="62569" y="26495"/>
                    <a:pt x="65366" y="26623"/>
                  </a:cubicBezTo>
                  <a:cubicBezTo>
                    <a:pt x="68164" y="26623"/>
                    <a:pt x="67655" y="24079"/>
                    <a:pt x="67910" y="22171"/>
                  </a:cubicBezTo>
                  <a:cubicBezTo>
                    <a:pt x="69563" y="11871"/>
                    <a:pt x="73378" y="8437"/>
                    <a:pt x="81390" y="9836"/>
                  </a:cubicBezTo>
                  <a:cubicBezTo>
                    <a:pt x="83298" y="10217"/>
                    <a:pt x="85587" y="10599"/>
                    <a:pt x="86477" y="12379"/>
                  </a:cubicBezTo>
                  <a:cubicBezTo>
                    <a:pt x="88766" y="16830"/>
                    <a:pt x="79355" y="19374"/>
                    <a:pt x="85078" y="16830"/>
                  </a:cubicBezTo>
                  <a:cubicBezTo>
                    <a:pt x="88003" y="15558"/>
                    <a:pt x="89656" y="19882"/>
                    <a:pt x="90292" y="22807"/>
                  </a:cubicBezTo>
                  <a:cubicBezTo>
                    <a:pt x="91564" y="28149"/>
                    <a:pt x="92708" y="33490"/>
                    <a:pt x="93599" y="38831"/>
                  </a:cubicBezTo>
                  <a:cubicBezTo>
                    <a:pt x="94362" y="43664"/>
                    <a:pt x="96778" y="45571"/>
                    <a:pt x="101610" y="45317"/>
                  </a:cubicBezTo>
                  <a:cubicBezTo>
                    <a:pt x="108859" y="45062"/>
                    <a:pt x="104535" y="45062"/>
                    <a:pt x="111784" y="45317"/>
                  </a:cubicBezTo>
                  <a:cubicBezTo>
                    <a:pt x="118906" y="45571"/>
                    <a:pt x="121322" y="48878"/>
                    <a:pt x="121195" y="57271"/>
                  </a:cubicBezTo>
                  <a:cubicBezTo>
                    <a:pt x="121068" y="65156"/>
                    <a:pt x="118651" y="68081"/>
                    <a:pt x="111530" y="68335"/>
                  </a:cubicBezTo>
                  <a:cubicBezTo>
                    <a:pt x="106824" y="68208"/>
                    <a:pt x="113819" y="68081"/>
                    <a:pt x="106952" y="680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2" name="Freeform: Shape 31">
              <a:extLst>
                <a:ext uri="{FF2B5EF4-FFF2-40B4-BE49-F238E27FC236}">
                  <a16:creationId xmlns:a16="http://schemas.microsoft.com/office/drawing/2014/main" id="{3BAC4BF2-1679-4470-BFFD-F768EC2D732A}"/>
                </a:ext>
              </a:extLst>
            </p:cNvPr>
            <p:cNvSpPr/>
            <p:nvPr/>
          </p:nvSpPr>
          <p:spPr>
            <a:xfrm>
              <a:off x="7026303" y="3348427"/>
              <a:ext cx="136035" cy="81621"/>
            </a:xfrm>
            <a:custGeom>
              <a:avLst/>
              <a:gdLst>
                <a:gd name="connsiteX0" fmla="*/ 108605 w 127172"/>
                <a:gd name="connsiteY0" fmla="*/ 68392 h 76303"/>
                <a:gd name="connsiteX1" fmla="*/ 92963 w 127172"/>
                <a:gd name="connsiteY1" fmla="*/ 63178 h 76303"/>
                <a:gd name="connsiteX2" fmla="*/ 47690 w 127172"/>
                <a:gd name="connsiteY2" fmla="*/ 63814 h 76303"/>
                <a:gd name="connsiteX3" fmla="*/ 26706 w 127172"/>
                <a:gd name="connsiteY3" fmla="*/ 68519 h 76303"/>
                <a:gd name="connsiteX4" fmla="*/ 19457 w 127172"/>
                <a:gd name="connsiteY4" fmla="*/ 68392 h 76303"/>
                <a:gd name="connsiteX5" fmla="*/ 9538 w 127172"/>
                <a:gd name="connsiteY5" fmla="*/ 56819 h 76303"/>
                <a:gd name="connsiteX6" fmla="*/ 19585 w 127172"/>
                <a:gd name="connsiteY6" fmla="*/ 45501 h 76303"/>
                <a:gd name="connsiteX7" fmla="*/ 29758 w 127172"/>
                <a:gd name="connsiteY7" fmla="*/ 45501 h 76303"/>
                <a:gd name="connsiteX8" fmla="*/ 36753 w 127172"/>
                <a:gd name="connsiteY8" fmla="*/ 39778 h 76303"/>
                <a:gd name="connsiteX9" fmla="*/ 40568 w 127172"/>
                <a:gd name="connsiteY9" fmla="*/ 20830 h 76303"/>
                <a:gd name="connsiteX10" fmla="*/ 48198 w 127172"/>
                <a:gd name="connsiteY10" fmla="*/ 17014 h 76303"/>
                <a:gd name="connsiteX11" fmla="*/ 53794 w 127172"/>
                <a:gd name="connsiteY11" fmla="*/ 15361 h 76303"/>
                <a:gd name="connsiteX12" fmla="*/ 55193 w 127172"/>
                <a:gd name="connsiteY12" fmla="*/ 10020 h 76303"/>
                <a:gd name="connsiteX13" fmla="*/ 62696 w 127172"/>
                <a:gd name="connsiteY13" fmla="*/ 19812 h 76303"/>
                <a:gd name="connsiteX14" fmla="*/ 65621 w 127172"/>
                <a:gd name="connsiteY14" fmla="*/ 25535 h 76303"/>
                <a:gd name="connsiteX15" fmla="*/ 68037 w 127172"/>
                <a:gd name="connsiteY15" fmla="*/ 20067 h 76303"/>
                <a:gd name="connsiteX16" fmla="*/ 75286 w 127172"/>
                <a:gd name="connsiteY16" fmla="*/ 10020 h 76303"/>
                <a:gd name="connsiteX17" fmla="*/ 88385 w 127172"/>
                <a:gd name="connsiteY17" fmla="*/ 15107 h 76303"/>
                <a:gd name="connsiteX18" fmla="*/ 82280 w 127172"/>
                <a:gd name="connsiteY18" fmla="*/ 17269 h 76303"/>
                <a:gd name="connsiteX19" fmla="*/ 90038 w 127172"/>
                <a:gd name="connsiteY19" fmla="*/ 21974 h 76303"/>
                <a:gd name="connsiteX20" fmla="*/ 93217 w 127172"/>
                <a:gd name="connsiteY20" fmla="*/ 36472 h 76303"/>
                <a:gd name="connsiteX21" fmla="*/ 104281 w 127172"/>
                <a:gd name="connsiteY21" fmla="*/ 45501 h 76303"/>
                <a:gd name="connsiteX22" fmla="*/ 110767 w 127172"/>
                <a:gd name="connsiteY22" fmla="*/ 45374 h 76303"/>
                <a:gd name="connsiteX23" fmla="*/ 121068 w 127172"/>
                <a:gd name="connsiteY23" fmla="*/ 56311 h 76303"/>
                <a:gd name="connsiteX24" fmla="*/ 110767 w 127172"/>
                <a:gd name="connsiteY24" fmla="*/ 68265 h 76303"/>
                <a:gd name="connsiteX25" fmla="*/ 109368 w 127172"/>
                <a:gd name="connsiteY25" fmla="*/ 68265 h 76303"/>
                <a:gd name="connsiteX26" fmla="*/ 108605 w 127172"/>
                <a:gd name="connsiteY26" fmla="*/ 68392 h 7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7172" h="76303">
                  <a:moveTo>
                    <a:pt x="108605" y="68392"/>
                  </a:moveTo>
                  <a:cubicBezTo>
                    <a:pt x="99067" y="69028"/>
                    <a:pt x="101992" y="67629"/>
                    <a:pt x="92963" y="63178"/>
                  </a:cubicBezTo>
                  <a:cubicBezTo>
                    <a:pt x="74268" y="54022"/>
                    <a:pt x="66384" y="54403"/>
                    <a:pt x="47690" y="63814"/>
                  </a:cubicBezTo>
                  <a:cubicBezTo>
                    <a:pt x="40822" y="67247"/>
                    <a:pt x="34209" y="68901"/>
                    <a:pt x="26706" y="68519"/>
                  </a:cubicBezTo>
                  <a:cubicBezTo>
                    <a:pt x="20348" y="68265"/>
                    <a:pt x="25689" y="68646"/>
                    <a:pt x="19457" y="68392"/>
                  </a:cubicBezTo>
                  <a:cubicBezTo>
                    <a:pt x="12081" y="68138"/>
                    <a:pt x="9538" y="64958"/>
                    <a:pt x="9538" y="56819"/>
                  </a:cubicBezTo>
                  <a:cubicBezTo>
                    <a:pt x="9538" y="48553"/>
                    <a:pt x="12081" y="45628"/>
                    <a:pt x="19585" y="45501"/>
                  </a:cubicBezTo>
                  <a:cubicBezTo>
                    <a:pt x="26833" y="45374"/>
                    <a:pt x="22510" y="45247"/>
                    <a:pt x="29758" y="45501"/>
                  </a:cubicBezTo>
                  <a:cubicBezTo>
                    <a:pt x="33955" y="45628"/>
                    <a:pt x="35990" y="43848"/>
                    <a:pt x="36753" y="39778"/>
                  </a:cubicBezTo>
                  <a:cubicBezTo>
                    <a:pt x="37897" y="33420"/>
                    <a:pt x="39169" y="27061"/>
                    <a:pt x="40568" y="20830"/>
                  </a:cubicBezTo>
                  <a:cubicBezTo>
                    <a:pt x="41585" y="16506"/>
                    <a:pt x="43493" y="13708"/>
                    <a:pt x="48198" y="17014"/>
                  </a:cubicBezTo>
                  <a:cubicBezTo>
                    <a:pt x="50742" y="18795"/>
                    <a:pt x="52522" y="18413"/>
                    <a:pt x="53794" y="15361"/>
                  </a:cubicBezTo>
                  <a:cubicBezTo>
                    <a:pt x="56337" y="9384"/>
                    <a:pt x="49979" y="9130"/>
                    <a:pt x="55193" y="10020"/>
                  </a:cubicBezTo>
                  <a:cubicBezTo>
                    <a:pt x="60280" y="10910"/>
                    <a:pt x="61806" y="15234"/>
                    <a:pt x="62696" y="19812"/>
                  </a:cubicBezTo>
                  <a:cubicBezTo>
                    <a:pt x="63077" y="21974"/>
                    <a:pt x="61933" y="25662"/>
                    <a:pt x="65621" y="25535"/>
                  </a:cubicBezTo>
                  <a:cubicBezTo>
                    <a:pt x="68546" y="25408"/>
                    <a:pt x="67656" y="22101"/>
                    <a:pt x="68037" y="20067"/>
                  </a:cubicBezTo>
                  <a:cubicBezTo>
                    <a:pt x="68800" y="15488"/>
                    <a:pt x="70199" y="11037"/>
                    <a:pt x="75286" y="10020"/>
                  </a:cubicBezTo>
                  <a:cubicBezTo>
                    <a:pt x="80500" y="9003"/>
                    <a:pt x="85714" y="9130"/>
                    <a:pt x="88385" y="15107"/>
                  </a:cubicBezTo>
                  <a:cubicBezTo>
                    <a:pt x="89656" y="17905"/>
                    <a:pt x="79355" y="18795"/>
                    <a:pt x="82280" y="17269"/>
                  </a:cubicBezTo>
                  <a:cubicBezTo>
                    <a:pt x="87113" y="14598"/>
                    <a:pt x="89020" y="18413"/>
                    <a:pt x="90038" y="21974"/>
                  </a:cubicBezTo>
                  <a:cubicBezTo>
                    <a:pt x="91437" y="26680"/>
                    <a:pt x="92709" y="31639"/>
                    <a:pt x="93217" y="36472"/>
                  </a:cubicBezTo>
                  <a:cubicBezTo>
                    <a:pt x="93853" y="43848"/>
                    <a:pt x="97287" y="46137"/>
                    <a:pt x="104281" y="45501"/>
                  </a:cubicBezTo>
                  <a:cubicBezTo>
                    <a:pt x="110258" y="44992"/>
                    <a:pt x="104790" y="45374"/>
                    <a:pt x="110767" y="45374"/>
                  </a:cubicBezTo>
                  <a:cubicBezTo>
                    <a:pt x="118397" y="45501"/>
                    <a:pt x="120941" y="48172"/>
                    <a:pt x="121068" y="56311"/>
                  </a:cubicBezTo>
                  <a:cubicBezTo>
                    <a:pt x="121195" y="64704"/>
                    <a:pt x="118524" y="67883"/>
                    <a:pt x="110767" y="68265"/>
                  </a:cubicBezTo>
                  <a:cubicBezTo>
                    <a:pt x="110258" y="68265"/>
                    <a:pt x="109750" y="68265"/>
                    <a:pt x="109368" y="68265"/>
                  </a:cubicBezTo>
                  <a:cubicBezTo>
                    <a:pt x="105171" y="68392"/>
                    <a:pt x="112802" y="68392"/>
                    <a:pt x="108605" y="683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3" name="Freeform: Shape 32">
              <a:extLst>
                <a:ext uri="{FF2B5EF4-FFF2-40B4-BE49-F238E27FC236}">
                  <a16:creationId xmlns:a16="http://schemas.microsoft.com/office/drawing/2014/main" id="{8F43D9A3-E614-40D1-946B-4D7C78A6E1E3}"/>
                </a:ext>
              </a:extLst>
            </p:cNvPr>
            <p:cNvSpPr/>
            <p:nvPr/>
          </p:nvSpPr>
          <p:spPr>
            <a:xfrm>
              <a:off x="7009953" y="2783970"/>
              <a:ext cx="163242" cy="68018"/>
            </a:xfrm>
            <a:custGeom>
              <a:avLst/>
              <a:gdLst>
                <a:gd name="connsiteX0" fmla="*/ 132666 w 152606"/>
                <a:gd name="connsiteY0" fmla="*/ 55719 h 63586"/>
                <a:gd name="connsiteX1" fmla="*/ 100237 w 152606"/>
                <a:gd name="connsiteY1" fmla="*/ 51395 h 63586"/>
                <a:gd name="connsiteX2" fmla="*/ 53310 w 152606"/>
                <a:gd name="connsiteY2" fmla="*/ 53430 h 63586"/>
                <a:gd name="connsiteX3" fmla="*/ 15794 w 152606"/>
                <a:gd name="connsiteY3" fmla="*/ 55210 h 63586"/>
                <a:gd name="connsiteX4" fmla="*/ 9563 w 152606"/>
                <a:gd name="connsiteY4" fmla="*/ 45799 h 63586"/>
                <a:gd name="connsiteX5" fmla="*/ 17448 w 152606"/>
                <a:gd name="connsiteY5" fmla="*/ 37660 h 63586"/>
                <a:gd name="connsiteX6" fmla="*/ 34234 w 152606"/>
                <a:gd name="connsiteY6" fmla="*/ 37533 h 63586"/>
                <a:gd name="connsiteX7" fmla="*/ 45934 w 152606"/>
                <a:gd name="connsiteY7" fmla="*/ 28758 h 63586"/>
                <a:gd name="connsiteX8" fmla="*/ 48096 w 152606"/>
                <a:gd name="connsiteY8" fmla="*/ 21637 h 63586"/>
                <a:gd name="connsiteX9" fmla="*/ 58651 w 152606"/>
                <a:gd name="connsiteY9" fmla="*/ 16168 h 63586"/>
                <a:gd name="connsiteX10" fmla="*/ 64883 w 152606"/>
                <a:gd name="connsiteY10" fmla="*/ 14642 h 63586"/>
                <a:gd name="connsiteX11" fmla="*/ 77473 w 152606"/>
                <a:gd name="connsiteY11" fmla="*/ 19729 h 63586"/>
                <a:gd name="connsiteX12" fmla="*/ 80652 w 152606"/>
                <a:gd name="connsiteY12" fmla="*/ 23163 h 63586"/>
                <a:gd name="connsiteX13" fmla="*/ 83959 w 152606"/>
                <a:gd name="connsiteY13" fmla="*/ 19729 h 63586"/>
                <a:gd name="connsiteX14" fmla="*/ 108121 w 152606"/>
                <a:gd name="connsiteY14" fmla="*/ 14515 h 63586"/>
                <a:gd name="connsiteX15" fmla="*/ 102653 w 152606"/>
                <a:gd name="connsiteY15" fmla="*/ 16295 h 63586"/>
                <a:gd name="connsiteX16" fmla="*/ 113208 w 152606"/>
                <a:gd name="connsiteY16" fmla="*/ 21764 h 63586"/>
                <a:gd name="connsiteX17" fmla="*/ 124272 w 152606"/>
                <a:gd name="connsiteY17" fmla="*/ 37406 h 63586"/>
                <a:gd name="connsiteX18" fmla="*/ 141059 w 152606"/>
                <a:gd name="connsiteY18" fmla="*/ 37406 h 63586"/>
                <a:gd name="connsiteX19" fmla="*/ 151741 w 152606"/>
                <a:gd name="connsiteY19" fmla="*/ 46562 h 63586"/>
                <a:gd name="connsiteX20" fmla="*/ 141059 w 152606"/>
                <a:gd name="connsiteY20" fmla="*/ 55719 h 63586"/>
                <a:gd name="connsiteX21" fmla="*/ 132666 w 152606"/>
                <a:gd name="connsiteY21" fmla="*/ 55719 h 6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2606" h="63586">
                  <a:moveTo>
                    <a:pt x="132666" y="55719"/>
                  </a:moveTo>
                  <a:cubicBezTo>
                    <a:pt x="123382" y="56482"/>
                    <a:pt x="111809" y="54956"/>
                    <a:pt x="100237" y="51395"/>
                  </a:cubicBezTo>
                  <a:cubicBezTo>
                    <a:pt x="76837" y="44273"/>
                    <a:pt x="76710" y="45926"/>
                    <a:pt x="53310" y="53430"/>
                  </a:cubicBezTo>
                  <a:cubicBezTo>
                    <a:pt x="37287" y="58516"/>
                    <a:pt x="32200" y="55464"/>
                    <a:pt x="15794" y="55210"/>
                  </a:cubicBezTo>
                  <a:cubicBezTo>
                    <a:pt x="10962" y="55210"/>
                    <a:pt x="9309" y="50377"/>
                    <a:pt x="9563" y="45799"/>
                  </a:cubicBezTo>
                  <a:cubicBezTo>
                    <a:pt x="9817" y="40840"/>
                    <a:pt x="12615" y="37787"/>
                    <a:pt x="17448" y="37660"/>
                  </a:cubicBezTo>
                  <a:cubicBezTo>
                    <a:pt x="26858" y="37406"/>
                    <a:pt x="24696" y="37024"/>
                    <a:pt x="34234" y="37533"/>
                  </a:cubicBezTo>
                  <a:cubicBezTo>
                    <a:pt x="40975" y="37915"/>
                    <a:pt x="44917" y="35880"/>
                    <a:pt x="45934" y="28758"/>
                  </a:cubicBezTo>
                  <a:cubicBezTo>
                    <a:pt x="46316" y="26342"/>
                    <a:pt x="47460" y="24053"/>
                    <a:pt x="48096" y="21637"/>
                  </a:cubicBezTo>
                  <a:cubicBezTo>
                    <a:pt x="49622" y="15787"/>
                    <a:pt x="52547" y="12862"/>
                    <a:pt x="58651" y="16168"/>
                  </a:cubicBezTo>
                  <a:cubicBezTo>
                    <a:pt x="61195" y="17567"/>
                    <a:pt x="62848" y="16804"/>
                    <a:pt x="64883" y="14642"/>
                  </a:cubicBezTo>
                  <a:cubicBezTo>
                    <a:pt x="73403" y="6249"/>
                    <a:pt x="72895" y="8665"/>
                    <a:pt x="77473" y="19729"/>
                  </a:cubicBezTo>
                  <a:cubicBezTo>
                    <a:pt x="78109" y="21382"/>
                    <a:pt x="78490" y="23163"/>
                    <a:pt x="80652" y="23163"/>
                  </a:cubicBezTo>
                  <a:cubicBezTo>
                    <a:pt x="82814" y="23163"/>
                    <a:pt x="83196" y="21382"/>
                    <a:pt x="83959" y="19729"/>
                  </a:cubicBezTo>
                  <a:cubicBezTo>
                    <a:pt x="88537" y="8665"/>
                    <a:pt x="99855" y="6122"/>
                    <a:pt x="108121" y="14515"/>
                  </a:cubicBezTo>
                  <a:cubicBezTo>
                    <a:pt x="110156" y="16550"/>
                    <a:pt x="99982" y="17440"/>
                    <a:pt x="102653" y="16295"/>
                  </a:cubicBezTo>
                  <a:cubicBezTo>
                    <a:pt x="108376" y="13625"/>
                    <a:pt x="111174" y="16677"/>
                    <a:pt x="113208" y="21764"/>
                  </a:cubicBezTo>
                  <a:cubicBezTo>
                    <a:pt x="119440" y="37406"/>
                    <a:pt x="107867" y="37406"/>
                    <a:pt x="124272" y="37406"/>
                  </a:cubicBezTo>
                  <a:cubicBezTo>
                    <a:pt x="129868" y="37406"/>
                    <a:pt x="135463" y="37406"/>
                    <a:pt x="141059" y="37406"/>
                  </a:cubicBezTo>
                  <a:cubicBezTo>
                    <a:pt x="147163" y="37406"/>
                    <a:pt x="151741" y="39441"/>
                    <a:pt x="151741" y="46562"/>
                  </a:cubicBezTo>
                  <a:cubicBezTo>
                    <a:pt x="151869" y="52666"/>
                    <a:pt x="148435" y="55592"/>
                    <a:pt x="141059" y="55719"/>
                  </a:cubicBezTo>
                  <a:cubicBezTo>
                    <a:pt x="135336" y="55846"/>
                    <a:pt x="141186" y="55719"/>
                    <a:pt x="132666" y="557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4" name="Freeform: Shape 33">
              <a:extLst>
                <a:ext uri="{FF2B5EF4-FFF2-40B4-BE49-F238E27FC236}">
                  <a16:creationId xmlns:a16="http://schemas.microsoft.com/office/drawing/2014/main" id="{1D9F9D2C-AD4A-49C6-8890-421F54FC2C46}"/>
                </a:ext>
              </a:extLst>
            </p:cNvPr>
            <p:cNvSpPr/>
            <p:nvPr/>
          </p:nvSpPr>
          <p:spPr>
            <a:xfrm>
              <a:off x="7016775" y="2830463"/>
              <a:ext cx="149638" cy="54414"/>
            </a:xfrm>
            <a:custGeom>
              <a:avLst/>
              <a:gdLst>
                <a:gd name="connsiteX0" fmla="*/ 121709 w 139889"/>
                <a:gd name="connsiteY0" fmla="*/ 52695 h 50868"/>
                <a:gd name="connsiteX1" fmla="*/ 91060 w 139889"/>
                <a:gd name="connsiteY1" fmla="*/ 46209 h 50868"/>
                <a:gd name="connsiteX2" fmla="*/ 53036 w 139889"/>
                <a:gd name="connsiteY2" fmla="*/ 49897 h 50868"/>
                <a:gd name="connsiteX3" fmla="*/ 15520 w 139889"/>
                <a:gd name="connsiteY3" fmla="*/ 52440 h 50868"/>
                <a:gd name="connsiteX4" fmla="*/ 9543 w 139889"/>
                <a:gd name="connsiteY4" fmla="*/ 44683 h 50868"/>
                <a:gd name="connsiteX5" fmla="*/ 16537 w 139889"/>
                <a:gd name="connsiteY5" fmla="*/ 36035 h 50868"/>
                <a:gd name="connsiteX6" fmla="*/ 30399 w 139889"/>
                <a:gd name="connsiteY6" fmla="*/ 35781 h 50868"/>
                <a:gd name="connsiteX7" fmla="*/ 42735 w 139889"/>
                <a:gd name="connsiteY7" fmla="*/ 26752 h 50868"/>
                <a:gd name="connsiteX8" fmla="*/ 45533 w 139889"/>
                <a:gd name="connsiteY8" fmla="*/ 18231 h 50868"/>
                <a:gd name="connsiteX9" fmla="*/ 50238 w 139889"/>
                <a:gd name="connsiteY9" fmla="*/ 14670 h 50868"/>
                <a:gd name="connsiteX10" fmla="*/ 63464 w 139889"/>
                <a:gd name="connsiteY10" fmla="*/ 11745 h 50868"/>
                <a:gd name="connsiteX11" fmla="*/ 71094 w 139889"/>
                <a:gd name="connsiteY11" fmla="*/ 17977 h 50868"/>
                <a:gd name="connsiteX12" fmla="*/ 74146 w 139889"/>
                <a:gd name="connsiteY12" fmla="*/ 21665 h 50868"/>
                <a:gd name="connsiteX13" fmla="*/ 77326 w 139889"/>
                <a:gd name="connsiteY13" fmla="*/ 18231 h 50868"/>
                <a:gd name="connsiteX14" fmla="*/ 99326 w 139889"/>
                <a:gd name="connsiteY14" fmla="*/ 13907 h 50868"/>
                <a:gd name="connsiteX15" fmla="*/ 94494 w 139889"/>
                <a:gd name="connsiteY15" fmla="*/ 15815 h 50868"/>
                <a:gd name="connsiteX16" fmla="*/ 103905 w 139889"/>
                <a:gd name="connsiteY16" fmla="*/ 21029 h 50868"/>
                <a:gd name="connsiteX17" fmla="*/ 125905 w 139889"/>
                <a:gd name="connsiteY17" fmla="*/ 35781 h 50868"/>
                <a:gd name="connsiteX18" fmla="*/ 130992 w 139889"/>
                <a:gd name="connsiteY18" fmla="*/ 36035 h 50868"/>
                <a:gd name="connsiteX19" fmla="*/ 139004 w 139889"/>
                <a:gd name="connsiteY19" fmla="*/ 45319 h 50868"/>
                <a:gd name="connsiteX20" fmla="*/ 130229 w 139889"/>
                <a:gd name="connsiteY20" fmla="*/ 52822 h 50868"/>
                <a:gd name="connsiteX21" fmla="*/ 121709 w 139889"/>
                <a:gd name="connsiteY21" fmla="*/ 52695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9889" h="50868">
                  <a:moveTo>
                    <a:pt x="121709" y="52695"/>
                  </a:moveTo>
                  <a:cubicBezTo>
                    <a:pt x="108610" y="56001"/>
                    <a:pt x="106066" y="48498"/>
                    <a:pt x="91060" y="46209"/>
                  </a:cubicBezTo>
                  <a:cubicBezTo>
                    <a:pt x="74273" y="43665"/>
                    <a:pt x="69314" y="44556"/>
                    <a:pt x="53036" y="49897"/>
                  </a:cubicBezTo>
                  <a:cubicBezTo>
                    <a:pt x="36758" y="55111"/>
                    <a:pt x="31925" y="52059"/>
                    <a:pt x="15520" y="52440"/>
                  </a:cubicBezTo>
                  <a:cubicBezTo>
                    <a:pt x="11069" y="52567"/>
                    <a:pt x="9543" y="48880"/>
                    <a:pt x="9543" y="44683"/>
                  </a:cubicBezTo>
                  <a:cubicBezTo>
                    <a:pt x="9416" y="39596"/>
                    <a:pt x="11705" y="36289"/>
                    <a:pt x="16537" y="36035"/>
                  </a:cubicBezTo>
                  <a:cubicBezTo>
                    <a:pt x="25058" y="35654"/>
                    <a:pt x="21879" y="35272"/>
                    <a:pt x="30399" y="35781"/>
                  </a:cubicBezTo>
                  <a:cubicBezTo>
                    <a:pt x="37394" y="36162"/>
                    <a:pt x="41463" y="34128"/>
                    <a:pt x="42735" y="26752"/>
                  </a:cubicBezTo>
                  <a:cubicBezTo>
                    <a:pt x="43243" y="23827"/>
                    <a:pt x="44515" y="21029"/>
                    <a:pt x="45533" y="18231"/>
                  </a:cubicBezTo>
                  <a:cubicBezTo>
                    <a:pt x="46296" y="16069"/>
                    <a:pt x="48076" y="13653"/>
                    <a:pt x="50238" y="14670"/>
                  </a:cubicBezTo>
                  <a:cubicBezTo>
                    <a:pt x="55706" y="17087"/>
                    <a:pt x="59013" y="15052"/>
                    <a:pt x="63464" y="11745"/>
                  </a:cubicBezTo>
                  <a:cubicBezTo>
                    <a:pt x="69950" y="6913"/>
                    <a:pt x="67661" y="10474"/>
                    <a:pt x="71094" y="17977"/>
                  </a:cubicBezTo>
                  <a:cubicBezTo>
                    <a:pt x="71857" y="19503"/>
                    <a:pt x="71984" y="21537"/>
                    <a:pt x="74146" y="21665"/>
                  </a:cubicBezTo>
                  <a:cubicBezTo>
                    <a:pt x="76435" y="21792"/>
                    <a:pt x="76563" y="19757"/>
                    <a:pt x="77326" y="18231"/>
                  </a:cubicBezTo>
                  <a:cubicBezTo>
                    <a:pt x="81522" y="9202"/>
                    <a:pt x="92459" y="6913"/>
                    <a:pt x="99326" y="13907"/>
                  </a:cubicBezTo>
                  <a:cubicBezTo>
                    <a:pt x="101616" y="16196"/>
                    <a:pt x="91442" y="17087"/>
                    <a:pt x="94494" y="15815"/>
                  </a:cubicBezTo>
                  <a:cubicBezTo>
                    <a:pt x="99581" y="13653"/>
                    <a:pt x="102124" y="16578"/>
                    <a:pt x="103905" y="21029"/>
                  </a:cubicBezTo>
                  <a:cubicBezTo>
                    <a:pt x="109882" y="35781"/>
                    <a:pt x="109882" y="35781"/>
                    <a:pt x="125905" y="35781"/>
                  </a:cubicBezTo>
                  <a:cubicBezTo>
                    <a:pt x="131501" y="35781"/>
                    <a:pt x="125397" y="35654"/>
                    <a:pt x="130992" y="36035"/>
                  </a:cubicBezTo>
                  <a:cubicBezTo>
                    <a:pt x="136588" y="36289"/>
                    <a:pt x="139258" y="39596"/>
                    <a:pt x="139004" y="45319"/>
                  </a:cubicBezTo>
                  <a:cubicBezTo>
                    <a:pt x="138750" y="51169"/>
                    <a:pt x="135316" y="52949"/>
                    <a:pt x="130229" y="52822"/>
                  </a:cubicBezTo>
                  <a:cubicBezTo>
                    <a:pt x="124506" y="52695"/>
                    <a:pt x="130229" y="52695"/>
                    <a:pt x="121709" y="526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5" name="Freeform: Shape 34">
              <a:extLst>
                <a:ext uri="{FF2B5EF4-FFF2-40B4-BE49-F238E27FC236}">
                  <a16:creationId xmlns:a16="http://schemas.microsoft.com/office/drawing/2014/main" id="{F32761BA-D842-46A6-BEA8-D5B60F0B16E1}"/>
                </a:ext>
              </a:extLst>
            </p:cNvPr>
            <p:cNvSpPr/>
            <p:nvPr/>
          </p:nvSpPr>
          <p:spPr>
            <a:xfrm>
              <a:off x="7016745" y="2740729"/>
              <a:ext cx="149638" cy="54414"/>
            </a:xfrm>
            <a:custGeom>
              <a:avLst/>
              <a:gdLst>
                <a:gd name="connsiteX0" fmla="*/ 123899 w 139889"/>
                <a:gd name="connsiteY0" fmla="*/ 52649 h 50868"/>
                <a:gd name="connsiteX1" fmla="*/ 92741 w 139889"/>
                <a:gd name="connsiteY1" fmla="*/ 48707 h 50868"/>
                <a:gd name="connsiteX2" fmla="*/ 48740 w 139889"/>
                <a:gd name="connsiteY2" fmla="*/ 50614 h 50868"/>
                <a:gd name="connsiteX3" fmla="*/ 15548 w 139889"/>
                <a:gd name="connsiteY3" fmla="*/ 52268 h 50868"/>
                <a:gd name="connsiteX4" fmla="*/ 9571 w 139889"/>
                <a:gd name="connsiteY4" fmla="*/ 42857 h 50868"/>
                <a:gd name="connsiteX5" fmla="*/ 17328 w 139889"/>
                <a:gd name="connsiteY5" fmla="*/ 35735 h 50868"/>
                <a:gd name="connsiteX6" fmla="*/ 32589 w 139889"/>
                <a:gd name="connsiteY6" fmla="*/ 35735 h 50868"/>
                <a:gd name="connsiteX7" fmla="*/ 42000 w 139889"/>
                <a:gd name="connsiteY7" fmla="*/ 28741 h 50868"/>
                <a:gd name="connsiteX8" fmla="*/ 44670 w 139889"/>
                <a:gd name="connsiteY8" fmla="*/ 20220 h 50868"/>
                <a:gd name="connsiteX9" fmla="*/ 54208 w 139889"/>
                <a:gd name="connsiteY9" fmla="*/ 15134 h 50868"/>
                <a:gd name="connsiteX10" fmla="*/ 60058 w 139889"/>
                <a:gd name="connsiteY10" fmla="*/ 14243 h 50868"/>
                <a:gd name="connsiteX11" fmla="*/ 71504 w 139889"/>
                <a:gd name="connsiteY11" fmla="*/ 19076 h 50868"/>
                <a:gd name="connsiteX12" fmla="*/ 74556 w 139889"/>
                <a:gd name="connsiteY12" fmla="*/ 21746 h 50868"/>
                <a:gd name="connsiteX13" fmla="*/ 77354 w 139889"/>
                <a:gd name="connsiteY13" fmla="*/ 18694 h 50868"/>
                <a:gd name="connsiteX14" fmla="*/ 100117 w 139889"/>
                <a:gd name="connsiteY14" fmla="*/ 13862 h 50868"/>
                <a:gd name="connsiteX15" fmla="*/ 93505 w 139889"/>
                <a:gd name="connsiteY15" fmla="*/ 15642 h 50868"/>
                <a:gd name="connsiteX16" fmla="*/ 104823 w 139889"/>
                <a:gd name="connsiteY16" fmla="*/ 22382 h 50868"/>
                <a:gd name="connsiteX17" fmla="*/ 123263 w 139889"/>
                <a:gd name="connsiteY17" fmla="*/ 35608 h 50868"/>
                <a:gd name="connsiteX18" fmla="*/ 131275 w 139889"/>
                <a:gd name="connsiteY18" fmla="*/ 35735 h 50868"/>
                <a:gd name="connsiteX19" fmla="*/ 139032 w 139889"/>
                <a:gd name="connsiteY19" fmla="*/ 43620 h 50868"/>
                <a:gd name="connsiteX20" fmla="*/ 131529 w 139889"/>
                <a:gd name="connsiteY20" fmla="*/ 52649 h 50868"/>
                <a:gd name="connsiteX21" fmla="*/ 123899 w 139889"/>
                <a:gd name="connsiteY21" fmla="*/ 52649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9889" h="50868">
                  <a:moveTo>
                    <a:pt x="123899" y="52649"/>
                  </a:moveTo>
                  <a:cubicBezTo>
                    <a:pt x="113979" y="53412"/>
                    <a:pt x="103424" y="52013"/>
                    <a:pt x="92741" y="48707"/>
                  </a:cubicBezTo>
                  <a:cubicBezTo>
                    <a:pt x="70232" y="41712"/>
                    <a:pt x="71122" y="43493"/>
                    <a:pt x="48740" y="50614"/>
                  </a:cubicBezTo>
                  <a:cubicBezTo>
                    <a:pt x="34115" y="55320"/>
                    <a:pt x="30554" y="52522"/>
                    <a:pt x="15548" y="52268"/>
                  </a:cubicBezTo>
                  <a:cubicBezTo>
                    <a:pt x="10461" y="52141"/>
                    <a:pt x="9316" y="47435"/>
                    <a:pt x="9571" y="42857"/>
                  </a:cubicBezTo>
                  <a:cubicBezTo>
                    <a:pt x="9952" y="38025"/>
                    <a:pt x="12750" y="35862"/>
                    <a:pt x="17328" y="35735"/>
                  </a:cubicBezTo>
                  <a:cubicBezTo>
                    <a:pt x="26358" y="35608"/>
                    <a:pt x="23687" y="35481"/>
                    <a:pt x="32589" y="35735"/>
                  </a:cubicBezTo>
                  <a:cubicBezTo>
                    <a:pt x="37803" y="35862"/>
                    <a:pt x="40855" y="34209"/>
                    <a:pt x="42000" y="28741"/>
                  </a:cubicBezTo>
                  <a:cubicBezTo>
                    <a:pt x="42508" y="25816"/>
                    <a:pt x="43780" y="23018"/>
                    <a:pt x="44670" y="20220"/>
                  </a:cubicBezTo>
                  <a:cubicBezTo>
                    <a:pt x="46197" y="15006"/>
                    <a:pt x="48740" y="12336"/>
                    <a:pt x="54208" y="15134"/>
                  </a:cubicBezTo>
                  <a:cubicBezTo>
                    <a:pt x="56370" y="16278"/>
                    <a:pt x="58023" y="15897"/>
                    <a:pt x="60058" y="14243"/>
                  </a:cubicBezTo>
                  <a:cubicBezTo>
                    <a:pt x="69215" y="6613"/>
                    <a:pt x="66290" y="8521"/>
                    <a:pt x="71504" y="19076"/>
                  </a:cubicBezTo>
                  <a:cubicBezTo>
                    <a:pt x="72140" y="20475"/>
                    <a:pt x="72775" y="21874"/>
                    <a:pt x="74556" y="21746"/>
                  </a:cubicBezTo>
                  <a:cubicBezTo>
                    <a:pt x="76336" y="21619"/>
                    <a:pt x="76718" y="20093"/>
                    <a:pt x="77354" y="18694"/>
                  </a:cubicBezTo>
                  <a:cubicBezTo>
                    <a:pt x="81932" y="8648"/>
                    <a:pt x="91597" y="6613"/>
                    <a:pt x="100117" y="13862"/>
                  </a:cubicBezTo>
                  <a:cubicBezTo>
                    <a:pt x="101771" y="15261"/>
                    <a:pt x="91470" y="16405"/>
                    <a:pt x="93505" y="15642"/>
                  </a:cubicBezTo>
                  <a:cubicBezTo>
                    <a:pt x="100117" y="13099"/>
                    <a:pt x="102788" y="16914"/>
                    <a:pt x="104823" y="22382"/>
                  </a:cubicBezTo>
                  <a:cubicBezTo>
                    <a:pt x="109528" y="35608"/>
                    <a:pt x="109655" y="35608"/>
                    <a:pt x="123263" y="35608"/>
                  </a:cubicBezTo>
                  <a:cubicBezTo>
                    <a:pt x="129876" y="35608"/>
                    <a:pt x="124662" y="35608"/>
                    <a:pt x="131275" y="35735"/>
                  </a:cubicBezTo>
                  <a:cubicBezTo>
                    <a:pt x="136234" y="35862"/>
                    <a:pt x="138778" y="38406"/>
                    <a:pt x="139032" y="43620"/>
                  </a:cubicBezTo>
                  <a:cubicBezTo>
                    <a:pt x="139286" y="49088"/>
                    <a:pt x="136870" y="52395"/>
                    <a:pt x="131529" y="52649"/>
                  </a:cubicBezTo>
                  <a:cubicBezTo>
                    <a:pt x="125552" y="52776"/>
                    <a:pt x="131147" y="52649"/>
                    <a:pt x="123899" y="526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6" name="Freeform: Shape 35">
              <a:extLst>
                <a:ext uri="{FF2B5EF4-FFF2-40B4-BE49-F238E27FC236}">
                  <a16:creationId xmlns:a16="http://schemas.microsoft.com/office/drawing/2014/main" id="{9AE06643-CF4A-42B8-BD67-B8AA5402C099}"/>
                </a:ext>
              </a:extLst>
            </p:cNvPr>
            <p:cNvSpPr/>
            <p:nvPr/>
          </p:nvSpPr>
          <p:spPr>
            <a:xfrm>
              <a:off x="7022067" y="2699294"/>
              <a:ext cx="136035" cy="54414"/>
            </a:xfrm>
            <a:custGeom>
              <a:avLst/>
              <a:gdLst>
                <a:gd name="connsiteX0" fmla="*/ 115490 w 127172"/>
                <a:gd name="connsiteY0" fmla="*/ 50689 h 50868"/>
                <a:gd name="connsiteX1" fmla="*/ 85986 w 127172"/>
                <a:gd name="connsiteY1" fmla="*/ 46874 h 50868"/>
                <a:gd name="connsiteX2" fmla="*/ 49107 w 127172"/>
                <a:gd name="connsiteY2" fmla="*/ 47892 h 50868"/>
                <a:gd name="connsiteX3" fmla="*/ 16678 w 127172"/>
                <a:gd name="connsiteY3" fmla="*/ 50308 h 50868"/>
                <a:gd name="connsiteX4" fmla="*/ 9556 w 127172"/>
                <a:gd name="connsiteY4" fmla="*/ 41787 h 50868"/>
                <a:gd name="connsiteX5" fmla="*/ 17695 w 127172"/>
                <a:gd name="connsiteY5" fmla="*/ 34157 h 50868"/>
                <a:gd name="connsiteX6" fmla="*/ 30794 w 127172"/>
                <a:gd name="connsiteY6" fmla="*/ 34157 h 50868"/>
                <a:gd name="connsiteX7" fmla="*/ 39696 w 127172"/>
                <a:gd name="connsiteY7" fmla="*/ 27417 h 50868"/>
                <a:gd name="connsiteX8" fmla="*/ 42621 w 127172"/>
                <a:gd name="connsiteY8" fmla="*/ 18260 h 50868"/>
                <a:gd name="connsiteX9" fmla="*/ 46945 w 127172"/>
                <a:gd name="connsiteY9" fmla="*/ 14191 h 50868"/>
                <a:gd name="connsiteX10" fmla="*/ 60552 w 127172"/>
                <a:gd name="connsiteY10" fmla="*/ 11266 h 50868"/>
                <a:gd name="connsiteX11" fmla="*/ 66529 w 127172"/>
                <a:gd name="connsiteY11" fmla="*/ 18260 h 50868"/>
                <a:gd name="connsiteX12" fmla="*/ 69581 w 127172"/>
                <a:gd name="connsiteY12" fmla="*/ 21694 h 50868"/>
                <a:gd name="connsiteX13" fmla="*/ 71998 w 127172"/>
                <a:gd name="connsiteY13" fmla="*/ 18515 h 50868"/>
                <a:gd name="connsiteX14" fmla="*/ 92599 w 127172"/>
                <a:gd name="connsiteY14" fmla="*/ 13174 h 50868"/>
                <a:gd name="connsiteX15" fmla="*/ 87258 w 127172"/>
                <a:gd name="connsiteY15" fmla="*/ 15590 h 50868"/>
                <a:gd name="connsiteX16" fmla="*/ 96923 w 127172"/>
                <a:gd name="connsiteY16" fmla="*/ 21567 h 50868"/>
                <a:gd name="connsiteX17" fmla="*/ 98577 w 127172"/>
                <a:gd name="connsiteY17" fmla="*/ 27290 h 50868"/>
                <a:gd name="connsiteX18" fmla="*/ 107860 w 127172"/>
                <a:gd name="connsiteY18" fmla="*/ 34411 h 50868"/>
                <a:gd name="connsiteX19" fmla="*/ 119560 w 127172"/>
                <a:gd name="connsiteY19" fmla="*/ 34411 h 50868"/>
                <a:gd name="connsiteX20" fmla="*/ 129098 w 127172"/>
                <a:gd name="connsiteY20" fmla="*/ 42296 h 50868"/>
                <a:gd name="connsiteX21" fmla="*/ 120323 w 127172"/>
                <a:gd name="connsiteY21" fmla="*/ 50816 h 50868"/>
                <a:gd name="connsiteX22" fmla="*/ 115490 w 127172"/>
                <a:gd name="connsiteY22" fmla="*/ 50689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7172" h="50868">
                  <a:moveTo>
                    <a:pt x="115490" y="50689"/>
                  </a:moveTo>
                  <a:cubicBezTo>
                    <a:pt x="105698" y="51579"/>
                    <a:pt x="95906" y="49926"/>
                    <a:pt x="85986" y="46874"/>
                  </a:cubicBezTo>
                  <a:cubicBezTo>
                    <a:pt x="65893" y="40770"/>
                    <a:pt x="69073" y="41151"/>
                    <a:pt x="49107" y="47892"/>
                  </a:cubicBezTo>
                  <a:cubicBezTo>
                    <a:pt x="34609" y="52851"/>
                    <a:pt x="31430" y="50562"/>
                    <a:pt x="16678" y="50308"/>
                  </a:cubicBezTo>
                  <a:cubicBezTo>
                    <a:pt x="11718" y="50181"/>
                    <a:pt x="9302" y="46747"/>
                    <a:pt x="9556" y="41787"/>
                  </a:cubicBezTo>
                  <a:cubicBezTo>
                    <a:pt x="9810" y="36700"/>
                    <a:pt x="12862" y="34284"/>
                    <a:pt x="17695" y="34157"/>
                  </a:cubicBezTo>
                  <a:cubicBezTo>
                    <a:pt x="25961" y="34030"/>
                    <a:pt x="22528" y="33903"/>
                    <a:pt x="30794" y="34157"/>
                  </a:cubicBezTo>
                  <a:cubicBezTo>
                    <a:pt x="35754" y="34284"/>
                    <a:pt x="38551" y="32377"/>
                    <a:pt x="39696" y="27417"/>
                  </a:cubicBezTo>
                  <a:cubicBezTo>
                    <a:pt x="40459" y="24238"/>
                    <a:pt x="41604" y="21313"/>
                    <a:pt x="42621" y="18260"/>
                  </a:cubicBezTo>
                  <a:cubicBezTo>
                    <a:pt x="43384" y="15971"/>
                    <a:pt x="44910" y="13174"/>
                    <a:pt x="46945" y="14191"/>
                  </a:cubicBezTo>
                  <a:cubicBezTo>
                    <a:pt x="52540" y="16862"/>
                    <a:pt x="55974" y="13937"/>
                    <a:pt x="60552" y="11266"/>
                  </a:cubicBezTo>
                  <a:cubicBezTo>
                    <a:pt x="67547" y="7197"/>
                    <a:pt x="63477" y="10630"/>
                    <a:pt x="66529" y="18260"/>
                  </a:cubicBezTo>
                  <a:cubicBezTo>
                    <a:pt x="67165" y="19914"/>
                    <a:pt x="67292" y="21821"/>
                    <a:pt x="69581" y="21694"/>
                  </a:cubicBezTo>
                  <a:cubicBezTo>
                    <a:pt x="71362" y="21567"/>
                    <a:pt x="71489" y="19786"/>
                    <a:pt x="71998" y="18515"/>
                  </a:cubicBezTo>
                  <a:cubicBezTo>
                    <a:pt x="75686" y="9613"/>
                    <a:pt x="85223" y="7069"/>
                    <a:pt x="92599" y="13174"/>
                  </a:cubicBezTo>
                  <a:cubicBezTo>
                    <a:pt x="94507" y="14700"/>
                    <a:pt x="84333" y="16734"/>
                    <a:pt x="87258" y="15590"/>
                  </a:cubicBezTo>
                  <a:cubicBezTo>
                    <a:pt x="92854" y="13428"/>
                    <a:pt x="95397" y="16734"/>
                    <a:pt x="96923" y="21567"/>
                  </a:cubicBezTo>
                  <a:cubicBezTo>
                    <a:pt x="97559" y="23475"/>
                    <a:pt x="98195" y="25382"/>
                    <a:pt x="98577" y="27290"/>
                  </a:cubicBezTo>
                  <a:cubicBezTo>
                    <a:pt x="99594" y="32504"/>
                    <a:pt x="102519" y="34666"/>
                    <a:pt x="107860" y="34411"/>
                  </a:cubicBezTo>
                  <a:cubicBezTo>
                    <a:pt x="115618" y="34030"/>
                    <a:pt x="111675" y="34411"/>
                    <a:pt x="119560" y="34411"/>
                  </a:cubicBezTo>
                  <a:cubicBezTo>
                    <a:pt x="124774" y="34411"/>
                    <a:pt x="128716" y="36319"/>
                    <a:pt x="129098" y="42296"/>
                  </a:cubicBezTo>
                  <a:cubicBezTo>
                    <a:pt x="129352" y="48400"/>
                    <a:pt x="125537" y="50689"/>
                    <a:pt x="120323" y="50816"/>
                  </a:cubicBezTo>
                  <a:cubicBezTo>
                    <a:pt x="114982" y="50816"/>
                    <a:pt x="121340" y="50689"/>
                    <a:pt x="115490" y="506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7" name="Freeform: Shape 36">
              <a:extLst>
                <a:ext uri="{FF2B5EF4-FFF2-40B4-BE49-F238E27FC236}">
                  <a16:creationId xmlns:a16="http://schemas.microsoft.com/office/drawing/2014/main" id="{A57ED0F9-4ECC-403C-9478-E9A7455017F8}"/>
                </a:ext>
              </a:extLst>
            </p:cNvPr>
            <p:cNvSpPr/>
            <p:nvPr/>
          </p:nvSpPr>
          <p:spPr>
            <a:xfrm>
              <a:off x="7023174" y="2874386"/>
              <a:ext cx="136035" cy="54414"/>
            </a:xfrm>
            <a:custGeom>
              <a:avLst/>
              <a:gdLst>
                <a:gd name="connsiteX0" fmla="*/ 113437 w 127172"/>
                <a:gd name="connsiteY0" fmla="*/ 50167 h 50868"/>
                <a:gd name="connsiteX1" fmla="*/ 84824 w 127172"/>
                <a:gd name="connsiteY1" fmla="*/ 46479 h 50868"/>
                <a:gd name="connsiteX2" fmla="*/ 46545 w 127172"/>
                <a:gd name="connsiteY2" fmla="*/ 47878 h 50868"/>
                <a:gd name="connsiteX3" fmla="*/ 15642 w 127172"/>
                <a:gd name="connsiteY3" fmla="*/ 49786 h 50868"/>
                <a:gd name="connsiteX4" fmla="*/ 9538 w 127172"/>
                <a:gd name="connsiteY4" fmla="*/ 42028 h 50868"/>
                <a:gd name="connsiteX5" fmla="*/ 16278 w 127172"/>
                <a:gd name="connsiteY5" fmla="*/ 34016 h 50868"/>
                <a:gd name="connsiteX6" fmla="*/ 28614 w 127172"/>
                <a:gd name="connsiteY6" fmla="*/ 33762 h 50868"/>
                <a:gd name="connsiteX7" fmla="*/ 39551 w 127172"/>
                <a:gd name="connsiteY7" fmla="*/ 25750 h 50868"/>
                <a:gd name="connsiteX8" fmla="*/ 42094 w 127172"/>
                <a:gd name="connsiteY8" fmla="*/ 17993 h 50868"/>
                <a:gd name="connsiteX9" fmla="*/ 45909 w 127172"/>
                <a:gd name="connsiteY9" fmla="*/ 14177 h 50868"/>
                <a:gd name="connsiteX10" fmla="*/ 49088 w 127172"/>
                <a:gd name="connsiteY10" fmla="*/ 10871 h 50868"/>
                <a:gd name="connsiteX11" fmla="*/ 65621 w 127172"/>
                <a:gd name="connsiteY11" fmla="*/ 17738 h 50868"/>
                <a:gd name="connsiteX12" fmla="*/ 68291 w 127172"/>
                <a:gd name="connsiteY12" fmla="*/ 20790 h 50868"/>
                <a:gd name="connsiteX13" fmla="*/ 71344 w 127172"/>
                <a:gd name="connsiteY13" fmla="*/ 17357 h 50868"/>
                <a:gd name="connsiteX14" fmla="*/ 91818 w 127172"/>
                <a:gd name="connsiteY14" fmla="*/ 13160 h 50868"/>
                <a:gd name="connsiteX15" fmla="*/ 85587 w 127172"/>
                <a:gd name="connsiteY15" fmla="*/ 15576 h 50868"/>
                <a:gd name="connsiteX16" fmla="*/ 96269 w 127172"/>
                <a:gd name="connsiteY16" fmla="*/ 22698 h 50868"/>
                <a:gd name="connsiteX17" fmla="*/ 111657 w 127172"/>
                <a:gd name="connsiteY17" fmla="*/ 33889 h 50868"/>
                <a:gd name="connsiteX18" fmla="*/ 119669 w 127172"/>
                <a:gd name="connsiteY18" fmla="*/ 34016 h 50868"/>
                <a:gd name="connsiteX19" fmla="*/ 127426 w 127172"/>
                <a:gd name="connsiteY19" fmla="*/ 42664 h 50868"/>
                <a:gd name="connsiteX20" fmla="*/ 119415 w 127172"/>
                <a:gd name="connsiteY20" fmla="*/ 50294 h 50868"/>
                <a:gd name="connsiteX21" fmla="*/ 113437 w 127172"/>
                <a:gd name="connsiteY21" fmla="*/ 50167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172" h="50868">
                  <a:moveTo>
                    <a:pt x="113437" y="50167"/>
                  </a:moveTo>
                  <a:cubicBezTo>
                    <a:pt x="104663" y="50676"/>
                    <a:pt x="94870" y="49404"/>
                    <a:pt x="84824" y="46479"/>
                  </a:cubicBezTo>
                  <a:cubicBezTo>
                    <a:pt x="64349" y="40375"/>
                    <a:pt x="66892" y="41138"/>
                    <a:pt x="46545" y="47878"/>
                  </a:cubicBezTo>
                  <a:cubicBezTo>
                    <a:pt x="32556" y="52456"/>
                    <a:pt x="29758" y="49786"/>
                    <a:pt x="15642" y="49786"/>
                  </a:cubicBezTo>
                  <a:cubicBezTo>
                    <a:pt x="11445" y="49786"/>
                    <a:pt x="9538" y="46352"/>
                    <a:pt x="9538" y="42028"/>
                  </a:cubicBezTo>
                  <a:cubicBezTo>
                    <a:pt x="9538" y="37195"/>
                    <a:pt x="11700" y="34271"/>
                    <a:pt x="16278" y="34016"/>
                  </a:cubicBezTo>
                  <a:cubicBezTo>
                    <a:pt x="24290" y="33635"/>
                    <a:pt x="20602" y="33380"/>
                    <a:pt x="28614" y="33762"/>
                  </a:cubicBezTo>
                  <a:cubicBezTo>
                    <a:pt x="34718" y="34016"/>
                    <a:pt x="38279" y="32109"/>
                    <a:pt x="39551" y="25750"/>
                  </a:cubicBezTo>
                  <a:cubicBezTo>
                    <a:pt x="40059" y="23079"/>
                    <a:pt x="41077" y="20536"/>
                    <a:pt x="42094" y="17993"/>
                  </a:cubicBezTo>
                  <a:cubicBezTo>
                    <a:pt x="42730" y="16085"/>
                    <a:pt x="44383" y="13414"/>
                    <a:pt x="45909" y="14177"/>
                  </a:cubicBezTo>
                  <a:cubicBezTo>
                    <a:pt x="52013" y="17102"/>
                    <a:pt x="44129" y="13160"/>
                    <a:pt x="49088" y="10871"/>
                  </a:cubicBezTo>
                  <a:cubicBezTo>
                    <a:pt x="56210" y="7564"/>
                    <a:pt x="62314" y="10617"/>
                    <a:pt x="65621" y="17738"/>
                  </a:cubicBezTo>
                  <a:cubicBezTo>
                    <a:pt x="66257" y="19010"/>
                    <a:pt x="66384" y="20790"/>
                    <a:pt x="68291" y="20790"/>
                  </a:cubicBezTo>
                  <a:cubicBezTo>
                    <a:pt x="70581" y="20917"/>
                    <a:pt x="70708" y="18883"/>
                    <a:pt x="71344" y="17357"/>
                  </a:cubicBezTo>
                  <a:cubicBezTo>
                    <a:pt x="74904" y="9472"/>
                    <a:pt x="85205" y="7310"/>
                    <a:pt x="91818" y="13160"/>
                  </a:cubicBezTo>
                  <a:cubicBezTo>
                    <a:pt x="93472" y="14559"/>
                    <a:pt x="82789" y="16721"/>
                    <a:pt x="85587" y="15576"/>
                  </a:cubicBezTo>
                  <a:cubicBezTo>
                    <a:pt x="92581" y="12397"/>
                    <a:pt x="95252" y="17229"/>
                    <a:pt x="96269" y="22698"/>
                  </a:cubicBezTo>
                  <a:cubicBezTo>
                    <a:pt x="97922" y="31854"/>
                    <a:pt x="102882" y="34779"/>
                    <a:pt x="111657" y="33889"/>
                  </a:cubicBezTo>
                  <a:cubicBezTo>
                    <a:pt x="118143" y="33253"/>
                    <a:pt x="113056" y="33762"/>
                    <a:pt x="119669" y="34016"/>
                  </a:cubicBezTo>
                  <a:cubicBezTo>
                    <a:pt x="124883" y="34271"/>
                    <a:pt x="127681" y="36941"/>
                    <a:pt x="127426" y="42664"/>
                  </a:cubicBezTo>
                  <a:cubicBezTo>
                    <a:pt x="127172" y="48005"/>
                    <a:pt x="124247" y="50167"/>
                    <a:pt x="119415" y="50294"/>
                  </a:cubicBezTo>
                  <a:cubicBezTo>
                    <a:pt x="113946" y="50294"/>
                    <a:pt x="120178" y="50167"/>
                    <a:pt x="113437" y="501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8" name="Freeform: Shape 37">
              <a:extLst>
                <a:ext uri="{FF2B5EF4-FFF2-40B4-BE49-F238E27FC236}">
                  <a16:creationId xmlns:a16="http://schemas.microsoft.com/office/drawing/2014/main" id="{89602C85-D0C1-4540-ADF1-95F5A5CB96CA}"/>
                </a:ext>
              </a:extLst>
            </p:cNvPr>
            <p:cNvSpPr/>
            <p:nvPr/>
          </p:nvSpPr>
          <p:spPr>
            <a:xfrm>
              <a:off x="7024797" y="2550198"/>
              <a:ext cx="136035" cy="54414"/>
            </a:xfrm>
            <a:custGeom>
              <a:avLst/>
              <a:gdLst>
                <a:gd name="connsiteX0" fmla="*/ 109123 w 127172"/>
                <a:gd name="connsiteY0" fmla="*/ 48910 h 50868"/>
                <a:gd name="connsiteX1" fmla="*/ 77076 w 127172"/>
                <a:gd name="connsiteY1" fmla="*/ 42297 h 50868"/>
                <a:gd name="connsiteX2" fmla="*/ 45664 w 127172"/>
                <a:gd name="connsiteY2" fmla="*/ 47002 h 50868"/>
                <a:gd name="connsiteX3" fmla="*/ 14634 w 127172"/>
                <a:gd name="connsiteY3" fmla="*/ 48401 h 50868"/>
                <a:gd name="connsiteX4" fmla="*/ 9547 w 127172"/>
                <a:gd name="connsiteY4" fmla="*/ 40644 h 50868"/>
                <a:gd name="connsiteX5" fmla="*/ 16287 w 127172"/>
                <a:gd name="connsiteY5" fmla="*/ 33395 h 50868"/>
                <a:gd name="connsiteX6" fmla="*/ 27987 w 127172"/>
                <a:gd name="connsiteY6" fmla="*/ 33268 h 50868"/>
                <a:gd name="connsiteX7" fmla="*/ 38924 w 127172"/>
                <a:gd name="connsiteY7" fmla="*/ 25256 h 50868"/>
                <a:gd name="connsiteX8" fmla="*/ 41468 w 127172"/>
                <a:gd name="connsiteY8" fmla="*/ 17498 h 50868"/>
                <a:gd name="connsiteX9" fmla="*/ 44774 w 127172"/>
                <a:gd name="connsiteY9" fmla="*/ 14065 h 50868"/>
                <a:gd name="connsiteX10" fmla="*/ 48844 w 127172"/>
                <a:gd name="connsiteY10" fmla="*/ 10377 h 50868"/>
                <a:gd name="connsiteX11" fmla="*/ 64104 w 127172"/>
                <a:gd name="connsiteY11" fmla="*/ 17371 h 50868"/>
                <a:gd name="connsiteX12" fmla="*/ 66648 w 127172"/>
                <a:gd name="connsiteY12" fmla="*/ 20551 h 50868"/>
                <a:gd name="connsiteX13" fmla="*/ 69572 w 127172"/>
                <a:gd name="connsiteY13" fmla="*/ 17880 h 50868"/>
                <a:gd name="connsiteX14" fmla="*/ 90174 w 127172"/>
                <a:gd name="connsiteY14" fmla="*/ 13429 h 50868"/>
                <a:gd name="connsiteX15" fmla="*/ 83561 w 127172"/>
                <a:gd name="connsiteY15" fmla="*/ 15209 h 50868"/>
                <a:gd name="connsiteX16" fmla="*/ 93989 w 127172"/>
                <a:gd name="connsiteY16" fmla="*/ 21949 h 50868"/>
                <a:gd name="connsiteX17" fmla="*/ 109759 w 127172"/>
                <a:gd name="connsiteY17" fmla="*/ 33141 h 50868"/>
                <a:gd name="connsiteX18" fmla="*/ 116372 w 127172"/>
                <a:gd name="connsiteY18" fmla="*/ 33268 h 50868"/>
                <a:gd name="connsiteX19" fmla="*/ 124256 w 127172"/>
                <a:gd name="connsiteY19" fmla="*/ 41788 h 50868"/>
                <a:gd name="connsiteX20" fmla="*/ 115990 w 127172"/>
                <a:gd name="connsiteY20" fmla="*/ 48910 h 50868"/>
                <a:gd name="connsiteX21" fmla="*/ 109123 w 127172"/>
                <a:gd name="connsiteY21" fmla="*/ 48910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172" h="50868">
                  <a:moveTo>
                    <a:pt x="109123" y="48910"/>
                  </a:moveTo>
                  <a:cubicBezTo>
                    <a:pt x="95388" y="52089"/>
                    <a:pt x="92591" y="43823"/>
                    <a:pt x="77076" y="42297"/>
                  </a:cubicBezTo>
                  <a:cubicBezTo>
                    <a:pt x="62196" y="40898"/>
                    <a:pt x="59780" y="43060"/>
                    <a:pt x="45664" y="47002"/>
                  </a:cubicBezTo>
                  <a:cubicBezTo>
                    <a:pt x="31548" y="50945"/>
                    <a:pt x="28877" y="48528"/>
                    <a:pt x="14634" y="48401"/>
                  </a:cubicBezTo>
                  <a:cubicBezTo>
                    <a:pt x="10565" y="48401"/>
                    <a:pt x="9420" y="44586"/>
                    <a:pt x="9547" y="40644"/>
                  </a:cubicBezTo>
                  <a:cubicBezTo>
                    <a:pt x="9675" y="36193"/>
                    <a:pt x="12091" y="33522"/>
                    <a:pt x="16287" y="33395"/>
                  </a:cubicBezTo>
                  <a:cubicBezTo>
                    <a:pt x="24045" y="33013"/>
                    <a:pt x="20230" y="32886"/>
                    <a:pt x="27987" y="33268"/>
                  </a:cubicBezTo>
                  <a:cubicBezTo>
                    <a:pt x="34092" y="33649"/>
                    <a:pt x="37652" y="31614"/>
                    <a:pt x="38924" y="25256"/>
                  </a:cubicBezTo>
                  <a:cubicBezTo>
                    <a:pt x="39433" y="22585"/>
                    <a:pt x="40577" y="20042"/>
                    <a:pt x="41468" y="17498"/>
                  </a:cubicBezTo>
                  <a:cubicBezTo>
                    <a:pt x="42103" y="15845"/>
                    <a:pt x="43375" y="13429"/>
                    <a:pt x="44774" y="14065"/>
                  </a:cubicBezTo>
                  <a:cubicBezTo>
                    <a:pt x="51260" y="17371"/>
                    <a:pt x="43629" y="12030"/>
                    <a:pt x="48844" y="10377"/>
                  </a:cubicBezTo>
                  <a:cubicBezTo>
                    <a:pt x="56092" y="8088"/>
                    <a:pt x="60925" y="10504"/>
                    <a:pt x="64104" y="17371"/>
                  </a:cubicBezTo>
                  <a:cubicBezTo>
                    <a:pt x="64740" y="18770"/>
                    <a:pt x="64867" y="20423"/>
                    <a:pt x="66648" y="20551"/>
                  </a:cubicBezTo>
                  <a:cubicBezTo>
                    <a:pt x="68428" y="20678"/>
                    <a:pt x="68809" y="19279"/>
                    <a:pt x="69572" y="17880"/>
                  </a:cubicBezTo>
                  <a:cubicBezTo>
                    <a:pt x="74024" y="8851"/>
                    <a:pt x="82671" y="6943"/>
                    <a:pt x="90174" y="13429"/>
                  </a:cubicBezTo>
                  <a:cubicBezTo>
                    <a:pt x="91828" y="14828"/>
                    <a:pt x="81272" y="16099"/>
                    <a:pt x="83561" y="15209"/>
                  </a:cubicBezTo>
                  <a:cubicBezTo>
                    <a:pt x="90047" y="12666"/>
                    <a:pt x="92209" y="16735"/>
                    <a:pt x="93989" y="21949"/>
                  </a:cubicBezTo>
                  <a:cubicBezTo>
                    <a:pt x="97805" y="33649"/>
                    <a:pt x="95643" y="33141"/>
                    <a:pt x="109759" y="33141"/>
                  </a:cubicBezTo>
                  <a:cubicBezTo>
                    <a:pt x="115863" y="33141"/>
                    <a:pt x="110267" y="33141"/>
                    <a:pt x="116372" y="33268"/>
                  </a:cubicBezTo>
                  <a:cubicBezTo>
                    <a:pt x="121586" y="33395"/>
                    <a:pt x="124511" y="36193"/>
                    <a:pt x="124256" y="41788"/>
                  </a:cubicBezTo>
                  <a:cubicBezTo>
                    <a:pt x="124129" y="47384"/>
                    <a:pt x="120696" y="48910"/>
                    <a:pt x="115990" y="48910"/>
                  </a:cubicBezTo>
                  <a:cubicBezTo>
                    <a:pt x="110395" y="48910"/>
                    <a:pt x="116753" y="48910"/>
                    <a:pt x="109123" y="489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9" name="Freeform: Shape 38">
              <a:extLst>
                <a:ext uri="{FF2B5EF4-FFF2-40B4-BE49-F238E27FC236}">
                  <a16:creationId xmlns:a16="http://schemas.microsoft.com/office/drawing/2014/main" id="{88324B1B-9901-4E58-B59F-ABDCC3C8BF6F}"/>
                </a:ext>
              </a:extLst>
            </p:cNvPr>
            <p:cNvSpPr/>
            <p:nvPr/>
          </p:nvSpPr>
          <p:spPr>
            <a:xfrm>
              <a:off x="7026666" y="3031952"/>
              <a:ext cx="136035" cy="54414"/>
            </a:xfrm>
            <a:custGeom>
              <a:avLst/>
              <a:gdLst>
                <a:gd name="connsiteX0" fmla="*/ 109665 w 127172"/>
                <a:gd name="connsiteY0" fmla="*/ 48733 h 50868"/>
                <a:gd name="connsiteX1" fmla="*/ 92624 w 127172"/>
                <a:gd name="connsiteY1" fmla="*/ 45299 h 50868"/>
                <a:gd name="connsiteX2" fmla="*/ 45443 w 127172"/>
                <a:gd name="connsiteY2" fmla="*/ 46317 h 50868"/>
                <a:gd name="connsiteX3" fmla="*/ 15939 w 127172"/>
                <a:gd name="connsiteY3" fmla="*/ 48479 h 50868"/>
                <a:gd name="connsiteX4" fmla="*/ 9581 w 127172"/>
                <a:gd name="connsiteY4" fmla="*/ 40212 h 50868"/>
                <a:gd name="connsiteX5" fmla="*/ 17466 w 127172"/>
                <a:gd name="connsiteY5" fmla="*/ 33345 h 50868"/>
                <a:gd name="connsiteX6" fmla="*/ 28402 w 127172"/>
                <a:gd name="connsiteY6" fmla="*/ 33600 h 50868"/>
                <a:gd name="connsiteX7" fmla="*/ 37686 w 127172"/>
                <a:gd name="connsiteY7" fmla="*/ 26478 h 50868"/>
                <a:gd name="connsiteX8" fmla="*/ 40484 w 127172"/>
                <a:gd name="connsiteY8" fmla="*/ 17957 h 50868"/>
                <a:gd name="connsiteX9" fmla="*/ 44426 w 127172"/>
                <a:gd name="connsiteY9" fmla="*/ 14269 h 50868"/>
                <a:gd name="connsiteX10" fmla="*/ 46461 w 127172"/>
                <a:gd name="connsiteY10" fmla="*/ 10963 h 50868"/>
                <a:gd name="connsiteX11" fmla="*/ 62739 w 127172"/>
                <a:gd name="connsiteY11" fmla="*/ 18085 h 50868"/>
                <a:gd name="connsiteX12" fmla="*/ 65282 w 127172"/>
                <a:gd name="connsiteY12" fmla="*/ 21137 h 50868"/>
                <a:gd name="connsiteX13" fmla="*/ 67953 w 127172"/>
                <a:gd name="connsiteY13" fmla="*/ 18212 h 50868"/>
                <a:gd name="connsiteX14" fmla="*/ 87283 w 127172"/>
                <a:gd name="connsiteY14" fmla="*/ 12743 h 50868"/>
                <a:gd name="connsiteX15" fmla="*/ 92116 w 127172"/>
                <a:gd name="connsiteY15" fmla="*/ 15414 h 50868"/>
                <a:gd name="connsiteX16" fmla="*/ 92116 w 127172"/>
                <a:gd name="connsiteY16" fmla="*/ 24570 h 50868"/>
                <a:gd name="connsiteX17" fmla="*/ 104324 w 127172"/>
                <a:gd name="connsiteY17" fmla="*/ 33600 h 50868"/>
                <a:gd name="connsiteX18" fmla="*/ 113099 w 127172"/>
                <a:gd name="connsiteY18" fmla="*/ 33472 h 50868"/>
                <a:gd name="connsiteX19" fmla="*/ 120856 w 127172"/>
                <a:gd name="connsiteY19" fmla="*/ 40467 h 50868"/>
                <a:gd name="connsiteX20" fmla="*/ 113480 w 127172"/>
                <a:gd name="connsiteY20" fmla="*/ 48733 h 50868"/>
                <a:gd name="connsiteX21" fmla="*/ 109665 w 127172"/>
                <a:gd name="connsiteY21" fmla="*/ 48733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172" h="50868">
                  <a:moveTo>
                    <a:pt x="109665" y="48733"/>
                  </a:moveTo>
                  <a:cubicBezTo>
                    <a:pt x="99364" y="49496"/>
                    <a:pt x="101908" y="48097"/>
                    <a:pt x="92624" y="45299"/>
                  </a:cubicBezTo>
                  <a:cubicBezTo>
                    <a:pt x="73040" y="39577"/>
                    <a:pt x="64901" y="39831"/>
                    <a:pt x="45443" y="46317"/>
                  </a:cubicBezTo>
                  <a:cubicBezTo>
                    <a:pt x="31836" y="50768"/>
                    <a:pt x="29674" y="48606"/>
                    <a:pt x="15939" y="48479"/>
                  </a:cubicBezTo>
                  <a:cubicBezTo>
                    <a:pt x="11361" y="48351"/>
                    <a:pt x="9199" y="44918"/>
                    <a:pt x="9581" y="40212"/>
                  </a:cubicBezTo>
                  <a:cubicBezTo>
                    <a:pt x="9962" y="35380"/>
                    <a:pt x="12760" y="33345"/>
                    <a:pt x="17466" y="33345"/>
                  </a:cubicBezTo>
                  <a:cubicBezTo>
                    <a:pt x="24969" y="33472"/>
                    <a:pt x="20899" y="33091"/>
                    <a:pt x="28402" y="33600"/>
                  </a:cubicBezTo>
                  <a:cubicBezTo>
                    <a:pt x="33744" y="33854"/>
                    <a:pt x="36541" y="31819"/>
                    <a:pt x="37686" y="26478"/>
                  </a:cubicBezTo>
                  <a:cubicBezTo>
                    <a:pt x="38322" y="23553"/>
                    <a:pt x="39466" y="20755"/>
                    <a:pt x="40484" y="17957"/>
                  </a:cubicBezTo>
                  <a:cubicBezTo>
                    <a:pt x="41120" y="16050"/>
                    <a:pt x="42519" y="13379"/>
                    <a:pt x="44426" y="14269"/>
                  </a:cubicBezTo>
                  <a:cubicBezTo>
                    <a:pt x="50149" y="16813"/>
                    <a:pt x="42010" y="13252"/>
                    <a:pt x="46461" y="10963"/>
                  </a:cubicBezTo>
                  <a:cubicBezTo>
                    <a:pt x="53455" y="7529"/>
                    <a:pt x="59560" y="10454"/>
                    <a:pt x="62739" y="18085"/>
                  </a:cubicBezTo>
                  <a:cubicBezTo>
                    <a:pt x="63375" y="19483"/>
                    <a:pt x="63502" y="21137"/>
                    <a:pt x="65282" y="21137"/>
                  </a:cubicBezTo>
                  <a:cubicBezTo>
                    <a:pt x="67190" y="21137"/>
                    <a:pt x="67317" y="19611"/>
                    <a:pt x="67953" y="18212"/>
                  </a:cubicBezTo>
                  <a:cubicBezTo>
                    <a:pt x="71641" y="9564"/>
                    <a:pt x="79780" y="7275"/>
                    <a:pt x="87283" y="12743"/>
                  </a:cubicBezTo>
                  <a:cubicBezTo>
                    <a:pt x="88809" y="13888"/>
                    <a:pt x="89954" y="16177"/>
                    <a:pt x="92116" y="15414"/>
                  </a:cubicBezTo>
                  <a:cubicBezTo>
                    <a:pt x="100636" y="12489"/>
                    <a:pt x="90844" y="18593"/>
                    <a:pt x="92116" y="24570"/>
                  </a:cubicBezTo>
                  <a:cubicBezTo>
                    <a:pt x="93642" y="31692"/>
                    <a:pt x="97330" y="34235"/>
                    <a:pt x="104324" y="33600"/>
                  </a:cubicBezTo>
                  <a:cubicBezTo>
                    <a:pt x="111064" y="32964"/>
                    <a:pt x="106232" y="33472"/>
                    <a:pt x="113099" y="33472"/>
                  </a:cubicBezTo>
                  <a:cubicBezTo>
                    <a:pt x="117677" y="33472"/>
                    <a:pt x="120602" y="35634"/>
                    <a:pt x="120856" y="40467"/>
                  </a:cubicBezTo>
                  <a:cubicBezTo>
                    <a:pt x="121238" y="45681"/>
                    <a:pt x="118313" y="48479"/>
                    <a:pt x="113480" y="48733"/>
                  </a:cubicBezTo>
                  <a:cubicBezTo>
                    <a:pt x="107885" y="48987"/>
                    <a:pt x="114244" y="48733"/>
                    <a:pt x="109665" y="487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0" name="Freeform: Shape 39">
              <a:extLst>
                <a:ext uri="{FF2B5EF4-FFF2-40B4-BE49-F238E27FC236}">
                  <a16:creationId xmlns:a16="http://schemas.microsoft.com/office/drawing/2014/main" id="{1897F1AC-B142-4722-AB4E-4F38714ADDC4}"/>
                </a:ext>
              </a:extLst>
            </p:cNvPr>
            <p:cNvSpPr/>
            <p:nvPr/>
          </p:nvSpPr>
          <p:spPr>
            <a:xfrm>
              <a:off x="7026554" y="2953821"/>
              <a:ext cx="136035" cy="54414"/>
            </a:xfrm>
            <a:custGeom>
              <a:avLst/>
              <a:gdLst>
                <a:gd name="connsiteX0" fmla="*/ 109515 w 127172"/>
                <a:gd name="connsiteY0" fmla="*/ 48777 h 50868"/>
                <a:gd name="connsiteX1" fmla="*/ 91711 w 127172"/>
                <a:gd name="connsiteY1" fmla="*/ 45217 h 50868"/>
                <a:gd name="connsiteX2" fmla="*/ 44530 w 127172"/>
                <a:gd name="connsiteY2" fmla="*/ 46743 h 50868"/>
                <a:gd name="connsiteX3" fmla="*/ 15662 w 127172"/>
                <a:gd name="connsiteY3" fmla="*/ 48396 h 50868"/>
                <a:gd name="connsiteX4" fmla="*/ 9558 w 127172"/>
                <a:gd name="connsiteY4" fmla="*/ 40638 h 50868"/>
                <a:gd name="connsiteX5" fmla="*/ 16425 w 127172"/>
                <a:gd name="connsiteY5" fmla="*/ 33517 h 50868"/>
                <a:gd name="connsiteX6" fmla="*/ 28761 w 127172"/>
                <a:gd name="connsiteY6" fmla="*/ 33517 h 50868"/>
                <a:gd name="connsiteX7" fmla="*/ 37536 w 127172"/>
                <a:gd name="connsiteY7" fmla="*/ 26777 h 50868"/>
                <a:gd name="connsiteX8" fmla="*/ 40207 w 127172"/>
                <a:gd name="connsiteY8" fmla="*/ 18256 h 50868"/>
                <a:gd name="connsiteX9" fmla="*/ 44785 w 127172"/>
                <a:gd name="connsiteY9" fmla="*/ 14314 h 50868"/>
                <a:gd name="connsiteX10" fmla="*/ 45166 w 127172"/>
                <a:gd name="connsiteY10" fmla="*/ 11389 h 50868"/>
                <a:gd name="connsiteX11" fmla="*/ 62462 w 127172"/>
                <a:gd name="connsiteY11" fmla="*/ 17620 h 50868"/>
                <a:gd name="connsiteX12" fmla="*/ 64878 w 127172"/>
                <a:gd name="connsiteY12" fmla="*/ 20927 h 50868"/>
                <a:gd name="connsiteX13" fmla="*/ 67930 w 127172"/>
                <a:gd name="connsiteY13" fmla="*/ 17493 h 50868"/>
                <a:gd name="connsiteX14" fmla="*/ 87642 w 127172"/>
                <a:gd name="connsiteY14" fmla="*/ 13169 h 50868"/>
                <a:gd name="connsiteX15" fmla="*/ 81410 w 127172"/>
                <a:gd name="connsiteY15" fmla="*/ 15458 h 50868"/>
                <a:gd name="connsiteX16" fmla="*/ 91202 w 127172"/>
                <a:gd name="connsiteY16" fmla="*/ 21944 h 50868"/>
                <a:gd name="connsiteX17" fmla="*/ 106717 w 127172"/>
                <a:gd name="connsiteY17" fmla="*/ 33389 h 50868"/>
                <a:gd name="connsiteX18" fmla="*/ 113331 w 127172"/>
                <a:gd name="connsiteY18" fmla="*/ 33517 h 50868"/>
                <a:gd name="connsiteX19" fmla="*/ 120834 w 127172"/>
                <a:gd name="connsiteY19" fmla="*/ 40765 h 50868"/>
                <a:gd name="connsiteX20" fmla="*/ 113839 w 127172"/>
                <a:gd name="connsiteY20" fmla="*/ 48650 h 50868"/>
                <a:gd name="connsiteX21" fmla="*/ 109515 w 127172"/>
                <a:gd name="connsiteY21" fmla="*/ 48777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172" h="50868">
                  <a:moveTo>
                    <a:pt x="109515" y="48777"/>
                  </a:moveTo>
                  <a:cubicBezTo>
                    <a:pt x="98960" y="49667"/>
                    <a:pt x="101249" y="48014"/>
                    <a:pt x="91711" y="45217"/>
                  </a:cubicBezTo>
                  <a:cubicBezTo>
                    <a:pt x="72127" y="39367"/>
                    <a:pt x="63988" y="40384"/>
                    <a:pt x="44530" y="46743"/>
                  </a:cubicBezTo>
                  <a:cubicBezTo>
                    <a:pt x="31177" y="51066"/>
                    <a:pt x="29142" y="48777"/>
                    <a:pt x="15662" y="48396"/>
                  </a:cubicBezTo>
                  <a:cubicBezTo>
                    <a:pt x="11466" y="48269"/>
                    <a:pt x="9304" y="44962"/>
                    <a:pt x="9558" y="40638"/>
                  </a:cubicBezTo>
                  <a:cubicBezTo>
                    <a:pt x="9812" y="36315"/>
                    <a:pt x="12101" y="33644"/>
                    <a:pt x="16425" y="33517"/>
                  </a:cubicBezTo>
                  <a:cubicBezTo>
                    <a:pt x="24437" y="33389"/>
                    <a:pt x="20749" y="33135"/>
                    <a:pt x="28761" y="33517"/>
                  </a:cubicBezTo>
                  <a:cubicBezTo>
                    <a:pt x="33721" y="33644"/>
                    <a:pt x="36518" y="31991"/>
                    <a:pt x="37536" y="26777"/>
                  </a:cubicBezTo>
                  <a:cubicBezTo>
                    <a:pt x="38045" y="23852"/>
                    <a:pt x="39189" y="21054"/>
                    <a:pt x="40207" y="18256"/>
                  </a:cubicBezTo>
                  <a:cubicBezTo>
                    <a:pt x="40970" y="16094"/>
                    <a:pt x="42496" y="13424"/>
                    <a:pt x="44785" y="14314"/>
                  </a:cubicBezTo>
                  <a:cubicBezTo>
                    <a:pt x="49872" y="16476"/>
                    <a:pt x="41224" y="14187"/>
                    <a:pt x="45166" y="11389"/>
                  </a:cubicBezTo>
                  <a:cubicBezTo>
                    <a:pt x="51270" y="7192"/>
                    <a:pt x="59409" y="10499"/>
                    <a:pt x="62462" y="17620"/>
                  </a:cubicBezTo>
                  <a:cubicBezTo>
                    <a:pt x="63098" y="19019"/>
                    <a:pt x="63098" y="20800"/>
                    <a:pt x="64878" y="20927"/>
                  </a:cubicBezTo>
                  <a:cubicBezTo>
                    <a:pt x="67167" y="21181"/>
                    <a:pt x="67294" y="19146"/>
                    <a:pt x="67930" y="17493"/>
                  </a:cubicBezTo>
                  <a:cubicBezTo>
                    <a:pt x="71237" y="9354"/>
                    <a:pt x="80774" y="7192"/>
                    <a:pt x="87642" y="13169"/>
                  </a:cubicBezTo>
                  <a:cubicBezTo>
                    <a:pt x="89295" y="14695"/>
                    <a:pt x="78867" y="16476"/>
                    <a:pt x="81410" y="15458"/>
                  </a:cubicBezTo>
                  <a:cubicBezTo>
                    <a:pt x="87642" y="12788"/>
                    <a:pt x="89804" y="17111"/>
                    <a:pt x="91202" y="21944"/>
                  </a:cubicBezTo>
                  <a:cubicBezTo>
                    <a:pt x="95018" y="34661"/>
                    <a:pt x="93619" y="33262"/>
                    <a:pt x="106717" y="33389"/>
                  </a:cubicBezTo>
                  <a:cubicBezTo>
                    <a:pt x="112822" y="33389"/>
                    <a:pt x="107226" y="33389"/>
                    <a:pt x="113331" y="33517"/>
                  </a:cubicBezTo>
                  <a:cubicBezTo>
                    <a:pt x="118036" y="33517"/>
                    <a:pt x="120579" y="36060"/>
                    <a:pt x="120834" y="40765"/>
                  </a:cubicBezTo>
                  <a:cubicBezTo>
                    <a:pt x="121088" y="45598"/>
                    <a:pt x="118417" y="48396"/>
                    <a:pt x="113839" y="48650"/>
                  </a:cubicBezTo>
                  <a:cubicBezTo>
                    <a:pt x="108244" y="49032"/>
                    <a:pt x="114348" y="48777"/>
                    <a:pt x="109515" y="487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1" name="Freeform: Shape 40">
              <a:extLst>
                <a:ext uri="{FF2B5EF4-FFF2-40B4-BE49-F238E27FC236}">
                  <a16:creationId xmlns:a16="http://schemas.microsoft.com/office/drawing/2014/main" id="{3CDE58C7-4E83-4C0F-BEA6-455A03A3B1EE}"/>
                </a:ext>
              </a:extLst>
            </p:cNvPr>
            <p:cNvSpPr/>
            <p:nvPr/>
          </p:nvSpPr>
          <p:spPr>
            <a:xfrm>
              <a:off x="7026436" y="3148749"/>
              <a:ext cx="136035" cy="54414"/>
            </a:xfrm>
            <a:custGeom>
              <a:avLst/>
              <a:gdLst>
                <a:gd name="connsiteX0" fmla="*/ 22768 w 127172"/>
                <a:gd name="connsiteY0" fmla="*/ 48914 h 50868"/>
                <a:gd name="connsiteX1" fmla="*/ 17299 w 127172"/>
                <a:gd name="connsiteY1" fmla="*/ 48914 h 50868"/>
                <a:gd name="connsiteX2" fmla="*/ 9542 w 127172"/>
                <a:gd name="connsiteY2" fmla="*/ 41030 h 50868"/>
                <a:gd name="connsiteX3" fmla="*/ 17426 w 127172"/>
                <a:gd name="connsiteY3" fmla="*/ 33399 h 50868"/>
                <a:gd name="connsiteX4" fmla="*/ 28363 w 127172"/>
                <a:gd name="connsiteY4" fmla="*/ 33399 h 50868"/>
                <a:gd name="connsiteX5" fmla="*/ 37774 w 127172"/>
                <a:gd name="connsiteY5" fmla="*/ 26532 h 50868"/>
                <a:gd name="connsiteX6" fmla="*/ 40444 w 127172"/>
                <a:gd name="connsiteY6" fmla="*/ 18012 h 50868"/>
                <a:gd name="connsiteX7" fmla="*/ 44387 w 127172"/>
                <a:gd name="connsiteY7" fmla="*/ 14323 h 50868"/>
                <a:gd name="connsiteX8" fmla="*/ 46040 w 127172"/>
                <a:gd name="connsiteY8" fmla="*/ 11144 h 50868"/>
                <a:gd name="connsiteX9" fmla="*/ 62572 w 127172"/>
                <a:gd name="connsiteY9" fmla="*/ 17630 h 50868"/>
                <a:gd name="connsiteX10" fmla="*/ 65116 w 127172"/>
                <a:gd name="connsiteY10" fmla="*/ 20809 h 50868"/>
                <a:gd name="connsiteX11" fmla="*/ 68041 w 127172"/>
                <a:gd name="connsiteY11" fmla="*/ 17249 h 50868"/>
                <a:gd name="connsiteX12" fmla="*/ 87244 w 127172"/>
                <a:gd name="connsiteY12" fmla="*/ 12670 h 50868"/>
                <a:gd name="connsiteX13" fmla="*/ 83047 w 127172"/>
                <a:gd name="connsiteY13" fmla="*/ 14832 h 50868"/>
                <a:gd name="connsiteX14" fmla="*/ 90805 w 127172"/>
                <a:gd name="connsiteY14" fmla="*/ 20555 h 50868"/>
                <a:gd name="connsiteX15" fmla="*/ 109117 w 127172"/>
                <a:gd name="connsiteY15" fmla="*/ 33145 h 50868"/>
                <a:gd name="connsiteX16" fmla="*/ 113441 w 127172"/>
                <a:gd name="connsiteY16" fmla="*/ 33272 h 50868"/>
                <a:gd name="connsiteX17" fmla="*/ 120817 w 127172"/>
                <a:gd name="connsiteY17" fmla="*/ 40648 h 50868"/>
                <a:gd name="connsiteX18" fmla="*/ 113823 w 127172"/>
                <a:gd name="connsiteY18" fmla="*/ 48406 h 50868"/>
                <a:gd name="connsiteX19" fmla="*/ 82920 w 127172"/>
                <a:gd name="connsiteY19" fmla="*/ 45735 h 50868"/>
                <a:gd name="connsiteX20" fmla="*/ 50364 w 127172"/>
                <a:gd name="connsiteY20" fmla="*/ 44845 h 50868"/>
                <a:gd name="connsiteX21" fmla="*/ 22768 w 127172"/>
                <a:gd name="connsiteY21" fmla="*/ 48914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172" h="50868">
                  <a:moveTo>
                    <a:pt x="22768" y="48914"/>
                  </a:moveTo>
                  <a:cubicBezTo>
                    <a:pt x="15900" y="48914"/>
                    <a:pt x="22386" y="49042"/>
                    <a:pt x="17299" y="48914"/>
                  </a:cubicBezTo>
                  <a:cubicBezTo>
                    <a:pt x="12467" y="48787"/>
                    <a:pt x="9414" y="46371"/>
                    <a:pt x="9542" y="41030"/>
                  </a:cubicBezTo>
                  <a:cubicBezTo>
                    <a:pt x="9669" y="35816"/>
                    <a:pt x="12594" y="33399"/>
                    <a:pt x="17426" y="33399"/>
                  </a:cubicBezTo>
                  <a:cubicBezTo>
                    <a:pt x="24929" y="33399"/>
                    <a:pt x="20860" y="33018"/>
                    <a:pt x="28363" y="33399"/>
                  </a:cubicBezTo>
                  <a:cubicBezTo>
                    <a:pt x="33577" y="33654"/>
                    <a:pt x="36629" y="31873"/>
                    <a:pt x="37774" y="26532"/>
                  </a:cubicBezTo>
                  <a:cubicBezTo>
                    <a:pt x="38410" y="23607"/>
                    <a:pt x="39427" y="20809"/>
                    <a:pt x="40444" y="18012"/>
                  </a:cubicBezTo>
                  <a:cubicBezTo>
                    <a:pt x="41080" y="16104"/>
                    <a:pt x="42606" y="13560"/>
                    <a:pt x="44387" y="14323"/>
                  </a:cubicBezTo>
                  <a:cubicBezTo>
                    <a:pt x="49982" y="16867"/>
                    <a:pt x="41589" y="13688"/>
                    <a:pt x="46040" y="11144"/>
                  </a:cubicBezTo>
                  <a:cubicBezTo>
                    <a:pt x="52653" y="7329"/>
                    <a:pt x="59520" y="10636"/>
                    <a:pt x="62572" y="17630"/>
                  </a:cubicBezTo>
                  <a:cubicBezTo>
                    <a:pt x="63208" y="19029"/>
                    <a:pt x="63208" y="20682"/>
                    <a:pt x="65116" y="20809"/>
                  </a:cubicBezTo>
                  <a:cubicBezTo>
                    <a:pt x="67532" y="20936"/>
                    <a:pt x="67405" y="18902"/>
                    <a:pt x="68041" y="17249"/>
                  </a:cubicBezTo>
                  <a:cubicBezTo>
                    <a:pt x="71220" y="9618"/>
                    <a:pt x="80758" y="7075"/>
                    <a:pt x="87244" y="12670"/>
                  </a:cubicBezTo>
                  <a:cubicBezTo>
                    <a:pt x="89660" y="14832"/>
                    <a:pt x="79741" y="15977"/>
                    <a:pt x="83047" y="14832"/>
                  </a:cubicBezTo>
                  <a:cubicBezTo>
                    <a:pt x="87752" y="13179"/>
                    <a:pt x="89278" y="16867"/>
                    <a:pt x="90805" y="20555"/>
                  </a:cubicBezTo>
                  <a:cubicBezTo>
                    <a:pt x="95891" y="33145"/>
                    <a:pt x="95891" y="33145"/>
                    <a:pt x="109117" y="33145"/>
                  </a:cubicBezTo>
                  <a:cubicBezTo>
                    <a:pt x="114459" y="33145"/>
                    <a:pt x="108100" y="33145"/>
                    <a:pt x="113441" y="33272"/>
                  </a:cubicBezTo>
                  <a:cubicBezTo>
                    <a:pt x="118147" y="33399"/>
                    <a:pt x="120690" y="35943"/>
                    <a:pt x="120817" y="40648"/>
                  </a:cubicBezTo>
                  <a:cubicBezTo>
                    <a:pt x="120944" y="45481"/>
                    <a:pt x="118274" y="48533"/>
                    <a:pt x="113823" y="48406"/>
                  </a:cubicBezTo>
                  <a:cubicBezTo>
                    <a:pt x="99579" y="48278"/>
                    <a:pt x="97036" y="50568"/>
                    <a:pt x="82920" y="45735"/>
                  </a:cubicBezTo>
                  <a:cubicBezTo>
                    <a:pt x="64480" y="39504"/>
                    <a:pt x="68931" y="39376"/>
                    <a:pt x="50364" y="44845"/>
                  </a:cubicBezTo>
                  <a:cubicBezTo>
                    <a:pt x="40699" y="48151"/>
                    <a:pt x="31034" y="49805"/>
                    <a:pt x="22768" y="489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2" name="Freeform: Shape 41">
              <a:extLst>
                <a:ext uri="{FF2B5EF4-FFF2-40B4-BE49-F238E27FC236}">
                  <a16:creationId xmlns:a16="http://schemas.microsoft.com/office/drawing/2014/main" id="{88008368-717F-4BC0-9EEA-44FE3D6A638A}"/>
                </a:ext>
              </a:extLst>
            </p:cNvPr>
            <p:cNvSpPr/>
            <p:nvPr/>
          </p:nvSpPr>
          <p:spPr>
            <a:xfrm>
              <a:off x="7026703" y="3110152"/>
              <a:ext cx="136035" cy="54414"/>
            </a:xfrm>
            <a:custGeom>
              <a:avLst/>
              <a:gdLst>
                <a:gd name="connsiteX0" fmla="*/ 105815 w 127172"/>
                <a:gd name="connsiteY0" fmla="*/ 48117 h 50868"/>
                <a:gd name="connsiteX1" fmla="*/ 89537 w 127172"/>
                <a:gd name="connsiteY1" fmla="*/ 44302 h 50868"/>
                <a:gd name="connsiteX2" fmla="*/ 45917 w 127172"/>
                <a:gd name="connsiteY2" fmla="*/ 45955 h 50868"/>
                <a:gd name="connsiteX3" fmla="*/ 14887 w 127172"/>
                <a:gd name="connsiteY3" fmla="*/ 47735 h 50868"/>
                <a:gd name="connsiteX4" fmla="*/ 9546 w 127172"/>
                <a:gd name="connsiteY4" fmla="*/ 40105 h 50868"/>
                <a:gd name="connsiteX5" fmla="*/ 16413 w 127172"/>
                <a:gd name="connsiteY5" fmla="*/ 32856 h 50868"/>
                <a:gd name="connsiteX6" fmla="*/ 27350 w 127172"/>
                <a:gd name="connsiteY6" fmla="*/ 32602 h 50868"/>
                <a:gd name="connsiteX7" fmla="*/ 38287 w 127172"/>
                <a:gd name="connsiteY7" fmla="*/ 24463 h 50868"/>
                <a:gd name="connsiteX8" fmla="*/ 40957 w 127172"/>
                <a:gd name="connsiteY8" fmla="*/ 16705 h 50868"/>
                <a:gd name="connsiteX9" fmla="*/ 43246 w 127172"/>
                <a:gd name="connsiteY9" fmla="*/ 14162 h 50868"/>
                <a:gd name="connsiteX10" fmla="*/ 50750 w 127172"/>
                <a:gd name="connsiteY10" fmla="*/ 9711 h 50868"/>
                <a:gd name="connsiteX11" fmla="*/ 62449 w 127172"/>
                <a:gd name="connsiteY11" fmla="*/ 16451 h 50868"/>
                <a:gd name="connsiteX12" fmla="*/ 65629 w 127172"/>
                <a:gd name="connsiteY12" fmla="*/ 19885 h 50868"/>
                <a:gd name="connsiteX13" fmla="*/ 68172 w 127172"/>
                <a:gd name="connsiteY13" fmla="*/ 16705 h 50868"/>
                <a:gd name="connsiteX14" fmla="*/ 87121 w 127172"/>
                <a:gd name="connsiteY14" fmla="*/ 12254 h 50868"/>
                <a:gd name="connsiteX15" fmla="*/ 92462 w 127172"/>
                <a:gd name="connsiteY15" fmla="*/ 15306 h 50868"/>
                <a:gd name="connsiteX16" fmla="*/ 91826 w 127172"/>
                <a:gd name="connsiteY16" fmla="*/ 23191 h 50868"/>
                <a:gd name="connsiteX17" fmla="*/ 104671 w 127172"/>
                <a:gd name="connsiteY17" fmla="*/ 32729 h 50868"/>
                <a:gd name="connsiteX18" fmla="*/ 111919 w 127172"/>
                <a:gd name="connsiteY18" fmla="*/ 32729 h 50868"/>
                <a:gd name="connsiteX19" fmla="*/ 120949 w 127172"/>
                <a:gd name="connsiteY19" fmla="*/ 40995 h 50868"/>
                <a:gd name="connsiteX20" fmla="*/ 111919 w 127172"/>
                <a:gd name="connsiteY20" fmla="*/ 48244 h 50868"/>
                <a:gd name="connsiteX21" fmla="*/ 105815 w 127172"/>
                <a:gd name="connsiteY21" fmla="*/ 48117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172" h="50868">
                  <a:moveTo>
                    <a:pt x="105815" y="48117"/>
                  </a:moveTo>
                  <a:cubicBezTo>
                    <a:pt x="97676" y="48880"/>
                    <a:pt x="99457" y="47099"/>
                    <a:pt x="89537" y="44302"/>
                  </a:cubicBezTo>
                  <a:cubicBezTo>
                    <a:pt x="71097" y="39215"/>
                    <a:pt x="64230" y="40232"/>
                    <a:pt x="45917" y="45955"/>
                  </a:cubicBezTo>
                  <a:cubicBezTo>
                    <a:pt x="31928" y="50406"/>
                    <a:pt x="29130" y="47735"/>
                    <a:pt x="14887" y="47735"/>
                  </a:cubicBezTo>
                  <a:cubicBezTo>
                    <a:pt x="10818" y="47735"/>
                    <a:pt x="9419" y="44047"/>
                    <a:pt x="9546" y="40105"/>
                  </a:cubicBezTo>
                  <a:cubicBezTo>
                    <a:pt x="9673" y="35527"/>
                    <a:pt x="12216" y="33110"/>
                    <a:pt x="16413" y="32856"/>
                  </a:cubicBezTo>
                  <a:cubicBezTo>
                    <a:pt x="23916" y="32475"/>
                    <a:pt x="19847" y="32220"/>
                    <a:pt x="27350" y="32602"/>
                  </a:cubicBezTo>
                  <a:cubicBezTo>
                    <a:pt x="33454" y="32856"/>
                    <a:pt x="37015" y="30821"/>
                    <a:pt x="38287" y="24463"/>
                  </a:cubicBezTo>
                  <a:cubicBezTo>
                    <a:pt x="38795" y="21792"/>
                    <a:pt x="39813" y="19249"/>
                    <a:pt x="40957" y="16705"/>
                  </a:cubicBezTo>
                  <a:cubicBezTo>
                    <a:pt x="41466" y="15688"/>
                    <a:pt x="42992" y="13908"/>
                    <a:pt x="43246" y="14162"/>
                  </a:cubicBezTo>
                  <a:cubicBezTo>
                    <a:pt x="50877" y="17977"/>
                    <a:pt x="44009" y="9838"/>
                    <a:pt x="50750" y="9711"/>
                  </a:cubicBezTo>
                  <a:cubicBezTo>
                    <a:pt x="55964" y="9711"/>
                    <a:pt x="60415" y="10601"/>
                    <a:pt x="62449" y="16451"/>
                  </a:cubicBezTo>
                  <a:cubicBezTo>
                    <a:pt x="62958" y="18104"/>
                    <a:pt x="63212" y="20139"/>
                    <a:pt x="65629" y="19885"/>
                  </a:cubicBezTo>
                  <a:cubicBezTo>
                    <a:pt x="67409" y="19757"/>
                    <a:pt x="67536" y="17977"/>
                    <a:pt x="68172" y="16705"/>
                  </a:cubicBezTo>
                  <a:cubicBezTo>
                    <a:pt x="71860" y="9329"/>
                    <a:pt x="80635" y="7295"/>
                    <a:pt x="87121" y="12254"/>
                  </a:cubicBezTo>
                  <a:cubicBezTo>
                    <a:pt x="88774" y="13526"/>
                    <a:pt x="89919" y="16197"/>
                    <a:pt x="92462" y="15306"/>
                  </a:cubicBezTo>
                  <a:cubicBezTo>
                    <a:pt x="100092" y="12382"/>
                    <a:pt x="90555" y="17723"/>
                    <a:pt x="91826" y="23191"/>
                  </a:cubicBezTo>
                  <a:cubicBezTo>
                    <a:pt x="93479" y="30694"/>
                    <a:pt x="97295" y="33365"/>
                    <a:pt x="104671" y="32729"/>
                  </a:cubicBezTo>
                  <a:cubicBezTo>
                    <a:pt x="110902" y="32093"/>
                    <a:pt x="105688" y="32602"/>
                    <a:pt x="111919" y="32729"/>
                  </a:cubicBezTo>
                  <a:cubicBezTo>
                    <a:pt x="117133" y="32856"/>
                    <a:pt x="121203" y="34637"/>
                    <a:pt x="120949" y="40995"/>
                  </a:cubicBezTo>
                  <a:cubicBezTo>
                    <a:pt x="120694" y="46718"/>
                    <a:pt x="116879" y="48371"/>
                    <a:pt x="111919" y="48244"/>
                  </a:cubicBezTo>
                  <a:cubicBezTo>
                    <a:pt x="106451" y="47990"/>
                    <a:pt x="113064" y="48117"/>
                    <a:pt x="105815" y="481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3" name="Freeform: Shape 42">
              <a:extLst>
                <a:ext uri="{FF2B5EF4-FFF2-40B4-BE49-F238E27FC236}">
                  <a16:creationId xmlns:a16="http://schemas.microsoft.com/office/drawing/2014/main" id="{6B92F688-AC42-4D04-8602-15A5A0D7547A}"/>
                </a:ext>
              </a:extLst>
            </p:cNvPr>
            <p:cNvSpPr/>
            <p:nvPr/>
          </p:nvSpPr>
          <p:spPr>
            <a:xfrm>
              <a:off x="7026435" y="2915198"/>
              <a:ext cx="136035" cy="54414"/>
            </a:xfrm>
            <a:custGeom>
              <a:avLst/>
              <a:gdLst>
                <a:gd name="connsiteX0" fmla="*/ 105685 w 127172"/>
                <a:gd name="connsiteY0" fmla="*/ 48131 h 50868"/>
                <a:gd name="connsiteX1" fmla="*/ 90042 w 127172"/>
                <a:gd name="connsiteY1" fmla="*/ 44443 h 50868"/>
                <a:gd name="connsiteX2" fmla="*/ 47058 w 127172"/>
                <a:gd name="connsiteY2" fmla="*/ 45715 h 50868"/>
                <a:gd name="connsiteX3" fmla="*/ 15265 w 127172"/>
                <a:gd name="connsiteY3" fmla="*/ 47750 h 50868"/>
                <a:gd name="connsiteX4" fmla="*/ 9542 w 127172"/>
                <a:gd name="connsiteY4" fmla="*/ 40501 h 50868"/>
                <a:gd name="connsiteX5" fmla="*/ 16028 w 127172"/>
                <a:gd name="connsiteY5" fmla="*/ 32998 h 50868"/>
                <a:gd name="connsiteX6" fmla="*/ 26202 w 127172"/>
                <a:gd name="connsiteY6" fmla="*/ 32743 h 50868"/>
                <a:gd name="connsiteX7" fmla="*/ 38538 w 127172"/>
                <a:gd name="connsiteY7" fmla="*/ 23460 h 50868"/>
                <a:gd name="connsiteX8" fmla="*/ 49856 w 127172"/>
                <a:gd name="connsiteY8" fmla="*/ 15321 h 50868"/>
                <a:gd name="connsiteX9" fmla="*/ 54053 w 127172"/>
                <a:gd name="connsiteY9" fmla="*/ 13159 h 50868"/>
                <a:gd name="connsiteX10" fmla="*/ 62319 w 127172"/>
                <a:gd name="connsiteY10" fmla="*/ 16974 h 50868"/>
                <a:gd name="connsiteX11" fmla="*/ 64989 w 127172"/>
                <a:gd name="connsiteY11" fmla="*/ 20026 h 50868"/>
                <a:gd name="connsiteX12" fmla="*/ 67787 w 127172"/>
                <a:gd name="connsiteY12" fmla="*/ 17101 h 50868"/>
                <a:gd name="connsiteX13" fmla="*/ 87626 w 127172"/>
                <a:gd name="connsiteY13" fmla="*/ 13159 h 50868"/>
                <a:gd name="connsiteX14" fmla="*/ 81649 w 127172"/>
                <a:gd name="connsiteY14" fmla="*/ 15066 h 50868"/>
                <a:gd name="connsiteX15" fmla="*/ 91060 w 127172"/>
                <a:gd name="connsiteY15" fmla="*/ 21425 h 50868"/>
                <a:gd name="connsiteX16" fmla="*/ 106956 w 127172"/>
                <a:gd name="connsiteY16" fmla="*/ 32616 h 50868"/>
                <a:gd name="connsiteX17" fmla="*/ 111280 w 127172"/>
                <a:gd name="connsiteY17" fmla="*/ 32743 h 50868"/>
                <a:gd name="connsiteX18" fmla="*/ 120691 w 127172"/>
                <a:gd name="connsiteY18" fmla="*/ 40628 h 50868"/>
                <a:gd name="connsiteX19" fmla="*/ 111280 w 127172"/>
                <a:gd name="connsiteY19" fmla="*/ 48258 h 50868"/>
                <a:gd name="connsiteX20" fmla="*/ 105685 w 127172"/>
                <a:gd name="connsiteY20" fmla="*/ 48131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7172" h="50868">
                  <a:moveTo>
                    <a:pt x="105685" y="48131"/>
                  </a:moveTo>
                  <a:cubicBezTo>
                    <a:pt x="97800" y="48767"/>
                    <a:pt x="99835" y="47241"/>
                    <a:pt x="90042" y="44443"/>
                  </a:cubicBezTo>
                  <a:cubicBezTo>
                    <a:pt x="71857" y="39356"/>
                    <a:pt x="65117" y="39992"/>
                    <a:pt x="47058" y="45715"/>
                  </a:cubicBezTo>
                  <a:cubicBezTo>
                    <a:pt x="32688" y="50293"/>
                    <a:pt x="29763" y="47495"/>
                    <a:pt x="15265" y="47750"/>
                  </a:cubicBezTo>
                  <a:cubicBezTo>
                    <a:pt x="11196" y="47877"/>
                    <a:pt x="9542" y="44316"/>
                    <a:pt x="9542" y="40501"/>
                  </a:cubicBezTo>
                  <a:cubicBezTo>
                    <a:pt x="9415" y="36050"/>
                    <a:pt x="11959" y="33252"/>
                    <a:pt x="16028" y="32998"/>
                  </a:cubicBezTo>
                  <a:cubicBezTo>
                    <a:pt x="23277" y="32489"/>
                    <a:pt x="18953" y="32235"/>
                    <a:pt x="26202" y="32743"/>
                  </a:cubicBezTo>
                  <a:cubicBezTo>
                    <a:pt x="33324" y="33252"/>
                    <a:pt x="37011" y="30709"/>
                    <a:pt x="38538" y="23460"/>
                  </a:cubicBezTo>
                  <a:cubicBezTo>
                    <a:pt x="39809" y="17737"/>
                    <a:pt x="40954" y="10742"/>
                    <a:pt x="49856" y="15321"/>
                  </a:cubicBezTo>
                  <a:cubicBezTo>
                    <a:pt x="51636" y="16211"/>
                    <a:pt x="52781" y="14303"/>
                    <a:pt x="54053" y="13159"/>
                  </a:cubicBezTo>
                  <a:cubicBezTo>
                    <a:pt x="61429" y="7182"/>
                    <a:pt x="57995" y="8708"/>
                    <a:pt x="62319" y="16974"/>
                  </a:cubicBezTo>
                  <a:cubicBezTo>
                    <a:pt x="62955" y="18246"/>
                    <a:pt x="63082" y="20026"/>
                    <a:pt x="64989" y="20026"/>
                  </a:cubicBezTo>
                  <a:cubicBezTo>
                    <a:pt x="66897" y="20026"/>
                    <a:pt x="67024" y="18373"/>
                    <a:pt x="67787" y="17101"/>
                  </a:cubicBezTo>
                  <a:cubicBezTo>
                    <a:pt x="72111" y="8835"/>
                    <a:pt x="80377" y="7182"/>
                    <a:pt x="87626" y="13159"/>
                  </a:cubicBezTo>
                  <a:cubicBezTo>
                    <a:pt x="89407" y="14685"/>
                    <a:pt x="79106" y="15957"/>
                    <a:pt x="81649" y="15066"/>
                  </a:cubicBezTo>
                  <a:cubicBezTo>
                    <a:pt x="87372" y="13032"/>
                    <a:pt x="89534" y="16720"/>
                    <a:pt x="91060" y="21425"/>
                  </a:cubicBezTo>
                  <a:cubicBezTo>
                    <a:pt x="94748" y="32998"/>
                    <a:pt x="92967" y="32616"/>
                    <a:pt x="106956" y="32616"/>
                  </a:cubicBezTo>
                  <a:cubicBezTo>
                    <a:pt x="112297" y="32616"/>
                    <a:pt x="105939" y="32489"/>
                    <a:pt x="111280" y="32743"/>
                  </a:cubicBezTo>
                  <a:cubicBezTo>
                    <a:pt x="116367" y="32870"/>
                    <a:pt x="120691" y="34269"/>
                    <a:pt x="120691" y="40628"/>
                  </a:cubicBezTo>
                  <a:cubicBezTo>
                    <a:pt x="120691" y="46859"/>
                    <a:pt x="116494" y="48385"/>
                    <a:pt x="111280" y="48258"/>
                  </a:cubicBezTo>
                  <a:cubicBezTo>
                    <a:pt x="106320" y="48004"/>
                    <a:pt x="112933" y="48131"/>
                    <a:pt x="105685" y="481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4" name="Freeform: Shape 43">
              <a:extLst>
                <a:ext uri="{FF2B5EF4-FFF2-40B4-BE49-F238E27FC236}">
                  <a16:creationId xmlns:a16="http://schemas.microsoft.com/office/drawing/2014/main" id="{0B675326-4D72-413C-A624-54B6461070B8}"/>
                </a:ext>
              </a:extLst>
            </p:cNvPr>
            <p:cNvSpPr/>
            <p:nvPr/>
          </p:nvSpPr>
          <p:spPr>
            <a:xfrm>
              <a:off x="7026568" y="3188609"/>
              <a:ext cx="136035" cy="54414"/>
            </a:xfrm>
            <a:custGeom>
              <a:avLst/>
              <a:gdLst>
                <a:gd name="connsiteX0" fmla="*/ 106577 w 127172"/>
                <a:gd name="connsiteY0" fmla="*/ 47895 h 50868"/>
                <a:gd name="connsiteX1" fmla="*/ 78218 w 127172"/>
                <a:gd name="connsiteY1" fmla="*/ 41537 h 50868"/>
                <a:gd name="connsiteX2" fmla="*/ 43881 w 127172"/>
                <a:gd name="connsiteY2" fmla="*/ 46115 h 50868"/>
                <a:gd name="connsiteX3" fmla="*/ 15013 w 127172"/>
                <a:gd name="connsiteY3" fmla="*/ 47514 h 50868"/>
                <a:gd name="connsiteX4" fmla="*/ 9545 w 127172"/>
                <a:gd name="connsiteY4" fmla="*/ 40010 h 50868"/>
                <a:gd name="connsiteX5" fmla="*/ 16921 w 127172"/>
                <a:gd name="connsiteY5" fmla="*/ 32507 h 50868"/>
                <a:gd name="connsiteX6" fmla="*/ 27857 w 127172"/>
                <a:gd name="connsiteY6" fmla="*/ 32507 h 50868"/>
                <a:gd name="connsiteX7" fmla="*/ 38158 w 127172"/>
                <a:gd name="connsiteY7" fmla="*/ 24750 h 50868"/>
                <a:gd name="connsiteX8" fmla="*/ 40447 w 127172"/>
                <a:gd name="connsiteY8" fmla="*/ 17628 h 50868"/>
                <a:gd name="connsiteX9" fmla="*/ 42737 w 127172"/>
                <a:gd name="connsiteY9" fmla="*/ 14194 h 50868"/>
                <a:gd name="connsiteX10" fmla="*/ 52275 w 127172"/>
                <a:gd name="connsiteY10" fmla="*/ 9744 h 50868"/>
                <a:gd name="connsiteX11" fmla="*/ 62321 w 127172"/>
                <a:gd name="connsiteY11" fmla="*/ 16484 h 50868"/>
                <a:gd name="connsiteX12" fmla="*/ 65373 w 127172"/>
                <a:gd name="connsiteY12" fmla="*/ 19917 h 50868"/>
                <a:gd name="connsiteX13" fmla="*/ 67917 w 127172"/>
                <a:gd name="connsiteY13" fmla="*/ 16738 h 50868"/>
                <a:gd name="connsiteX14" fmla="*/ 87374 w 127172"/>
                <a:gd name="connsiteY14" fmla="*/ 12668 h 50868"/>
                <a:gd name="connsiteX15" fmla="*/ 92842 w 127172"/>
                <a:gd name="connsiteY15" fmla="*/ 15085 h 50868"/>
                <a:gd name="connsiteX16" fmla="*/ 91189 w 127172"/>
                <a:gd name="connsiteY16" fmla="*/ 21316 h 50868"/>
                <a:gd name="connsiteX17" fmla="*/ 106959 w 127172"/>
                <a:gd name="connsiteY17" fmla="*/ 32635 h 50868"/>
                <a:gd name="connsiteX18" fmla="*/ 112808 w 127172"/>
                <a:gd name="connsiteY18" fmla="*/ 32762 h 50868"/>
                <a:gd name="connsiteX19" fmla="*/ 120947 w 127172"/>
                <a:gd name="connsiteY19" fmla="*/ 40265 h 50868"/>
                <a:gd name="connsiteX20" fmla="*/ 112554 w 127172"/>
                <a:gd name="connsiteY20" fmla="*/ 48149 h 50868"/>
                <a:gd name="connsiteX21" fmla="*/ 106577 w 127172"/>
                <a:gd name="connsiteY21" fmla="*/ 47895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172" h="50868">
                  <a:moveTo>
                    <a:pt x="106577" y="47895"/>
                  </a:moveTo>
                  <a:cubicBezTo>
                    <a:pt x="93987" y="51074"/>
                    <a:pt x="92334" y="43444"/>
                    <a:pt x="78218" y="41537"/>
                  </a:cubicBezTo>
                  <a:cubicBezTo>
                    <a:pt x="62448" y="39375"/>
                    <a:pt x="59015" y="41791"/>
                    <a:pt x="43881" y="46115"/>
                  </a:cubicBezTo>
                  <a:cubicBezTo>
                    <a:pt x="30655" y="49930"/>
                    <a:pt x="28493" y="47641"/>
                    <a:pt x="15013" y="47514"/>
                  </a:cubicBezTo>
                  <a:cubicBezTo>
                    <a:pt x="11071" y="47514"/>
                    <a:pt x="9418" y="43953"/>
                    <a:pt x="9545" y="40010"/>
                  </a:cubicBezTo>
                  <a:cubicBezTo>
                    <a:pt x="9672" y="35178"/>
                    <a:pt x="12342" y="32635"/>
                    <a:pt x="16921" y="32507"/>
                  </a:cubicBezTo>
                  <a:cubicBezTo>
                    <a:pt x="24424" y="32253"/>
                    <a:pt x="20354" y="31999"/>
                    <a:pt x="27857" y="32507"/>
                  </a:cubicBezTo>
                  <a:cubicBezTo>
                    <a:pt x="33835" y="32889"/>
                    <a:pt x="37014" y="30600"/>
                    <a:pt x="38158" y="24750"/>
                  </a:cubicBezTo>
                  <a:cubicBezTo>
                    <a:pt x="38667" y="22333"/>
                    <a:pt x="39557" y="19917"/>
                    <a:pt x="40447" y="17628"/>
                  </a:cubicBezTo>
                  <a:cubicBezTo>
                    <a:pt x="40956" y="16356"/>
                    <a:pt x="42610" y="14067"/>
                    <a:pt x="42737" y="14194"/>
                  </a:cubicBezTo>
                  <a:cubicBezTo>
                    <a:pt x="50876" y="17883"/>
                    <a:pt x="44771" y="9108"/>
                    <a:pt x="52275" y="9744"/>
                  </a:cubicBezTo>
                  <a:cubicBezTo>
                    <a:pt x="57107" y="10125"/>
                    <a:pt x="60795" y="11397"/>
                    <a:pt x="62321" y="16484"/>
                  </a:cubicBezTo>
                  <a:cubicBezTo>
                    <a:pt x="62830" y="18137"/>
                    <a:pt x="63084" y="20172"/>
                    <a:pt x="65373" y="19917"/>
                  </a:cubicBezTo>
                  <a:cubicBezTo>
                    <a:pt x="67154" y="19790"/>
                    <a:pt x="67281" y="18010"/>
                    <a:pt x="67917" y="16738"/>
                  </a:cubicBezTo>
                  <a:cubicBezTo>
                    <a:pt x="71605" y="9108"/>
                    <a:pt x="80634" y="7200"/>
                    <a:pt x="87374" y="12668"/>
                  </a:cubicBezTo>
                  <a:cubicBezTo>
                    <a:pt x="89027" y="14067"/>
                    <a:pt x="90045" y="16229"/>
                    <a:pt x="92842" y="15085"/>
                  </a:cubicBezTo>
                  <a:cubicBezTo>
                    <a:pt x="98820" y="12541"/>
                    <a:pt x="89536" y="16229"/>
                    <a:pt x="91189" y="21316"/>
                  </a:cubicBezTo>
                  <a:cubicBezTo>
                    <a:pt x="95004" y="33016"/>
                    <a:pt x="92842" y="32635"/>
                    <a:pt x="106959" y="32635"/>
                  </a:cubicBezTo>
                  <a:cubicBezTo>
                    <a:pt x="112808" y="32635"/>
                    <a:pt x="106959" y="32635"/>
                    <a:pt x="112808" y="32762"/>
                  </a:cubicBezTo>
                  <a:cubicBezTo>
                    <a:pt x="117514" y="32889"/>
                    <a:pt x="120820" y="35051"/>
                    <a:pt x="120947" y="40265"/>
                  </a:cubicBezTo>
                  <a:cubicBezTo>
                    <a:pt x="120947" y="45860"/>
                    <a:pt x="117768" y="48277"/>
                    <a:pt x="112554" y="48149"/>
                  </a:cubicBezTo>
                  <a:cubicBezTo>
                    <a:pt x="107213" y="47768"/>
                    <a:pt x="113826" y="47895"/>
                    <a:pt x="106577" y="478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5" name="Freeform: Shape 44">
              <a:extLst>
                <a:ext uri="{FF2B5EF4-FFF2-40B4-BE49-F238E27FC236}">
                  <a16:creationId xmlns:a16="http://schemas.microsoft.com/office/drawing/2014/main" id="{656DF87A-55F0-4568-A5A5-9B35F68B3C45}"/>
                </a:ext>
              </a:extLst>
            </p:cNvPr>
            <p:cNvSpPr/>
            <p:nvPr/>
          </p:nvSpPr>
          <p:spPr>
            <a:xfrm>
              <a:off x="7026569" y="2993209"/>
              <a:ext cx="136035" cy="54414"/>
            </a:xfrm>
            <a:custGeom>
              <a:avLst/>
              <a:gdLst>
                <a:gd name="connsiteX0" fmla="*/ 106449 w 127172"/>
                <a:gd name="connsiteY0" fmla="*/ 48327 h 50868"/>
                <a:gd name="connsiteX1" fmla="*/ 76691 w 127172"/>
                <a:gd name="connsiteY1" fmla="*/ 41714 h 50868"/>
                <a:gd name="connsiteX2" fmla="*/ 46678 w 127172"/>
                <a:gd name="connsiteY2" fmla="*/ 45783 h 50868"/>
                <a:gd name="connsiteX3" fmla="*/ 15648 w 127172"/>
                <a:gd name="connsiteY3" fmla="*/ 47945 h 50868"/>
                <a:gd name="connsiteX4" fmla="*/ 9544 w 127172"/>
                <a:gd name="connsiteY4" fmla="*/ 40188 h 50868"/>
                <a:gd name="connsiteX5" fmla="*/ 16284 w 127172"/>
                <a:gd name="connsiteY5" fmla="*/ 32939 h 50868"/>
                <a:gd name="connsiteX6" fmla="*/ 25695 w 127172"/>
                <a:gd name="connsiteY6" fmla="*/ 32812 h 50868"/>
                <a:gd name="connsiteX7" fmla="*/ 38539 w 127172"/>
                <a:gd name="connsiteY7" fmla="*/ 23401 h 50868"/>
                <a:gd name="connsiteX8" fmla="*/ 40701 w 127172"/>
                <a:gd name="connsiteY8" fmla="*/ 17042 h 50868"/>
                <a:gd name="connsiteX9" fmla="*/ 44262 w 127172"/>
                <a:gd name="connsiteY9" fmla="*/ 13863 h 50868"/>
                <a:gd name="connsiteX10" fmla="*/ 46805 w 127172"/>
                <a:gd name="connsiteY10" fmla="*/ 10684 h 50868"/>
                <a:gd name="connsiteX11" fmla="*/ 62702 w 127172"/>
                <a:gd name="connsiteY11" fmla="*/ 17678 h 50868"/>
                <a:gd name="connsiteX12" fmla="*/ 64991 w 127172"/>
                <a:gd name="connsiteY12" fmla="*/ 20222 h 50868"/>
                <a:gd name="connsiteX13" fmla="*/ 67916 w 127172"/>
                <a:gd name="connsiteY13" fmla="*/ 17551 h 50868"/>
                <a:gd name="connsiteX14" fmla="*/ 88009 w 127172"/>
                <a:gd name="connsiteY14" fmla="*/ 13481 h 50868"/>
                <a:gd name="connsiteX15" fmla="*/ 92333 w 127172"/>
                <a:gd name="connsiteY15" fmla="*/ 15516 h 50868"/>
                <a:gd name="connsiteX16" fmla="*/ 91697 w 127172"/>
                <a:gd name="connsiteY16" fmla="*/ 23019 h 50868"/>
                <a:gd name="connsiteX17" fmla="*/ 104923 w 127172"/>
                <a:gd name="connsiteY17" fmla="*/ 32812 h 50868"/>
                <a:gd name="connsiteX18" fmla="*/ 112172 w 127172"/>
                <a:gd name="connsiteY18" fmla="*/ 32685 h 50868"/>
                <a:gd name="connsiteX19" fmla="*/ 120819 w 127172"/>
                <a:gd name="connsiteY19" fmla="*/ 40442 h 50868"/>
                <a:gd name="connsiteX20" fmla="*/ 112299 w 127172"/>
                <a:gd name="connsiteY20" fmla="*/ 48327 h 50868"/>
                <a:gd name="connsiteX21" fmla="*/ 106449 w 127172"/>
                <a:gd name="connsiteY21" fmla="*/ 48327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172" h="50868">
                  <a:moveTo>
                    <a:pt x="106449" y="48327"/>
                  </a:moveTo>
                  <a:cubicBezTo>
                    <a:pt x="93350" y="51506"/>
                    <a:pt x="91315" y="43367"/>
                    <a:pt x="76691" y="41714"/>
                  </a:cubicBezTo>
                  <a:cubicBezTo>
                    <a:pt x="62320" y="40060"/>
                    <a:pt x="60158" y="41459"/>
                    <a:pt x="46678" y="45783"/>
                  </a:cubicBezTo>
                  <a:cubicBezTo>
                    <a:pt x="32562" y="50234"/>
                    <a:pt x="29891" y="47691"/>
                    <a:pt x="15648" y="47945"/>
                  </a:cubicBezTo>
                  <a:cubicBezTo>
                    <a:pt x="11324" y="48072"/>
                    <a:pt x="9417" y="44384"/>
                    <a:pt x="9544" y="40188"/>
                  </a:cubicBezTo>
                  <a:cubicBezTo>
                    <a:pt x="9671" y="35737"/>
                    <a:pt x="12087" y="33066"/>
                    <a:pt x="16284" y="32939"/>
                  </a:cubicBezTo>
                  <a:cubicBezTo>
                    <a:pt x="23278" y="32557"/>
                    <a:pt x="18700" y="32303"/>
                    <a:pt x="25695" y="32812"/>
                  </a:cubicBezTo>
                  <a:cubicBezTo>
                    <a:pt x="32943" y="33448"/>
                    <a:pt x="37267" y="31158"/>
                    <a:pt x="38539" y="23401"/>
                  </a:cubicBezTo>
                  <a:cubicBezTo>
                    <a:pt x="38921" y="21239"/>
                    <a:pt x="39811" y="19204"/>
                    <a:pt x="40701" y="17042"/>
                  </a:cubicBezTo>
                  <a:cubicBezTo>
                    <a:pt x="41337" y="15389"/>
                    <a:pt x="42863" y="13100"/>
                    <a:pt x="44262" y="13863"/>
                  </a:cubicBezTo>
                  <a:cubicBezTo>
                    <a:pt x="50112" y="17042"/>
                    <a:pt x="42100" y="12718"/>
                    <a:pt x="46805" y="10684"/>
                  </a:cubicBezTo>
                  <a:cubicBezTo>
                    <a:pt x="53418" y="7759"/>
                    <a:pt x="58887" y="10557"/>
                    <a:pt x="62702" y="17678"/>
                  </a:cubicBezTo>
                  <a:cubicBezTo>
                    <a:pt x="63338" y="18823"/>
                    <a:pt x="63592" y="20094"/>
                    <a:pt x="64991" y="20222"/>
                  </a:cubicBezTo>
                  <a:cubicBezTo>
                    <a:pt x="66771" y="20476"/>
                    <a:pt x="67280" y="18950"/>
                    <a:pt x="67916" y="17551"/>
                  </a:cubicBezTo>
                  <a:cubicBezTo>
                    <a:pt x="72367" y="8776"/>
                    <a:pt x="80506" y="7123"/>
                    <a:pt x="88009" y="13481"/>
                  </a:cubicBezTo>
                  <a:cubicBezTo>
                    <a:pt x="89281" y="14626"/>
                    <a:pt x="90298" y="16279"/>
                    <a:pt x="92333" y="15516"/>
                  </a:cubicBezTo>
                  <a:cubicBezTo>
                    <a:pt x="99836" y="12337"/>
                    <a:pt x="90552" y="17297"/>
                    <a:pt x="91697" y="23019"/>
                  </a:cubicBezTo>
                  <a:cubicBezTo>
                    <a:pt x="93223" y="30904"/>
                    <a:pt x="97292" y="33702"/>
                    <a:pt x="104923" y="32812"/>
                  </a:cubicBezTo>
                  <a:cubicBezTo>
                    <a:pt x="111154" y="32176"/>
                    <a:pt x="105813" y="32685"/>
                    <a:pt x="112172" y="32685"/>
                  </a:cubicBezTo>
                  <a:cubicBezTo>
                    <a:pt x="117132" y="32685"/>
                    <a:pt x="120819" y="34719"/>
                    <a:pt x="120819" y="40442"/>
                  </a:cubicBezTo>
                  <a:cubicBezTo>
                    <a:pt x="120819" y="46165"/>
                    <a:pt x="117513" y="48327"/>
                    <a:pt x="112299" y="48327"/>
                  </a:cubicBezTo>
                  <a:cubicBezTo>
                    <a:pt x="107085" y="48327"/>
                    <a:pt x="113698" y="48327"/>
                    <a:pt x="106449" y="483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6" name="Freeform: Shape 45">
              <a:extLst>
                <a:ext uri="{FF2B5EF4-FFF2-40B4-BE49-F238E27FC236}">
                  <a16:creationId xmlns:a16="http://schemas.microsoft.com/office/drawing/2014/main" id="{10F76D11-B65E-4679-92D7-EA73C597205D}"/>
                </a:ext>
              </a:extLst>
            </p:cNvPr>
            <p:cNvSpPr/>
            <p:nvPr/>
          </p:nvSpPr>
          <p:spPr>
            <a:xfrm>
              <a:off x="7026569" y="3071363"/>
              <a:ext cx="136035" cy="54414"/>
            </a:xfrm>
            <a:custGeom>
              <a:avLst/>
              <a:gdLst>
                <a:gd name="connsiteX0" fmla="*/ 107084 w 127172"/>
                <a:gd name="connsiteY0" fmla="*/ 48262 h 50868"/>
                <a:gd name="connsiteX1" fmla="*/ 91569 w 127172"/>
                <a:gd name="connsiteY1" fmla="*/ 44574 h 50868"/>
                <a:gd name="connsiteX2" fmla="*/ 44516 w 127172"/>
                <a:gd name="connsiteY2" fmla="*/ 46100 h 50868"/>
                <a:gd name="connsiteX3" fmla="*/ 15648 w 127172"/>
                <a:gd name="connsiteY3" fmla="*/ 47880 h 50868"/>
                <a:gd name="connsiteX4" fmla="*/ 9544 w 127172"/>
                <a:gd name="connsiteY4" fmla="*/ 40123 h 50868"/>
                <a:gd name="connsiteX5" fmla="*/ 16284 w 127172"/>
                <a:gd name="connsiteY5" fmla="*/ 32874 h 50868"/>
                <a:gd name="connsiteX6" fmla="*/ 24296 w 127172"/>
                <a:gd name="connsiteY6" fmla="*/ 32874 h 50868"/>
                <a:gd name="connsiteX7" fmla="*/ 39047 w 127172"/>
                <a:gd name="connsiteY7" fmla="*/ 22192 h 50868"/>
                <a:gd name="connsiteX8" fmla="*/ 41082 w 127172"/>
                <a:gd name="connsiteY8" fmla="*/ 16596 h 50868"/>
                <a:gd name="connsiteX9" fmla="*/ 44897 w 127172"/>
                <a:gd name="connsiteY9" fmla="*/ 13798 h 50868"/>
                <a:gd name="connsiteX10" fmla="*/ 46169 w 127172"/>
                <a:gd name="connsiteY10" fmla="*/ 10873 h 50868"/>
                <a:gd name="connsiteX11" fmla="*/ 62701 w 127172"/>
                <a:gd name="connsiteY11" fmla="*/ 17614 h 50868"/>
                <a:gd name="connsiteX12" fmla="*/ 65626 w 127172"/>
                <a:gd name="connsiteY12" fmla="*/ 20284 h 50868"/>
                <a:gd name="connsiteX13" fmla="*/ 68043 w 127172"/>
                <a:gd name="connsiteY13" fmla="*/ 16978 h 50868"/>
                <a:gd name="connsiteX14" fmla="*/ 87373 w 127172"/>
                <a:gd name="connsiteY14" fmla="*/ 12527 h 50868"/>
                <a:gd name="connsiteX15" fmla="*/ 92714 w 127172"/>
                <a:gd name="connsiteY15" fmla="*/ 15070 h 50868"/>
                <a:gd name="connsiteX16" fmla="*/ 91188 w 127172"/>
                <a:gd name="connsiteY16" fmla="*/ 21683 h 50868"/>
                <a:gd name="connsiteX17" fmla="*/ 106449 w 127172"/>
                <a:gd name="connsiteY17" fmla="*/ 32747 h 50868"/>
                <a:gd name="connsiteX18" fmla="*/ 112934 w 127172"/>
                <a:gd name="connsiteY18" fmla="*/ 32747 h 50868"/>
                <a:gd name="connsiteX19" fmla="*/ 120819 w 127172"/>
                <a:gd name="connsiteY19" fmla="*/ 40505 h 50868"/>
                <a:gd name="connsiteX20" fmla="*/ 112934 w 127172"/>
                <a:gd name="connsiteY20" fmla="*/ 48262 h 50868"/>
                <a:gd name="connsiteX21" fmla="*/ 107084 w 127172"/>
                <a:gd name="connsiteY21" fmla="*/ 48262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172" h="50868">
                  <a:moveTo>
                    <a:pt x="107084" y="48262"/>
                  </a:moveTo>
                  <a:cubicBezTo>
                    <a:pt x="98691" y="49025"/>
                    <a:pt x="100980" y="47499"/>
                    <a:pt x="91569" y="44574"/>
                  </a:cubicBezTo>
                  <a:cubicBezTo>
                    <a:pt x="71985" y="38597"/>
                    <a:pt x="63973" y="39869"/>
                    <a:pt x="44516" y="46100"/>
                  </a:cubicBezTo>
                  <a:cubicBezTo>
                    <a:pt x="31163" y="50424"/>
                    <a:pt x="29255" y="47880"/>
                    <a:pt x="15648" y="47880"/>
                  </a:cubicBezTo>
                  <a:cubicBezTo>
                    <a:pt x="11451" y="47880"/>
                    <a:pt x="9416" y="44447"/>
                    <a:pt x="9544" y="40123"/>
                  </a:cubicBezTo>
                  <a:cubicBezTo>
                    <a:pt x="9671" y="35799"/>
                    <a:pt x="11960" y="33001"/>
                    <a:pt x="16284" y="32874"/>
                  </a:cubicBezTo>
                  <a:cubicBezTo>
                    <a:pt x="22769" y="32620"/>
                    <a:pt x="17810" y="32111"/>
                    <a:pt x="24296" y="32874"/>
                  </a:cubicBezTo>
                  <a:cubicBezTo>
                    <a:pt x="32689" y="33764"/>
                    <a:pt x="37903" y="31221"/>
                    <a:pt x="39047" y="22192"/>
                  </a:cubicBezTo>
                  <a:cubicBezTo>
                    <a:pt x="39302" y="20284"/>
                    <a:pt x="40192" y="18377"/>
                    <a:pt x="41082" y="16596"/>
                  </a:cubicBezTo>
                  <a:cubicBezTo>
                    <a:pt x="41845" y="14943"/>
                    <a:pt x="43244" y="13035"/>
                    <a:pt x="44897" y="13798"/>
                  </a:cubicBezTo>
                  <a:cubicBezTo>
                    <a:pt x="50239" y="16596"/>
                    <a:pt x="41845" y="13162"/>
                    <a:pt x="46169" y="10873"/>
                  </a:cubicBezTo>
                  <a:cubicBezTo>
                    <a:pt x="52655" y="7567"/>
                    <a:pt x="59268" y="10619"/>
                    <a:pt x="62701" y="17614"/>
                  </a:cubicBezTo>
                  <a:cubicBezTo>
                    <a:pt x="63337" y="19012"/>
                    <a:pt x="63719" y="20538"/>
                    <a:pt x="65626" y="20284"/>
                  </a:cubicBezTo>
                  <a:cubicBezTo>
                    <a:pt x="67407" y="20157"/>
                    <a:pt x="67534" y="18377"/>
                    <a:pt x="68043" y="16978"/>
                  </a:cubicBezTo>
                  <a:cubicBezTo>
                    <a:pt x="71349" y="9602"/>
                    <a:pt x="80887" y="7313"/>
                    <a:pt x="87373" y="12527"/>
                  </a:cubicBezTo>
                  <a:cubicBezTo>
                    <a:pt x="89026" y="13798"/>
                    <a:pt x="89916" y="16342"/>
                    <a:pt x="92714" y="15070"/>
                  </a:cubicBezTo>
                  <a:cubicBezTo>
                    <a:pt x="99200" y="12145"/>
                    <a:pt x="90298" y="16342"/>
                    <a:pt x="91188" y="21683"/>
                  </a:cubicBezTo>
                  <a:cubicBezTo>
                    <a:pt x="92714" y="30967"/>
                    <a:pt x="97801" y="33764"/>
                    <a:pt x="106449" y="32747"/>
                  </a:cubicBezTo>
                  <a:cubicBezTo>
                    <a:pt x="112426" y="32111"/>
                    <a:pt x="106957" y="32620"/>
                    <a:pt x="112934" y="32747"/>
                  </a:cubicBezTo>
                  <a:cubicBezTo>
                    <a:pt x="117767" y="32874"/>
                    <a:pt x="120819" y="35290"/>
                    <a:pt x="120819" y="40505"/>
                  </a:cubicBezTo>
                  <a:cubicBezTo>
                    <a:pt x="120819" y="45718"/>
                    <a:pt x="117767" y="48135"/>
                    <a:pt x="112934" y="48262"/>
                  </a:cubicBezTo>
                  <a:cubicBezTo>
                    <a:pt x="107466" y="48389"/>
                    <a:pt x="113825" y="48262"/>
                    <a:pt x="107084" y="482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7" name="Freeform: Shape 46">
              <a:extLst>
                <a:ext uri="{FF2B5EF4-FFF2-40B4-BE49-F238E27FC236}">
                  <a16:creationId xmlns:a16="http://schemas.microsoft.com/office/drawing/2014/main" id="{1E36129A-58E0-4808-99EE-3EAEC4717F1C}"/>
                </a:ext>
              </a:extLst>
            </p:cNvPr>
            <p:cNvSpPr/>
            <p:nvPr/>
          </p:nvSpPr>
          <p:spPr>
            <a:xfrm>
              <a:off x="7030243" y="2590321"/>
              <a:ext cx="122432" cy="54414"/>
            </a:xfrm>
            <a:custGeom>
              <a:avLst/>
              <a:gdLst>
                <a:gd name="connsiteX0" fmla="*/ 100598 w 114454"/>
                <a:gd name="connsiteY0" fmla="*/ 46755 h 50868"/>
                <a:gd name="connsiteX1" fmla="*/ 76436 w 114454"/>
                <a:gd name="connsiteY1" fmla="*/ 40778 h 50868"/>
                <a:gd name="connsiteX2" fmla="*/ 42099 w 114454"/>
                <a:gd name="connsiteY2" fmla="*/ 44847 h 50868"/>
                <a:gd name="connsiteX3" fmla="*/ 15393 w 114454"/>
                <a:gd name="connsiteY3" fmla="*/ 46373 h 50868"/>
                <a:gd name="connsiteX4" fmla="*/ 9543 w 114454"/>
                <a:gd name="connsiteY4" fmla="*/ 39125 h 50868"/>
                <a:gd name="connsiteX5" fmla="*/ 16283 w 114454"/>
                <a:gd name="connsiteY5" fmla="*/ 31749 h 50868"/>
                <a:gd name="connsiteX6" fmla="*/ 24931 w 114454"/>
                <a:gd name="connsiteY6" fmla="*/ 31621 h 50868"/>
                <a:gd name="connsiteX7" fmla="*/ 36758 w 114454"/>
                <a:gd name="connsiteY7" fmla="*/ 22847 h 50868"/>
                <a:gd name="connsiteX8" fmla="*/ 47695 w 114454"/>
                <a:gd name="connsiteY8" fmla="*/ 14962 h 50868"/>
                <a:gd name="connsiteX9" fmla="*/ 52400 w 114454"/>
                <a:gd name="connsiteY9" fmla="*/ 12291 h 50868"/>
                <a:gd name="connsiteX10" fmla="*/ 59140 w 114454"/>
                <a:gd name="connsiteY10" fmla="*/ 17124 h 50868"/>
                <a:gd name="connsiteX11" fmla="*/ 61557 w 114454"/>
                <a:gd name="connsiteY11" fmla="*/ 20430 h 50868"/>
                <a:gd name="connsiteX12" fmla="*/ 64354 w 114454"/>
                <a:gd name="connsiteY12" fmla="*/ 17633 h 50868"/>
                <a:gd name="connsiteX13" fmla="*/ 83557 w 114454"/>
                <a:gd name="connsiteY13" fmla="*/ 13054 h 50868"/>
                <a:gd name="connsiteX14" fmla="*/ 87118 w 114454"/>
                <a:gd name="connsiteY14" fmla="*/ 15089 h 50868"/>
                <a:gd name="connsiteX15" fmla="*/ 86991 w 114454"/>
                <a:gd name="connsiteY15" fmla="*/ 23991 h 50868"/>
                <a:gd name="connsiteX16" fmla="*/ 97419 w 114454"/>
                <a:gd name="connsiteY16" fmla="*/ 31749 h 50868"/>
                <a:gd name="connsiteX17" fmla="*/ 105431 w 114454"/>
                <a:gd name="connsiteY17" fmla="*/ 31749 h 50868"/>
                <a:gd name="connsiteX18" fmla="*/ 113951 w 114454"/>
                <a:gd name="connsiteY18" fmla="*/ 38870 h 50868"/>
                <a:gd name="connsiteX19" fmla="*/ 105558 w 114454"/>
                <a:gd name="connsiteY19" fmla="*/ 46882 h 50868"/>
                <a:gd name="connsiteX20" fmla="*/ 100598 w 114454"/>
                <a:gd name="connsiteY20" fmla="*/ 46755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454" h="50868">
                  <a:moveTo>
                    <a:pt x="100598" y="46755"/>
                  </a:moveTo>
                  <a:cubicBezTo>
                    <a:pt x="89153" y="49807"/>
                    <a:pt x="89026" y="42558"/>
                    <a:pt x="76436" y="40778"/>
                  </a:cubicBezTo>
                  <a:cubicBezTo>
                    <a:pt x="60666" y="38489"/>
                    <a:pt x="57233" y="40015"/>
                    <a:pt x="42099" y="44847"/>
                  </a:cubicBezTo>
                  <a:cubicBezTo>
                    <a:pt x="29509" y="48917"/>
                    <a:pt x="28238" y="46628"/>
                    <a:pt x="15393" y="46373"/>
                  </a:cubicBezTo>
                  <a:cubicBezTo>
                    <a:pt x="11578" y="46246"/>
                    <a:pt x="9416" y="43194"/>
                    <a:pt x="9543" y="39125"/>
                  </a:cubicBezTo>
                  <a:cubicBezTo>
                    <a:pt x="9670" y="34801"/>
                    <a:pt x="11960" y="32003"/>
                    <a:pt x="16283" y="31749"/>
                  </a:cubicBezTo>
                  <a:cubicBezTo>
                    <a:pt x="23023" y="31367"/>
                    <a:pt x="18191" y="31113"/>
                    <a:pt x="24931" y="31621"/>
                  </a:cubicBezTo>
                  <a:cubicBezTo>
                    <a:pt x="31671" y="32130"/>
                    <a:pt x="35359" y="29714"/>
                    <a:pt x="36758" y="22847"/>
                  </a:cubicBezTo>
                  <a:cubicBezTo>
                    <a:pt x="37903" y="17251"/>
                    <a:pt x="39301" y="10892"/>
                    <a:pt x="47695" y="14962"/>
                  </a:cubicBezTo>
                  <a:cubicBezTo>
                    <a:pt x="49984" y="16106"/>
                    <a:pt x="50874" y="13309"/>
                    <a:pt x="52400" y="12291"/>
                  </a:cubicBezTo>
                  <a:cubicBezTo>
                    <a:pt x="59140" y="7204"/>
                    <a:pt x="55961" y="9366"/>
                    <a:pt x="59140" y="17124"/>
                  </a:cubicBezTo>
                  <a:cubicBezTo>
                    <a:pt x="59649" y="18523"/>
                    <a:pt x="59649" y="20176"/>
                    <a:pt x="61557" y="20430"/>
                  </a:cubicBezTo>
                  <a:cubicBezTo>
                    <a:pt x="63464" y="20557"/>
                    <a:pt x="63718" y="19159"/>
                    <a:pt x="64354" y="17633"/>
                  </a:cubicBezTo>
                  <a:cubicBezTo>
                    <a:pt x="68170" y="8858"/>
                    <a:pt x="75927" y="7077"/>
                    <a:pt x="83557" y="13054"/>
                  </a:cubicBezTo>
                  <a:cubicBezTo>
                    <a:pt x="84702" y="13944"/>
                    <a:pt x="85592" y="15725"/>
                    <a:pt x="87118" y="15089"/>
                  </a:cubicBezTo>
                  <a:cubicBezTo>
                    <a:pt x="95639" y="11655"/>
                    <a:pt x="85465" y="18141"/>
                    <a:pt x="86991" y="23991"/>
                  </a:cubicBezTo>
                  <a:cubicBezTo>
                    <a:pt x="88517" y="29714"/>
                    <a:pt x="91442" y="32130"/>
                    <a:pt x="97419" y="31749"/>
                  </a:cubicBezTo>
                  <a:cubicBezTo>
                    <a:pt x="103905" y="31367"/>
                    <a:pt x="98818" y="31621"/>
                    <a:pt x="105431" y="31749"/>
                  </a:cubicBezTo>
                  <a:cubicBezTo>
                    <a:pt x="110009" y="31749"/>
                    <a:pt x="113697" y="33402"/>
                    <a:pt x="113951" y="38870"/>
                  </a:cubicBezTo>
                  <a:cubicBezTo>
                    <a:pt x="114206" y="44593"/>
                    <a:pt x="110645" y="46755"/>
                    <a:pt x="105558" y="46882"/>
                  </a:cubicBezTo>
                  <a:cubicBezTo>
                    <a:pt x="100598" y="46882"/>
                    <a:pt x="107339" y="46755"/>
                    <a:pt x="100598" y="467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8" name="Freeform: Shape 47">
              <a:extLst>
                <a:ext uri="{FF2B5EF4-FFF2-40B4-BE49-F238E27FC236}">
                  <a16:creationId xmlns:a16="http://schemas.microsoft.com/office/drawing/2014/main" id="{FF675154-A3B1-4833-A770-CD647CE8761B}"/>
                </a:ext>
              </a:extLst>
            </p:cNvPr>
            <p:cNvSpPr/>
            <p:nvPr/>
          </p:nvSpPr>
          <p:spPr>
            <a:xfrm>
              <a:off x="7030248" y="2627630"/>
              <a:ext cx="122432" cy="54414"/>
            </a:xfrm>
            <a:custGeom>
              <a:avLst/>
              <a:gdLst>
                <a:gd name="connsiteX0" fmla="*/ 100466 w 114454"/>
                <a:gd name="connsiteY0" fmla="*/ 46596 h 50868"/>
                <a:gd name="connsiteX1" fmla="*/ 72107 w 114454"/>
                <a:gd name="connsiteY1" fmla="*/ 40110 h 50868"/>
                <a:gd name="connsiteX2" fmla="*/ 43493 w 114454"/>
                <a:gd name="connsiteY2" fmla="*/ 44434 h 50868"/>
                <a:gd name="connsiteX3" fmla="*/ 15388 w 114454"/>
                <a:gd name="connsiteY3" fmla="*/ 46341 h 50868"/>
                <a:gd name="connsiteX4" fmla="*/ 9538 w 114454"/>
                <a:gd name="connsiteY4" fmla="*/ 39092 h 50868"/>
                <a:gd name="connsiteX5" fmla="*/ 15515 w 114454"/>
                <a:gd name="connsiteY5" fmla="*/ 31971 h 50868"/>
                <a:gd name="connsiteX6" fmla="*/ 23527 w 114454"/>
                <a:gd name="connsiteY6" fmla="*/ 31589 h 50868"/>
                <a:gd name="connsiteX7" fmla="*/ 37134 w 114454"/>
                <a:gd name="connsiteY7" fmla="*/ 21670 h 50868"/>
                <a:gd name="connsiteX8" fmla="*/ 38915 w 114454"/>
                <a:gd name="connsiteY8" fmla="*/ 16837 h 50868"/>
                <a:gd name="connsiteX9" fmla="*/ 41077 w 114454"/>
                <a:gd name="connsiteY9" fmla="*/ 14039 h 50868"/>
                <a:gd name="connsiteX10" fmla="*/ 49470 w 114454"/>
                <a:gd name="connsiteY10" fmla="*/ 9843 h 50868"/>
                <a:gd name="connsiteX11" fmla="*/ 59262 w 114454"/>
                <a:gd name="connsiteY11" fmla="*/ 16837 h 50868"/>
                <a:gd name="connsiteX12" fmla="*/ 61678 w 114454"/>
                <a:gd name="connsiteY12" fmla="*/ 20017 h 50868"/>
                <a:gd name="connsiteX13" fmla="*/ 64349 w 114454"/>
                <a:gd name="connsiteY13" fmla="*/ 17092 h 50868"/>
                <a:gd name="connsiteX14" fmla="*/ 82789 w 114454"/>
                <a:gd name="connsiteY14" fmla="*/ 12259 h 50868"/>
                <a:gd name="connsiteX15" fmla="*/ 87622 w 114454"/>
                <a:gd name="connsiteY15" fmla="*/ 14803 h 50868"/>
                <a:gd name="connsiteX16" fmla="*/ 86859 w 114454"/>
                <a:gd name="connsiteY16" fmla="*/ 22942 h 50868"/>
                <a:gd name="connsiteX17" fmla="*/ 98177 w 114454"/>
                <a:gd name="connsiteY17" fmla="*/ 31462 h 50868"/>
                <a:gd name="connsiteX18" fmla="*/ 106189 w 114454"/>
                <a:gd name="connsiteY18" fmla="*/ 31589 h 50868"/>
                <a:gd name="connsiteX19" fmla="*/ 113946 w 114454"/>
                <a:gd name="connsiteY19" fmla="*/ 39347 h 50868"/>
                <a:gd name="connsiteX20" fmla="*/ 105553 w 114454"/>
                <a:gd name="connsiteY20" fmla="*/ 46596 h 50868"/>
                <a:gd name="connsiteX21" fmla="*/ 100466 w 114454"/>
                <a:gd name="connsiteY21" fmla="*/ 46596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454" h="50868">
                  <a:moveTo>
                    <a:pt x="100466" y="46596"/>
                  </a:moveTo>
                  <a:cubicBezTo>
                    <a:pt x="87749" y="49775"/>
                    <a:pt x="86350" y="41509"/>
                    <a:pt x="72107" y="40110"/>
                  </a:cubicBezTo>
                  <a:cubicBezTo>
                    <a:pt x="58245" y="38711"/>
                    <a:pt x="56719" y="40364"/>
                    <a:pt x="43493" y="44434"/>
                  </a:cubicBezTo>
                  <a:cubicBezTo>
                    <a:pt x="30394" y="48503"/>
                    <a:pt x="28614" y="46087"/>
                    <a:pt x="15388" y="46341"/>
                  </a:cubicBezTo>
                  <a:cubicBezTo>
                    <a:pt x="11445" y="46341"/>
                    <a:pt x="9538" y="43035"/>
                    <a:pt x="9538" y="39092"/>
                  </a:cubicBezTo>
                  <a:cubicBezTo>
                    <a:pt x="9538" y="35023"/>
                    <a:pt x="11573" y="32225"/>
                    <a:pt x="15515" y="31971"/>
                  </a:cubicBezTo>
                  <a:cubicBezTo>
                    <a:pt x="22001" y="31462"/>
                    <a:pt x="17041" y="30826"/>
                    <a:pt x="23527" y="31589"/>
                  </a:cubicBezTo>
                  <a:cubicBezTo>
                    <a:pt x="31412" y="32352"/>
                    <a:pt x="35990" y="30063"/>
                    <a:pt x="37134" y="21670"/>
                  </a:cubicBezTo>
                  <a:cubicBezTo>
                    <a:pt x="37389" y="20017"/>
                    <a:pt x="38152" y="18363"/>
                    <a:pt x="38915" y="16837"/>
                  </a:cubicBezTo>
                  <a:cubicBezTo>
                    <a:pt x="39423" y="15820"/>
                    <a:pt x="40695" y="13912"/>
                    <a:pt x="41077" y="14039"/>
                  </a:cubicBezTo>
                  <a:cubicBezTo>
                    <a:pt x="48707" y="17473"/>
                    <a:pt x="42348" y="9207"/>
                    <a:pt x="49470" y="9843"/>
                  </a:cubicBezTo>
                  <a:cubicBezTo>
                    <a:pt x="54302" y="10224"/>
                    <a:pt x="57990" y="11496"/>
                    <a:pt x="59262" y="16837"/>
                  </a:cubicBezTo>
                  <a:cubicBezTo>
                    <a:pt x="59644" y="18363"/>
                    <a:pt x="59898" y="19889"/>
                    <a:pt x="61678" y="20017"/>
                  </a:cubicBezTo>
                  <a:cubicBezTo>
                    <a:pt x="63586" y="20144"/>
                    <a:pt x="63713" y="18491"/>
                    <a:pt x="64349" y="17092"/>
                  </a:cubicBezTo>
                  <a:cubicBezTo>
                    <a:pt x="67783" y="9461"/>
                    <a:pt x="76176" y="7172"/>
                    <a:pt x="82789" y="12259"/>
                  </a:cubicBezTo>
                  <a:cubicBezTo>
                    <a:pt x="84315" y="13404"/>
                    <a:pt x="85205" y="15693"/>
                    <a:pt x="87622" y="14803"/>
                  </a:cubicBezTo>
                  <a:cubicBezTo>
                    <a:pt x="95125" y="12132"/>
                    <a:pt x="85587" y="17346"/>
                    <a:pt x="86859" y="22942"/>
                  </a:cubicBezTo>
                  <a:cubicBezTo>
                    <a:pt x="88257" y="29427"/>
                    <a:pt x="91691" y="31844"/>
                    <a:pt x="98177" y="31462"/>
                  </a:cubicBezTo>
                  <a:cubicBezTo>
                    <a:pt x="104663" y="31081"/>
                    <a:pt x="99576" y="31335"/>
                    <a:pt x="106189" y="31589"/>
                  </a:cubicBezTo>
                  <a:cubicBezTo>
                    <a:pt x="110894" y="31844"/>
                    <a:pt x="114200" y="33878"/>
                    <a:pt x="113946" y="39347"/>
                  </a:cubicBezTo>
                  <a:cubicBezTo>
                    <a:pt x="113692" y="44561"/>
                    <a:pt x="110385" y="46596"/>
                    <a:pt x="105553" y="46596"/>
                  </a:cubicBezTo>
                  <a:cubicBezTo>
                    <a:pt x="100593" y="46468"/>
                    <a:pt x="107460" y="46596"/>
                    <a:pt x="100466" y="465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9" name="Freeform: Shape 48">
              <a:extLst>
                <a:ext uri="{FF2B5EF4-FFF2-40B4-BE49-F238E27FC236}">
                  <a16:creationId xmlns:a16="http://schemas.microsoft.com/office/drawing/2014/main" id="{F84B400C-3879-4CB6-BBBB-8A2B021F9982}"/>
                </a:ext>
              </a:extLst>
            </p:cNvPr>
            <p:cNvSpPr/>
            <p:nvPr/>
          </p:nvSpPr>
          <p:spPr>
            <a:xfrm>
              <a:off x="7035690" y="2664618"/>
              <a:ext cx="122432" cy="54414"/>
            </a:xfrm>
            <a:custGeom>
              <a:avLst/>
              <a:gdLst>
                <a:gd name="connsiteX0" fmla="*/ 18313 w 114454"/>
                <a:gd name="connsiteY0" fmla="*/ 44446 h 50868"/>
                <a:gd name="connsiteX1" fmla="*/ 16151 w 114454"/>
                <a:gd name="connsiteY1" fmla="*/ 44446 h 50868"/>
                <a:gd name="connsiteX2" fmla="*/ 9538 w 114454"/>
                <a:gd name="connsiteY2" fmla="*/ 37197 h 50868"/>
                <a:gd name="connsiteX3" fmla="*/ 16532 w 114454"/>
                <a:gd name="connsiteY3" fmla="*/ 30584 h 50868"/>
                <a:gd name="connsiteX4" fmla="*/ 23781 w 114454"/>
                <a:gd name="connsiteY4" fmla="*/ 30584 h 50868"/>
                <a:gd name="connsiteX5" fmla="*/ 33319 w 114454"/>
                <a:gd name="connsiteY5" fmla="*/ 23844 h 50868"/>
                <a:gd name="connsiteX6" fmla="*/ 44892 w 114454"/>
                <a:gd name="connsiteY6" fmla="*/ 14561 h 50868"/>
                <a:gd name="connsiteX7" fmla="*/ 47817 w 114454"/>
                <a:gd name="connsiteY7" fmla="*/ 12780 h 50868"/>
                <a:gd name="connsiteX8" fmla="*/ 54048 w 114454"/>
                <a:gd name="connsiteY8" fmla="*/ 17358 h 50868"/>
                <a:gd name="connsiteX9" fmla="*/ 56464 w 114454"/>
                <a:gd name="connsiteY9" fmla="*/ 19647 h 50868"/>
                <a:gd name="connsiteX10" fmla="*/ 58753 w 114454"/>
                <a:gd name="connsiteY10" fmla="*/ 17231 h 50868"/>
                <a:gd name="connsiteX11" fmla="*/ 76176 w 114454"/>
                <a:gd name="connsiteY11" fmla="*/ 12526 h 50868"/>
                <a:gd name="connsiteX12" fmla="*/ 79737 w 114454"/>
                <a:gd name="connsiteY12" fmla="*/ 14688 h 50868"/>
                <a:gd name="connsiteX13" fmla="*/ 79483 w 114454"/>
                <a:gd name="connsiteY13" fmla="*/ 24098 h 50868"/>
                <a:gd name="connsiteX14" fmla="*/ 88385 w 114454"/>
                <a:gd name="connsiteY14" fmla="*/ 30711 h 50868"/>
                <a:gd name="connsiteX15" fmla="*/ 107333 w 114454"/>
                <a:gd name="connsiteY15" fmla="*/ 30711 h 50868"/>
                <a:gd name="connsiteX16" fmla="*/ 103391 w 114454"/>
                <a:gd name="connsiteY16" fmla="*/ 37452 h 50868"/>
                <a:gd name="connsiteX17" fmla="*/ 107588 w 114454"/>
                <a:gd name="connsiteY17" fmla="*/ 44700 h 50868"/>
                <a:gd name="connsiteX18" fmla="*/ 80246 w 114454"/>
                <a:gd name="connsiteY18" fmla="*/ 41648 h 50868"/>
                <a:gd name="connsiteX19" fmla="*/ 44510 w 114454"/>
                <a:gd name="connsiteY19" fmla="*/ 41394 h 50868"/>
                <a:gd name="connsiteX20" fmla="*/ 18313 w 114454"/>
                <a:gd name="connsiteY20" fmla="*/ 44446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454" h="50868">
                  <a:moveTo>
                    <a:pt x="18313" y="44446"/>
                  </a:moveTo>
                  <a:cubicBezTo>
                    <a:pt x="13735" y="44446"/>
                    <a:pt x="20729" y="44573"/>
                    <a:pt x="16151" y="44446"/>
                  </a:cubicBezTo>
                  <a:cubicBezTo>
                    <a:pt x="11827" y="44192"/>
                    <a:pt x="9538" y="41775"/>
                    <a:pt x="9538" y="37197"/>
                  </a:cubicBezTo>
                  <a:cubicBezTo>
                    <a:pt x="9665" y="32492"/>
                    <a:pt x="12336" y="30584"/>
                    <a:pt x="16532" y="30584"/>
                  </a:cubicBezTo>
                  <a:cubicBezTo>
                    <a:pt x="22891" y="30584"/>
                    <a:pt x="17550" y="30203"/>
                    <a:pt x="23781" y="30584"/>
                  </a:cubicBezTo>
                  <a:cubicBezTo>
                    <a:pt x="28995" y="30839"/>
                    <a:pt x="31793" y="29185"/>
                    <a:pt x="33319" y="23844"/>
                  </a:cubicBezTo>
                  <a:cubicBezTo>
                    <a:pt x="34845" y="18248"/>
                    <a:pt x="35608" y="10491"/>
                    <a:pt x="44892" y="14561"/>
                  </a:cubicBezTo>
                  <a:cubicBezTo>
                    <a:pt x="45528" y="14815"/>
                    <a:pt x="46927" y="13543"/>
                    <a:pt x="47817" y="12780"/>
                  </a:cubicBezTo>
                  <a:cubicBezTo>
                    <a:pt x="55701" y="7312"/>
                    <a:pt x="49724" y="8711"/>
                    <a:pt x="54048" y="17358"/>
                  </a:cubicBezTo>
                  <a:cubicBezTo>
                    <a:pt x="54684" y="18503"/>
                    <a:pt x="55066" y="19647"/>
                    <a:pt x="56464" y="19647"/>
                  </a:cubicBezTo>
                  <a:cubicBezTo>
                    <a:pt x="57863" y="19520"/>
                    <a:pt x="58245" y="18376"/>
                    <a:pt x="58753" y="17231"/>
                  </a:cubicBezTo>
                  <a:cubicBezTo>
                    <a:pt x="62696" y="9092"/>
                    <a:pt x="69055" y="7439"/>
                    <a:pt x="76176" y="12526"/>
                  </a:cubicBezTo>
                  <a:cubicBezTo>
                    <a:pt x="77321" y="13289"/>
                    <a:pt x="78211" y="15196"/>
                    <a:pt x="79737" y="14688"/>
                  </a:cubicBezTo>
                  <a:cubicBezTo>
                    <a:pt x="88512" y="11635"/>
                    <a:pt x="77957" y="18503"/>
                    <a:pt x="79483" y="24098"/>
                  </a:cubicBezTo>
                  <a:cubicBezTo>
                    <a:pt x="80881" y="29185"/>
                    <a:pt x="83425" y="30966"/>
                    <a:pt x="88385" y="30711"/>
                  </a:cubicBezTo>
                  <a:cubicBezTo>
                    <a:pt x="94743" y="30330"/>
                    <a:pt x="100975" y="30711"/>
                    <a:pt x="107333" y="30711"/>
                  </a:cubicBezTo>
                  <a:cubicBezTo>
                    <a:pt x="111784" y="30711"/>
                    <a:pt x="103264" y="32237"/>
                    <a:pt x="103391" y="37452"/>
                  </a:cubicBezTo>
                  <a:cubicBezTo>
                    <a:pt x="103391" y="42538"/>
                    <a:pt x="112039" y="44700"/>
                    <a:pt x="107588" y="44700"/>
                  </a:cubicBezTo>
                  <a:cubicBezTo>
                    <a:pt x="94616" y="44446"/>
                    <a:pt x="93217" y="45972"/>
                    <a:pt x="80246" y="41648"/>
                  </a:cubicBezTo>
                  <a:cubicBezTo>
                    <a:pt x="64731" y="36434"/>
                    <a:pt x="60152" y="36688"/>
                    <a:pt x="44510" y="41394"/>
                  </a:cubicBezTo>
                  <a:cubicBezTo>
                    <a:pt x="36117" y="43937"/>
                    <a:pt x="27342" y="45209"/>
                    <a:pt x="18313" y="444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grpSp>
        <p:nvGrpSpPr>
          <p:cNvPr id="170" name="Group Squamous Cells">
            <a:extLst>
              <a:ext uri="{FF2B5EF4-FFF2-40B4-BE49-F238E27FC236}">
                <a16:creationId xmlns:a16="http://schemas.microsoft.com/office/drawing/2014/main" id="{031B126B-C80D-4559-BE5B-A00DC0B10942}"/>
              </a:ext>
            </a:extLst>
          </p:cNvPr>
          <p:cNvGrpSpPr/>
          <p:nvPr/>
        </p:nvGrpSpPr>
        <p:grpSpPr>
          <a:xfrm>
            <a:off x="6509973" y="2580642"/>
            <a:ext cx="279127" cy="284655"/>
            <a:chOff x="26360396" y="31237483"/>
            <a:chExt cx="2568285" cy="2619146"/>
          </a:xfrm>
          <a:gradFill>
            <a:gsLst>
              <a:gs pos="100000">
                <a:srgbClr val="B74336"/>
              </a:gs>
              <a:gs pos="73000">
                <a:srgbClr val="FCB139">
                  <a:alpha val="42000"/>
                </a:srgbClr>
              </a:gs>
              <a:gs pos="23000">
                <a:srgbClr val="FCB139">
                  <a:alpha val="39945"/>
                </a:srgbClr>
              </a:gs>
              <a:gs pos="50000">
                <a:srgbClr val="DC530F"/>
              </a:gs>
              <a:gs pos="0">
                <a:srgbClr val="B74336"/>
              </a:gs>
            </a:gsLst>
            <a:lin ang="16200000" scaled="0"/>
          </a:gradFill>
        </p:grpSpPr>
        <p:sp>
          <p:nvSpPr>
            <p:cNvPr id="171" name="Freeform: Shape 12">
              <a:extLst>
                <a:ext uri="{FF2B5EF4-FFF2-40B4-BE49-F238E27FC236}">
                  <a16:creationId xmlns:a16="http://schemas.microsoft.com/office/drawing/2014/main" id="{D146057B-CE69-4AF9-8509-503F81215CB0}"/>
                </a:ext>
              </a:extLst>
            </p:cNvPr>
            <p:cNvSpPr/>
            <p:nvPr/>
          </p:nvSpPr>
          <p:spPr>
            <a:xfrm>
              <a:off x="27726896" y="31849924"/>
              <a:ext cx="1201785" cy="1201785"/>
            </a:xfrm>
            <a:custGeom>
              <a:avLst/>
              <a:gdLst>
                <a:gd name="connsiteX0" fmla="*/ 58122 w 63586"/>
                <a:gd name="connsiteY0" fmla="*/ 50492 h 63586"/>
                <a:gd name="connsiteX1" fmla="*/ 21497 w 63586"/>
                <a:gd name="connsiteY1" fmla="*/ 58122 h 63586"/>
                <a:gd name="connsiteX2" fmla="*/ 13866 w 63586"/>
                <a:gd name="connsiteY2" fmla="*/ 21497 h 63586"/>
                <a:gd name="connsiteX3" fmla="*/ 50492 w 63586"/>
                <a:gd name="connsiteY3" fmla="*/ 13866 h 63586"/>
                <a:gd name="connsiteX4" fmla="*/ 58122 w 63586"/>
                <a:gd name="connsiteY4" fmla="*/ 50492 h 6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86" h="63586">
                  <a:moveTo>
                    <a:pt x="58122" y="50492"/>
                  </a:moveTo>
                  <a:cubicBezTo>
                    <a:pt x="50110" y="62700"/>
                    <a:pt x="33705" y="66134"/>
                    <a:pt x="21497" y="58122"/>
                  </a:cubicBezTo>
                  <a:cubicBezTo>
                    <a:pt x="9288" y="50110"/>
                    <a:pt x="5855" y="33705"/>
                    <a:pt x="13866" y="21497"/>
                  </a:cubicBezTo>
                  <a:cubicBezTo>
                    <a:pt x="21878" y="9288"/>
                    <a:pt x="38283" y="5855"/>
                    <a:pt x="50492" y="13866"/>
                  </a:cubicBezTo>
                  <a:cubicBezTo>
                    <a:pt x="62700" y="21878"/>
                    <a:pt x="66134" y="38283"/>
                    <a:pt x="58122" y="50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72" name="Freeform: Shape 13">
              <a:extLst>
                <a:ext uri="{FF2B5EF4-FFF2-40B4-BE49-F238E27FC236}">
                  <a16:creationId xmlns:a16="http://schemas.microsoft.com/office/drawing/2014/main" id="{64CDBBB3-EA4E-465E-BD1F-0B197771A9F8}"/>
                </a:ext>
              </a:extLst>
            </p:cNvPr>
            <p:cNvSpPr/>
            <p:nvPr/>
          </p:nvSpPr>
          <p:spPr>
            <a:xfrm>
              <a:off x="26360396" y="31853458"/>
              <a:ext cx="961432" cy="961432"/>
            </a:xfrm>
            <a:custGeom>
              <a:avLst/>
              <a:gdLst>
                <a:gd name="connsiteX0" fmla="*/ 39241 w 50868"/>
                <a:gd name="connsiteY0" fmla="*/ 34535 h 50868"/>
                <a:gd name="connsiteX1" fmla="*/ 16858 w 50868"/>
                <a:gd name="connsiteY1" fmla="*/ 39241 h 50868"/>
                <a:gd name="connsiteX2" fmla="*/ 12153 w 50868"/>
                <a:gd name="connsiteY2" fmla="*/ 16858 h 50868"/>
                <a:gd name="connsiteX3" fmla="*/ 34535 w 50868"/>
                <a:gd name="connsiteY3" fmla="*/ 12153 h 50868"/>
                <a:gd name="connsiteX4" fmla="*/ 39241 w 50868"/>
                <a:gd name="connsiteY4" fmla="*/ 34535 h 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68" h="50868">
                  <a:moveTo>
                    <a:pt x="39241" y="34535"/>
                  </a:moveTo>
                  <a:cubicBezTo>
                    <a:pt x="34408" y="42038"/>
                    <a:pt x="24361" y="44073"/>
                    <a:pt x="16858" y="39241"/>
                  </a:cubicBezTo>
                  <a:cubicBezTo>
                    <a:pt x="9355" y="34408"/>
                    <a:pt x="7320" y="24362"/>
                    <a:pt x="12153" y="16858"/>
                  </a:cubicBezTo>
                  <a:cubicBezTo>
                    <a:pt x="16986" y="9355"/>
                    <a:pt x="27032" y="7320"/>
                    <a:pt x="34535" y="12153"/>
                  </a:cubicBezTo>
                  <a:cubicBezTo>
                    <a:pt x="42038" y="17113"/>
                    <a:pt x="44200" y="27032"/>
                    <a:pt x="39241" y="345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73" name="Freeform: Shape 14">
              <a:extLst>
                <a:ext uri="{FF2B5EF4-FFF2-40B4-BE49-F238E27FC236}">
                  <a16:creationId xmlns:a16="http://schemas.microsoft.com/office/drawing/2014/main" id="{DB1D316B-9C30-4235-8E12-8D7607FD6979}"/>
                </a:ext>
              </a:extLst>
            </p:cNvPr>
            <p:cNvSpPr/>
            <p:nvPr/>
          </p:nvSpPr>
          <p:spPr>
            <a:xfrm>
              <a:off x="27293988" y="33135550"/>
              <a:ext cx="721079" cy="721079"/>
            </a:xfrm>
            <a:custGeom>
              <a:avLst/>
              <a:gdLst>
                <a:gd name="connsiteX0" fmla="*/ 32957 w 38151"/>
                <a:gd name="connsiteY0" fmla="*/ 29269 h 38151"/>
                <a:gd name="connsiteX1" fmla="*/ 15280 w 38151"/>
                <a:gd name="connsiteY1" fmla="*/ 32957 h 38151"/>
                <a:gd name="connsiteX2" fmla="*/ 11592 w 38151"/>
                <a:gd name="connsiteY2" fmla="*/ 15280 h 38151"/>
                <a:gd name="connsiteX3" fmla="*/ 29142 w 38151"/>
                <a:gd name="connsiteY3" fmla="*/ 11592 h 38151"/>
                <a:gd name="connsiteX4" fmla="*/ 32957 w 38151"/>
                <a:gd name="connsiteY4" fmla="*/ 29269 h 38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51" h="38151">
                  <a:moveTo>
                    <a:pt x="32957" y="29269"/>
                  </a:moveTo>
                  <a:cubicBezTo>
                    <a:pt x="29142" y="35246"/>
                    <a:pt x="21257" y="36772"/>
                    <a:pt x="15280" y="32957"/>
                  </a:cubicBezTo>
                  <a:cubicBezTo>
                    <a:pt x="9430" y="29141"/>
                    <a:pt x="7777" y="21257"/>
                    <a:pt x="11592" y="15280"/>
                  </a:cubicBezTo>
                  <a:cubicBezTo>
                    <a:pt x="15407" y="9430"/>
                    <a:pt x="23292" y="7777"/>
                    <a:pt x="29142" y="11592"/>
                  </a:cubicBezTo>
                  <a:cubicBezTo>
                    <a:pt x="35119" y="15534"/>
                    <a:pt x="36772" y="23419"/>
                    <a:pt x="32957" y="292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74" name="Freeform: Shape 15">
              <a:extLst>
                <a:ext uri="{FF2B5EF4-FFF2-40B4-BE49-F238E27FC236}">
                  <a16:creationId xmlns:a16="http://schemas.microsoft.com/office/drawing/2014/main" id="{9595F180-FF1E-49E9-9194-A249D05B8171}"/>
                </a:ext>
              </a:extLst>
            </p:cNvPr>
            <p:cNvSpPr/>
            <p:nvPr/>
          </p:nvSpPr>
          <p:spPr>
            <a:xfrm>
              <a:off x="27145716" y="31237483"/>
              <a:ext cx="721079" cy="721079"/>
            </a:xfrm>
            <a:custGeom>
              <a:avLst/>
              <a:gdLst>
                <a:gd name="connsiteX0" fmla="*/ 35206 w 38151"/>
                <a:gd name="connsiteY0" fmla="*/ 31136 h 38151"/>
                <a:gd name="connsiteX1" fmla="*/ 15876 w 38151"/>
                <a:gd name="connsiteY1" fmla="*/ 35206 h 38151"/>
                <a:gd name="connsiteX2" fmla="*/ 11806 w 38151"/>
                <a:gd name="connsiteY2" fmla="*/ 15876 h 38151"/>
                <a:gd name="connsiteX3" fmla="*/ 31136 w 38151"/>
                <a:gd name="connsiteY3" fmla="*/ 11806 h 38151"/>
                <a:gd name="connsiteX4" fmla="*/ 35206 w 38151"/>
                <a:gd name="connsiteY4" fmla="*/ 31136 h 38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51" h="38151">
                  <a:moveTo>
                    <a:pt x="35206" y="31136"/>
                  </a:moveTo>
                  <a:cubicBezTo>
                    <a:pt x="31009" y="37622"/>
                    <a:pt x="22361" y="39403"/>
                    <a:pt x="15876" y="35206"/>
                  </a:cubicBezTo>
                  <a:cubicBezTo>
                    <a:pt x="9390" y="31009"/>
                    <a:pt x="7610" y="22362"/>
                    <a:pt x="11806" y="15876"/>
                  </a:cubicBezTo>
                  <a:cubicBezTo>
                    <a:pt x="16003" y="9390"/>
                    <a:pt x="24651" y="7610"/>
                    <a:pt x="31136" y="11806"/>
                  </a:cubicBezTo>
                  <a:cubicBezTo>
                    <a:pt x="37622" y="16130"/>
                    <a:pt x="39403" y="24778"/>
                    <a:pt x="35206" y="311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75" name="Freeform: Shape 16">
              <a:extLst>
                <a:ext uri="{FF2B5EF4-FFF2-40B4-BE49-F238E27FC236}">
                  <a16:creationId xmlns:a16="http://schemas.microsoft.com/office/drawing/2014/main" id="{27B9D82F-D4B0-428E-9CE3-FBE18DB3BE3B}"/>
                </a:ext>
              </a:extLst>
            </p:cNvPr>
            <p:cNvSpPr/>
            <p:nvPr/>
          </p:nvSpPr>
          <p:spPr>
            <a:xfrm>
              <a:off x="27129859" y="32402848"/>
              <a:ext cx="480706" cy="480707"/>
            </a:xfrm>
            <a:custGeom>
              <a:avLst/>
              <a:gdLst>
                <a:gd name="connsiteX0" fmla="*/ 26634 w 25434"/>
                <a:gd name="connsiteY0" fmla="*/ 23907 h 25434"/>
                <a:gd name="connsiteX1" fmla="*/ 13790 w 25434"/>
                <a:gd name="connsiteY1" fmla="*/ 26578 h 25434"/>
                <a:gd name="connsiteX2" fmla="*/ 11119 w 25434"/>
                <a:gd name="connsiteY2" fmla="*/ 13734 h 25434"/>
                <a:gd name="connsiteX3" fmla="*/ 23964 w 25434"/>
                <a:gd name="connsiteY3" fmla="*/ 11063 h 25434"/>
                <a:gd name="connsiteX4" fmla="*/ 26634 w 25434"/>
                <a:gd name="connsiteY4" fmla="*/ 23907 h 25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34" h="25434">
                  <a:moveTo>
                    <a:pt x="26634" y="23907"/>
                  </a:moveTo>
                  <a:cubicBezTo>
                    <a:pt x="23836" y="28231"/>
                    <a:pt x="18114" y="29376"/>
                    <a:pt x="13790" y="26578"/>
                  </a:cubicBezTo>
                  <a:cubicBezTo>
                    <a:pt x="9466" y="23780"/>
                    <a:pt x="8194" y="18057"/>
                    <a:pt x="11119" y="13734"/>
                  </a:cubicBezTo>
                  <a:cubicBezTo>
                    <a:pt x="13917" y="9410"/>
                    <a:pt x="19640" y="8265"/>
                    <a:pt x="23964" y="11063"/>
                  </a:cubicBezTo>
                  <a:cubicBezTo>
                    <a:pt x="28287" y="13734"/>
                    <a:pt x="29432" y="19583"/>
                    <a:pt x="26634" y="239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en-GB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176" name="Freeform Brain">
            <a:extLst>
              <a:ext uri="{FF2B5EF4-FFF2-40B4-BE49-F238E27FC236}">
                <a16:creationId xmlns:a16="http://schemas.microsoft.com/office/drawing/2014/main" id="{05420624-1949-4A09-9674-184058B7EE84}"/>
              </a:ext>
            </a:extLst>
          </p:cNvPr>
          <p:cNvSpPr/>
          <p:nvPr/>
        </p:nvSpPr>
        <p:spPr>
          <a:xfrm>
            <a:off x="5746945" y="1288924"/>
            <a:ext cx="578515" cy="516165"/>
          </a:xfrm>
          <a:custGeom>
            <a:avLst/>
            <a:gdLst>
              <a:gd name="connsiteX0" fmla="*/ 162769 w 578515"/>
              <a:gd name="connsiteY0" fmla="*/ 308643 h 516165"/>
              <a:gd name="connsiteX1" fmla="*/ 197111 w 578515"/>
              <a:gd name="connsiteY1" fmla="*/ 378369 h 516165"/>
              <a:gd name="connsiteX2" fmla="*/ 224803 w 578515"/>
              <a:gd name="connsiteY2" fmla="*/ 385602 h 516165"/>
              <a:gd name="connsiteX3" fmla="*/ 283676 w 578515"/>
              <a:gd name="connsiteY3" fmla="*/ 432049 h 516165"/>
              <a:gd name="connsiteX4" fmla="*/ 304608 w 578515"/>
              <a:gd name="connsiteY4" fmla="*/ 494430 h 516165"/>
              <a:gd name="connsiteX5" fmla="*/ 333390 w 578515"/>
              <a:gd name="connsiteY5" fmla="*/ 515902 h 516165"/>
              <a:gd name="connsiteX6" fmla="*/ 337969 w 578515"/>
              <a:gd name="connsiteY6" fmla="*/ 514885 h 516165"/>
              <a:gd name="connsiteX7" fmla="*/ 350834 w 578515"/>
              <a:gd name="connsiteY7" fmla="*/ 454651 h 516165"/>
              <a:gd name="connsiteX8" fmla="*/ 424860 w 578515"/>
              <a:gd name="connsiteY8" fmla="*/ 482225 h 516165"/>
              <a:gd name="connsiteX9" fmla="*/ 467161 w 578515"/>
              <a:gd name="connsiteY9" fmla="*/ 414419 h 516165"/>
              <a:gd name="connsiteX10" fmla="*/ 479481 w 578515"/>
              <a:gd name="connsiteY10" fmla="*/ 417810 h 516165"/>
              <a:gd name="connsiteX11" fmla="*/ 538026 w 578515"/>
              <a:gd name="connsiteY11" fmla="*/ 382890 h 516165"/>
              <a:gd name="connsiteX12" fmla="*/ 539770 w 578515"/>
              <a:gd name="connsiteY12" fmla="*/ 360288 h 516165"/>
              <a:gd name="connsiteX13" fmla="*/ 545766 w 578515"/>
              <a:gd name="connsiteY13" fmla="*/ 347631 h 516165"/>
              <a:gd name="connsiteX14" fmla="*/ 575966 w 578515"/>
              <a:gd name="connsiteY14" fmla="*/ 297568 h 516165"/>
              <a:gd name="connsiteX15" fmla="*/ 545112 w 578515"/>
              <a:gd name="connsiteY15" fmla="*/ 180151 h 516165"/>
              <a:gd name="connsiteX16" fmla="*/ 528105 w 578515"/>
              <a:gd name="connsiteY16" fmla="*/ 118109 h 516165"/>
              <a:gd name="connsiteX17" fmla="*/ 520037 w 578515"/>
              <a:gd name="connsiteY17" fmla="*/ 106808 h 516165"/>
              <a:gd name="connsiteX18" fmla="*/ 490601 w 578515"/>
              <a:gd name="connsiteY18" fmla="*/ 73922 h 516165"/>
              <a:gd name="connsiteX19" fmla="*/ 481116 w 578515"/>
              <a:gd name="connsiteY19" fmla="*/ 69289 h 516165"/>
              <a:gd name="connsiteX20" fmla="*/ 416574 w 578515"/>
              <a:gd name="connsiteY20" fmla="*/ 42167 h 516165"/>
              <a:gd name="connsiteX21" fmla="*/ 353777 w 578515"/>
              <a:gd name="connsiteY21" fmla="*/ 14253 h 516165"/>
              <a:gd name="connsiteX22" fmla="*/ 344619 w 578515"/>
              <a:gd name="connsiteY22" fmla="*/ 12332 h 516165"/>
              <a:gd name="connsiteX23" fmla="*/ 267322 w 578515"/>
              <a:gd name="connsiteY23" fmla="*/ 9620 h 516165"/>
              <a:gd name="connsiteX24" fmla="*/ 249660 w 578515"/>
              <a:gd name="connsiteY24" fmla="*/ 11315 h 516165"/>
              <a:gd name="connsiteX25" fmla="*/ 181085 w 578515"/>
              <a:gd name="connsiteY25" fmla="*/ 30075 h 516165"/>
              <a:gd name="connsiteX26" fmla="*/ 167130 w 578515"/>
              <a:gd name="connsiteY26" fmla="*/ 33917 h 516165"/>
              <a:gd name="connsiteX27" fmla="*/ 99972 w 578515"/>
              <a:gd name="connsiteY27" fmla="*/ 58440 h 516165"/>
              <a:gd name="connsiteX28" fmla="*/ 72716 w 578515"/>
              <a:gd name="connsiteY28" fmla="*/ 77313 h 516165"/>
              <a:gd name="connsiteX29" fmla="*/ 48731 w 578515"/>
              <a:gd name="connsiteY29" fmla="*/ 105678 h 516165"/>
              <a:gd name="connsiteX30" fmla="*/ 42299 w 578515"/>
              <a:gd name="connsiteY30" fmla="*/ 117883 h 516165"/>
              <a:gd name="connsiteX31" fmla="*/ 2833 w 578515"/>
              <a:gd name="connsiteY31" fmla="*/ 174388 h 516165"/>
              <a:gd name="connsiteX32" fmla="*/ 35540 w 578515"/>
              <a:gd name="connsiteY32" fmla="*/ 245131 h 516165"/>
              <a:gd name="connsiteX33" fmla="*/ 62250 w 578515"/>
              <a:gd name="connsiteY33" fmla="*/ 290335 h 516165"/>
              <a:gd name="connsiteX34" fmla="*/ 84055 w 578515"/>
              <a:gd name="connsiteY34" fmla="*/ 296325 h 516165"/>
              <a:gd name="connsiteX35" fmla="*/ 162769 w 578515"/>
              <a:gd name="connsiteY35" fmla="*/ 308643 h 516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78515" h="516165">
                <a:moveTo>
                  <a:pt x="162769" y="308643"/>
                </a:moveTo>
                <a:cubicBezTo>
                  <a:pt x="151867" y="346049"/>
                  <a:pt x="160044" y="364130"/>
                  <a:pt x="197111" y="378369"/>
                </a:cubicBezTo>
                <a:cubicBezTo>
                  <a:pt x="206144" y="381534"/>
                  <a:pt x="215403" y="383952"/>
                  <a:pt x="224803" y="385602"/>
                </a:cubicBezTo>
                <a:cubicBezTo>
                  <a:pt x="251732" y="391253"/>
                  <a:pt x="274300" y="402327"/>
                  <a:pt x="283676" y="432049"/>
                </a:cubicBezTo>
                <a:cubicBezTo>
                  <a:pt x="290326" y="452956"/>
                  <a:pt x="298067" y="473523"/>
                  <a:pt x="304608" y="494430"/>
                </a:cubicBezTo>
                <a:cubicBezTo>
                  <a:pt x="311149" y="515337"/>
                  <a:pt x="311258" y="517032"/>
                  <a:pt x="333390" y="515902"/>
                </a:cubicBezTo>
                <a:cubicBezTo>
                  <a:pt x="334941" y="515701"/>
                  <a:pt x="336474" y="515361"/>
                  <a:pt x="337969" y="514885"/>
                </a:cubicBezTo>
                <a:lnTo>
                  <a:pt x="350834" y="454651"/>
                </a:lnTo>
                <a:cubicBezTo>
                  <a:pt x="372638" y="478270"/>
                  <a:pt x="394443" y="494317"/>
                  <a:pt x="424860" y="482225"/>
                </a:cubicBezTo>
                <a:cubicBezTo>
                  <a:pt x="455277" y="470133"/>
                  <a:pt x="460402" y="441655"/>
                  <a:pt x="467161" y="414419"/>
                </a:cubicBezTo>
                <a:cubicBezTo>
                  <a:pt x="471958" y="415663"/>
                  <a:pt x="475665" y="416906"/>
                  <a:pt x="479481" y="417810"/>
                </a:cubicBezTo>
                <a:cubicBezTo>
                  <a:pt x="508590" y="424364"/>
                  <a:pt x="530721" y="411481"/>
                  <a:pt x="538026" y="382890"/>
                </a:cubicBezTo>
                <a:cubicBezTo>
                  <a:pt x="539879" y="375657"/>
                  <a:pt x="538026" y="367521"/>
                  <a:pt x="539770" y="360288"/>
                </a:cubicBezTo>
                <a:cubicBezTo>
                  <a:pt x="540286" y="355474"/>
                  <a:pt x="542406" y="350997"/>
                  <a:pt x="545766" y="347631"/>
                </a:cubicBezTo>
                <a:cubicBezTo>
                  <a:pt x="562306" y="336218"/>
                  <a:pt x="573309" y="317980"/>
                  <a:pt x="575966" y="297568"/>
                </a:cubicBezTo>
                <a:cubicBezTo>
                  <a:pt x="584063" y="255577"/>
                  <a:pt x="572634" y="212084"/>
                  <a:pt x="545112" y="180151"/>
                </a:cubicBezTo>
                <a:cubicBezTo>
                  <a:pt x="556015" y="154046"/>
                  <a:pt x="550891" y="134947"/>
                  <a:pt x="528105" y="118109"/>
                </a:cubicBezTo>
                <a:cubicBezTo>
                  <a:pt x="524171" y="115494"/>
                  <a:pt x="521301" y="111472"/>
                  <a:pt x="520037" y="106808"/>
                </a:cubicBezTo>
                <a:cubicBezTo>
                  <a:pt x="519625" y="89722"/>
                  <a:pt x="507007" y="75626"/>
                  <a:pt x="490601" y="73922"/>
                </a:cubicBezTo>
                <a:cubicBezTo>
                  <a:pt x="487221" y="73131"/>
                  <a:pt x="482533" y="71888"/>
                  <a:pt x="481116" y="69289"/>
                </a:cubicBezTo>
                <a:cubicBezTo>
                  <a:pt x="466289" y="42958"/>
                  <a:pt x="445793" y="31431"/>
                  <a:pt x="416574" y="42167"/>
                </a:cubicBezTo>
                <a:cubicBezTo>
                  <a:pt x="406062" y="17106"/>
                  <a:pt x="378537" y="4871"/>
                  <a:pt x="353777" y="14253"/>
                </a:cubicBezTo>
                <a:cubicBezTo>
                  <a:pt x="350600" y="14860"/>
                  <a:pt x="347319" y="14172"/>
                  <a:pt x="344619" y="12332"/>
                </a:cubicBezTo>
                <a:cubicBezTo>
                  <a:pt x="319108" y="-5071"/>
                  <a:pt x="293597" y="-2246"/>
                  <a:pt x="267322" y="9620"/>
                </a:cubicBezTo>
                <a:cubicBezTo>
                  <a:pt x="261779" y="12202"/>
                  <a:pt x="255566" y="12798"/>
                  <a:pt x="249660" y="11315"/>
                </a:cubicBezTo>
                <a:cubicBezTo>
                  <a:pt x="225282" y="1754"/>
                  <a:pt x="197737" y="9289"/>
                  <a:pt x="181085" y="30075"/>
                </a:cubicBezTo>
                <a:cubicBezTo>
                  <a:pt x="177149" y="33307"/>
                  <a:pt x="172095" y="34698"/>
                  <a:pt x="167130" y="33917"/>
                </a:cubicBezTo>
                <a:cubicBezTo>
                  <a:pt x="142118" y="28970"/>
                  <a:pt x="116471" y="38335"/>
                  <a:pt x="99972" y="58440"/>
                </a:cubicBezTo>
                <a:cubicBezTo>
                  <a:pt x="93528" y="68090"/>
                  <a:pt x="83784" y="74837"/>
                  <a:pt x="72716" y="77313"/>
                </a:cubicBezTo>
                <a:cubicBezTo>
                  <a:pt x="59260" y="79705"/>
                  <a:pt x="49256" y="91536"/>
                  <a:pt x="48731" y="105678"/>
                </a:cubicBezTo>
                <a:cubicBezTo>
                  <a:pt x="49713" y="112911"/>
                  <a:pt x="46878" y="114945"/>
                  <a:pt x="42299" y="117883"/>
                </a:cubicBezTo>
                <a:cubicBezTo>
                  <a:pt x="22062" y="130125"/>
                  <a:pt x="7735" y="150638"/>
                  <a:pt x="2833" y="174388"/>
                </a:cubicBezTo>
                <a:cubicBezTo>
                  <a:pt x="-5453" y="212924"/>
                  <a:pt x="4141" y="236430"/>
                  <a:pt x="35540" y="245131"/>
                </a:cubicBezTo>
                <a:cubicBezTo>
                  <a:pt x="30894" y="265256"/>
                  <a:pt x="42844" y="285480"/>
                  <a:pt x="62250" y="290335"/>
                </a:cubicBezTo>
                <a:cubicBezTo>
                  <a:pt x="69299" y="293107"/>
                  <a:pt x="76606" y="295116"/>
                  <a:pt x="84055" y="296325"/>
                </a:cubicBezTo>
                <a:cubicBezTo>
                  <a:pt x="109675" y="300506"/>
                  <a:pt x="136277" y="304461"/>
                  <a:pt x="162769" y="308643"/>
                </a:cubicBezTo>
                <a:close/>
              </a:path>
            </a:pathLst>
          </a:custGeom>
          <a:gradFill flip="none" rotWithShape="1">
            <a:gsLst>
              <a:gs pos="75000">
                <a:srgbClr val="9B83B3"/>
              </a:gs>
              <a:gs pos="30000">
                <a:srgbClr val="D5897E">
                  <a:lumMod val="55000"/>
                  <a:lumOff val="45000"/>
                </a:srgbClr>
              </a:gs>
              <a:gs pos="11000">
                <a:schemeClr val="accent3">
                  <a:lumMod val="40000"/>
                  <a:lumOff val="60000"/>
                </a:schemeClr>
              </a:gs>
              <a:gs pos="48000">
                <a:srgbClr val="B78EBD"/>
              </a:gs>
              <a:gs pos="84000">
                <a:srgbClr val="CD8EAE"/>
              </a:gs>
              <a:gs pos="97000">
                <a:srgbClr val="ECD2CD"/>
              </a:gs>
            </a:gsLst>
            <a:path path="circle">
              <a:fillToRect l="50000" t="130000" r="50000" b="-30000"/>
            </a:path>
            <a:tileRect/>
          </a:gradFill>
          <a:ln w="3175" cap="flat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81" name="Group Intestines">
            <a:extLst>
              <a:ext uri="{FF2B5EF4-FFF2-40B4-BE49-F238E27FC236}">
                <a16:creationId xmlns:a16="http://schemas.microsoft.com/office/drawing/2014/main" id="{FDCE520B-3C76-4536-9862-9F587E93FCD8}"/>
              </a:ext>
            </a:extLst>
          </p:cNvPr>
          <p:cNvGrpSpPr/>
          <p:nvPr/>
        </p:nvGrpSpPr>
        <p:grpSpPr>
          <a:xfrm>
            <a:off x="5698249" y="3271909"/>
            <a:ext cx="781248" cy="770412"/>
            <a:chOff x="5803769" y="3059355"/>
            <a:chExt cx="469212" cy="477613"/>
          </a:xfrm>
          <a:solidFill>
            <a:srgbClr val="E6555A"/>
          </a:solidFill>
        </p:grpSpPr>
        <p:grpSp>
          <p:nvGrpSpPr>
            <p:cNvPr id="182" name="Graphic 7">
              <a:extLst>
                <a:ext uri="{FF2B5EF4-FFF2-40B4-BE49-F238E27FC236}">
                  <a16:creationId xmlns:a16="http://schemas.microsoft.com/office/drawing/2014/main" id="{AE7CDC01-2EA2-4D41-81F8-D65AF8AC5E42}"/>
                </a:ext>
              </a:extLst>
            </p:cNvPr>
            <p:cNvGrpSpPr/>
            <p:nvPr/>
          </p:nvGrpSpPr>
          <p:grpSpPr>
            <a:xfrm>
              <a:off x="5906841" y="3123144"/>
              <a:ext cx="250308" cy="278960"/>
              <a:chOff x="7426087" y="3378610"/>
              <a:chExt cx="250308" cy="278960"/>
            </a:xfrm>
            <a:grpFill/>
          </p:grpSpPr>
          <p:sp>
            <p:nvSpPr>
              <p:cNvPr id="187" name="Freeform 287">
                <a:extLst>
                  <a:ext uri="{FF2B5EF4-FFF2-40B4-BE49-F238E27FC236}">
                    <a16:creationId xmlns:a16="http://schemas.microsoft.com/office/drawing/2014/main" id="{B6AEC109-D993-4227-8B53-C373C8D79CD7}"/>
                  </a:ext>
                </a:extLst>
              </p:cNvPr>
              <p:cNvSpPr/>
              <p:nvPr/>
            </p:nvSpPr>
            <p:spPr>
              <a:xfrm>
                <a:off x="7641693" y="3587576"/>
                <a:ext cx="27916" cy="29920"/>
              </a:xfrm>
              <a:custGeom>
                <a:avLst/>
                <a:gdLst>
                  <a:gd name="connsiteX0" fmla="*/ 12074 w 27916"/>
                  <a:gd name="connsiteY0" fmla="*/ 3182 h 29920"/>
                  <a:gd name="connsiteX1" fmla="*/ 0 w 27916"/>
                  <a:gd name="connsiteY1" fmla="*/ 24700 h 29920"/>
                  <a:gd name="connsiteX2" fmla="*/ 528 w 27916"/>
                  <a:gd name="connsiteY2" fmla="*/ 29807 h 29920"/>
                  <a:gd name="connsiteX3" fmla="*/ 4347 w 27916"/>
                  <a:gd name="connsiteY3" fmla="*/ 29898 h 29920"/>
                  <a:gd name="connsiteX4" fmla="*/ 26865 w 27916"/>
                  <a:gd name="connsiteY4" fmla="*/ 15305 h 29920"/>
                  <a:gd name="connsiteX5" fmla="*/ 26291 w 27916"/>
                  <a:gd name="connsiteY5" fmla="*/ 0 h 29920"/>
                  <a:gd name="connsiteX6" fmla="*/ 12074 w 27916"/>
                  <a:gd name="connsiteY6" fmla="*/ 3182 h 29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916" h="29920">
                    <a:moveTo>
                      <a:pt x="12074" y="3182"/>
                    </a:moveTo>
                    <a:cubicBezTo>
                      <a:pt x="10906" y="11631"/>
                      <a:pt x="6592" y="19320"/>
                      <a:pt x="0" y="24700"/>
                    </a:cubicBezTo>
                    <a:lnTo>
                      <a:pt x="528" y="29807"/>
                    </a:lnTo>
                    <a:lnTo>
                      <a:pt x="4347" y="29898"/>
                    </a:lnTo>
                    <a:cubicBezTo>
                      <a:pt x="15213" y="30322"/>
                      <a:pt x="23816" y="24730"/>
                      <a:pt x="26865" y="15305"/>
                    </a:cubicBezTo>
                    <a:cubicBezTo>
                      <a:pt x="28443" y="10290"/>
                      <a:pt x="28240" y="4881"/>
                      <a:pt x="26291" y="0"/>
                    </a:cubicBezTo>
                    <a:cubicBezTo>
                      <a:pt x="21866" y="2164"/>
                      <a:pt x="16996" y="3254"/>
                      <a:pt x="12074" y="318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8" name="Freeform 288">
                <a:extLst>
                  <a:ext uri="{FF2B5EF4-FFF2-40B4-BE49-F238E27FC236}">
                    <a16:creationId xmlns:a16="http://schemas.microsoft.com/office/drawing/2014/main" id="{955DDDB9-2206-44F5-8CD6-FF10B172062D}"/>
                  </a:ext>
                </a:extLst>
              </p:cNvPr>
              <p:cNvSpPr/>
              <p:nvPr/>
            </p:nvSpPr>
            <p:spPr>
              <a:xfrm>
                <a:off x="7634690" y="3540289"/>
                <a:ext cx="41705" cy="43483"/>
              </a:xfrm>
              <a:custGeom>
                <a:avLst/>
                <a:gdLst>
                  <a:gd name="connsiteX0" fmla="*/ 32147 w 41705"/>
                  <a:gd name="connsiteY0" fmla="*/ 3584 h 43483"/>
                  <a:gd name="connsiteX1" fmla="*/ 5464 w 41705"/>
                  <a:gd name="connsiteY1" fmla="*/ 296 h 43483"/>
                  <a:gd name="connsiteX2" fmla="*/ 0 w 41705"/>
                  <a:gd name="connsiteY2" fmla="*/ 508 h 43483"/>
                  <a:gd name="connsiteX3" fmla="*/ 2732 w 41705"/>
                  <a:gd name="connsiteY3" fmla="*/ 17904 h 43483"/>
                  <a:gd name="connsiteX4" fmla="*/ 2732 w 41705"/>
                  <a:gd name="connsiteY4" fmla="*/ 17904 h 43483"/>
                  <a:gd name="connsiteX5" fmla="*/ 6188 w 41705"/>
                  <a:gd name="connsiteY5" fmla="*/ 17768 h 43483"/>
                  <a:gd name="connsiteX6" fmla="*/ 22473 w 41705"/>
                  <a:gd name="connsiteY6" fmla="*/ 18117 h 43483"/>
                  <a:gd name="connsiteX7" fmla="*/ 24073 w 41705"/>
                  <a:gd name="connsiteY7" fmla="*/ 23481 h 43483"/>
                  <a:gd name="connsiteX8" fmla="*/ 18805 w 41705"/>
                  <a:gd name="connsiteY8" fmla="*/ 26012 h 43483"/>
                  <a:gd name="connsiteX9" fmla="*/ 12934 w 41705"/>
                  <a:gd name="connsiteY9" fmla="*/ 25890 h 43483"/>
                  <a:gd name="connsiteX10" fmla="*/ 13674 w 41705"/>
                  <a:gd name="connsiteY10" fmla="*/ 26830 h 43483"/>
                  <a:gd name="connsiteX11" fmla="*/ 17704 w 41705"/>
                  <a:gd name="connsiteY11" fmla="*/ 34331 h 43483"/>
                  <a:gd name="connsiteX12" fmla="*/ 18534 w 41705"/>
                  <a:gd name="connsiteY12" fmla="*/ 37104 h 43483"/>
                  <a:gd name="connsiteX13" fmla="*/ 19409 w 41705"/>
                  <a:gd name="connsiteY13" fmla="*/ 43483 h 43483"/>
                  <a:gd name="connsiteX14" fmla="*/ 29717 w 41705"/>
                  <a:gd name="connsiteY14" fmla="*/ 41286 h 43483"/>
                  <a:gd name="connsiteX15" fmla="*/ 40629 w 41705"/>
                  <a:gd name="connsiteY15" fmla="*/ 28891 h 43483"/>
                  <a:gd name="connsiteX16" fmla="*/ 32147 w 41705"/>
                  <a:gd name="connsiteY16" fmla="*/ 3584 h 43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705" h="43483">
                    <a:moveTo>
                      <a:pt x="32147" y="3584"/>
                    </a:moveTo>
                    <a:cubicBezTo>
                      <a:pt x="26005" y="-537"/>
                      <a:pt x="18277" y="-219"/>
                      <a:pt x="5464" y="296"/>
                    </a:cubicBezTo>
                    <a:lnTo>
                      <a:pt x="0" y="508"/>
                    </a:lnTo>
                    <a:lnTo>
                      <a:pt x="2732" y="17904"/>
                    </a:lnTo>
                    <a:lnTo>
                      <a:pt x="2732" y="17904"/>
                    </a:lnTo>
                    <a:lnTo>
                      <a:pt x="6188" y="17768"/>
                    </a:lnTo>
                    <a:cubicBezTo>
                      <a:pt x="13010" y="17495"/>
                      <a:pt x="20737" y="17177"/>
                      <a:pt x="22473" y="18117"/>
                    </a:cubicBezTo>
                    <a:cubicBezTo>
                      <a:pt x="24058" y="19402"/>
                      <a:pt x="24693" y="21533"/>
                      <a:pt x="24073" y="23481"/>
                    </a:cubicBezTo>
                    <a:cubicBezTo>
                      <a:pt x="23846" y="24148"/>
                      <a:pt x="23197" y="26178"/>
                      <a:pt x="18805" y="26012"/>
                    </a:cubicBezTo>
                    <a:cubicBezTo>
                      <a:pt x="17870" y="26012"/>
                      <a:pt x="15711" y="25921"/>
                      <a:pt x="12934" y="25890"/>
                    </a:cubicBezTo>
                    <a:lnTo>
                      <a:pt x="13674" y="26830"/>
                    </a:lnTo>
                    <a:cubicBezTo>
                      <a:pt x="15406" y="29099"/>
                      <a:pt x="16767" y="31631"/>
                      <a:pt x="17704" y="34331"/>
                    </a:cubicBezTo>
                    <a:cubicBezTo>
                      <a:pt x="18006" y="35210"/>
                      <a:pt x="18292" y="36134"/>
                      <a:pt x="18534" y="37104"/>
                    </a:cubicBezTo>
                    <a:cubicBezTo>
                      <a:pt x="19021" y="39199"/>
                      <a:pt x="19314" y="41334"/>
                      <a:pt x="19409" y="43483"/>
                    </a:cubicBezTo>
                    <a:cubicBezTo>
                      <a:pt x="22963" y="43504"/>
                      <a:pt x="26479" y="42755"/>
                      <a:pt x="29717" y="41286"/>
                    </a:cubicBezTo>
                    <a:cubicBezTo>
                      <a:pt x="34933" y="38884"/>
                      <a:pt x="38896" y="34383"/>
                      <a:pt x="40629" y="28891"/>
                    </a:cubicBezTo>
                    <a:cubicBezTo>
                      <a:pt x="43636" y="19500"/>
                      <a:pt x="40196" y="9239"/>
                      <a:pt x="32147" y="358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9" name="Freeform 289">
                <a:extLst>
                  <a:ext uri="{FF2B5EF4-FFF2-40B4-BE49-F238E27FC236}">
                    <a16:creationId xmlns:a16="http://schemas.microsoft.com/office/drawing/2014/main" id="{ACAFDD9A-A695-4741-BAD1-1015B10432F3}"/>
                  </a:ext>
                </a:extLst>
              </p:cNvPr>
              <p:cNvSpPr/>
              <p:nvPr/>
            </p:nvSpPr>
            <p:spPr>
              <a:xfrm>
                <a:off x="7606316" y="3419314"/>
                <a:ext cx="65716" cy="112345"/>
              </a:xfrm>
              <a:custGeom>
                <a:avLst/>
                <a:gdLst>
                  <a:gd name="connsiteX0" fmla="*/ 8165 w 65716"/>
                  <a:gd name="connsiteY0" fmla="*/ 48231 h 112345"/>
                  <a:gd name="connsiteX1" fmla="*/ 12255 w 65716"/>
                  <a:gd name="connsiteY1" fmla="*/ 48487 h 112345"/>
                  <a:gd name="connsiteX2" fmla="*/ 12346 w 65716"/>
                  <a:gd name="connsiteY2" fmla="*/ 48595 h 112345"/>
                  <a:gd name="connsiteX3" fmla="*/ 17266 w 65716"/>
                  <a:gd name="connsiteY3" fmla="*/ 62157 h 112345"/>
                  <a:gd name="connsiteX4" fmla="*/ 20103 w 65716"/>
                  <a:gd name="connsiteY4" fmla="*/ 74901 h 112345"/>
                  <a:gd name="connsiteX5" fmla="*/ 22216 w 65716"/>
                  <a:gd name="connsiteY5" fmla="*/ 82281 h 112345"/>
                  <a:gd name="connsiteX6" fmla="*/ 22216 w 65716"/>
                  <a:gd name="connsiteY6" fmla="*/ 82630 h 112345"/>
                  <a:gd name="connsiteX7" fmla="*/ 24073 w 65716"/>
                  <a:gd name="connsiteY7" fmla="*/ 94434 h 112345"/>
                  <a:gd name="connsiteX8" fmla="*/ 42999 w 65716"/>
                  <a:gd name="connsiteY8" fmla="*/ 112346 h 112345"/>
                  <a:gd name="connsiteX9" fmla="*/ 44614 w 65716"/>
                  <a:gd name="connsiteY9" fmla="*/ 112346 h 112345"/>
                  <a:gd name="connsiteX10" fmla="*/ 64672 w 65716"/>
                  <a:gd name="connsiteY10" fmla="*/ 97829 h 112345"/>
                  <a:gd name="connsiteX11" fmla="*/ 61804 w 65716"/>
                  <a:gd name="connsiteY11" fmla="*/ 70416 h 112345"/>
                  <a:gd name="connsiteX12" fmla="*/ 59405 w 65716"/>
                  <a:gd name="connsiteY12" fmla="*/ 60794 h 112345"/>
                  <a:gd name="connsiteX13" fmla="*/ 55028 w 65716"/>
                  <a:gd name="connsiteY13" fmla="*/ 42609 h 112345"/>
                  <a:gd name="connsiteX14" fmla="*/ 53005 w 65716"/>
                  <a:gd name="connsiteY14" fmla="*/ 34169 h 112345"/>
                  <a:gd name="connsiteX15" fmla="*/ 53005 w 65716"/>
                  <a:gd name="connsiteY15" fmla="*/ 33942 h 112345"/>
                  <a:gd name="connsiteX16" fmla="*/ 45580 w 65716"/>
                  <a:gd name="connsiteY16" fmla="*/ 14424 h 112345"/>
                  <a:gd name="connsiteX17" fmla="*/ 16904 w 65716"/>
                  <a:gd name="connsiteY17" fmla="*/ 786 h 112345"/>
                  <a:gd name="connsiteX18" fmla="*/ 1192 w 65716"/>
                  <a:gd name="connsiteY18" fmla="*/ 24486 h 112345"/>
                  <a:gd name="connsiteX19" fmla="*/ 18639 w 65716"/>
                  <a:gd name="connsiteY19" fmla="*/ 24455 h 112345"/>
                  <a:gd name="connsiteX20" fmla="*/ 21069 w 65716"/>
                  <a:gd name="connsiteY20" fmla="*/ 17833 h 112345"/>
                  <a:gd name="connsiteX21" fmla="*/ 30125 w 65716"/>
                  <a:gd name="connsiteY21" fmla="*/ 22546 h 112345"/>
                  <a:gd name="connsiteX22" fmla="*/ 36162 w 65716"/>
                  <a:gd name="connsiteY22" fmla="*/ 38442 h 112345"/>
                  <a:gd name="connsiteX23" fmla="*/ 38154 w 65716"/>
                  <a:gd name="connsiteY23" fmla="*/ 46761 h 112345"/>
                  <a:gd name="connsiteX24" fmla="*/ 42546 w 65716"/>
                  <a:gd name="connsiteY24" fmla="*/ 64946 h 112345"/>
                  <a:gd name="connsiteX25" fmla="*/ 45006 w 65716"/>
                  <a:gd name="connsiteY25" fmla="*/ 74795 h 112345"/>
                  <a:gd name="connsiteX26" fmla="*/ 48266 w 65716"/>
                  <a:gd name="connsiteY26" fmla="*/ 92161 h 112345"/>
                  <a:gd name="connsiteX27" fmla="*/ 44403 w 65716"/>
                  <a:gd name="connsiteY27" fmla="*/ 94889 h 112345"/>
                  <a:gd name="connsiteX28" fmla="*/ 40916 w 65716"/>
                  <a:gd name="connsiteY28" fmla="*/ 89706 h 112345"/>
                  <a:gd name="connsiteX29" fmla="*/ 34019 w 65716"/>
                  <a:gd name="connsiteY29" fmla="*/ 57354 h 112345"/>
                  <a:gd name="connsiteX30" fmla="*/ 27061 w 65716"/>
                  <a:gd name="connsiteY30" fmla="*/ 39170 h 112345"/>
                  <a:gd name="connsiteX31" fmla="*/ 25069 w 65716"/>
                  <a:gd name="connsiteY31" fmla="*/ 36578 h 112345"/>
                  <a:gd name="connsiteX32" fmla="*/ 19681 w 65716"/>
                  <a:gd name="connsiteY32" fmla="*/ 32441 h 112345"/>
                  <a:gd name="connsiteX33" fmla="*/ 2068 w 65716"/>
                  <a:gd name="connsiteY33" fmla="*/ 31744 h 112345"/>
                  <a:gd name="connsiteX34" fmla="*/ 91 w 65716"/>
                  <a:gd name="connsiteY34" fmla="*/ 32729 h 112345"/>
                  <a:gd name="connsiteX35" fmla="*/ 91 w 65716"/>
                  <a:gd name="connsiteY35" fmla="*/ 38533 h 112345"/>
                  <a:gd name="connsiteX36" fmla="*/ 0 w 65716"/>
                  <a:gd name="connsiteY36" fmla="*/ 55202 h 112345"/>
                  <a:gd name="connsiteX37" fmla="*/ 5524 w 65716"/>
                  <a:gd name="connsiteY37" fmla="*/ 57793 h 112345"/>
                  <a:gd name="connsiteX38" fmla="*/ 8165 w 65716"/>
                  <a:gd name="connsiteY38" fmla="*/ 48231 h 112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5716" h="112345">
                    <a:moveTo>
                      <a:pt x="8165" y="48231"/>
                    </a:moveTo>
                    <a:cubicBezTo>
                      <a:pt x="9365" y="47168"/>
                      <a:pt x="11196" y="47282"/>
                      <a:pt x="12255" y="48487"/>
                    </a:cubicBezTo>
                    <a:cubicBezTo>
                      <a:pt x="12286" y="48522"/>
                      <a:pt x="12317" y="48558"/>
                      <a:pt x="12346" y="48595"/>
                    </a:cubicBezTo>
                    <a:cubicBezTo>
                      <a:pt x="12678" y="49095"/>
                      <a:pt x="14338" y="51853"/>
                      <a:pt x="17266" y="62157"/>
                    </a:cubicBezTo>
                    <a:cubicBezTo>
                      <a:pt x="17643" y="63506"/>
                      <a:pt x="18775" y="68931"/>
                      <a:pt x="20103" y="74901"/>
                    </a:cubicBezTo>
                    <a:cubicBezTo>
                      <a:pt x="21049" y="77285"/>
                      <a:pt x="21757" y="79757"/>
                      <a:pt x="22216" y="82281"/>
                    </a:cubicBezTo>
                    <a:lnTo>
                      <a:pt x="22216" y="82630"/>
                    </a:lnTo>
                    <a:lnTo>
                      <a:pt x="24073" y="94434"/>
                    </a:lnTo>
                    <a:cubicBezTo>
                      <a:pt x="26895" y="106724"/>
                      <a:pt x="35573" y="111770"/>
                      <a:pt x="42999" y="112346"/>
                    </a:cubicBezTo>
                    <a:cubicBezTo>
                      <a:pt x="43542" y="112346"/>
                      <a:pt x="44086" y="112346"/>
                      <a:pt x="44614" y="112346"/>
                    </a:cubicBezTo>
                    <a:cubicBezTo>
                      <a:pt x="53700" y="112298"/>
                      <a:pt x="61755" y="106468"/>
                      <a:pt x="64672" y="97829"/>
                    </a:cubicBezTo>
                    <a:cubicBezTo>
                      <a:pt x="67042" y="90919"/>
                      <a:pt x="65080" y="83206"/>
                      <a:pt x="61804" y="70416"/>
                    </a:cubicBezTo>
                    <a:cubicBezTo>
                      <a:pt x="61065" y="67522"/>
                      <a:pt x="60295" y="64355"/>
                      <a:pt x="59405" y="60794"/>
                    </a:cubicBezTo>
                    <a:cubicBezTo>
                      <a:pt x="58424" y="56748"/>
                      <a:pt x="56507" y="48777"/>
                      <a:pt x="55028" y="42609"/>
                    </a:cubicBezTo>
                    <a:lnTo>
                      <a:pt x="53005" y="34169"/>
                    </a:lnTo>
                    <a:lnTo>
                      <a:pt x="53005" y="33942"/>
                    </a:lnTo>
                    <a:cubicBezTo>
                      <a:pt x="51144" y="27217"/>
                      <a:pt x="48658" y="20682"/>
                      <a:pt x="45580" y="14424"/>
                    </a:cubicBezTo>
                    <a:cubicBezTo>
                      <a:pt x="41203" y="5968"/>
                      <a:pt x="31061" y="-2684"/>
                      <a:pt x="16904" y="786"/>
                    </a:cubicBezTo>
                    <a:cubicBezTo>
                      <a:pt x="6233" y="3422"/>
                      <a:pt x="815" y="14424"/>
                      <a:pt x="1192" y="24486"/>
                    </a:cubicBezTo>
                    <a:cubicBezTo>
                      <a:pt x="6843" y="22529"/>
                      <a:pt x="12982" y="22519"/>
                      <a:pt x="18639" y="24455"/>
                    </a:cubicBezTo>
                    <a:cubicBezTo>
                      <a:pt x="18338" y="21652"/>
                      <a:pt x="19786" y="18152"/>
                      <a:pt x="21069" y="17833"/>
                    </a:cubicBezTo>
                    <a:cubicBezTo>
                      <a:pt x="26382" y="16530"/>
                      <a:pt x="29174" y="20697"/>
                      <a:pt x="30125" y="22546"/>
                    </a:cubicBezTo>
                    <a:cubicBezTo>
                      <a:pt x="32607" y="27653"/>
                      <a:pt x="34628" y="32973"/>
                      <a:pt x="36162" y="38442"/>
                    </a:cubicBezTo>
                    <a:lnTo>
                      <a:pt x="38154" y="46761"/>
                    </a:lnTo>
                    <a:cubicBezTo>
                      <a:pt x="39663" y="52944"/>
                      <a:pt x="41550" y="60915"/>
                      <a:pt x="42546" y="64946"/>
                    </a:cubicBezTo>
                    <a:cubicBezTo>
                      <a:pt x="43406" y="68567"/>
                      <a:pt x="44252" y="71825"/>
                      <a:pt x="45006" y="74795"/>
                    </a:cubicBezTo>
                    <a:cubicBezTo>
                      <a:pt x="46832" y="81993"/>
                      <a:pt x="48930" y="90146"/>
                      <a:pt x="48266" y="92161"/>
                    </a:cubicBezTo>
                    <a:cubicBezTo>
                      <a:pt x="47720" y="93828"/>
                      <a:pt x="46149" y="94937"/>
                      <a:pt x="44403" y="94889"/>
                    </a:cubicBezTo>
                    <a:cubicBezTo>
                      <a:pt x="42063" y="94707"/>
                      <a:pt x="41188" y="91191"/>
                      <a:pt x="40916" y="89706"/>
                    </a:cubicBezTo>
                    <a:cubicBezTo>
                      <a:pt x="40252" y="85933"/>
                      <a:pt x="35136" y="61324"/>
                      <a:pt x="34019" y="57354"/>
                    </a:cubicBezTo>
                    <a:cubicBezTo>
                      <a:pt x="31121" y="47140"/>
                      <a:pt x="28918" y="42109"/>
                      <a:pt x="27061" y="39170"/>
                    </a:cubicBezTo>
                    <a:cubicBezTo>
                      <a:pt x="26477" y="38247"/>
                      <a:pt x="25810" y="37380"/>
                      <a:pt x="25069" y="36578"/>
                    </a:cubicBezTo>
                    <a:cubicBezTo>
                      <a:pt x="23490" y="34935"/>
                      <a:pt x="21674" y="33541"/>
                      <a:pt x="19681" y="32441"/>
                    </a:cubicBezTo>
                    <a:cubicBezTo>
                      <a:pt x="14242" y="29454"/>
                      <a:pt x="7724" y="29196"/>
                      <a:pt x="2068" y="31744"/>
                    </a:cubicBezTo>
                    <a:cubicBezTo>
                      <a:pt x="1390" y="32033"/>
                      <a:pt x="729" y="32362"/>
                      <a:pt x="91" y="32729"/>
                    </a:cubicBezTo>
                    <a:lnTo>
                      <a:pt x="91" y="38533"/>
                    </a:lnTo>
                    <a:lnTo>
                      <a:pt x="0" y="55202"/>
                    </a:lnTo>
                    <a:cubicBezTo>
                      <a:pt x="1920" y="55885"/>
                      <a:pt x="3770" y="56753"/>
                      <a:pt x="5524" y="57793"/>
                    </a:cubicBezTo>
                    <a:cubicBezTo>
                      <a:pt x="5962" y="53096"/>
                      <a:pt x="6958" y="49231"/>
                      <a:pt x="8165" y="4823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0" name="Freeform 290">
                <a:extLst>
                  <a:ext uri="{FF2B5EF4-FFF2-40B4-BE49-F238E27FC236}">
                    <a16:creationId xmlns:a16="http://schemas.microsoft.com/office/drawing/2014/main" id="{3AB3E34C-6602-42E4-ABAE-69977B19AB63}"/>
                  </a:ext>
                </a:extLst>
              </p:cNvPr>
              <p:cNvSpPr/>
              <p:nvPr/>
            </p:nvSpPr>
            <p:spPr>
              <a:xfrm>
                <a:off x="7524634" y="3486199"/>
                <a:ext cx="90" cy="1515"/>
              </a:xfrm>
              <a:custGeom>
                <a:avLst/>
                <a:gdLst>
                  <a:gd name="connsiteX0" fmla="*/ 91 w 90"/>
                  <a:gd name="connsiteY0" fmla="*/ 0 h 1515"/>
                  <a:gd name="connsiteX1" fmla="*/ 91 w 90"/>
                  <a:gd name="connsiteY1" fmla="*/ 0 h 1515"/>
                  <a:gd name="connsiteX2" fmla="*/ 0 w 90"/>
                  <a:gd name="connsiteY2" fmla="*/ 0 h 1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0" h="1515">
                    <a:moveTo>
                      <a:pt x="91" y="0"/>
                    </a:moveTo>
                    <a:lnTo>
                      <a:pt x="9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1" name="Freeform 291">
                <a:extLst>
                  <a:ext uri="{FF2B5EF4-FFF2-40B4-BE49-F238E27FC236}">
                    <a16:creationId xmlns:a16="http://schemas.microsoft.com/office/drawing/2014/main" id="{A8E9E795-7CFC-4E23-B96A-8172821AD04E}"/>
                  </a:ext>
                </a:extLst>
              </p:cNvPr>
              <p:cNvSpPr/>
              <p:nvPr/>
            </p:nvSpPr>
            <p:spPr>
              <a:xfrm>
                <a:off x="7530777" y="3425936"/>
                <a:ext cx="68641" cy="112937"/>
              </a:xfrm>
              <a:custGeom>
                <a:avLst/>
                <a:gdLst>
                  <a:gd name="connsiteX0" fmla="*/ 19288 w 68641"/>
                  <a:gd name="connsiteY0" fmla="*/ 96314 h 112937"/>
                  <a:gd name="connsiteX1" fmla="*/ 16738 w 68641"/>
                  <a:gd name="connsiteY1" fmla="*/ 41079 h 112937"/>
                  <a:gd name="connsiteX2" fmla="*/ 9056 w 68641"/>
                  <a:gd name="connsiteY2" fmla="*/ 50080 h 112937"/>
                  <a:gd name="connsiteX3" fmla="*/ 0 w 68641"/>
                  <a:gd name="connsiteY3" fmla="*/ 57006 h 112937"/>
                  <a:gd name="connsiteX4" fmla="*/ 272 w 68641"/>
                  <a:gd name="connsiteY4" fmla="*/ 62809 h 112937"/>
                  <a:gd name="connsiteX5" fmla="*/ 15213 w 68641"/>
                  <a:gd name="connsiteY5" fmla="*/ 92707 h 112937"/>
                  <a:gd name="connsiteX6" fmla="*/ 5524 w 68641"/>
                  <a:gd name="connsiteY6" fmla="*/ 109891 h 112937"/>
                  <a:gd name="connsiteX7" fmla="*/ 5901 w 68641"/>
                  <a:gd name="connsiteY7" fmla="*/ 110497 h 112937"/>
                  <a:gd name="connsiteX8" fmla="*/ 28148 w 68641"/>
                  <a:gd name="connsiteY8" fmla="*/ 110785 h 112937"/>
                  <a:gd name="connsiteX9" fmla="*/ 37415 w 68641"/>
                  <a:gd name="connsiteY9" fmla="*/ 112937 h 112937"/>
                  <a:gd name="connsiteX10" fmla="*/ 37309 w 68641"/>
                  <a:gd name="connsiteY10" fmla="*/ 112437 h 112937"/>
                  <a:gd name="connsiteX11" fmla="*/ 37218 w 68641"/>
                  <a:gd name="connsiteY11" fmla="*/ 111785 h 112937"/>
                  <a:gd name="connsiteX12" fmla="*/ 37218 w 68641"/>
                  <a:gd name="connsiteY12" fmla="*/ 111785 h 112937"/>
                  <a:gd name="connsiteX13" fmla="*/ 32872 w 68641"/>
                  <a:gd name="connsiteY13" fmla="*/ 86312 h 112937"/>
                  <a:gd name="connsiteX14" fmla="*/ 43633 w 68641"/>
                  <a:gd name="connsiteY14" fmla="*/ 54839 h 112937"/>
                  <a:gd name="connsiteX15" fmla="*/ 43150 w 68641"/>
                  <a:gd name="connsiteY15" fmla="*/ 23668 h 112937"/>
                  <a:gd name="connsiteX16" fmla="*/ 44659 w 68641"/>
                  <a:gd name="connsiteY16" fmla="*/ 18167 h 112937"/>
                  <a:gd name="connsiteX17" fmla="*/ 47980 w 68641"/>
                  <a:gd name="connsiteY17" fmla="*/ 17410 h 112937"/>
                  <a:gd name="connsiteX18" fmla="*/ 51209 w 68641"/>
                  <a:gd name="connsiteY18" fmla="*/ 21956 h 112937"/>
                  <a:gd name="connsiteX19" fmla="*/ 51043 w 68641"/>
                  <a:gd name="connsiteY19" fmla="*/ 50156 h 112937"/>
                  <a:gd name="connsiteX20" fmla="*/ 56839 w 68641"/>
                  <a:gd name="connsiteY20" fmla="*/ 48141 h 112937"/>
                  <a:gd name="connsiteX21" fmla="*/ 60401 w 68641"/>
                  <a:gd name="connsiteY21" fmla="*/ 47383 h 112937"/>
                  <a:gd name="connsiteX22" fmla="*/ 64023 w 68641"/>
                  <a:gd name="connsiteY22" fmla="*/ 47035 h 112937"/>
                  <a:gd name="connsiteX23" fmla="*/ 68551 w 68641"/>
                  <a:gd name="connsiteY23" fmla="*/ 47171 h 112937"/>
                  <a:gd name="connsiteX24" fmla="*/ 68641 w 68641"/>
                  <a:gd name="connsiteY24" fmla="*/ 32851 h 112937"/>
                  <a:gd name="connsiteX25" fmla="*/ 68641 w 68641"/>
                  <a:gd name="connsiteY25" fmla="*/ 22441 h 112937"/>
                  <a:gd name="connsiteX26" fmla="*/ 68641 w 68641"/>
                  <a:gd name="connsiteY26" fmla="*/ 20486 h 112937"/>
                  <a:gd name="connsiteX27" fmla="*/ 68536 w 68641"/>
                  <a:gd name="connsiteY27" fmla="*/ 19804 h 112937"/>
                  <a:gd name="connsiteX28" fmla="*/ 49262 w 68641"/>
                  <a:gd name="connsiteY28" fmla="*/ 104 h 112937"/>
                  <a:gd name="connsiteX29" fmla="*/ 32811 w 68641"/>
                  <a:gd name="connsiteY29" fmla="*/ 5484 h 112937"/>
                  <a:gd name="connsiteX30" fmla="*/ 27831 w 68641"/>
                  <a:gd name="connsiteY30" fmla="*/ 12788 h 112937"/>
                  <a:gd name="connsiteX31" fmla="*/ 25869 w 68641"/>
                  <a:gd name="connsiteY31" fmla="*/ 21410 h 112937"/>
                  <a:gd name="connsiteX32" fmla="*/ 25748 w 68641"/>
                  <a:gd name="connsiteY32" fmla="*/ 23774 h 112937"/>
                  <a:gd name="connsiteX33" fmla="*/ 26986 w 68641"/>
                  <a:gd name="connsiteY33" fmla="*/ 95132 h 112937"/>
                  <a:gd name="connsiteX34" fmla="*/ 23197 w 68641"/>
                  <a:gd name="connsiteY34" fmla="*/ 102224 h 112937"/>
                  <a:gd name="connsiteX35" fmla="*/ 20903 w 68641"/>
                  <a:gd name="connsiteY35" fmla="*/ 101451 h 112937"/>
                  <a:gd name="connsiteX36" fmla="*/ 19288 w 68641"/>
                  <a:gd name="connsiteY36" fmla="*/ 96314 h 112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8641" h="112937">
                    <a:moveTo>
                      <a:pt x="19288" y="96314"/>
                    </a:moveTo>
                    <a:lnTo>
                      <a:pt x="16738" y="41079"/>
                    </a:lnTo>
                    <a:cubicBezTo>
                      <a:pt x="14503" y="44345"/>
                      <a:pt x="11927" y="47362"/>
                      <a:pt x="9056" y="50080"/>
                    </a:cubicBezTo>
                    <a:cubicBezTo>
                      <a:pt x="6290" y="52705"/>
                      <a:pt x="3254" y="55026"/>
                      <a:pt x="0" y="57006"/>
                    </a:cubicBezTo>
                    <a:lnTo>
                      <a:pt x="272" y="62809"/>
                    </a:lnTo>
                    <a:cubicBezTo>
                      <a:pt x="11176" y="68474"/>
                      <a:pt x="17208" y="80544"/>
                      <a:pt x="15213" y="92707"/>
                    </a:cubicBezTo>
                    <a:cubicBezTo>
                      <a:pt x="14278" y="99464"/>
                      <a:pt x="10813" y="105609"/>
                      <a:pt x="5524" y="109891"/>
                    </a:cubicBezTo>
                    <a:cubicBezTo>
                      <a:pt x="5645" y="110088"/>
                      <a:pt x="5765" y="110300"/>
                      <a:pt x="5901" y="110497"/>
                    </a:cubicBezTo>
                    <a:cubicBezTo>
                      <a:pt x="13193" y="108464"/>
                      <a:pt x="20911" y="108564"/>
                      <a:pt x="28148" y="110785"/>
                    </a:cubicBezTo>
                    <a:cubicBezTo>
                      <a:pt x="29899" y="111270"/>
                      <a:pt x="33475" y="112088"/>
                      <a:pt x="37415" y="112937"/>
                    </a:cubicBezTo>
                    <a:cubicBezTo>
                      <a:pt x="37415" y="112770"/>
                      <a:pt x="37415" y="112604"/>
                      <a:pt x="37309" y="112437"/>
                    </a:cubicBezTo>
                    <a:lnTo>
                      <a:pt x="37218" y="111785"/>
                    </a:lnTo>
                    <a:lnTo>
                      <a:pt x="37218" y="111785"/>
                    </a:lnTo>
                    <a:cubicBezTo>
                      <a:pt x="34306" y="97344"/>
                      <a:pt x="33053" y="87737"/>
                      <a:pt x="32872" y="86312"/>
                    </a:cubicBezTo>
                    <a:cubicBezTo>
                      <a:pt x="30849" y="71917"/>
                      <a:pt x="35890" y="61370"/>
                      <a:pt x="43633" y="54839"/>
                    </a:cubicBezTo>
                    <a:cubicBezTo>
                      <a:pt x="43376" y="40231"/>
                      <a:pt x="43150" y="26577"/>
                      <a:pt x="43150" y="23668"/>
                    </a:cubicBezTo>
                    <a:cubicBezTo>
                      <a:pt x="43150" y="21046"/>
                      <a:pt x="43693" y="19122"/>
                      <a:pt x="44659" y="18167"/>
                    </a:cubicBezTo>
                    <a:cubicBezTo>
                      <a:pt x="45626" y="17491"/>
                      <a:pt x="46817" y="17219"/>
                      <a:pt x="47980" y="17410"/>
                    </a:cubicBezTo>
                    <a:cubicBezTo>
                      <a:pt x="49881" y="17546"/>
                      <a:pt x="50908" y="20758"/>
                      <a:pt x="51209" y="21956"/>
                    </a:cubicBezTo>
                    <a:lnTo>
                      <a:pt x="51043" y="50156"/>
                    </a:lnTo>
                    <a:cubicBezTo>
                      <a:pt x="52913" y="49317"/>
                      <a:pt x="54852" y="48642"/>
                      <a:pt x="56839" y="48141"/>
                    </a:cubicBezTo>
                    <a:cubicBezTo>
                      <a:pt x="58016" y="47838"/>
                      <a:pt x="59208" y="47580"/>
                      <a:pt x="60401" y="47383"/>
                    </a:cubicBezTo>
                    <a:cubicBezTo>
                      <a:pt x="61593" y="47186"/>
                      <a:pt x="62831" y="47095"/>
                      <a:pt x="64023" y="47035"/>
                    </a:cubicBezTo>
                    <a:cubicBezTo>
                      <a:pt x="65534" y="46965"/>
                      <a:pt x="67047" y="47011"/>
                      <a:pt x="68551" y="47171"/>
                    </a:cubicBezTo>
                    <a:lnTo>
                      <a:pt x="68641" y="32851"/>
                    </a:lnTo>
                    <a:lnTo>
                      <a:pt x="68641" y="22441"/>
                    </a:lnTo>
                    <a:lnTo>
                      <a:pt x="68641" y="20486"/>
                    </a:lnTo>
                    <a:lnTo>
                      <a:pt x="68536" y="19804"/>
                    </a:lnTo>
                    <a:cubicBezTo>
                      <a:pt x="67555" y="13394"/>
                      <a:pt x="62272" y="1013"/>
                      <a:pt x="49262" y="104"/>
                    </a:cubicBezTo>
                    <a:cubicBezTo>
                      <a:pt x="43271" y="-488"/>
                      <a:pt x="37306" y="1462"/>
                      <a:pt x="32811" y="5484"/>
                    </a:cubicBezTo>
                    <a:cubicBezTo>
                      <a:pt x="30650" y="7533"/>
                      <a:pt x="28952" y="10024"/>
                      <a:pt x="27831" y="12788"/>
                    </a:cubicBezTo>
                    <a:cubicBezTo>
                      <a:pt x="27333" y="15591"/>
                      <a:pt x="26699" y="18470"/>
                      <a:pt x="25869" y="21410"/>
                    </a:cubicBezTo>
                    <a:cubicBezTo>
                      <a:pt x="25869" y="22183"/>
                      <a:pt x="25748" y="22925"/>
                      <a:pt x="25748" y="23774"/>
                    </a:cubicBezTo>
                    <a:cubicBezTo>
                      <a:pt x="25748" y="30396"/>
                      <a:pt x="26850" y="87904"/>
                      <a:pt x="26986" y="95132"/>
                    </a:cubicBezTo>
                    <a:cubicBezTo>
                      <a:pt x="26744" y="96829"/>
                      <a:pt x="25748" y="102193"/>
                      <a:pt x="23197" y="102224"/>
                    </a:cubicBezTo>
                    <a:cubicBezTo>
                      <a:pt x="22359" y="102298"/>
                      <a:pt x="21527" y="102018"/>
                      <a:pt x="20903" y="101451"/>
                    </a:cubicBezTo>
                    <a:cubicBezTo>
                      <a:pt x="19749" y="99999"/>
                      <a:pt x="19173" y="98168"/>
                      <a:pt x="19288" y="9631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2" name="Freeform 292">
                <a:extLst>
                  <a:ext uri="{FF2B5EF4-FFF2-40B4-BE49-F238E27FC236}">
                    <a16:creationId xmlns:a16="http://schemas.microsoft.com/office/drawing/2014/main" id="{8AE350BD-61DA-4038-B9C7-C4D673FD88C4}"/>
                  </a:ext>
                </a:extLst>
              </p:cNvPr>
              <p:cNvSpPr/>
              <p:nvPr/>
            </p:nvSpPr>
            <p:spPr>
              <a:xfrm>
                <a:off x="7500818" y="3422603"/>
                <a:ext cx="28148" cy="35771"/>
              </a:xfrm>
              <a:custGeom>
                <a:avLst/>
                <a:gdLst>
                  <a:gd name="connsiteX0" fmla="*/ 1525 w 28148"/>
                  <a:gd name="connsiteY0" fmla="*/ 34805 h 35771"/>
                  <a:gd name="connsiteX1" fmla="*/ 2868 w 28148"/>
                  <a:gd name="connsiteY1" fmla="*/ 35320 h 35771"/>
                  <a:gd name="connsiteX2" fmla="*/ 17508 w 28148"/>
                  <a:gd name="connsiteY2" fmla="*/ 30562 h 35771"/>
                  <a:gd name="connsiteX3" fmla="*/ 18338 w 28148"/>
                  <a:gd name="connsiteY3" fmla="*/ 29713 h 35771"/>
                  <a:gd name="connsiteX4" fmla="*/ 17644 w 28148"/>
                  <a:gd name="connsiteY4" fmla="*/ 25440 h 35771"/>
                  <a:gd name="connsiteX5" fmla="*/ 17644 w 28148"/>
                  <a:gd name="connsiteY5" fmla="*/ 25106 h 35771"/>
                  <a:gd name="connsiteX6" fmla="*/ 21900 w 28148"/>
                  <a:gd name="connsiteY6" fmla="*/ 17590 h 35771"/>
                  <a:gd name="connsiteX7" fmla="*/ 25130 w 28148"/>
                  <a:gd name="connsiteY7" fmla="*/ 17984 h 35771"/>
                  <a:gd name="connsiteX8" fmla="*/ 28148 w 28148"/>
                  <a:gd name="connsiteY8" fmla="*/ 618 h 35771"/>
                  <a:gd name="connsiteX9" fmla="*/ 18097 w 28148"/>
                  <a:gd name="connsiteY9" fmla="*/ 543 h 35771"/>
                  <a:gd name="connsiteX10" fmla="*/ 483 w 28148"/>
                  <a:gd name="connsiteY10" fmla="*/ 28380 h 3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8148" h="35771">
                    <a:moveTo>
                      <a:pt x="1525" y="34805"/>
                    </a:moveTo>
                    <a:lnTo>
                      <a:pt x="2868" y="35320"/>
                    </a:lnTo>
                    <a:cubicBezTo>
                      <a:pt x="4528" y="35835"/>
                      <a:pt x="10596" y="37108"/>
                      <a:pt x="17508" y="30562"/>
                    </a:cubicBezTo>
                    <a:cubicBezTo>
                      <a:pt x="17795" y="30289"/>
                      <a:pt x="18066" y="30001"/>
                      <a:pt x="18338" y="29713"/>
                    </a:cubicBezTo>
                    <a:lnTo>
                      <a:pt x="17644" y="25440"/>
                    </a:lnTo>
                    <a:lnTo>
                      <a:pt x="17644" y="25106"/>
                    </a:lnTo>
                    <a:cubicBezTo>
                      <a:pt x="16800" y="21857"/>
                      <a:pt x="18688" y="18524"/>
                      <a:pt x="21900" y="17590"/>
                    </a:cubicBezTo>
                    <a:cubicBezTo>
                      <a:pt x="22990" y="17348"/>
                      <a:pt x="24130" y="17487"/>
                      <a:pt x="25130" y="17984"/>
                    </a:cubicBezTo>
                    <a:cubicBezTo>
                      <a:pt x="26788" y="12329"/>
                      <a:pt x="27801" y="6503"/>
                      <a:pt x="28148" y="618"/>
                    </a:cubicBezTo>
                    <a:cubicBezTo>
                      <a:pt x="24848" y="-180"/>
                      <a:pt x="21409" y="-206"/>
                      <a:pt x="18097" y="543"/>
                    </a:cubicBezTo>
                    <a:cubicBezTo>
                      <a:pt x="5719" y="3547"/>
                      <a:pt x="-2067" y="15853"/>
                      <a:pt x="483" y="2838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3" name="Freeform 293">
                <a:extLst>
                  <a:ext uri="{FF2B5EF4-FFF2-40B4-BE49-F238E27FC236}">
                    <a16:creationId xmlns:a16="http://schemas.microsoft.com/office/drawing/2014/main" id="{CA58093F-668D-45C8-8274-D36B6AAD1959}"/>
                  </a:ext>
                </a:extLst>
              </p:cNvPr>
              <p:cNvSpPr/>
              <p:nvPr/>
            </p:nvSpPr>
            <p:spPr>
              <a:xfrm>
                <a:off x="7594891" y="3613928"/>
                <a:ext cx="40704" cy="31308"/>
              </a:xfrm>
              <a:custGeom>
                <a:avLst/>
                <a:gdLst>
                  <a:gd name="connsiteX0" fmla="*/ 40192 w 40704"/>
                  <a:gd name="connsiteY0" fmla="*/ 2591 h 31308"/>
                  <a:gd name="connsiteX1" fmla="*/ 38924 w 40704"/>
                  <a:gd name="connsiteY1" fmla="*/ 3243 h 31308"/>
                  <a:gd name="connsiteX2" fmla="*/ 38532 w 40704"/>
                  <a:gd name="connsiteY2" fmla="*/ 3410 h 31308"/>
                  <a:gd name="connsiteX3" fmla="*/ 23107 w 40704"/>
                  <a:gd name="connsiteY3" fmla="*/ 7410 h 31308"/>
                  <a:gd name="connsiteX4" fmla="*/ 22307 w 40704"/>
                  <a:gd name="connsiteY4" fmla="*/ 10441 h 31308"/>
                  <a:gd name="connsiteX5" fmla="*/ 18534 w 40704"/>
                  <a:gd name="connsiteY5" fmla="*/ 13547 h 31308"/>
                  <a:gd name="connsiteX6" fmla="*/ 10776 w 40704"/>
                  <a:gd name="connsiteY6" fmla="*/ 11880 h 31308"/>
                  <a:gd name="connsiteX7" fmla="*/ 10776 w 40704"/>
                  <a:gd name="connsiteY7" fmla="*/ 11880 h 31308"/>
                  <a:gd name="connsiteX8" fmla="*/ 9176 w 40704"/>
                  <a:gd name="connsiteY8" fmla="*/ 9698 h 31308"/>
                  <a:gd name="connsiteX9" fmla="*/ 9176 w 40704"/>
                  <a:gd name="connsiteY9" fmla="*/ 9577 h 31308"/>
                  <a:gd name="connsiteX10" fmla="*/ 7410 w 40704"/>
                  <a:gd name="connsiteY10" fmla="*/ 6001 h 31308"/>
                  <a:gd name="connsiteX11" fmla="*/ 6535 w 40704"/>
                  <a:gd name="connsiteY11" fmla="*/ 4243 h 31308"/>
                  <a:gd name="connsiteX12" fmla="*/ 0 w 40704"/>
                  <a:gd name="connsiteY12" fmla="*/ 0 h 31308"/>
                  <a:gd name="connsiteX13" fmla="*/ 3019 w 40704"/>
                  <a:gd name="connsiteY13" fmla="*/ 10001 h 31308"/>
                  <a:gd name="connsiteX14" fmla="*/ 3260 w 40704"/>
                  <a:gd name="connsiteY14" fmla="*/ 11850 h 31308"/>
                  <a:gd name="connsiteX15" fmla="*/ 3260 w 40704"/>
                  <a:gd name="connsiteY15" fmla="*/ 11850 h 31308"/>
                  <a:gd name="connsiteX16" fmla="*/ 1524 w 40704"/>
                  <a:gd name="connsiteY16" fmla="*/ 26761 h 31308"/>
                  <a:gd name="connsiteX17" fmla="*/ 16119 w 40704"/>
                  <a:gd name="connsiteY17" fmla="*/ 31307 h 31308"/>
                  <a:gd name="connsiteX18" fmla="*/ 21990 w 40704"/>
                  <a:gd name="connsiteY18" fmla="*/ 30716 h 31308"/>
                  <a:gd name="connsiteX19" fmla="*/ 40373 w 40704"/>
                  <a:gd name="connsiteY19" fmla="*/ 10441 h 31308"/>
                  <a:gd name="connsiteX20" fmla="*/ 40705 w 40704"/>
                  <a:gd name="connsiteY20" fmla="*/ 7804 h 31308"/>
                  <a:gd name="connsiteX21" fmla="*/ 40705 w 40704"/>
                  <a:gd name="connsiteY21" fmla="*/ 7001 h 31308"/>
                  <a:gd name="connsiteX22" fmla="*/ 40343 w 40704"/>
                  <a:gd name="connsiteY22" fmla="*/ 3440 h 31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0704" h="31308">
                    <a:moveTo>
                      <a:pt x="40192" y="2591"/>
                    </a:moveTo>
                    <a:cubicBezTo>
                      <a:pt x="39769" y="2803"/>
                      <a:pt x="39362" y="3046"/>
                      <a:pt x="38924" y="3243"/>
                    </a:cubicBezTo>
                    <a:lnTo>
                      <a:pt x="38532" y="3410"/>
                    </a:lnTo>
                    <a:cubicBezTo>
                      <a:pt x="33672" y="5666"/>
                      <a:pt x="28447" y="7021"/>
                      <a:pt x="23107" y="7410"/>
                    </a:cubicBezTo>
                    <a:cubicBezTo>
                      <a:pt x="22980" y="8452"/>
                      <a:pt x="22711" y="9472"/>
                      <a:pt x="22307" y="10441"/>
                    </a:cubicBezTo>
                    <a:cubicBezTo>
                      <a:pt x="21704" y="12087"/>
                      <a:pt x="20260" y="13276"/>
                      <a:pt x="18534" y="13547"/>
                    </a:cubicBezTo>
                    <a:cubicBezTo>
                      <a:pt x="14580" y="14320"/>
                      <a:pt x="12180" y="13168"/>
                      <a:pt x="10776" y="11880"/>
                    </a:cubicBezTo>
                    <a:lnTo>
                      <a:pt x="10776" y="11880"/>
                    </a:lnTo>
                    <a:cubicBezTo>
                      <a:pt x="10104" y="11267"/>
                      <a:pt x="9560" y="10525"/>
                      <a:pt x="9176" y="9698"/>
                    </a:cubicBezTo>
                    <a:lnTo>
                      <a:pt x="9176" y="9577"/>
                    </a:lnTo>
                    <a:lnTo>
                      <a:pt x="7410" y="6001"/>
                    </a:lnTo>
                    <a:lnTo>
                      <a:pt x="6535" y="4243"/>
                    </a:lnTo>
                    <a:cubicBezTo>
                      <a:pt x="4198" y="3092"/>
                      <a:pt x="2004" y="1668"/>
                      <a:pt x="0" y="0"/>
                    </a:cubicBezTo>
                    <a:cubicBezTo>
                      <a:pt x="1423" y="3192"/>
                      <a:pt x="2437" y="6553"/>
                      <a:pt x="3019" y="10001"/>
                    </a:cubicBezTo>
                    <a:cubicBezTo>
                      <a:pt x="3109" y="10623"/>
                      <a:pt x="3200" y="11244"/>
                      <a:pt x="3260" y="11850"/>
                    </a:cubicBezTo>
                    <a:lnTo>
                      <a:pt x="3260" y="11850"/>
                    </a:lnTo>
                    <a:cubicBezTo>
                      <a:pt x="3812" y="16888"/>
                      <a:pt x="3218" y="21986"/>
                      <a:pt x="1524" y="26761"/>
                    </a:cubicBezTo>
                    <a:cubicBezTo>
                      <a:pt x="5795" y="29773"/>
                      <a:pt x="10900" y="31363"/>
                      <a:pt x="16119" y="31307"/>
                    </a:cubicBezTo>
                    <a:cubicBezTo>
                      <a:pt x="18090" y="31297"/>
                      <a:pt x="20056" y="31100"/>
                      <a:pt x="21990" y="30716"/>
                    </a:cubicBezTo>
                    <a:cubicBezTo>
                      <a:pt x="31785" y="28792"/>
                      <a:pt x="38592" y="21124"/>
                      <a:pt x="40373" y="10441"/>
                    </a:cubicBezTo>
                    <a:cubicBezTo>
                      <a:pt x="40509" y="9577"/>
                      <a:pt x="40629" y="8698"/>
                      <a:pt x="40705" y="7804"/>
                    </a:cubicBezTo>
                    <a:lnTo>
                      <a:pt x="40705" y="7001"/>
                    </a:lnTo>
                    <a:lnTo>
                      <a:pt x="40343" y="3440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4" name="Freeform 294">
                <a:extLst>
                  <a:ext uri="{FF2B5EF4-FFF2-40B4-BE49-F238E27FC236}">
                    <a16:creationId xmlns:a16="http://schemas.microsoft.com/office/drawing/2014/main" id="{D8C70290-D0AD-4D5D-B985-904503509AE1}"/>
                  </a:ext>
                </a:extLst>
              </p:cNvPr>
              <p:cNvSpPr/>
              <p:nvPr/>
            </p:nvSpPr>
            <p:spPr>
              <a:xfrm>
                <a:off x="7557476" y="3568725"/>
                <a:ext cx="23997" cy="24942"/>
              </a:xfrm>
              <a:custGeom>
                <a:avLst/>
                <a:gdLst>
                  <a:gd name="connsiteX0" fmla="*/ 9689 w 23997"/>
                  <a:gd name="connsiteY0" fmla="*/ 2106 h 24942"/>
                  <a:gd name="connsiteX1" fmla="*/ 0 w 23997"/>
                  <a:gd name="connsiteY1" fmla="*/ 0 h 24942"/>
                  <a:gd name="connsiteX2" fmla="*/ 2188 w 23997"/>
                  <a:gd name="connsiteY2" fmla="*/ 4410 h 24942"/>
                  <a:gd name="connsiteX3" fmla="*/ 23997 w 23997"/>
                  <a:gd name="connsiteY3" fmla="*/ 24943 h 24942"/>
                  <a:gd name="connsiteX4" fmla="*/ 23016 w 23997"/>
                  <a:gd name="connsiteY4" fmla="*/ 22018 h 24942"/>
                  <a:gd name="connsiteX5" fmla="*/ 21779 w 23997"/>
                  <a:gd name="connsiteY5" fmla="*/ 17745 h 24942"/>
                  <a:gd name="connsiteX6" fmla="*/ 19485 w 23997"/>
                  <a:gd name="connsiteY6" fmla="*/ 8865 h 24942"/>
                  <a:gd name="connsiteX7" fmla="*/ 18292 w 23997"/>
                  <a:gd name="connsiteY7" fmla="*/ 3985 h 24942"/>
                  <a:gd name="connsiteX8" fmla="*/ 18292 w 23997"/>
                  <a:gd name="connsiteY8" fmla="*/ 3985 h 24942"/>
                  <a:gd name="connsiteX9" fmla="*/ 18292 w 23997"/>
                  <a:gd name="connsiteY9" fmla="*/ 3985 h 24942"/>
                  <a:gd name="connsiteX10" fmla="*/ 17191 w 23997"/>
                  <a:gd name="connsiteY10" fmla="*/ 3728 h 24942"/>
                  <a:gd name="connsiteX11" fmla="*/ 16285 w 23997"/>
                  <a:gd name="connsiteY11" fmla="*/ 3516 h 2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997" h="24942">
                    <a:moveTo>
                      <a:pt x="9689" y="2106"/>
                    </a:moveTo>
                    <a:cubicBezTo>
                      <a:pt x="6671" y="1470"/>
                      <a:pt x="3185" y="712"/>
                      <a:pt x="0" y="0"/>
                    </a:cubicBezTo>
                    <a:lnTo>
                      <a:pt x="2188" y="4410"/>
                    </a:lnTo>
                    <a:cubicBezTo>
                      <a:pt x="10082" y="10553"/>
                      <a:pt x="17384" y="17428"/>
                      <a:pt x="23997" y="24943"/>
                    </a:cubicBezTo>
                    <a:cubicBezTo>
                      <a:pt x="23620" y="23897"/>
                      <a:pt x="23303" y="22927"/>
                      <a:pt x="23016" y="22018"/>
                    </a:cubicBezTo>
                    <a:cubicBezTo>
                      <a:pt x="22473" y="20291"/>
                      <a:pt x="22065" y="18821"/>
                      <a:pt x="21779" y="17745"/>
                    </a:cubicBezTo>
                    <a:cubicBezTo>
                      <a:pt x="21054" y="15063"/>
                      <a:pt x="20269" y="12092"/>
                      <a:pt x="19485" y="8865"/>
                    </a:cubicBezTo>
                    <a:cubicBezTo>
                      <a:pt x="19092" y="7349"/>
                      <a:pt x="18700" y="5683"/>
                      <a:pt x="18292" y="3985"/>
                    </a:cubicBezTo>
                    <a:lnTo>
                      <a:pt x="18292" y="3985"/>
                    </a:lnTo>
                    <a:lnTo>
                      <a:pt x="18292" y="3985"/>
                    </a:lnTo>
                    <a:lnTo>
                      <a:pt x="17191" y="3728"/>
                    </a:lnTo>
                    <a:lnTo>
                      <a:pt x="16285" y="351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5" name="Freeform 295">
                <a:extLst>
                  <a:ext uri="{FF2B5EF4-FFF2-40B4-BE49-F238E27FC236}">
                    <a16:creationId xmlns:a16="http://schemas.microsoft.com/office/drawing/2014/main" id="{0DB39C59-C1CB-4527-9200-D5F86BBDB5E3}"/>
                  </a:ext>
                </a:extLst>
              </p:cNvPr>
              <p:cNvSpPr/>
              <p:nvPr/>
            </p:nvSpPr>
            <p:spPr>
              <a:xfrm>
                <a:off x="7614103" y="3582969"/>
                <a:ext cx="8723" cy="6875"/>
              </a:xfrm>
              <a:custGeom>
                <a:avLst/>
                <a:gdLst>
                  <a:gd name="connsiteX0" fmla="*/ 4377 w 8723"/>
                  <a:gd name="connsiteY0" fmla="*/ 1500 h 6875"/>
                  <a:gd name="connsiteX1" fmla="*/ 3411 w 8723"/>
                  <a:gd name="connsiteY1" fmla="*/ 1182 h 6875"/>
                  <a:gd name="connsiteX2" fmla="*/ 2566 w 8723"/>
                  <a:gd name="connsiteY2" fmla="*/ 879 h 6875"/>
                  <a:gd name="connsiteX3" fmla="*/ 0 w 8723"/>
                  <a:gd name="connsiteY3" fmla="*/ 0 h 6875"/>
                  <a:gd name="connsiteX4" fmla="*/ 166 w 8723"/>
                  <a:gd name="connsiteY4" fmla="*/ 1515 h 6875"/>
                  <a:gd name="connsiteX5" fmla="*/ 574 w 8723"/>
                  <a:gd name="connsiteY5" fmla="*/ 5410 h 6875"/>
                  <a:gd name="connsiteX6" fmla="*/ 664 w 8723"/>
                  <a:gd name="connsiteY6" fmla="*/ 6334 h 6875"/>
                  <a:gd name="connsiteX7" fmla="*/ 664 w 8723"/>
                  <a:gd name="connsiteY7" fmla="*/ 6561 h 6875"/>
                  <a:gd name="connsiteX8" fmla="*/ 1011 w 8723"/>
                  <a:gd name="connsiteY8" fmla="*/ 6789 h 6875"/>
                  <a:gd name="connsiteX9" fmla="*/ 6731 w 8723"/>
                  <a:gd name="connsiteY9" fmla="*/ 5425 h 6875"/>
                  <a:gd name="connsiteX10" fmla="*/ 8724 w 8723"/>
                  <a:gd name="connsiteY10" fmla="*/ 3000 h 6875"/>
                  <a:gd name="connsiteX11" fmla="*/ 5524 w 8723"/>
                  <a:gd name="connsiteY11" fmla="*/ 1818 h 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723" h="6875">
                    <a:moveTo>
                      <a:pt x="4377" y="1500"/>
                    </a:moveTo>
                    <a:lnTo>
                      <a:pt x="3411" y="1182"/>
                    </a:lnTo>
                    <a:lnTo>
                      <a:pt x="2566" y="879"/>
                    </a:lnTo>
                    <a:lnTo>
                      <a:pt x="0" y="0"/>
                    </a:lnTo>
                    <a:lnTo>
                      <a:pt x="166" y="1515"/>
                    </a:lnTo>
                    <a:lnTo>
                      <a:pt x="574" y="5410"/>
                    </a:lnTo>
                    <a:lnTo>
                      <a:pt x="664" y="6334"/>
                    </a:lnTo>
                    <a:lnTo>
                      <a:pt x="664" y="6561"/>
                    </a:lnTo>
                    <a:cubicBezTo>
                      <a:pt x="771" y="6650"/>
                      <a:pt x="888" y="6726"/>
                      <a:pt x="1011" y="6789"/>
                    </a:cubicBezTo>
                    <a:cubicBezTo>
                      <a:pt x="1358" y="6955"/>
                      <a:pt x="3154" y="7046"/>
                      <a:pt x="6731" y="5425"/>
                    </a:cubicBezTo>
                    <a:cubicBezTo>
                      <a:pt x="7794" y="5053"/>
                      <a:pt x="8561" y="4118"/>
                      <a:pt x="8724" y="3000"/>
                    </a:cubicBezTo>
                    <a:cubicBezTo>
                      <a:pt x="7677" y="2553"/>
                      <a:pt x="6609" y="2158"/>
                      <a:pt x="5524" y="181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6" name="Freeform 296">
                <a:extLst>
                  <a:ext uri="{FF2B5EF4-FFF2-40B4-BE49-F238E27FC236}">
                    <a16:creationId xmlns:a16="http://schemas.microsoft.com/office/drawing/2014/main" id="{69DBFD4E-838D-43C7-8C39-487107ACC231}"/>
                  </a:ext>
                </a:extLst>
              </p:cNvPr>
              <p:cNvSpPr/>
              <p:nvPr/>
            </p:nvSpPr>
            <p:spPr>
              <a:xfrm>
                <a:off x="7570184" y="3479948"/>
                <a:ext cx="76936" cy="134427"/>
              </a:xfrm>
              <a:custGeom>
                <a:avLst/>
                <a:gdLst>
                  <a:gd name="connsiteX0" fmla="*/ 76293 w 76936"/>
                  <a:gd name="connsiteY0" fmla="*/ 111583 h 134427"/>
                  <a:gd name="connsiteX1" fmla="*/ 76459 w 76936"/>
                  <a:gd name="connsiteY1" fmla="*/ 110704 h 134427"/>
                  <a:gd name="connsiteX2" fmla="*/ 76882 w 76936"/>
                  <a:gd name="connsiteY2" fmla="*/ 103703 h 134427"/>
                  <a:gd name="connsiteX3" fmla="*/ 76203 w 76936"/>
                  <a:gd name="connsiteY3" fmla="*/ 99081 h 134427"/>
                  <a:gd name="connsiteX4" fmla="*/ 74271 w 76936"/>
                  <a:gd name="connsiteY4" fmla="*/ 94050 h 134427"/>
                  <a:gd name="connsiteX5" fmla="*/ 68234 w 76936"/>
                  <a:gd name="connsiteY5" fmla="*/ 87155 h 134427"/>
                  <a:gd name="connsiteX6" fmla="*/ 66815 w 76936"/>
                  <a:gd name="connsiteY6" fmla="*/ 86140 h 134427"/>
                  <a:gd name="connsiteX7" fmla="*/ 60944 w 76936"/>
                  <a:gd name="connsiteY7" fmla="*/ 83109 h 134427"/>
                  <a:gd name="connsiteX8" fmla="*/ 60944 w 76936"/>
                  <a:gd name="connsiteY8" fmla="*/ 83109 h 134427"/>
                  <a:gd name="connsiteX9" fmla="*/ 56899 w 76936"/>
                  <a:gd name="connsiteY9" fmla="*/ 81746 h 134427"/>
                  <a:gd name="connsiteX10" fmla="*/ 51571 w 76936"/>
                  <a:gd name="connsiteY10" fmla="*/ 79942 h 134427"/>
                  <a:gd name="connsiteX11" fmla="*/ 50198 w 76936"/>
                  <a:gd name="connsiteY11" fmla="*/ 79488 h 134427"/>
                  <a:gd name="connsiteX12" fmla="*/ 49972 w 76936"/>
                  <a:gd name="connsiteY12" fmla="*/ 79397 h 134427"/>
                  <a:gd name="connsiteX13" fmla="*/ 42214 w 76936"/>
                  <a:gd name="connsiteY13" fmla="*/ 76790 h 134427"/>
                  <a:gd name="connsiteX14" fmla="*/ 42214 w 76936"/>
                  <a:gd name="connsiteY14" fmla="*/ 76790 h 134427"/>
                  <a:gd name="connsiteX15" fmla="*/ 39618 w 76936"/>
                  <a:gd name="connsiteY15" fmla="*/ 75957 h 134427"/>
                  <a:gd name="connsiteX16" fmla="*/ 25899 w 76936"/>
                  <a:gd name="connsiteY16" fmla="*/ 72396 h 134427"/>
                  <a:gd name="connsiteX17" fmla="*/ 23454 w 76936"/>
                  <a:gd name="connsiteY17" fmla="*/ 61213 h 134427"/>
                  <a:gd name="connsiteX18" fmla="*/ 22669 w 76936"/>
                  <a:gd name="connsiteY18" fmla="*/ 57546 h 134427"/>
                  <a:gd name="connsiteX19" fmla="*/ 22005 w 76936"/>
                  <a:gd name="connsiteY19" fmla="*/ 54363 h 134427"/>
                  <a:gd name="connsiteX20" fmla="*/ 17658 w 76936"/>
                  <a:gd name="connsiteY20" fmla="*/ 29254 h 134427"/>
                  <a:gd name="connsiteX21" fmla="*/ 17658 w 76936"/>
                  <a:gd name="connsiteY21" fmla="*/ 29072 h 134427"/>
                  <a:gd name="connsiteX22" fmla="*/ 18986 w 76936"/>
                  <a:gd name="connsiteY22" fmla="*/ 20783 h 134427"/>
                  <a:gd name="connsiteX23" fmla="*/ 24722 w 76936"/>
                  <a:gd name="connsiteY23" fmla="*/ 17586 h 134427"/>
                  <a:gd name="connsiteX24" fmla="*/ 25627 w 76936"/>
                  <a:gd name="connsiteY24" fmla="*/ 17586 h 134427"/>
                  <a:gd name="connsiteX25" fmla="*/ 28963 w 76936"/>
                  <a:gd name="connsiteY25" fmla="*/ 18207 h 134427"/>
                  <a:gd name="connsiteX26" fmla="*/ 34381 w 76936"/>
                  <a:gd name="connsiteY26" fmla="*/ 26026 h 134427"/>
                  <a:gd name="connsiteX27" fmla="*/ 34502 w 76936"/>
                  <a:gd name="connsiteY27" fmla="*/ 26829 h 134427"/>
                  <a:gd name="connsiteX28" fmla="*/ 34592 w 76936"/>
                  <a:gd name="connsiteY28" fmla="*/ 27390 h 134427"/>
                  <a:gd name="connsiteX29" fmla="*/ 38381 w 76936"/>
                  <a:gd name="connsiteY29" fmla="*/ 51545 h 134427"/>
                  <a:gd name="connsiteX30" fmla="*/ 39467 w 76936"/>
                  <a:gd name="connsiteY30" fmla="*/ 58470 h 134427"/>
                  <a:gd name="connsiteX31" fmla="*/ 41218 w 76936"/>
                  <a:gd name="connsiteY31" fmla="*/ 69699 h 134427"/>
                  <a:gd name="connsiteX32" fmla="*/ 51511 w 76936"/>
                  <a:gd name="connsiteY32" fmla="*/ 73138 h 134427"/>
                  <a:gd name="connsiteX33" fmla="*/ 51511 w 76936"/>
                  <a:gd name="connsiteY33" fmla="*/ 73138 h 134427"/>
                  <a:gd name="connsiteX34" fmla="*/ 52326 w 76936"/>
                  <a:gd name="connsiteY34" fmla="*/ 73411 h 134427"/>
                  <a:gd name="connsiteX35" fmla="*/ 58967 w 76936"/>
                  <a:gd name="connsiteY35" fmla="*/ 75639 h 134427"/>
                  <a:gd name="connsiteX36" fmla="*/ 59827 w 76936"/>
                  <a:gd name="connsiteY36" fmla="*/ 75927 h 134427"/>
                  <a:gd name="connsiteX37" fmla="*/ 59389 w 76936"/>
                  <a:gd name="connsiteY37" fmla="*/ 73138 h 134427"/>
                  <a:gd name="connsiteX38" fmla="*/ 53413 w 76936"/>
                  <a:gd name="connsiteY38" fmla="*/ 35043 h 134427"/>
                  <a:gd name="connsiteX39" fmla="*/ 52024 w 76936"/>
                  <a:gd name="connsiteY39" fmla="*/ 26254 h 134427"/>
                  <a:gd name="connsiteX40" fmla="*/ 51526 w 76936"/>
                  <a:gd name="connsiteY40" fmla="*/ 23071 h 134427"/>
                  <a:gd name="connsiteX41" fmla="*/ 51526 w 76936"/>
                  <a:gd name="connsiteY41" fmla="*/ 22874 h 134427"/>
                  <a:gd name="connsiteX42" fmla="*/ 41520 w 76936"/>
                  <a:gd name="connsiteY42" fmla="*/ 5493 h 134427"/>
                  <a:gd name="connsiteX43" fmla="*/ 29038 w 76936"/>
                  <a:gd name="connsiteY43" fmla="*/ 190 h 134427"/>
                  <a:gd name="connsiteX44" fmla="*/ 23997 w 76936"/>
                  <a:gd name="connsiteY44" fmla="*/ 84 h 134427"/>
                  <a:gd name="connsiteX45" fmla="*/ 22005 w 76936"/>
                  <a:gd name="connsiteY45" fmla="*/ 281 h 134427"/>
                  <a:gd name="connsiteX46" fmla="*/ 16994 w 76936"/>
                  <a:gd name="connsiteY46" fmla="*/ 1553 h 134427"/>
                  <a:gd name="connsiteX47" fmla="*/ 11591 w 76936"/>
                  <a:gd name="connsiteY47" fmla="*/ 4145 h 134427"/>
                  <a:gd name="connsiteX48" fmla="*/ 4437 w 76936"/>
                  <a:gd name="connsiteY48" fmla="*/ 10979 h 134427"/>
                  <a:gd name="connsiteX49" fmla="*/ 377 w 76936"/>
                  <a:gd name="connsiteY49" fmla="*/ 31451 h 134427"/>
                  <a:gd name="connsiteX50" fmla="*/ 3396 w 76936"/>
                  <a:gd name="connsiteY50" fmla="*/ 49923 h 134427"/>
                  <a:gd name="connsiteX51" fmla="*/ 5629 w 76936"/>
                  <a:gd name="connsiteY51" fmla="*/ 61046 h 134427"/>
                  <a:gd name="connsiteX52" fmla="*/ 5629 w 76936"/>
                  <a:gd name="connsiteY52" fmla="*/ 61167 h 134427"/>
                  <a:gd name="connsiteX53" fmla="*/ 6128 w 76936"/>
                  <a:gd name="connsiteY53" fmla="*/ 63486 h 134427"/>
                  <a:gd name="connsiteX54" fmla="*/ 6927 w 76936"/>
                  <a:gd name="connsiteY54" fmla="*/ 67153 h 134427"/>
                  <a:gd name="connsiteX55" fmla="*/ 6927 w 76936"/>
                  <a:gd name="connsiteY55" fmla="*/ 67153 h 134427"/>
                  <a:gd name="connsiteX56" fmla="*/ 7999 w 76936"/>
                  <a:gd name="connsiteY56" fmla="*/ 71972 h 134427"/>
                  <a:gd name="connsiteX57" fmla="*/ 9508 w 76936"/>
                  <a:gd name="connsiteY57" fmla="*/ 78700 h 134427"/>
                  <a:gd name="connsiteX58" fmla="*/ 11334 w 76936"/>
                  <a:gd name="connsiteY58" fmla="*/ 86913 h 134427"/>
                  <a:gd name="connsiteX59" fmla="*/ 14610 w 76936"/>
                  <a:gd name="connsiteY59" fmla="*/ 100248 h 134427"/>
                  <a:gd name="connsiteX60" fmla="*/ 15757 w 76936"/>
                  <a:gd name="connsiteY60" fmla="*/ 104643 h 134427"/>
                  <a:gd name="connsiteX61" fmla="*/ 16134 w 76936"/>
                  <a:gd name="connsiteY61" fmla="*/ 106006 h 134427"/>
                  <a:gd name="connsiteX62" fmla="*/ 17734 w 76936"/>
                  <a:gd name="connsiteY62" fmla="*/ 111037 h 134427"/>
                  <a:gd name="connsiteX63" fmla="*/ 19243 w 76936"/>
                  <a:gd name="connsiteY63" fmla="*/ 114659 h 134427"/>
                  <a:gd name="connsiteX64" fmla="*/ 20405 w 76936"/>
                  <a:gd name="connsiteY64" fmla="*/ 117129 h 134427"/>
                  <a:gd name="connsiteX65" fmla="*/ 20813 w 76936"/>
                  <a:gd name="connsiteY65" fmla="*/ 117917 h 134427"/>
                  <a:gd name="connsiteX66" fmla="*/ 22986 w 76936"/>
                  <a:gd name="connsiteY66" fmla="*/ 121554 h 134427"/>
                  <a:gd name="connsiteX67" fmla="*/ 24616 w 76936"/>
                  <a:gd name="connsiteY67" fmla="*/ 123812 h 134427"/>
                  <a:gd name="connsiteX68" fmla="*/ 34592 w 76936"/>
                  <a:gd name="connsiteY68" fmla="*/ 131995 h 134427"/>
                  <a:gd name="connsiteX69" fmla="*/ 36252 w 76936"/>
                  <a:gd name="connsiteY69" fmla="*/ 132661 h 134427"/>
                  <a:gd name="connsiteX70" fmla="*/ 47180 w 76936"/>
                  <a:gd name="connsiteY70" fmla="*/ 134374 h 134427"/>
                  <a:gd name="connsiteX71" fmla="*/ 60763 w 76936"/>
                  <a:gd name="connsiteY71" fmla="*/ 130767 h 134427"/>
                  <a:gd name="connsiteX72" fmla="*/ 64129 w 76936"/>
                  <a:gd name="connsiteY72" fmla="*/ 128934 h 134427"/>
                  <a:gd name="connsiteX73" fmla="*/ 70573 w 76936"/>
                  <a:gd name="connsiteY73" fmla="*/ 123433 h 134427"/>
                  <a:gd name="connsiteX74" fmla="*/ 73079 w 76936"/>
                  <a:gd name="connsiteY74" fmla="*/ 119932 h 134427"/>
                  <a:gd name="connsiteX75" fmla="*/ 76293 w 76936"/>
                  <a:gd name="connsiteY75" fmla="*/ 111583 h 134427"/>
                  <a:gd name="connsiteX76" fmla="*/ 58318 w 76936"/>
                  <a:gd name="connsiteY76" fmla="*/ 110613 h 134427"/>
                  <a:gd name="connsiteX77" fmla="*/ 57307 w 76936"/>
                  <a:gd name="connsiteY77" fmla="*/ 112128 h 134427"/>
                  <a:gd name="connsiteX78" fmla="*/ 53488 w 76936"/>
                  <a:gd name="connsiteY78" fmla="*/ 114947 h 134427"/>
                  <a:gd name="connsiteX79" fmla="*/ 45308 w 76936"/>
                  <a:gd name="connsiteY79" fmla="*/ 117008 h 134427"/>
                  <a:gd name="connsiteX80" fmla="*/ 41942 w 76936"/>
                  <a:gd name="connsiteY80" fmla="*/ 116280 h 134427"/>
                  <a:gd name="connsiteX81" fmla="*/ 37852 w 76936"/>
                  <a:gd name="connsiteY81" fmla="*/ 112644 h 134427"/>
                  <a:gd name="connsiteX82" fmla="*/ 37852 w 76936"/>
                  <a:gd name="connsiteY82" fmla="*/ 112644 h 134427"/>
                  <a:gd name="connsiteX83" fmla="*/ 36947 w 76936"/>
                  <a:gd name="connsiteY83" fmla="*/ 111265 h 134427"/>
                  <a:gd name="connsiteX84" fmla="*/ 36947 w 76936"/>
                  <a:gd name="connsiteY84" fmla="*/ 111265 h 134427"/>
                  <a:gd name="connsiteX85" fmla="*/ 36147 w 76936"/>
                  <a:gd name="connsiteY85" fmla="*/ 109840 h 134427"/>
                  <a:gd name="connsiteX86" fmla="*/ 36147 w 76936"/>
                  <a:gd name="connsiteY86" fmla="*/ 109840 h 134427"/>
                  <a:gd name="connsiteX87" fmla="*/ 36147 w 76936"/>
                  <a:gd name="connsiteY87" fmla="*/ 109689 h 134427"/>
                  <a:gd name="connsiteX88" fmla="*/ 35981 w 76936"/>
                  <a:gd name="connsiteY88" fmla="*/ 109386 h 134427"/>
                  <a:gd name="connsiteX89" fmla="*/ 32615 w 76936"/>
                  <a:gd name="connsiteY89" fmla="*/ 100203 h 134427"/>
                  <a:gd name="connsiteX90" fmla="*/ 30412 w 76936"/>
                  <a:gd name="connsiteY90" fmla="*/ 91656 h 134427"/>
                  <a:gd name="connsiteX91" fmla="*/ 30412 w 76936"/>
                  <a:gd name="connsiteY91" fmla="*/ 91656 h 134427"/>
                  <a:gd name="connsiteX92" fmla="*/ 30879 w 76936"/>
                  <a:gd name="connsiteY92" fmla="*/ 91777 h 134427"/>
                  <a:gd name="connsiteX93" fmla="*/ 35815 w 76936"/>
                  <a:gd name="connsiteY93" fmla="*/ 93171 h 134427"/>
                  <a:gd name="connsiteX94" fmla="*/ 39950 w 76936"/>
                  <a:gd name="connsiteY94" fmla="*/ 94459 h 134427"/>
                  <a:gd name="connsiteX95" fmla="*/ 39950 w 76936"/>
                  <a:gd name="connsiteY95" fmla="*/ 94459 h 134427"/>
                  <a:gd name="connsiteX96" fmla="*/ 50515 w 76936"/>
                  <a:gd name="connsiteY96" fmla="*/ 98066 h 134427"/>
                  <a:gd name="connsiteX97" fmla="*/ 51587 w 76936"/>
                  <a:gd name="connsiteY97" fmla="*/ 98414 h 134427"/>
                  <a:gd name="connsiteX98" fmla="*/ 59299 w 76936"/>
                  <a:gd name="connsiteY98" fmla="*/ 103324 h 134427"/>
                  <a:gd name="connsiteX99" fmla="*/ 59389 w 76936"/>
                  <a:gd name="connsiteY99" fmla="*/ 103764 h 134427"/>
                  <a:gd name="connsiteX100" fmla="*/ 58378 w 76936"/>
                  <a:gd name="connsiteY100" fmla="*/ 110613 h 134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76936" h="134427">
                    <a:moveTo>
                      <a:pt x="76293" y="111583"/>
                    </a:moveTo>
                    <a:cubicBezTo>
                      <a:pt x="76293" y="111280"/>
                      <a:pt x="76414" y="110992"/>
                      <a:pt x="76459" y="110704"/>
                    </a:cubicBezTo>
                    <a:cubicBezTo>
                      <a:pt x="76884" y="108396"/>
                      <a:pt x="77026" y="106045"/>
                      <a:pt x="76882" y="103703"/>
                    </a:cubicBezTo>
                    <a:cubicBezTo>
                      <a:pt x="76789" y="102146"/>
                      <a:pt x="76562" y="100599"/>
                      <a:pt x="76203" y="99081"/>
                    </a:cubicBezTo>
                    <a:cubicBezTo>
                      <a:pt x="75780" y="97327"/>
                      <a:pt x="75131" y="95635"/>
                      <a:pt x="74271" y="94050"/>
                    </a:cubicBezTo>
                    <a:cubicBezTo>
                      <a:pt x="72776" y="91343"/>
                      <a:pt x="70717" y="88991"/>
                      <a:pt x="68234" y="87155"/>
                    </a:cubicBezTo>
                    <a:cubicBezTo>
                      <a:pt x="67766" y="86792"/>
                      <a:pt x="67283" y="86458"/>
                      <a:pt x="66815" y="86140"/>
                    </a:cubicBezTo>
                    <a:cubicBezTo>
                      <a:pt x="64963" y="84937"/>
                      <a:pt x="62996" y="83921"/>
                      <a:pt x="60944" y="83109"/>
                    </a:cubicBezTo>
                    <a:lnTo>
                      <a:pt x="60944" y="83109"/>
                    </a:lnTo>
                    <a:lnTo>
                      <a:pt x="56899" y="81746"/>
                    </a:lnTo>
                    <a:lnTo>
                      <a:pt x="51571" y="79942"/>
                    </a:lnTo>
                    <a:lnTo>
                      <a:pt x="50198" y="79488"/>
                    </a:lnTo>
                    <a:lnTo>
                      <a:pt x="49972" y="79397"/>
                    </a:lnTo>
                    <a:lnTo>
                      <a:pt x="42214" y="76790"/>
                    </a:lnTo>
                    <a:lnTo>
                      <a:pt x="42214" y="76790"/>
                    </a:lnTo>
                    <a:lnTo>
                      <a:pt x="39618" y="75957"/>
                    </a:lnTo>
                    <a:cubicBezTo>
                      <a:pt x="35996" y="74896"/>
                      <a:pt x="31951" y="73851"/>
                      <a:pt x="25899" y="72396"/>
                    </a:cubicBezTo>
                    <a:cubicBezTo>
                      <a:pt x="25114" y="68860"/>
                      <a:pt x="24299" y="65132"/>
                      <a:pt x="23454" y="61213"/>
                    </a:cubicBezTo>
                    <a:cubicBezTo>
                      <a:pt x="23197" y="60000"/>
                      <a:pt x="22926" y="58788"/>
                      <a:pt x="22669" y="57546"/>
                    </a:cubicBezTo>
                    <a:cubicBezTo>
                      <a:pt x="22412" y="56303"/>
                      <a:pt x="22216" y="55394"/>
                      <a:pt x="22005" y="54363"/>
                    </a:cubicBezTo>
                    <a:cubicBezTo>
                      <a:pt x="18896" y="39210"/>
                      <a:pt x="17673" y="29360"/>
                      <a:pt x="17658" y="29254"/>
                    </a:cubicBezTo>
                    <a:lnTo>
                      <a:pt x="17658" y="29072"/>
                    </a:lnTo>
                    <a:cubicBezTo>
                      <a:pt x="17145" y="25481"/>
                      <a:pt x="17658" y="22723"/>
                      <a:pt x="18986" y="20783"/>
                    </a:cubicBezTo>
                    <a:cubicBezTo>
                      <a:pt x="20376" y="18968"/>
                      <a:pt x="22452" y="17811"/>
                      <a:pt x="24722" y="17586"/>
                    </a:cubicBezTo>
                    <a:cubicBezTo>
                      <a:pt x="25024" y="17586"/>
                      <a:pt x="25325" y="17586"/>
                      <a:pt x="25627" y="17586"/>
                    </a:cubicBezTo>
                    <a:cubicBezTo>
                      <a:pt x="26772" y="17536"/>
                      <a:pt x="27912" y="17749"/>
                      <a:pt x="28963" y="18207"/>
                    </a:cubicBezTo>
                    <a:cubicBezTo>
                      <a:pt x="31438" y="19283"/>
                      <a:pt x="33581" y="21753"/>
                      <a:pt x="34381" y="26026"/>
                    </a:cubicBezTo>
                    <a:lnTo>
                      <a:pt x="34502" y="26829"/>
                    </a:lnTo>
                    <a:lnTo>
                      <a:pt x="34592" y="27390"/>
                    </a:lnTo>
                    <a:lnTo>
                      <a:pt x="38381" y="51545"/>
                    </a:lnTo>
                    <a:lnTo>
                      <a:pt x="39467" y="58470"/>
                    </a:lnTo>
                    <a:lnTo>
                      <a:pt x="41218" y="69699"/>
                    </a:lnTo>
                    <a:lnTo>
                      <a:pt x="51511" y="73138"/>
                    </a:lnTo>
                    <a:lnTo>
                      <a:pt x="51511" y="73138"/>
                    </a:lnTo>
                    <a:lnTo>
                      <a:pt x="52326" y="73411"/>
                    </a:lnTo>
                    <a:lnTo>
                      <a:pt x="58967" y="75639"/>
                    </a:lnTo>
                    <a:lnTo>
                      <a:pt x="59827" y="75927"/>
                    </a:lnTo>
                    <a:lnTo>
                      <a:pt x="59389" y="73138"/>
                    </a:lnTo>
                    <a:lnTo>
                      <a:pt x="53413" y="35043"/>
                    </a:lnTo>
                    <a:lnTo>
                      <a:pt x="52024" y="26254"/>
                    </a:lnTo>
                    <a:lnTo>
                      <a:pt x="51526" y="23071"/>
                    </a:lnTo>
                    <a:lnTo>
                      <a:pt x="51526" y="22874"/>
                    </a:lnTo>
                    <a:cubicBezTo>
                      <a:pt x="50398" y="16055"/>
                      <a:pt x="46842" y="9879"/>
                      <a:pt x="41520" y="5493"/>
                    </a:cubicBezTo>
                    <a:cubicBezTo>
                      <a:pt x="37936" y="2586"/>
                      <a:pt x="33611" y="748"/>
                      <a:pt x="29038" y="190"/>
                    </a:cubicBezTo>
                    <a:cubicBezTo>
                      <a:pt x="27366" y="-21"/>
                      <a:pt x="25677" y="-56"/>
                      <a:pt x="23997" y="84"/>
                    </a:cubicBezTo>
                    <a:cubicBezTo>
                      <a:pt x="23333" y="84"/>
                      <a:pt x="22684" y="174"/>
                      <a:pt x="22005" y="281"/>
                    </a:cubicBezTo>
                    <a:cubicBezTo>
                      <a:pt x="20300" y="553"/>
                      <a:pt x="18623" y="979"/>
                      <a:pt x="16994" y="1553"/>
                    </a:cubicBezTo>
                    <a:cubicBezTo>
                      <a:pt x="15103" y="2213"/>
                      <a:pt x="13290" y="3082"/>
                      <a:pt x="11591" y="4145"/>
                    </a:cubicBezTo>
                    <a:cubicBezTo>
                      <a:pt x="8763" y="5904"/>
                      <a:pt x="6327" y="8230"/>
                      <a:pt x="4437" y="10979"/>
                    </a:cubicBezTo>
                    <a:cubicBezTo>
                      <a:pt x="951" y="16070"/>
                      <a:pt x="-830" y="22920"/>
                      <a:pt x="377" y="31451"/>
                    </a:cubicBezTo>
                    <a:cubicBezTo>
                      <a:pt x="498" y="32376"/>
                      <a:pt x="1373" y="39210"/>
                      <a:pt x="3396" y="49923"/>
                    </a:cubicBezTo>
                    <a:cubicBezTo>
                      <a:pt x="4030" y="53277"/>
                      <a:pt x="4774" y="56985"/>
                      <a:pt x="5629" y="61046"/>
                    </a:cubicBezTo>
                    <a:lnTo>
                      <a:pt x="5629" y="61167"/>
                    </a:lnTo>
                    <a:cubicBezTo>
                      <a:pt x="5811" y="61955"/>
                      <a:pt x="5961" y="62683"/>
                      <a:pt x="6128" y="63486"/>
                    </a:cubicBezTo>
                    <a:cubicBezTo>
                      <a:pt x="6399" y="64713"/>
                      <a:pt x="6656" y="65956"/>
                      <a:pt x="6927" y="67153"/>
                    </a:cubicBezTo>
                    <a:lnTo>
                      <a:pt x="6927" y="67153"/>
                    </a:lnTo>
                    <a:lnTo>
                      <a:pt x="7999" y="71972"/>
                    </a:lnTo>
                    <a:lnTo>
                      <a:pt x="9508" y="78700"/>
                    </a:lnTo>
                    <a:lnTo>
                      <a:pt x="11334" y="86913"/>
                    </a:lnTo>
                    <a:cubicBezTo>
                      <a:pt x="12492" y="91853"/>
                      <a:pt x="13583" y="96298"/>
                      <a:pt x="14610" y="100248"/>
                    </a:cubicBezTo>
                    <a:cubicBezTo>
                      <a:pt x="15002" y="101763"/>
                      <a:pt x="15394" y="103279"/>
                      <a:pt x="15757" y="104643"/>
                    </a:cubicBezTo>
                    <a:lnTo>
                      <a:pt x="16134" y="106006"/>
                    </a:lnTo>
                    <a:cubicBezTo>
                      <a:pt x="16511" y="107355"/>
                      <a:pt x="17039" y="109037"/>
                      <a:pt x="17734" y="111037"/>
                    </a:cubicBezTo>
                    <a:cubicBezTo>
                      <a:pt x="18156" y="112189"/>
                      <a:pt x="18639" y="113401"/>
                      <a:pt x="19243" y="114659"/>
                    </a:cubicBezTo>
                    <a:cubicBezTo>
                      <a:pt x="19590" y="115477"/>
                      <a:pt x="19983" y="116296"/>
                      <a:pt x="20405" y="117129"/>
                    </a:cubicBezTo>
                    <a:cubicBezTo>
                      <a:pt x="20541" y="117387"/>
                      <a:pt x="20662" y="117659"/>
                      <a:pt x="20813" y="117917"/>
                    </a:cubicBezTo>
                    <a:cubicBezTo>
                      <a:pt x="21474" y="119166"/>
                      <a:pt x="22200" y="120380"/>
                      <a:pt x="22986" y="121554"/>
                    </a:cubicBezTo>
                    <a:cubicBezTo>
                      <a:pt x="23499" y="122327"/>
                      <a:pt x="24042" y="123069"/>
                      <a:pt x="24616" y="123812"/>
                    </a:cubicBezTo>
                    <a:cubicBezTo>
                      <a:pt x="27260" y="127283"/>
                      <a:pt x="30677" y="130085"/>
                      <a:pt x="34592" y="131995"/>
                    </a:cubicBezTo>
                    <a:cubicBezTo>
                      <a:pt x="35136" y="132252"/>
                      <a:pt x="35709" y="132434"/>
                      <a:pt x="36252" y="132661"/>
                    </a:cubicBezTo>
                    <a:cubicBezTo>
                      <a:pt x="39725" y="134032"/>
                      <a:pt x="43456" y="134617"/>
                      <a:pt x="47180" y="134374"/>
                    </a:cubicBezTo>
                    <a:cubicBezTo>
                      <a:pt x="51891" y="134027"/>
                      <a:pt x="56497" y="132804"/>
                      <a:pt x="60763" y="130767"/>
                    </a:cubicBezTo>
                    <a:cubicBezTo>
                      <a:pt x="61920" y="130223"/>
                      <a:pt x="63044" y="129611"/>
                      <a:pt x="64129" y="128934"/>
                    </a:cubicBezTo>
                    <a:cubicBezTo>
                      <a:pt x="66551" y="127451"/>
                      <a:pt x="68725" y="125594"/>
                      <a:pt x="70573" y="123433"/>
                    </a:cubicBezTo>
                    <a:cubicBezTo>
                      <a:pt x="71498" y="122334"/>
                      <a:pt x="72336" y="121163"/>
                      <a:pt x="73079" y="119932"/>
                    </a:cubicBezTo>
                    <a:cubicBezTo>
                      <a:pt x="74604" y="117347"/>
                      <a:pt x="75690" y="114526"/>
                      <a:pt x="76293" y="111583"/>
                    </a:cubicBezTo>
                    <a:close/>
                    <a:moveTo>
                      <a:pt x="58318" y="110613"/>
                    </a:moveTo>
                    <a:cubicBezTo>
                      <a:pt x="58029" y="111149"/>
                      <a:pt x="57690" y="111656"/>
                      <a:pt x="57307" y="112128"/>
                    </a:cubicBezTo>
                    <a:cubicBezTo>
                      <a:pt x="56263" y="113346"/>
                      <a:pt x="54957" y="114310"/>
                      <a:pt x="53488" y="114947"/>
                    </a:cubicBezTo>
                    <a:cubicBezTo>
                      <a:pt x="50949" y="116239"/>
                      <a:pt x="48154" y="116943"/>
                      <a:pt x="45308" y="117008"/>
                    </a:cubicBezTo>
                    <a:cubicBezTo>
                      <a:pt x="44148" y="117006"/>
                      <a:pt x="43001" y="116759"/>
                      <a:pt x="41942" y="116280"/>
                    </a:cubicBezTo>
                    <a:cubicBezTo>
                      <a:pt x="40301" y="115426"/>
                      <a:pt x="38895" y="114177"/>
                      <a:pt x="37852" y="112644"/>
                    </a:cubicBezTo>
                    <a:lnTo>
                      <a:pt x="37852" y="112644"/>
                    </a:lnTo>
                    <a:cubicBezTo>
                      <a:pt x="37535" y="112219"/>
                      <a:pt x="37249" y="111734"/>
                      <a:pt x="36947" y="111265"/>
                    </a:cubicBezTo>
                    <a:lnTo>
                      <a:pt x="36947" y="111265"/>
                    </a:lnTo>
                    <a:cubicBezTo>
                      <a:pt x="36675" y="110825"/>
                      <a:pt x="36403" y="110340"/>
                      <a:pt x="36147" y="109840"/>
                    </a:cubicBezTo>
                    <a:lnTo>
                      <a:pt x="36147" y="109840"/>
                    </a:lnTo>
                    <a:lnTo>
                      <a:pt x="36147" y="109689"/>
                    </a:lnTo>
                    <a:cubicBezTo>
                      <a:pt x="36147" y="109598"/>
                      <a:pt x="36041" y="109492"/>
                      <a:pt x="35981" y="109386"/>
                    </a:cubicBezTo>
                    <a:cubicBezTo>
                      <a:pt x="34560" y="106443"/>
                      <a:pt x="33433" y="103367"/>
                      <a:pt x="32615" y="100203"/>
                    </a:cubicBezTo>
                    <a:cubicBezTo>
                      <a:pt x="31921" y="97627"/>
                      <a:pt x="31186" y="94778"/>
                      <a:pt x="30412" y="91656"/>
                    </a:cubicBezTo>
                    <a:lnTo>
                      <a:pt x="30412" y="91656"/>
                    </a:lnTo>
                    <a:lnTo>
                      <a:pt x="30879" y="91777"/>
                    </a:lnTo>
                    <a:cubicBezTo>
                      <a:pt x="32675" y="92262"/>
                      <a:pt x="34275" y="92717"/>
                      <a:pt x="35815" y="93171"/>
                    </a:cubicBezTo>
                    <a:cubicBezTo>
                      <a:pt x="37354" y="93626"/>
                      <a:pt x="38547" y="94005"/>
                      <a:pt x="39950" y="94459"/>
                    </a:cubicBezTo>
                    <a:lnTo>
                      <a:pt x="39950" y="94459"/>
                    </a:lnTo>
                    <a:lnTo>
                      <a:pt x="50515" y="98066"/>
                    </a:lnTo>
                    <a:lnTo>
                      <a:pt x="51587" y="98414"/>
                    </a:lnTo>
                    <a:cubicBezTo>
                      <a:pt x="53896" y="99157"/>
                      <a:pt x="58680" y="100718"/>
                      <a:pt x="59299" y="103324"/>
                    </a:cubicBezTo>
                    <a:cubicBezTo>
                      <a:pt x="59341" y="103468"/>
                      <a:pt x="59372" y="103615"/>
                      <a:pt x="59389" y="103764"/>
                    </a:cubicBezTo>
                    <a:cubicBezTo>
                      <a:pt x="59801" y="106096"/>
                      <a:pt x="59446" y="108500"/>
                      <a:pt x="58378" y="11061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7" name="Freeform 297">
                <a:extLst>
                  <a:ext uri="{FF2B5EF4-FFF2-40B4-BE49-F238E27FC236}">
                    <a16:creationId xmlns:a16="http://schemas.microsoft.com/office/drawing/2014/main" id="{9F1679AE-84E9-4EC1-8DAE-649499790F69}"/>
                  </a:ext>
                </a:extLst>
              </p:cNvPr>
              <p:cNvSpPr/>
              <p:nvPr/>
            </p:nvSpPr>
            <p:spPr>
              <a:xfrm>
                <a:off x="7514401" y="3541968"/>
                <a:ext cx="76892" cy="115602"/>
              </a:xfrm>
              <a:custGeom>
                <a:avLst/>
                <a:gdLst>
                  <a:gd name="connsiteX0" fmla="*/ 76806 w 76892"/>
                  <a:gd name="connsiteY0" fmla="*/ 86174 h 115602"/>
                  <a:gd name="connsiteX1" fmla="*/ 76505 w 76892"/>
                  <a:gd name="connsiteY1" fmla="*/ 82931 h 115602"/>
                  <a:gd name="connsiteX2" fmla="*/ 71856 w 76892"/>
                  <a:gd name="connsiteY2" fmla="*/ 70399 h 115602"/>
                  <a:gd name="connsiteX3" fmla="*/ 67736 w 76892"/>
                  <a:gd name="connsiteY3" fmla="*/ 63883 h 115602"/>
                  <a:gd name="connsiteX4" fmla="*/ 53292 w 76892"/>
                  <a:gd name="connsiteY4" fmla="*/ 47396 h 115602"/>
                  <a:gd name="connsiteX5" fmla="*/ 39709 w 76892"/>
                  <a:gd name="connsiteY5" fmla="*/ 35637 h 115602"/>
                  <a:gd name="connsiteX6" fmla="*/ 29144 w 76892"/>
                  <a:gd name="connsiteY6" fmla="*/ 28485 h 115602"/>
                  <a:gd name="connsiteX7" fmla="*/ 26125 w 76892"/>
                  <a:gd name="connsiteY7" fmla="*/ 20469 h 115602"/>
                  <a:gd name="connsiteX8" fmla="*/ 30653 w 76892"/>
                  <a:gd name="connsiteY8" fmla="*/ 17544 h 115602"/>
                  <a:gd name="connsiteX9" fmla="*/ 38003 w 76892"/>
                  <a:gd name="connsiteY9" fmla="*/ 18347 h 115602"/>
                  <a:gd name="connsiteX10" fmla="*/ 38954 w 76892"/>
                  <a:gd name="connsiteY10" fmla="*/ 18605 h 115602"/>
                  <a:gd name="connsiteX11" fmla="*/ 52538 w 76892"/>
                  <a:gd name="connsiteY11" fmla="*/ 21635 h 115602"/>
                  <a:gd name="connsiteX12" fmla="*/ 59420 w 76892"/>
                  <a:gd name="connsiteY12" fmla="*/ 23151 h 115602"/>
                  <a:gd name="connsiteX13" fmla="*/ 59571 w 76892"/>
                  <a:gd name="connsiteY13" fmla="*/ 23151 h 115602"/>
                  <a:gd name="connsiteX14" fmla="*/ 59435 w 76892"/>
                  <a:gd name="connsiteY14" fmla="*/ 22560 h 115602"/>
                  <a:gd name="connsiteX15" fmla="*/ 58710 w 76892"/>
                  <a:gd name="connsiteY15" fmla="*/ 19256 h 115602"/>
                  <a:gd name="connsiteX16" fmla="*/ 56386 w 76892"/>
                  <a:gd name="connsiteY16" fmla="*/ 8800 h 115602"/>
                  <a:gd name="connsiteX17" fmla="*/ 55586 w 76892"/>
                  <a:gd name="connsiteY17" fmla="*/ 5164 h 115602"/>
                  <a:gd name="connsiteX18" fmla="*/ 55420 w 76892"/>
                  <a:gd name="connsiteY18" fmla="*/ 4421 h 115602"/>
                  <a:gd name="connsiteX19" fmla="*/ 50892 w 76892"/>
                  <a:gd name="connsiteY19" fmla="*/ 3451 h 115602"/>
                  <a:gd name="connsiteX20" fmla="*/ 47723 w 76892"/>
                  <a:gd name="connsiteY20" fmla="*/ 2739 h 115602"/>
                  <a:gd name="connsiteX21" fmla="*/ 46304 w 76892"/>
                  <a:gd name="connsiteY21" fmla="*/ 2406 h 115602"/>
                  <a:gd name="connsiteX22" fmla="*/ 42622 w 76892"/>
                  <a:gd name="connsiteY22" fmla="*/ 1497 h 115602"/>
                  <a:gd name="connsiteX23" fmla="*/ 28027 w 76892"/>
                  <a:gd name="connsiteY23" fmla="*/ 269 h 115602"/>
                  <a:gd name="connsiteX24" fmla="*/ 20088 w 76892"/>
                  <a:gd name="connsiteY24" fmla="*/ 2785 h 115602"/>
                  <a:gd name="connsiteX25" fmla="*/ 11470 w 76892"/>
                  <a:gd name="connsiteY25" fmla="*/ 10786 h 115602"/>
                  <a:gd name="connsiteX26" fmla="*/ 12482 w 76892"/>
                  <a:gd name="connsiteY26" fmla="*/ 34940 h 115602"/>
                  <a:gd name="connsiteX27" fmla="*/ 12195 w 76892"/>
                  <a:gd name="connsiteY27" fmla="*/ 35804 h 115602"/>
                  <a:gd name="connsiteX28" fmla="*/ 20722 w 76892"/>
                  <a:gd name="connsiteY28" fmla="*/ 43820 h 115602"/>
                  <a:gd name="connsiteX29" fmla="*/ 59208 w 76892"/>
                  <a:gd name="connsiteY29" fmla="*/ 85598 h 115602"/>
                  <a:gd name="connsiteX30" fmla="*/ 53277 w 76892"/>
                  <a:gd name="connsiteY30" fmla="*/ 96706 h 115602"/>
                  <a:gd name="connsiteX31" fmla="*/ 52764 w 76892"/>
                  <a:gd name="connsiteY31" fmla="*/ 96963 h 115602"/>
                  <a:gd name="connsiteX32" fmla="*/ 22971 w 76892"/>
                  <a:gd name="connsiteY32" fmla="*/ 66763 h 115602"/>
                  <a:gd name="connsiteX33" fmla="*/ 16360 w 76892"/>
                  <a:gd name="connsiteY33" fmla="*/ 55822 h 115602"/>
                  <a:gd name="connsiteX34" fmla="*/ 7546 w 76892"/>
                  <a:gd name="connsiteY34" fmla="*/ 45502 h 115602"/>
                  <a:gd name="connsiteX35" fmla="*/ 0 w 76892"/>
                  <a:gd name="connsiteY35" fmla="*/ 52867 h 115602"/>
                  <a:gd name="connsiteX36" fmla="*/ 10067 w 76892"/>
                  <a:gd name="connsiteY36" fmla="*/ 79446 h 115602"/>
                  <a:gd name="connsiteX37" fmla="*/ 49187 w 76892"/>
                  <a:gd name="connsiteY37" fmla="*/ 115602 h 115602"/>
                  <a:gd name="connsiteX38" fmla="*/ 61140 w 76892"/>
                  <a:gd name="connsiteY38" fmla="*/ 112435 h 115602"/>
                  <a:gd name="connsiteX39" fmla="*/ 73501 w 76892"/>
                  <a:gd name="connsiteY39" fmla="*/ 100479 h 115602"/>
                  <a:gd name="connsiteX40" fmla="*/ 76293 w 76892"/>
                  <a:gd name="connsiteY40" fmla="*/ 93069 h 115602"/>
                  <a:gd name="connsiteX41" fmla="*/ 76867 w 76892"/>
                  <a:gd name="connsiteY41" fmla="*/ 86220 h 115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76892" h="115602">
                    <a:moveTo>
                      <a:pt x="76806" y="86174"/>
                    </a:moveTo>
                    <a:cubicBezTo>
                      <a:pt x="76762" y="85089"/>
                      <a:pt x="76662" y="84006"/>
                      <a:pt x="76505" y="82931"/>
                    </a:cubicBezTo>
                    <a:cubicBezTo>
                      <a:pt x="75708" y="78510"/>
                      <a:pt x="74134" y="74267"/>
                      <a:pt x="71856" y="70399"/>
                    </a:cubicBezTo>
                    <a:cubicBezTo>
                      <a:pt x="70604" y="68153"/>
                      <a:pt x="69228" y="65977"/>
                      <a:pt x="67736" y="63883"/>
                    </a:cubicBezTo>
                    <a:cubicBezTo>
                      <a:pt x="63430" y="57959"/>
                      <a:pt x="58595" y="52440"/>
                      <a:pt x="53292" y="47396"/>
                    </a:cubicBezTo>
                    <a:cubicBezTo>
                      <a:pt x="48987" y="43225"/>
                      <a:pt x="44452" y="39299"/>
                      <a:pt x="39709" y="35637"/>
                    </a:cubicBezTo>
                    <a:cubicBezTo>
                      <a:pt x="36359" y="33006"/>
                      <a:pt x="32829" y="30616"/>
                      <a:pt x="29144" y="28485"/>
                    </a:cubicBezTo>
                    <a:cubicBezTo>
                      <a:pt x="26314" y="26919"/>
                      <a:pt x="25035" y="23522"/>
                      <a:pt x="26125" y="20469"/>
                    </a:cubicBezTo>
                    <a:cubicBezTo>
                      <a:pt x="26977" y="18725"/>
                      <a:pt x="28720" y="17599"/>
                      <a:pt x="30653" y="17544"/>
                    </a:cubicBezTo>
                    <a:cubicBezTo>
                      <a:pt x="33131" y="17379"/>
                      <a:pt x="35619" y="17651"/>
                      <a:pt x="38003" y="18347"/>
                    </a:cubicBezTo>
                    <a:lnTo>
                      <a:pt x="38954" y="18605"/>
                    </a:lnTo>
                    <a:cubicBezTo>
                      <a:pt x="42259" y="19469"/>
                      <a:pt x="47844" y="20681"/>
                      <a:pt x="52538" y="21635"/>
                    </a:cubicBezTo>
                    <a:lnTo>
                      <a:pt x="59420" y="23151"/>
                    </a:lnTo>
                    <a:lnTo>
                      <a:pt x="59571" y="23151"/>
                    </a:lnTo>
                    <a:lnTo>
                      <a:pt x="59435" y="22560"/>
                    </a:lnTo>
                    <a:lnTo>
                      <a:pt x="58710" y="19256"/>
                    </a:lnTo>
                    <a:lnTo>
                      <a:pt x="56386" y="8800"/>
                    </a:lnTo>
                    <a:lnTo>
                      <a:pt x="55586" y="5164"/>
                    </a:lnTo>
                    <a:lnTo>
                      <a:pt x="55420" y="4421"/>
                    </a:lnTo>
                    <a:lnTo>
                      <a:pt x="50892" y="3451"/>
                    </a:lnTo>
                    <a:lnTo>
                      <a:pt x="47723" y="2739"/>
                    </a:lnTo>
                    <a:lnTo>
                      <a:pt x="46304" y="2406"/>
                    </a:lnTo>
                    <a:cubicBezTo>
                      <a:pt x="44795" y="2057"/>
                      <a:pt x="43512" y="1739"/>
                      <a:pt x="42622" y="1497"/>
                    </a:cubicBezTo>
                    <a:cubicBezTo>
                      <a:pt x="37893" y="82"/>
                      <a:pt x="32924" y="-336"/>
                      <a:pt x="28027" y="269"/>
                    </a:cubicBezTo>
                    <a:cubicBezTo>
                      <a:pt x="25257" y="647"/>
                      <a:pt x="22572" y="1498"/>
                      <a:pt x="20088" y="2785"/>
                    </a:cubicBezTo>
                    <a:cubicBezTo>
                      <a:pt x="16547" y="4619"/>
                      <a:pt x="13569" y="7384"/>
                      <a:pt x="11470" y="10786"/>
                    </a:cubicBezTo>
                    <a:cubicBezTo>
                      <a:pt x="14066" y="16423"/>
                      <a:pt x="15591" y="24424"/>
                      <a:pt x="12482" y="34940"/>
                    </a:cubicBezTo>
                    <a:cubicBezTo>
                      <a:pt x="12391" y="35243"/>
                      <a:pt x="12285" y="35501"/>
                      <a:pt x="12195" y="35804"/>
                    </a:cubicBezTo>
                    <a:cubicBezTo>
                      <a:pt x="14318" y="39155"/>
                      <a:pt x="17252" y="41913"/>
                      <a:pt x="20722" y="43820"/>
                    </a:cubicBezTo>
                    <a:cubicBezTo>
                      <a:pt x="32555" y="50336"/>
                      <a:pt x="57307" y="73279"/>
                      <a:pt x="59208" y="85598"/>
                    </a:cubicBezTo>
                    <a:cubicBezTo>
                      <a:pt x="60295" y="92736"/>
                      <a:pt x="54364" y="96206"/>
                      <a:pt x="53277" y="96706"/>
                    </a:cubicBezTo>
                    <a:lnTo>
                      <a:pt x="52764" y="96963"/>
                    </a:lnTo>
                    <a:cubicBezTo>
                      <a:pt x="42848" y="102494"/>
                      <a:pt x="29914" y="79249"/>
                      <a:pt x="22971" y="66763"/>
                    </a:cubicBezTo>
                    <a:cubicBezTo>
                      <a:pt x="21000" y="62979"/>
                      <a:pt x="18792" y="59325"/>
                      <a:pt x="16360" y="55822"/>
                    </a:cubicBezTo>
                    <a:cubicBezTo>
                      <a:pt x="13620" y="52217"/>
                      <a:pt x="10677" y="48771"/>
                      <a:pt x="7546" y="45502"/>
                    </a:cubicBezTo>
                    <a:cubicBezTo>
                      <a:pt x="5540" y="48433"/>
                      <a:pt x="2975" y="50936"/>
                      <a:pt x="0" y="52867"/>
                    </a:cubicBezTo>
                    <a:cubicBezTo>
                      <a:pt x="7783" y="59329"/>
                      <a:pt x="11607" y="69425"/>
                      <a:pt x="10067" y="79446"/>
                    </a:cubicBezTo>
                    <a:cubicBezTo>
                      <a:pt x="18534" y="94433"/>
                      <a:pt x="31845" y="115617"/>
                      <a:pt x="49187" y="115602"/>
                    </a:cubicBezTo>
                    <a:cubicBezTo>
                      <a:pt x="53375" y="115587"/>
                      <a:pt x="57490" y="114497"/>
                      <a:pt x="61140" y="112435"/>
                    </a:cubicBezTo>
                    <a:cubicBezTo>
                      <a:pt x="66322" y="109729"/>
                      <a:pt x="70615" y="105577"/>
                      <a:pt x="73501" y="100479"/>
                    </a:cubicBezTo>
                    <a:cubicBezTo>
                      <a:pt x="74798" y="98164"/>
                      <a:pt x="75739" y="95666"/>
                      <a:pt x="76293" y="93069"/>
                    </a:cubicBezTo>
                    <a:cubicBezTo>
                      <a:pt x="76774" y="90820"/>
                      <a:pt x="76967" y="88518"/>
                      <a:pt x="76867" y="8622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8" name="Freeform 361">
                <a:extLst>
                  <a:ext uri="{FF2B5EF4-FFF2-40B4-BE49-F238E27FC236}">
                    <a16:creationId xmlns:a16="http://schemas.microsoft.com/office/drawing/2014/main" id="{9457C234-8BE4-4AB5-A27E-5BC8BA07C465}"/>
                  </a:ext>
                </a:extLst>
              </p:cNvPr>
              <p:cNvSpPr/>
              <p:nvPr/>
            </p:nvSpPr>
            <p:spPr>
              <a:xfrm>
                <a:off x="7426087" y="3378610"/>
                <a:ext cx="127540" cy="259957"/>
              </a:xfrm>
              <a:custGeom>
                <a:avLst/>
                <a:gdLst>
                  <a:gd name="connsiteX0" fmla="*/ 83998 w 127540"/>
                  <a:gd name="connsiteY0" fmla="*/ 221574 h 259957"/>
                  <a:gd name="connsiteX1" fmla="*/ 76769 w 127540"/>
                  <a:gd name="connsiteY1" fmla="*/ 217407 h 259957"/>
                  <a:gd name="connsiteX2" fmla="*/ 63970 w 127540"/>
                  <a:gd name="connsiteY2" fmla="*/ 214876 h 259957"/>
                  <a:gd name="connsiteX3" fmla="*/ 61420 w 127540"/>
                  <a:gd name="connsiteY3" fmla="*/ 214497 h 259957"/>
                  <a:gd name="connsiteX4" fmla="*/ 54522 w 127540"/>
                  <a:gd name="connsiteY4" fmla="*/ 213497 h 259957"/>
                  <a:gd name="connsiteX5" fmla="*/ 49391 w 127540"/>
                  <a:gd name="connsiteY5" fmla="*/ 212770 h 259957"/>
                  <a:gd name="connsiteX6" fmla="*/ 43354 w 127540"/>
                  <a:gd name="connsiteY6" fmla="*/ 211937 h 259957"/>
                  <a:gd name="connsiteX7" fmla="*/ 41844 w 127540"/>
                  <a:gd name="connsiteY7" fmla="*/ 211709 h 259957"/>
                  <a:gd name="connsiteX8" fmla="*/ 32608 w 127540"/>
                  <a:gd name="connsiteY8" fmla="*/ 205830 h 259957"/>
                  <a:gd name="connsiteX9" fmla="*/ 32517 w 127540"/>
                  <a:gd name="connsiteY9" fmla="*/ 205693 h 259957"/>
                  <a:gd name="connsiteX10" fmla="*/ 31446 w 127540"/>
                  <a:gd name="connsiteY10" fmla="*/ 203420 h 259957"/>
                  <a:gd name="connsiteX11" fmla="*/ 31838 w 127540"/>
                  <a:gd name="connsiteY11" fmla="*/ 199253 h 259957"/>
                  <a:gd name="connsiteX12" fmla="*/ 32246 w 127540"/>
                  <a:gd name="connsiteY12" fmla="*/ 198920 h 259957"/>
                  <a:gd name="connsiteX13" fmla="*/ 39535 w 127540"/>
                  <a:gd name="connsiteY13" fmla="*/ 197798 h 259957"/>
                  <a:gd name="connsiteX14" fmla="*/ 47610 w 127540"/>
                  <a:gd name="connsiteY14" fmla="*/ 201011 h 259957"/>
                  <a:gd name="connsiteX15" fmla="*/ 52953 w 127540"/>
                  <a:gd name="connsiteY15" fmla="*/ 204920 h 259957"/>
                  <a:gd name="connsiteX16" fmla="*/ 55639 w 127540"/>
                  <a:gd name="connsiteY16" fmla="*/ 206663 h 259957"/>
                  <a:gd name="connsiteX17" fmla="*/ 62084 w 127540"/>
                  <a:gd name="connsiteY17" fmla="*/ 210194 h 259957"/>
                  <a:gd name="connsiteX18" fmla="*/ 74671 w 127540"/>
                  <a:gd name="connsiteY18" fmla="*/ 213225 h 259957"/>
                  <a:gd name="connsiteX19" fmla="*/ 80361 w 127540"/>
                  <a:gd name="connsiteY19" fmla="*/ 212315 h 259957"/>
                  <a:gd name="connsiteX20" fmla="*/ 90745 w 127540"/>
                  <a:gd name="connsiteY20" fmla="*/ 203920 h 259957"/>
                  <a:gd name="connsiteX21" fmla="*/ 94125 w 127540"/>
                  <a:gd name="connsiteY21" fmla="*/ 196344 h 259957"/>
                  <a:gd name="connsiteX22" fmla="*/ 91922 w 127540"/>
                  <a:gd name="connsiteY22" fmla="*/ 174310 h 259957"/>
                  <a:gd name="connsiteX23" fmla="*/ 91741 w 127540"/>
                  <a:gd name="connsiteY23" fmla="*/ 174007 h 259957"/>
                  <a:gd name="connsiteX24" fmla="*/ 83772 w 127540"/>
                  <a:gd name="connsiteY24" fmla="*/ 166597 h 259957"/>
                  <a:gd name="connsiteX25" fmla="*/ 75546 w 127540"/>
                  <a:gd name="connsiteY25" fmla="*/ 163112 h 259957"/>
                  <a:gd name="connsiteX26" fmla="*/ 70973 w 127540"/>
                  <a:gd name="connsiteY26" fmla="*/ 162142 h 259957"/>
                  <a:gd name="connsiteX27" fmla="*/ 19387 w 127540"/>
                  <a:gd name="connsiteY27" fmla="*/ 153959 h 259957"/>
                  <a:gd name="connsiteX28" fmla="*/ 19009 w 127540"/>
                  <a:gd name="connsiteY28" fmla="*/ 153959 h 259957"/>
                  <a:gd name="connsiteX29" fmla="*/ 17500 w 127540"/>
                  <a:gd name="connsiteY29" fmla="*/ 152353 h 259957"/>
                  <a:gd name="connsiteX30" fmla="*/ 20322 w 127540"/>
                  <a:gd name="connsiteY30" fmla="*/ 151959 h 259957"/>
                  <a:gd name="connsiteX31" fmla="*/ 85311 w 127540"/>
                  <a:gd name="connsiteY31" fmla="*/ 156945 h 259957"/>
                  <a:gd name="connsiteX32" fmla="*/ 87545 w 127540"/>
                  <a:gd name="connsiteY32" fmla="*/ 157111 h 259957"/>
                  <a:gd name="connsiteX33" fmla="*/ 87953 w 127540"/>
                  <a:gd name="connsiteY33" fmla="*/ 157111 h 259957"/>
                  <a:gd name="connsiteX34" fmla="*/ 95604 w 127540"/>
                  <a:gd name="connsiteY34" fmla="*/ 156460 h 259957"/>
                  <a:gd name="connsiteX35" fmla="*/ 101340 w 127540"/>
                  <a:gd name="connsiteY35" fmla="*/ 154565 h 259957"/>
                  <a:gd name="connsiteX36" fmla="*/ 107377 w 127540"/>
                  <a:gd name="connsiteY36" fmla="*/ 150368 h 259957"/>
                  <a:gd name="connsiteX37" fmla="*/ 113037 w 127540"/>
                  <a:gd name="connsiteY37" fmla="*/ 139048 h 259957"/>
                  <a:gd name="connsiteX38" fmla="*/ 105369 w 127540"/>
                  <a:gd name="connsiteY38" fmla="*/ 118743 h 259957"/>
                  <a:gd name="connsiteX39" fmla="*/ 99891 w 127540"/>
                  <a:gd name="connsiteY39" fmla="*/ 115485 h 259957"/>
                  <a:gd name="connsiteX40" fmla="*/ 94261 w 127540"/>
                  <a:gd name="connsiteY40" fmla="*/ 113803 h 259957"/>
                  <a:gd name="connsiteX41" fmla="*/ 81538 w 127540"/>
                  <a:gd name="connsiteY41" fmla="*/ 110969 h 259957"/>
                  <a:gd name="connsiteX42" fmla="*/ 74218 w 127540"/>
                  <a:gd name="connsiteY42" fmla="*/ 109363 h 259957"/>
                  <a:gd name="connsiteX43" fmla="*/ 24714 w 127540"/>
                  <a:gd name="connsiteY43" fmla="*/ 98573 h 259957"/>
                  <a:gd name="connsiteX44" fmla="*/ 21877 w 127540"/>
                  <a:gd name="connsiteY44" fmla="*/ 90648 h 259957"/>
                  <a:gd name="connsiteX45" fmla="*/ 24895 w 127540"/>
                  <a:gd name="connsiteY45" fmla="*/ 87193 h 259957"/>
                  <a:gd name="connsiteX46" fmla="*/ 28910 w 127540"/>
                  <a:gd name="connsiteY46" fmla="*/ 87193 h 259957"/>
                  <a:gd name="connsiteX47" fmla="*/ 68287 w 127540"/>
                  <a:gd name="connsiteY47" fmla="*/ 101968 h 259957"/>
                  <a:gd name="connsiteX48" fmla="*/ 73192 w 127540"/>
                  <a:gd name="connsiteY48" fmla="*/ 103392 h 259957"/>
                  <a:gd name="connsiteX49" fmla="*/ 80376 w 127540"/>
                  <a:gd name="connsiteY49" fmla="*/ 104195 h 259957"/>
                  <a:gd name="connsiteX50" fmla="*/ 97416 w 127540"/>
                  <a:gd name="connsiteY50" fmla="*/ 100407 h 259957"/>
                  <a:gd name="connsiteX51" fmla="*/ 104313 w 127540"/>
                  <a:gd name="connsiteY51" fmla="*/ 96225 h 259957"/>
                  <a:gd name="connsiteX52" fmla="*/ 108841 w 127540"/>
                  <a:gd name="connsiteY52" fmla="*/ 92376 h 259957"/>
                  <a:gd name="connsiteX53" fmla="*/ 120779 w 127540"/>
                  <a:gd name="connsiteY53" fmla="*/ 75328 h 259957"/>
                  <a:gd name="connsiteX54" fmla="*/ 125911 w 127540"/>
                  <a:gd name="connsiteY54" fmla="*/ 57492 h 259957"/>
                  <a:gd name="connsiteX55" fmla="*/ 127420 w 127540"/>
                  <a:gd name="connsiteY55" fmla="*/ 42703 h 259957"/>
                  <a:gd name="connsiteX56" fmla="*/ 127420 w 127540"/>
                  <a:gd name="connsiteY56" fmla="*/ 19230 h 259957"/>
                  <a:gd name="connsiteX57" fmla="*/ 127224 w 127540"/>
                  <a:gd name="connsiteY57" fmla="*/ 0 h 259957"/>
                  <a:gd name="connsiteX58" fmla="*/ 118515 w 127540"/>
                  <a:gd name="connsiteY58" fmla="*/ 121 h 259957"/>
                  <a:gd name="connsiteX59" fmla="*/ 109822 w 127540"/>
                  <a:gd name="connsiteY59" fmla="*/ 227 h 259957"/>
                  <a:gd name="connsiteX60" fmla="*/ 110063 w 127540"/>
                  <a:gd name="connsiteY60" fmla="*/ 19503 h 259957"/>
                  <a:gd name="connsiteX61" fmla="*/ 110154 w 127540"/>
                  <a:gd name="connsiteY61" fmla="*/ 39808 h 259957"/>
                  <a:gd name="connsiteX62" fmla="*/ 110154 w 127540"/>
                  <a:gd name="connsiteY62" fmla="*/ 41445 h 259957"/>
                  <a:gd name="connsiteX63" fmla="*/ 109656 w 127540"/>
                  <a:gd name="connsiteY63" fmla="*/ 47430 h 259957"/>
                  <a:gd name="connsiteX64" fmla="*/ 103226 w 127540"/>
                  <a:gd name="connsiteY64" fmla="*/ 71676 h 259957"/>
                  <a:gd name="connsiteX65" fmla="*/ 97008 w 127540"/>
                  <a:gd name="connsiteY65" fmla="*/ 79601 h 259957"/>
                  <a:gd name="connsiteX66" fmla="*/ 94412 w 127540"/>
                  <a:gd name="connsiteY66" fmla="*/ 81829 h 259957"/>
                  <a:gd name="connsiteX67" fmla="*/ 77524 w 127540"/>
                  <a:gd name="connsiteY67" fmla="*/ 86481 h 259957"/>
                  <a:gd name="connsiteX68" fmla="*/ 74988 w 127540"/>
                  <a:gd name="connsiteY68" fmla="*/ 85799 h 259957"/>
                  <a:gd name="connsiteX69" fmla="*/ 70038 w 127540"/>
                  <a:gd name="connsiteY69" fmla="*/ 83935 h 259957"/>
                  <a:gd name="connsiteX70" fmla="*/ 35189 w 127540"/>
                  <a:gd name="connsiteY70" fmla="*/ 70812 h 259957"/>
                  <a:gd name="connsiteX71" fmla="*/ 17742 w 127540"/>
                  <a:gd name="connsiteY71" fmla="*/ 71221 h 259957"/>
                  <a:gd name="connsiteX72" fmla="*/ 5486 w 127540"/>
                  <a:gd name="connsiteY72" fmla="*/ 84693 h 259957"/>
                  <a:gd name="connsiteX73" fmla="*/ 18843 w 127540"/>
                  <a:gd name="connsiteY73" fmla="*/ 115000 h 259957"/>
                  <a:gd name="connsiteX74" fmla="*/ 19492 w 127540"/>
                  <a:gd name="connsiteY74" fmla="*/ 115257 h 259957"/>
                  <a:gd name="connsiteX75" fmla="*/ 75939 w 127540"/>
                  <a:gd name="connsiteY75" fmla="*/ 127562 h 259957"/>
                  <a:gd name="connsiteX76" fmla="*/ 82761 w 127540"/>
                  <a:gd name="connsiteY76" fmla="*/ 129077 h 259957"/>
                  <a:gd name="connsiteX77" fmla="*/ 90790 w 127540"/>
                  <a:gd name="connsiteY77" fmla="*/ 130820 h 259957"/>
                  <a:gd name="connsiteX78" fmla="*/ 91213 w 127540"/>
                  <a:gd name="connsiteY78" fmla="*/ 130911 h 259957"/>
                  <a:gd name="connsiteX79" fmla="*/ 95846 w 127540"/>
                  <a:gd name="connsiteY79" fmla="*/ 136290 h 259957"/>
                  <a:gd name="connsiteX80" fmla="*/ 88602 w 127540"/>
                  <a:gd name="connsiteY80" fmla="*/ 139503 h 259957"/>
                  <a:gd name="connsiteX81" fmla="*/ 78369 w 127540"/>
                  <a:gd name="connsiteY81" fmla="*/ 138730 h 259957"/>
                  <a:gd name="connsiteX82" fmla="*/ 69570 w 127540"/>
                  <a:gd name="connsiteY82" fmla="*/ 138048 h 259957"/>
                  <a:gd name="connsiteX83" fmla="*/ 21560 w 127540"/>
                  <a:gd name="connsiteY83" fmla="*/ 134411 h 259957"/>
                  <a:gd name="connsiteX84" fmla="*/ 189 w 127540"/>
                  <a:gd name="connsiteY84" fmla="*/ 149732 h 259957"/>
                  <a:gd name="connsiteX85" fmla="*/ 2905 w 127540"/>
                  <a:gd name="connsiteY85" fmla="*/ 162536 h 259957"/>
                  <a:gd name="connsiteX86" fmla="*/ 5018 w 127540"/>
                  <a:gd name="connsiteY86" fmla="*/ 165173 h 259957"/>
                  <a:gd name="connsiteX87" fmla="*/ 16745 w 127540"/>
                  <a:gd name="connsiteY87" fmla="*/ 171234 h 259957"/>
                  <a:gd name="connsiteX88" fmla="*/ 68860 w 127540"/>
                  <a:gd name="connsiteY88" fmla="*/ 179493 h 259957"/>
                  <a:gd name="connsiteX89" fmla="*/ 77373 w 127540"/>
                  <a:gd name="connsiteY89" fmla="*/ 183736 h 259957"/>
                  <a:gd name="connsiteX90" fmla="*/ 78233 w 127540"/>
                  <a:gd name="connsiteY90" fmla="*/ 186933 h 259957"/>
                  <a:gd name="connsiteX91" fmla="*/ 77524 w 127540"/>
                  <a:gd name="connsiteY91" fmla="*/ 191328 h 259957"/>
                  <a:gd name="connsiteX92" fmla="*/ 76542 w 127540"/>
                  <a:gd name="connsiteY92" fmla="*/ 193904 h 259957"/>
                  <a:gd name="connsiteX93" fmla="*/ 75033 w 127540"/>
                  <a:gd name="connsiteY93" fmla="*/ 195722 h 259957"/>
                  <a:gd name="connsiteX94" fmla="*/ 65374 w 127540"/>
                  <a:gd name="connsiteY94" fmla="*/ 192161 h 259957"/>
                  <a:gd name="connsiteX95" fmla="*/ 57314 w 127540"/>
                  <a:gd name="connsiteY95" fmla="*/ 186494 h 259957"/>
                  <a:gd name="connsiteX96" fmla="*/ 42750 w 127540"/>
                  <a:gd name="connsiteY96" fmla="*/ 180599 h 259957"/>
                  <a:gd name="connsiteX97" fmla="*/ 42297 w 127540"/>
                  <a:gd name="connsiteY97" fmla="*/ 180478 h 259957"/>
                  <a:gd name="connsiteX98" fmla="*/ 35823 w 127540"/>
                  <a:gd name="connsiteY98" fmla="*/ 179978 h 259957"/>
                  <a:gd name="connsiteX99" fmla="*/ 27612 w 127540"/>
                  <a:gd name="connsiteY99" fmla="*/ 181614 h 259957"/>
                  <a:gd name="connsiteX100" fmla="*/ 23537 w 127540"/>
                  <a:gd name="connsiteY100" fmla="*/ 183706 h 259957"/>
                  <a:gd name="connsiteX101" fmla="*/ 19613 w 127540"/>
                  <a:gd name="connsiteY101" fmla="*/ 186888 h 259957"/>
                  <a:gd name="connsiteX102" fmla="*/ 17606 w 127540"/>
                  <a:gd name="connsiteY102" fmla="*/ 214558 h 259957"/>
                  <a:gd name="connsiteX103" fmla="*/ 27929 w 127540"/>
                  <a:gd name="connsiteY103" fmla="*/ 224802 h 259957"/>
                  <a:gd name="connsiteX104" fmla="*/ 34509 w 127540"/>
                  <a:gd name="connsiteY104" fmla="*/ 227833 h 259957"/>
                  <a:gd name="connsiteX105" fmla="*/ 39113 w 127540"/>
                  <a:gd name="connsiteY105" fmla="*/ 228969 h 259957"/>
                  <a:gd name="connsiteX106" fmla="*/ 46991 w 127540"/>
                  <a:gd name="connsiteY106" fmla="*/ 230106 h 259957"/>
                  <a:gd name="connsiteX107" fmla="*/ 51655 w 127540"/>
                  <a:gd name="connsiteY107" fmla="*/ 230757 h 259957"/>
                  <a:gd name="connsiteX108" fmla="*/ 58552 w 127540"/>
                  <a:gd name="connsiteY108" fmla="*/ 231757 h 259957"/>
                  <a:gd name="connsiteX109" fmla="*/ 70747 w 127540"/>
                  <a:gd name="connsiteY109" fmla="*/ 233833 h 259957"/>
                  <a:gd name="connsiteX110" fmla="*/ 74294 w 127540"/>
                  <a:gd name="connsiteY110" fmla="*/ 239728 h 259957"/>
                  <a:gd name="connsiteX111" fmla="*/ 72467 w 127540"/>
                  <a:gd name="connsiteY111" fmla="*/ 242516 h 259957"/>
                  <a:gd name="connsiteX112" fmla="*/ 72467 w 127540"/>
                  <a:gd name="connsiteY112" fmla="*/ 242516 h 259957"/>
                  <a:gd name="connsiteX113" fmla="*/ 58054 w 127540"/>
                  <a:gd name="connsiteY113" fmla="*/ 240728 h 259957"/>
                  <a:gd name="connsiteX114" fmla="*/ 53662 w 127540"/>
                  <a:gd name="connsiteY114" fmla="*/ 240107 h 259957"/>
                  <a:gd name="connsiteX115" fmla="*/ 51458 w 127540"/>
                  <a:gd name="connsiteY115" fmla="*/ 237804 h 259957"/>
                  <a:gd name="connsiteX116" fmla="*/ 46040 w 127540"/>
                  <a:gd name="connsiteY116" fmla="*/ 237031 h 259957"/>
                  <a:gd name="connsiteX117" fmla="*/ 37996 w 127540"/>
                  <a:gd name="connsiteY117" fmla="*/ 235879 h 259957"/>
                  <a:gd name="connsiteX118" fmla="*/ 33876 w 127540"/>
                  <a:gd name="connsiteY118" fmla="*/ 234940 h 259957"/>
                  <a:gd name="connsiteX119" fmla="*/ 50976 w 127540"/>
                  <a:gd name="connsiteY119" fmla="*/ 257382 h 259957"/>
                  <a:gd name="connsiteX120" fmla="*/ 71124 w 127540"/>
                  <a:gd name="connsiteY120" fmla="*/ 259958 h 259957"/>
                  <a:gd name="connsiteX121" fmla="*/ 72483 w 127540"/>
                  <a:gd name="connsiteY121" fmla="*/ 259958 h 259957"/>
                  <a:gd name="connsiteX122" fmla="*/ 91182 w 127540"/>
                  <a:gd name="connsiteY122" fmla="*/ 243956 h 259957"/>
                  <a:gd name="connsiteX123" fmla="*/ 91303 w 127540"/>
                  <a:gd name="connsiteY123" fmla="*/ 243486 h 259957"/>
                  <a:gd name="connsiteX124" fmla="*/ 88737 w 127540"/>
                  <a:gd name="connsiteY124" fmla="*/ 226969 h 259957"/>
                  <a:gd name="connsiteX125" fmla="*/ 83998 w 127540"/>
                  <a:gd name="connsiteY125" fmla="*/ 221574 h 259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</a:cxnLst>
                <a:rect l="l" t="t" r="r" b="b"/>
                <a:pathLst>
                  <a:path w="127540" h="259957">
                    <a:moveTo>
                      <a:pt x="83998" y="221574"/>
                    </a:moveTo>
                    <a:cubicBezTo>
                      <a:pt x="81836" y="219791"/>
                      <a:pt x="79393" y="218383"/>
                      <a:pt x="76769" y="217407"/>
                    </a:cubicBezTo>
                    <a:cubicBezTo>
                      <a:pt x="74973" y="216725"/>
                      <a:pt x="71698" y="216043"/>
                      <a:pt x="63970" y="214876"/>
                    </a:cubicBezTo>
                    <a:lnTo>
                      <a:pt x="61420" y="214497"/>
                    </a:lnTo>
                    <a:lnTo>
                      <a:pt x="54522" y="213497"/>
                    </a:lnTo>
                    <a:lnTo>
                      <a:pt x="49391" y="212770"/>
                    </a:lnTo>
                    <a:lnTo>
                      <a:pt x="43354" y="211937"/>
                    </a:lnTo>
                    <a:lnTo>
                      <a:pt x="41844" y="211709"/>
                    </a:lnTo>
                    <a:cubicBezTo>
                      <a:pt x="38108" y="211064"/>
                      <a:pt x="34783" y="208948"/>
                      <a:pt x="32608" y="205830"/>
                    </a:cubicBezTo>
                    <a:lnTo>
                      <a:pt x="32517" y="205693"/>
                    </a:lnTo>
                    <a:cubicBezTo>
                      <a:pt x="32092" y="204970"/>
                      <a:pt x="31733" y="204209"/>
                      <a:pt x="31446" y="203420"/>
                    </a:cubicBezTo>
                    <a:cubicBezTo>
                      <a:pt x="30759" y="202073"/>
                      <a:pt x="30912" y="200448"/>
                      <a:pt x="31838" y="199253"/>
                    </a:cubicBezTo>
                    <a:lnTo>
                      <a:pt x="32246" y="198920"/>
                    </a:lnTo>
                    <a:cubicBezTo>
                      <a:pt x="34385" y="197466"/>
                      <a:pt x="37061" y="197054"/>
                      <a:pt x="39535" y="197798"/>
                    </a:cubicBezTo>
                    <a:cubicBezTo>
                      <a:pt x="42367" y="198473"/>
                      <a:pt x="45087" y="199555"/>
                      <a:pt x="47610" y="201011"/>
                    </a:cubicBezTo>
                    <a:cubicBezTo>
                      <a:pt x="49300" y="202329"/>
                      <a:pt x="51096" y="203648"/>
                      <a:pt x="52953" y="204920"/>
                    </a:cubicBezTo>
                    <a:cubicBezTo>
                      <a:pt x="53828" y="205511"/>
                      <a:pt x="54734" y="206102"/>
                      <a:pt x="55639" y="206663"/>
                    </a:cubicBezTo>
                    <a:cubicBezTo>
                      <a:pt x="57711" y="207975"/>
                      <a:pt x="59864" y="209154"/>
                      <a:pt x="62084" y="210194"/>
                    </a:cubicBezTo>
                    <a:cubicBezTo>
                      <a:pt x="66005" y="212126"/>
                      <a:pt x="70304" y="213161"/>
                      <a:pt x="74671" y="213225"/>
                    </a:cubicBezTo>
                    <a:cubicBezTo>
                      <a:pt x="76602" y="213208"/>
                      <a:pt x="78520" y="212901"/>
                      <a:pt x="80361" y="212315"/>
                    </a:cubicBezTo>
                    <a:cubicBezTo>
                      <a:pt x="84710" y="210853"/>
                      <a:pt x="88394" y="207875"/>
                      <a:pt x="90745" y="203920"/>
                    </a:cubicBezTo>
                    <a:cubicBezTo>
                      <a:pt x="92208" y="201560"/>
                      <a:pt x="93346" y="199011"/>
                      <a:pt x="94125" y="196344"/>
                    </a:cubicBezTo>
                    <a:cubicBezTo>
                      <a:pt x="97235" y="185842"/>
                      <a:pt x="94699" y="178614"/>
                      <a:pt x="91922" y="174310"/>
                    </a:cubicBezTo>
                    <a:lnTo>
                      <a:pt x="91741" y="174007"/>
                    </a:lnTo>
                    <a:cubicBezTo>
                      <a:pt x="89670" y="170970"/>
                      <a:pt x="86947" y="168437"/>
                      <a:pt x="83772" y="166597"/>
                    </a:cubicBezTo>
                    <a:cubicBezTo>
                      <a:pt x="81199" y="165068"/>
                      <a:pt x="78432" y="163896"/>
                      <a:pt x="75546" y="163112"/>
                    </a:cubicBezTo>
                    <a:cubicBezTo>
                      <a:pt x="74047" y="162678"/>
                      <a:pt x="72519" y="162354"/>
                      <a:pt x="70973" y="162142"/>
                    </a:cubicBezTo>
                    <a:lnTo>
                      <a:pt x="19387" y="153959"/>
                    </a:lnTo>
                    <a:lnTo>
                      <a:pt x="19009" y="153959"/>
                    </a:lnTo>
                    <a:cubicBezTo>
                      <a:pt x="17696" y="153808"/>
                      <a:pt x="17500" y="153096"/>
                      <a:pt x="17500" y="152353"/>
                    </a:cubicBezTo>
                    <a:cubicBezTo>
                      <a:pt x="18414" y="152073"/>
                      <a:pt x="19367" y="151940"/>
                      <a:pt x="20322" y="151959"/>
                    </a:cubicBezTo>
                    <a:lnTo>
                      <a:pt x="85311" y="156945"/>
                    </a:lnTo>
                    <a:lnTo>
                      <a:pt x="87545" y="157111"/>
                    </a:lnTo>
                    <a:lnTo>
                      <a:pt x="87953" y="157111"/>
                    </a:lnTo>
                    <a:cubicBezTo>
                      <a:pt x="90520" y="157195"/>
                      <a:pt x="93088" y="156976"/>
                      <a:pt x="95604" y="156460"/>
                    </a:cubicBezTo>
                    <a:cubicBezTo>
                      <a:pt x="97584" y="156057"/>
                      <a:pt x="99509" y="155421"/>
                      <a:pt x="101340" y="154565"/>
                    </a:cubicBezTo>
                    <a:cubicBezTo>
                      <a:pt x="103578" y="153526"/>
                      <a:pt x="105620" y="152106"/>
                      <a:pt x="107377" y="150368"/>
                    </a:cubicBezTo>
                    <a:cubicBezTo>
                      <a:pt x="110433" y="147309"/>
                      <a:pt x="112419" y="143337"/>
                      <a:pt x="113037" y="139048"/>
                    </a:cubicBezTo>
                    <a:cubicBezTo>
                      <a:pt x="114359" y="131383"/>
                      <a:pt x="111421" y="123601"/>
                      <a:pt x="105369" y="118743"/>
                    </a:cubicBezTo>
                    <a:cubicBezTo>
                      <a:pt x="103705" y="117404"/>
                      <a:pt x="101860" y="116307"/>
                      <a:pt x="99891" y="115485"/>
                    </a:cubicBezTo>
                    <a:cubicBezTo>
                      <a:pt x="98082" y="114716"/>
                      <a:pt x="96194" y="114152"/>
                      <a:pt x="94261" y="113803"/>
                    </a:cubicBezTo>
                    <a:lnTo>
                      <a:pt x="81538" y="110969"/>
                    </a:lnTo>
                    <a:lnTo>
                      <a:pt x="74218" y="109363"/>
                    </a:lnTo>
                    <a:lnTo>
                      <a:pt x="24714" y="98573"/>
                    </a:lnTo>
                    <a:cubicBezTo>
                      <a:pt x="21972" y="96978"/>
                      <a:pt x="20773" y="93631"/>
                      <a:pt x="21877" y="90648"/>
                    </a:cubicBezTo>
                    <a:cubicBezTo>
                      <a:pt x="22392" y="89143"/>
                      <a:pt x="23477" y="87902"/>
                      <a:pt x="24895" y="87193"/>
                    </a:cubicBezTo>
                    <a:cubicBezTo>
                      <a:pt x="26175" y="86629"/>
                      <a:pt x="27631" y="86629"/>
                      <a:pt x="28910" y="87193"/>
                    </a:cubicBezTo>
                    <a:lnTo>
                      <a:pt x="68287" y="101968"/>
                    </a:lnTo>
                    <a:cubicBezTo>
                      <a:pt x="69881" y="102574"/>
                      <a:pt x="71522" y="103050"/>
                      <a:pt x="73192" y="103392"/>
                    </a:cubicBezTo>
                    <a:cubicBezTo>
                      <a:pt x="75555" y="103893"/>
                      <a:pt x="77961" y="104162"/>
                      <a:pt x="80376" y="104195"/>
                    </a:cubicBezTo>
                    <a:cubicBezTo>
                      <a:pt x="86273" y="104287"/>
                      <a:pt x="92109" y="102989"/>
                      <a:pt x="97416" y="100407"/>
                    </a:cubicBezTo>
                    <a:cubicBezTo>
                      <a:pt x="99842" y="99236"/>
                      <a:pt x="102151" y="97836"/>
                      <a:pt x="104313" y="96225"/>
                    </a:cubicBezTo>
                    <a:cubicBezTo>
                      <a:pt x="105897" y="95034"/>
                      <a:pt x="107409" y="93748"/>
                      <a:pt x="108841" y="92376"/>
                    </a:cubicBezTo>
                    <a:cubicBezTo>
                      <a:pt x="113925" y="87560"/>
                      <a:pt x="117986" y="81761"/>
                      <a:pt x="120779" y="75328"/>
                    </a:cubicBezTo>
                    <a:cubicBezTo>
                      <a:pt x="123244" y="69628"/>
                      <a:pt x="124968" y="63634"/>
                      <a:pt x="125911" y="57492"/>
                    </a:cubicBezTo>
                    <a:cubicBezTo>
                      <a:pt x="126771" y="52128"/>
                      <a:pt x="127148" y="47067"/>
                      <a:pt x="127420" y="42703"/>
                    </a:cubicBezTo>
                    <a:cubicBezTo>
                      <a:pt x="127691" y="38338"/>
                      <a:pt x="127420" y="21124"/>
                      <a:pt x="127420" y="19230"/>
                    </a:cubicBezTo>
                    <a:lnTo>
                      <a:pt x="127224" y="0"/>
                    </a:lnTo>
                    <a:lnTo>
                      <a:pt x="118515" y="121"/>
                    </a:lnTo>
                    <a:lnTo>
                      <a:pt x="109822" y="227"/>
                    </a:lnTo>
                    <a:lnTo>
                      <a:pt x="110063" y="19503"/>
                    </a:lnTo>
                    <a:cubicBezTo>
                      <a:pt x="110169" y="25564"/>
                      <a:pt x="110259" y="35414"/>
                      <a:pt x="110154" y="39808"/>
                    </a:cubicBezTo>
                    <a:cubicBezTo>
                      <a:pt x="110154" y="40505"/>
                      <a:pt x="110154" y="41066"/>
                      <a:pt x="110154" y="41445"/>
                    </a:cubicBezTo>
                    <a:cubicBezTo>
                      <a:pt x="110003" y="43475"/>
                      <a:pt x="109837" y="45476"/>
                      <a:pt x="109656" y="47430"/>
                    </a:cubicBezTo>
                    <a:cubicBezTo>
                      <a:pt x="108705" y="56432"/>
                      <a:pt x="107196" y="64660"/>
                      <a:pt x="103226" y="71676"/>
                    </a:cubicBezTo>
                    <a:cubicBezTo>
                      <a:pt x="101562" y="74616"/>
                      <a:pt x="99465" y="77288"/>
                      <a:pt x="97008" y="79601"/>
                    </a:cubicBezTo>
                    <a:cubicBezTo>
                      <a:pt x="96186" y="80393"/>
                      <a:pt x="95319" y="81137"/>
                      <a:pt x="94412" y="81829"/>
                    </a:cubicBezTo>
                    <a:cubicBezTo>
                      <a:pt x="87394" y="87163"/>
                      <a:pt x="80950" y="87102"/>
                      <a:pt x="77524" y="86481"/>
                    </a:cubicBezTo>
                    <a:cubicBezTo>
                      <a:pt x="76660" y="86329"/>
                      <a:pt x="75811" y="86101"/>
                      <a:pt x="74988" y="85799"/>
                    </a:cubicBezTo>
                    <a:lnTo>
                      <a:pt x="70038" y="83935"/>
                    </a:lnTo>
                    <a:lnTo>
                      <a:pt x="35189" y="70812"/>
                    </a:lnTo>
                    <a:cubicBezTo>
                      <a:pt x="29562" y="68548"/>
                      <a:pt x="23257" y="68696"/>
                      <a:pt x="17742" y="71221"/>
                    </a:cubicBezTo>
                    <a:cubicBezTo>
                      <a:pt x="12000" y="73849"/>
                      <a:pt x="7574" y="78714"/>
                      <a:pt x="5486" y="84693"/>
                    </a:cubicBezTo>
                    <a:cubicBezTo>
                      <a:pt x="1139" y="96756"/>
                      <a:pt x="7027" y="110118"/>
                      <a:pt x="18843" y="115000"/>
                    </a:cubicBezTo>
                    <a:lnTo>
                      <a:pt x="19492" y="115257"/>
                    </a:lnTo>
                    <a:lnTo>
                      <a:pt x="75939" y="127562"/>
                    </a:lnTo>
                    <a:lnTo>
                      <a:pt x="82761" y="129077"/>
                    </a:lnTo>
                    <a:lnTo>
                      <a:pt x="90790" y="130820"/>
                    </a:lnTo>
                    <a:lnTo>
                      <a:pt x="91213" y="130911"/>
                    </a:lnTo>
                    <a:cubicBezTo>
                      <a:pt x="93627" y="131320"/>
                      <a:pt x="96404" y="132578"/>
                      <a:pt x="95846" y="136290"/>
                    </a:cubicBezTo>
                    <a:cubicBezTo>
                      <a:pt x="95423" y="139063"/>
                      <a:pt x="91741" y="139579"/>
                      <a:pt x="88602" y="139503"/>
                    </a:cubicBezTo>
                    <a:lnTo>
                      <a:pt x="78369" y="138730"/>
                    </a:lnTo>
                    <a:lnTo>
                      <a:pt x="69570" y="138048"/>
                    </a:lnTo>
                    <a:lnTo>
                      <a:pt x="21560" y="134411"/>
                    </a:lnTo>
                    <a:cubicBezTo>
                      <a:pt x="11870" y="133729"/>
                      <a:pt x="1411" y="138760"/>
                      <a:pt x="189" y="149732"/>
                    </a:cubicBezTo>
                    <a:cubicBezTo>
                      <a:pt x="-442" y="154188"/>
                      <a:pt x="520" y="158725"/>
                      <a:pt x="2905" y="162536"/>
                    </a:cubicBezTo>
                    <a:cubicBezTo>
                      <a:pt x="3528" y="163478"/>
                      <a:pt x="4235" y="164361"/>
                      <a:pt x="5018" y="165173"/>
                    </a:cubicBezTo>
                    <a:cubicBezTo>
                      <a:pt x="8154" y="168437"/>
                      <a:pt x="12277" y="170569"/>
                      <a:pt x="16745" y="171234"/>
                    </a:cubicBezTo>
                    <a:lnTo>
                      <a:pt x="68860" y="179493"/>
                    </a:lnTo>
                    <a:cubicBezTo>
                      <a:pt x="69856" y="179584"/>
                      <a:pt x="75365" y="180736"/>
                      <a:pt x="77373" y="183736"/>
                    </a:cubicBezTo>
                    <a:cubicBezTo>
                      <a:pt x="77965" y="184694"/>
                      <a:pt x="78264" y="185806"/>
                      <a:pt x="78233" y="186933"/>
                    </a:cubicBezTo>
                    <a:cubicBezTo>
                      <a:pt x="78225" y="188426"/>
                      <a:pt x="77985" y="189909"/>
                      <a:pt x="77524" y="191328"/>
                    </a:cubicBezTo>
                    <a:cubicBezTo>
                      <a:pt x="77267" y="192212"/>
                      <a:pt x="76939" y="193073"/>
                      <a:pt x="76542" y="193904"/>
                    </a:cubicBezTo>
                    <a:cubicBezTo>
                      <a:pt x="75924" y="195116"/>
                      <a:pt x="75380" y="195631"/>
                      <a:pt x="75033" y="195722"/>
                    </a:cubicBezTo>
                    <a:cubicBezTo>
                      <a:pt x="74686" y="195813"/>
                      <a:pt x="72015" y="196268"/>
                      <a:pt x="65374" y="192161"/>
                    </a:cubicBezTo>
                    <a:cubicBezTo>
                      <a:pt x="63714" y="191146"/>
                      <a:pt x="57314" y="186494"/>
                      <a:pt x="57314" y="186494"/>
                    </a:cubicBezTo>
                    <a:cubicBezTo>
                      <a:pt x="52865" y="183640"/>
                      <a:pt x="47927" y="181641"/>
                      <a:pt x="42750" y="180599"/>
                    </a:cubicBezTo>
                    <a:lnTo>
                      <a:pt x="42297" y="180478"/>
                    </a:lnTo>
                    <a:cubicBezTo>
                      <a:pt x="40163" y="180083"/>
                      <a:pt x="37992" y="179915"/>
                      <a:pt x="35823" y="179978"/>
                    </a:cubicBezTo>
                    <a:cubicBezTo>
                      <a:pt x="33011" y="180037"/>
                      <a:pt x="30232" y="180590"/>
                      <a:pt x="27612" y="181614"/>
                    </a:cubicBezTo>
                    <a:cubicBezTo>
                      <a:pt x="26184" y="182165"/>
                      <a:pt x="24818" y="182866"/>
                      <a:pt x="23537" y="183706"/>
                    </a:cubicBezTo>
                    <a:cubicBezTo>
                      <a:pt x="22120" y="184623"/>
                      <a:pt x="20804" y="185690"/>
                      <a:pt x="19613" y="186888"/>
                    </a:cubicBezTo>
                    <a:cubicBezTo>
                      <a:pt x="12535" y="193965"/>
                      <a:pt x="11765" y="204572"/>
                      <a:pt x="17606" y="214558"/>
                    </a:cubicBezTo>
                    <a:cubicBezTo>
                      <a:pt x="20169" y="218763"/>
                      <a:pt x="23712" y="222278"/>
                      <a:pt x="27929" y="224802"/>
                    </a:cubicBezTo>
                    <a:cubicBezTo>
                      <a:pt x="29998" y="226065"/>
                      <a:pt x="32206" y="227082"/>
                      <a:pt x="34509" y="227833"/>
                    </a:cubicBezTo>
                    <a:cubicBezTo>
                      <a:pt x="36011" y="228336"/>
                      <a:pt x="37550" y="228716"/>
                      <a:pt x="39113" y="228969"/>
                    </a:cubicBezTo>
                    <a:cubicBezTo>
                      <a:pt x="40441" y="229196"/>
                      <a:pt x="43369" y="229606"/>
                      <a:pt x="46991" y="230106"/>
                    </a:cubicBezTo>
                    <a:lnTo>
                      <a:pt x="51655" y="230757"/>
                    </a:lnTo>
                    <a:lnTo>
                      <a:pt x="58552" y="231757"/>
                    </a:lnTo>
                    <a:cubicBezTo>
                      <a:pt x="63955" y="232560"/>
                      <a:pt x="69117" y="233379"/>
                      <a:pt x="70747" y="233833"/>
                    </a:cubicBezTo>
                    <a:cubicBezTo>
                      <a:pt x="73765" y="235000"/>
                      <a:pt x="74897" y="236985"/>
                      <a:pt x="74294" y="239728"/>
                    </a:cubicBezTo>
                    <a:cubicBezTo>
                      <a:pt x="73901" y="241456"/>
                      <a:pt x="72890" y="242516"/>
                      <a:pt x="72467" y="242516"/>
                    </a:cubicBezTo>
                    <a:lnTo>
                      <a:pt x="72467" y="242516"/>
                    </a:lnTo>
                    <a:cubicBezTo>
                      <a:pt x="67940" y="242168"/>
                      <a:pt x="58054" y="240728"/>
                      <a:pt x="58054" y="240728"/>
                    </a:cubicBezTo>
                    <a:lnTo>
                      <a:pt x="53662" y="240107"/>
                    </a:lnTo>
                    <a:cubicBezTo>
                      <a:pt x="52651" y="239955"/>
                      <a:pt x="51836" y="239819"/>
                      <a:pt x="51458" y="237804"/>
                    </a:cubicBezTo>
                    <a:lnTo>
                      <a:pt x="46040" y="237031"/>
                    </a:lnTo>
                    <a:cubicBezTo>
                      <a:pt x="42343" y="236515"/>
                      <a:pt x="39354" y="236106"/>
                      <a:pt x="37996" y="235879"/>
                    </a:cubicBezTo>
                    <a:cubicBezTo>
                      <a:pt x="36607" y="235641"/>
                      <a:pt x="35231" y="235327"/>
                      <a:pt x="33876" y="234940"/>
                    </a:cubicBezTo>
                    <a:cubicBezTo>
                      <a:pt x="34132" y="252108"/>
                      <a:pt x="44622" y="256397"/>
                      <a:pt x="50976" y="257382"/>
                    </a:cubicBezTo>
                    <a:cubicBezTo>
                      <a:pt x="52123" y="257564"/>
                      <a:pt x="66642" y="259609"/>
                      <a:pt x="71124" y="259958"/>
                    </a:cubicBezTo>
                    <a:lnTo>
                      <a:pt x="72483" y="259958"/>
                    </a:lnTo>
                    <a:cubicBezTo>
                      <a:pt x="81206" y="259958"/>
                      <a:pt x="88873" y="253442"/>
                      <a:pt x="91182" y="243956"/>
                    </a:cubicBezTo>
                    <a:cubicBezTo>
                      <a:pt x="91182" y="243804"/>
                      <a:pt x="91273" y="243638"/>
                      <a:pt x="91303" y="243486"/>
                    </a:cubicBezTo>
                    <a:cubicBezTo>
                      <a:pt x="92579" y="237853"/>
                      <a:pt x="91661" y="231944"/>
                      <a:pt x="88737" y="226969"/>
                    </a:cubicBezTo>
                    <a:cubicBezTo>
                      <a:pt x="87470" y="224916"/>
                      <a:pt x="85868" y="223093"/>
                      <a:pt x="83998" y="2215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83" name="Graphic 5" hidden="1">
              <a:extLst>
                <a:ext uri="{FF2B5EF4-FFF2-40B4-BE49-F238E27FC236}">
                  <a16:creationId xmlns:a16="http://schemas.microsoft.com/office/drawing/2014/main" id="{76948BAF-0FFE-4834-9369-561936B11B08}"/>
                </a:ext>
              </a:extLst>
            </p:cNvPr>
            <p:cNvGrpSpPr/>
            <p:nvPr/>
          </p:nvGrpSpPr>
          <p:grpSpPr>
            <a:xfrm>
              <a:off x="5803769" y="3059355"/>
              <a:ext cx="469212" cy="477613"/>
              <a:chOff x="7323015" y="3314821"/>
              <a:chExt cx="469212" cy="477613"/>
            </a:xfrm>
            <a:grpFill/>
          </p:grpSpPr>
          <p:sp>
            <p:nvSpPr>
              <p:cNvPr id="184" name="Freeform 284">
                <a:extLst>
                  <a:ext uri="{FF2B5EF4-FFF2-40B4-BE49-F238E27FC236}">
                    <a16:creationId xmlns:a16="http://schemas.microsoft.com/office/drawing/2014/main" id="{C961051F-9D29-4525-A0AC-A6B01BD11909}"/>
                  </a:ext>
                </a:extLst>
              </p:cNvPr>
              <p:cNvSpPr/>
              <p:nvPr/>
            </p:nvSpPr>
            <p:spPr>
              <a:xfrm>
                <a:off x="7330879" y="3314821"/>
                <a:ext cx="421651" cy="124622"/>
              </a:xfrm>
              <a:custGeom>
                <a:avLst/>
                <a:gdLst>
                  <a:gd name="connsiteX0" fmla="*/ 179222 w 421651"/>
                  <a:gd name="connsiteY0" fmla="*/ 90754 h 124622"/>
                  <a:gd name="connsiteX1" fmla="*/ 178687 w 421651"/>
                  <a:gd name="connsiteY1" fmla="*/ 91634 h 124622"/>
                  <a:gd name="connsiteX2" fmla="*/ 177865 w 421651"/>
                  <a:gd name="connsiteY2" fmla="*/ 93272 h 124622"/>
                  <a:gd name="connsiteX3" fmla="*/ 176179 w 421651"/>
                  <a:gd name="connsiteY3" fmla="*/ 98942 h 124622"/>
                  <a:gd name="connsiteX4" fmla="*/ 177865 w 421651"/>
                  <a:gd name="connsiteY4" fmla="*/ 111389 h 124622"/>
                  <a:gd name="connsiteX5" fmla="*/ 178687 w 421651"/>
                  <a:gd name="connsiteY5" fmla="*/ 113027 h 124622"/>
                  <a:gd name="connsiteX6" fmla="*/ 179551 w 421651"/>
                  <a:gd name="connsiteY6" fmla="*/ 114460 h 124622"/>
                  <a:gd name="connsiteX7" fmla="*/ 179736 w 421651"/>
                  <a:gd name="connsiteY7" fmla="*/ 114747 h 124622"/>
                  <a:gd name="connsiteX8" fmla="*/ 180271 w 421651"/>
                  <a:gd name="connsiteY8" fmla="*/ 115545 h 124622"/>
                  <a:gd name="connsiteX9" fmla="*/ 194950 w 421651"/>
                  <a:gd name="connsiteY9" fmla="*/ 124389 h 124622"/>
                  <a:gd name="connsiteX10" fmla="*/ 216312 w 421651"/>
                  <a:gd name="connsiteY10" fmla="*/ 115586 h 124622"/>
                  <a:gd name="connsiteX11" fmla="*/ 210905 w 421651"/>
                  <a:gd name="connsiteY11" fmla="*/ 94951 h 124622"/>
                  <a:gd name="connsiteX12" fmla="*/ 211810 w 421651"/>
                  <a:gd name="connsiteY12" fmla="*/ 91204 h 124622"/>
                  <a:gd name="connsiteX13" fmla="*/ 212118 w 421651"/>
                  <a:gd name="connsiteY13" fmla="*/ 90099 h 124622"/>
                  <a:gd name="connsiteX14" fmla="*/ 213228 w 421651"/>
                  <a:gd name="connsiteY14" fmla="*/ 90099 h 124622"/>
                  <a:gd name="connsiteX15" fmla="*/ 215037 w 421651"/>
                  <a:gd name="connsiteY15" fmla="*/ 90099 h 124622"/>
                  <a:gd name="connsiteX16" fmla="*/ 218697 w 421651"/>
                  <a:gd name="connsiteY16" fmla="*/ 90099 h 124622"/>
                  <a:gd name="connsiteX17" fmla="*/ 217957 w 421651"/>
                  <a:gd name="connsiteY17" fmla="*/ 92146 h 124622"/>
                  <a:gd name="connsiteX18" fmla="*/ 216949 w 421651"/>
                  <a:gd name="connsiteY18" fmla="*/ 95913 h 124622"/>
                  <a:gd name="connsiteX19" fmla="*/ 220794 w 421651"/>
                  <a:gd name="connsiteY19" fmla="*/ 111471 h 124622"/>
                  <a:gd name="connsiteX20" fmla="*/ 219848 w 421651"/>
                  <a:gd name="connsiteY20" fmla="*/ 112720 h 124622"/>
                  <a:gd name="connsiteX21" fmla="*/ 221061 w 421651"/>
                  <a:gd name="connsiteY21" fmla="*/ 111799 h 124622"/>
                  <a:gd name="connsiteX22" fmla="*/ 222069 w 421651"/>
                  <a:gd name="connsiteY22" fmla="*/ 113048 h 124622"/>
                  <a:gd name="connsiteX23" fmla="*/ 223097 w 421651"/>
                  <a:gd name="connsiteY23" fmla="*/ 114092 h 124622"/>
                  <a:gd name="connsiteX24" fmla="*/ 234549 w 421651"/>
                  <a:gd name="connsiteY24" fmla="*/ 119783 h 124622"/>
                  <a:gd name="connsiteX25" fmla="*/ 257473 w 421651"/>
                  <a:gd name="connsiteY25" fmla="*/ 106169 h 124622"/>
                  <a:gd name="connsiteX26" fmla="*/ 254101 w 421651"/>
                  <a:gd name="connsiteY26" fmla="*/ 88768 h 124622"/>
                  <a:gd name="connsiteX27" fmla="*/ 254389 w 421651"/>
                  <a:gd name="connsiteY27" fmla="*/ 87458 h 124622"/>
                  <a:gd name="connsiteX28" fmla="*/ 255438 w 421651"/>
                  <a:gd name="connsiteY28" fmla="*/ 87253 h 124622"/>
                  <a:gd name="connsiteX29" fmla="*/ 257350 w 421651"/>
                  <a:gd name="connsiteY29" fmla="*/ 86946 h 124622"/>
                  <a:gd name="connsiteX30" fmla="*/ 260886 w 421651"/>
                  <a:gd name="connsiteY30" fmla="*/ 86414 h 124622"/>
                  <a:gd name="connsiteX31" fmla="*/ 260393 w 421651"/>
                  <a:gd name="connsiteY31" fmla="*/ 88584 h 124622"/>
                  <a:gd name="connsiteX32" fmla="*/ 260167 w 421651"/>
                  <a:gd name="connsiteY32" fmla="*/ 89710 h 124622"/>
                  <a:gd name="connsiteX33" fmla="*/ 260167 w 421651"/>
                  <a:gd name="connsiteY33" fmla="*/ 90344 h 124622"/>
                  <a:gd name="connsiteX34" fmla="*/ 260167 w 421651"/>
                  <a:gd name="connsiteY34" fmla="*/ 90692 h 124622"/>
                  <a:gd name="connsiteX35" fmla="*/ 261647 w 421651"/>
                  <a:gd name="connsiteY35" fmla="*/ 100642 h 124622"/>
                  <a:gd name="connsiteX36" fmla="*/ 262757 w 421651"/>
                  <a:gd name="connsiteY36" fmla="*/ 102914 h 124622"/>
                  <a:gd name="connsiteX37" fmla="*/ 263867 w 421651"/>
                  <a:gd name="connsiteY37" fmla="*/ 104613 h 124622"/>
                  <a:gd name="connsiteX38" fmla="*/ 277334 w 421651"/>
                  <a:gd name="connsiteY38" fmla="*/ 112802 h 124622"/>
                  <a:gd name="connsiteX39" fmla="*/ 280439 w 421651"/>
                  <a:gd name="connsiteY39" fmla="*/ 113027 h 124622"/>
                  <a:gd name="connsiteX40" fmla="*/ 300526 w 421651"/>
                  <a:gd name="connsiteY40" fmla="*/ 96036 h 124622"/>
                  <a:gd name="connsiteX41" fmla="*/ 298634 w 421651"/>
                  <a:gd name="connsiteY41" fmla="*/ 93804 h 124622"/>
                  <a:gd name="connsiteX42" fmla="*/ 293597 w 421651"/>
                  <a:gd name="connsiteY42" fmla="*/ 80231 h 124622"/>
                  <a:gd name="connsiteX43" fmla="*/ 293494 w 421651"/>
                  <a:gd name="connsiteY43" fmla="*/ 79003 h 124622"/>
                  <a:gd name="connsiteX44" fmla="*/ 294666 w 421651"/>
                  <a:gd name="connsiteY44" fmla="*/ 78655 h 124622"/>
                  <a:gd name="connsiteX45" fmla="*/ 297174 w 421651"/>
                  <a:gd name="connsiteY45" fmla="*/ 77877 h 124622"/>
                  <a:gd name="connsiteX46" fmla="*/ 299601 w 421651"/>
                  <a:gd name="connsiteY46" fmla="*/ 77099 h 124622"/>
                  <a:gd name="connsiteX47" fmla="*/ 299703 w 421651"/>
                  <a:gd name="connsiteY47" fmla="*/ 79515 h 124622"/>
                  <a:gd name="connsiteX48" fmla="*/ 299703 w 421651"/>
                  <a:gd name="connsiteY48" fmla="*/ 79924 h 124622"/>
                  <a:gd name="connsiteX49" fmla="*/ 303425 w 421651"/>
                  <a:gd name="connsiteY49" fmla="*/ 89976 h 124622"/>
                  <a:gd name="connsiteX50" fmla="*/ 304946 w 421651"/>
                  <a:gd name="connsiteY50" fmla="*/ 91839 h 124622"/>
                  <a:gd name="connsiteX51" fmla="*/ 306344 w 421651"/>
                  <a:gd name="connsiteY51" fmla="*/ 93231 h 124622"/>
                  <a:gd name="connsiteX52" fmla="*/ 316974 w 421651"/>
                  <a:gd name="connsiteY52" fmla="*/ 98287 h 124622"/>
                  <a:gd name="connsiteX53" fmla="*/ 320078 w 421651"/>
                  <a:gd name="connsiteY53" fmla="*/ 98533 h 124622"/>
                  <a:gd name="connsiteX54" fmla="*/ 340206 w 421651"/>
                  <a:gd name="connsiteY54" fmla="*/ 81296 h 124622"/>
                  <a:gd name="connsiteX55" fmla="*/ 339919 w 421651"/>
                  <a:gd name="connsiteY55" fmla="*/ 73701 h 124622"/>
                  <a:gd name="connsiteX56" fmla="*/ 334758 w 421651"/>
                  <a:gd name="connsiteY56" fmla="*/ 64243 h 124622"/>
                  <a:gd name="connsiteX57" fmla="*/ 333504 w 421651"/>
                  <a:gd name="connsiteY57" fmla="*/ 63076 h 124622"/>
                  <a:gd name="connsiteX58" fmla="*/ 335354 w 421651"/>
                  <a:gd name="connsiteY58" fmla="*/ 62073 h 124622"/>
                  <a:gd name="connsiteX59" fmla="*/ 337122 w 421651"/>
                  <a:gd name="connsiteY59" fmla="*/ 61090 h 124622"/>
                  <a:gd name="connsiteX60" fmla="*/ 339816 w 421651"/>
                  <a:gd name="connsiteY60" fmla="*/ 59616 h 124622"/>
                  <a:gd name="connsiteX61" fmla="*/ 340309 w 421651"/>
                  <a:gd name="connsiteY61" fmla="*/ 61479 h 124622"/>
                  <a:gd name="connsiteX62" fmla="*/ 345244 w 421651"/>
                  <a:gd name="connsiteY62" fmla="*/ 70528 h 124622"/>
                  <a:gd name="connsiteX63" fmla="*/ 368374 w 421651"/>
                  <a:gd name="connsiteY63" fmla="*/ 77672 h 124622"/>
                  <a:gd name="connsiteX64" fmla="*/ 370430 w 421651"/>
                  <a:gd name="connsiteY64" fmla="*/ 77140 h 124622"/>
                  <a:gd name="connsiteX65" fmla="*/ 372095 w 421651"/>
                  <a:gd name="connsiteY65" fmla="*/ 76505 h 124622"/>
                  <a:gd name="connsiteX66" fmla="*/ 372732 w 421651"/>
                  <a:gd name="connsiteY66" fmla="*/ 76239 h 124622"/>
                  <a:gd name="connsiteX67" fmla="*/ 374953 w 421651"/>
                  <a:gd name="connsiteY67" fmla="*/ 75113 h 124622"/>
                  <a:gd name="connsiteX68" fmla="*/ 378366 w 421651"/>
                  <a:gd name="connsiteY68" fmla="*/ 72595 h 124622"/>
                  <a:gd name="connsiteX69" fmla="*/ 385726 w 421651"/>
                  <a:gd name="connsiteY69" fmla="*/ 53905 h 124622"/>
                  <a:gd name="connsiteX70" fmla="*/ 375282 w 421651"/>
                  <a:gd name="connsiteY70" fmla="*/ 45716 h 124622"/>
                  <a:gd name="connsiteX71" fmla="*/ 374994 w 421651"/>
                  <a:gd name="connsiteY71" fmla="*/ 45307 h 124622"/>
                  <a:gd name="connsiteX72" fmla="*/ 373966 w 421651"/>
                  <a:gd name="connsiteY72" fmla="*/ 43853 h 124622"/>
                  <a:gd name="connsiteX73" fmla="*/ 375426 w 421651"/>
                  <a:gd name="connsiteY73" fmla="*/ 42891 h 124622"/>
                  <a:gd name="connsiteX74" fmla="*/ 379394 w 421651"/>
                  <a:gd name="connsiteY74" fmla="*/ 40967 h 124622"/>
                  <a:gd name="connsiteX75" fmla="*/ 380154 w 421651"/>
                  <a:gd name="connsiteY75" fmla="*/ 41949 h 124622"/>
                  <a:gd name="connsiteX76" fmla="*/ 380853 w 421651"/>
                  <a:gd name="connsiteY76" fmla="*/ 42809 h 124622"/>
                  <a:gd name="connsiteX77" fmla="*/ 387021 w 421651"/>
                  <a:gd name="connsiteY77" fmla="*/ 47722 h 124622"/>
                  <a:gd name="connsiteX78" fmla="*/ 388810 w 421651"/>
                  <a:gd name="connsiteY78" fmla="*/ 48603 h 124622"/>
                  <a:gd name="connsiteX79" fmla="*/ 390434 w 421651"/>
                  <a:gd name="connsiteY79" fmla="*/ 49237 h 124622"/>
                  <a:gd name="connsiteX80" fmla="*/ 399522 w 421651"/>
                  <a:gd name="connsiteY80" fmla="*/ 50588 h 124622"/>
                  <a:gd name="connsiteX81" fmla="*/ 399974 w 421651"/>
                  <a:gd name="connsiteY81" fmla="*/ 50588 h 124622"/>
                  <a:gd name="connsiteX82" fmla="*/ 400735 w 421651"/>
                  <a:gd name="connsiteY82" fmla="*/ 50588 h 124622"/>
                  <a:gd name="connsiteX83" fmla="*/ 401208 w 421651"/>
                  <a:gd name="connsiteY83" fmla="*/ 50588 h 124622"/>
                  <a:gd name="connsiteX84" fmla="*/ 402750 w 421651"/>
                  <a:gd name="connsiteY84" fmla="*/ 50363 h 124622"/>
                  <a:gd name="connsiteX85" fmla="*/ 406039 w 421651"/>
                  <a:gd name="connsiteY85" fmla="*/ 49503 h 124622"/>
                  <a:gd name="connsiteX86" fmla="*/ 408095 w 421651"/>
                  <a:gd name="connsiteY86" fmla="*/ 48705 h 124622"/>
                  <a:gd name="connsiteX87" fmla="*/ 410727 w 421651"/>
                  <a:gd name="connsiteY87" fmla="*/ 47313 h 124622"/>
                  <a:gd name="connsiteX88" fmla="*/ 415867 w 421651"/>
                  <a:gd name="connsiteY88" fmla="*/ 43075 h 124622"/>
                  <a:gd name="connsiteX89" fmla="*/ 417717 w 421651"/>
                  <a:gd name="connsiteY89" fmla="*/ 40803 h 124622"/>
                  <a:gd name="connsiteX90" fmla="*/ 421562 w 421651"/>
                  <a:gd name="connsiteY90" fmla="*/ 26166 h 124622"/>
                  <a:gd name="connsiteX91" fmla="*/ 398720 w 421651"/>
                  <a:gd name="connsiteY91" fmla="*/ 9113 h 124622"/>
                  <a:gd name="connsiteX92" fmla="*/ 396417 w 421651"/>
                  <a:gd name="connsiteY92" fmla="*/ 9235 h 124622"/>
                  <a:gd name="connsiteX93" fmla="*/ 395266 w 421651"/>
                  <a:gd name="connsiteY93" fmla="*/ 9379 h 124622"/>
                  <a:gd name="connsiteX94" fmla="*/ 394937 w 421651"/>
                  <a:gd name="connsiteY94" fmla="*/ 9379 h 124622"/>
                  <a:gd name="connsiteX95" fmla="*/ 393477 w 421651"/>
                  <a:gd name="connsiteY95" fmla="*/ 9645 h 124622"/>
                  <a:gd name="connsiteX96" fmla="*/ 386261 w 421651"/>
                  <a:gd name="connsiteY96" fmla="*/ 12593 h 124622"/>
                  <a:gd name="connsiteX97" fmla="*/ 385294 w 421651"/>
                  <a:gd name="connsiteY97" fmla="*/ 13186 h 124622"/>
                  <a:gd name="connsiteX98" fmla="*/ 380627 w 421651"/>
                  <a:gd name="connsiteY98" fmla="*/ 9092 h 124622"/>
                  <a:gd name="connsiteX99" fmla="*/ 382252 w 421651"/>
                  <a:gd name="connsiteY99" fmla="*/ 8028 h 124622"/>
                  <a:gd name="connsiteX100" fmla="*/ 388934 w 421651"/>
                  <a:gd name="connsiteY100" fmla="*/ 4425 h 124622"/>
                  <a:gd name="connsiteX101" fmla="*/ 374665 w 421651"/>
                  <a:gd name="connsiteY101" fmla="*/ 23 h 124622"/>
                  <a:gd name="connsiteX102" fmla="*/ 366318 w 421651"/>
                  <a:gd name="connsiteY102" fmla="*/ 1088 h 124622"/>
                  <a:gd name="connsiteX103" fmla="*/ 355071 w 421651"/>
                  <a:gd name="connsiteY103" fmla="*/ 11446 h 124622"/>
                  <a:gd name="connsiteX104" fmla="*/ 355071 w 421651"/>
                  <a:gd name="connsiteY104" fmla="*/ 17301 h 124622"/>
                  <a:gd name="connsiteX105" fmla="*/ 355647 w 421651"/>
                  <a:gd name="connsiteY105" fmla="*/ 18468 h 124622"/>
                  <a:gd name="connsiteX106" fmla="*/ 356469 w 421651"/>
                  <a:gd name="connsiteY106" fmla="*/ 20024 h 124622"/>
                  <a:gd name="connsiteX107" fmla="*/ 352357 w 421651"/>
                  <a:gd name="connsiteY107" fmla="*/ 23566 h 124622"/>
                  <a:gd name="connsiteX108" fmla="*/ 351370 w 421651"/>
                  <a:gd name="connsiteY108" fmla="*/ 22644 h 124622"/>
                  <a:gd name="connsiteX109" fmla="*/ 341543 w 421651"/>
                  <a:gd name="connsiteY109" fmla="*/ 17015 h 124622"/>
                  <a:gd name="connsiteX110" fmla="*/ 338623 w 421651"/>
                  <a:gd name="connsiteY110" fmla="*/ 16810 h 124622"/>
                  <a:gd name="connsiteX111" fmla="*/ 319914 w 421651"/>
                  <a:gd name="connsiteY111" fmla="*/ 30874 h 124622"/>
                  <a:gd name="connsiteX112" fmla="*/ 320736 w 421651"/>
                  <a:gd name="connsiteY112" fmla="*/ 38694 h 124622"/>
                  <a:gd name="connsiteX113" fmla="*/ 323121 w 421651"/>
                  <a:gd name="connsiteY113" fmla="*/ 42789 h 124622"/>
                  <a:gd name="connsiteX114" fmla="*/ 324190 w 421651"/>
                  <a:gd name="connsiteY114" fmla="*/ 44119 h 124622"/>
                  <a:gd name="connsiteX115" fmla="*/ 322730 w 421651"/>
                  <a:gd name="connsiteY115" fmla="*/ 45020 h 124622"/>
                  <a:gd name="connsiteX116" fmla="*/ 320839 w 421651"/>
                  <a:gd name="connsiteY116" fmla="*/ 46166 h 124622"/>
                  <a:gd name="connsiteX117" fmla="*/ 318783 w 421651"/>
                  <a:gd name="connsiteY117" fmla="*/ 47333 h 124622"/>
                  <a:gd name="connsiteX118" fmla="*/ 318125 w 421651"/>
                  <a:gd name="connsiteY118" fmla="*/ 45716 h 124622"/>
                  <a:gd name="connsiteX119" fmla="*/ 314136 w 421651"/>
                  <a:gd name="connsiteY119" fmla="*/ 38080 h 124622"/>
                  <a:gd name="connsiteX120" fmla="*/ 303075 w 421651"/>
                  <a:gd name="connsiteY120" fmla="*/ 31468 h 124622"/>
                  <a:gd name="connsiteX121" fmla="*/ 283749 w 421651"/>
                  <a:gd name="connsiteY121" fmla="*/ 45593 h 124622"/>
                  <a:gd name="connsiteX122" fmla="*/ 282227 w 421651"/>
                  <a:gd name="connsiteY122" fmla="*/ 45716 h 124622"/>
                  <a:gd name="connsiteX123" fmla="*/ 283728 w 421651"/>
                  <a:gd name="connsiteY123" fmla="*/ 45921 h 124622"/>
                  <a:gd name="connsiteX124" fmla="*/ 283584 w 421651"/>
                  <a:gd name="connsiteY124" fmla="*/ 47866 h 124622"/>
                  <a:gd name="connsiteX125" fmla="*/ 283708 w 421651"/>
                  <a:gd name="connsiteY125" fmla="*/ 50445 h 124622"/>
                  <a:gd name="connsiteX126" fmla="*/ 286298 w 421651"/>
                  <a:gd name="connsiteY126" fmla="*/ 57344 h 124622"/>
                  <a:gd name="connsiteX127" fmla="*/ 286874 w 421651"/>
                  <a:gd name="connsiteY127" fmla="*/ 58204 h 124622"/>
                  <a:gd name="connsiteX128" fmla="*/ 287429 w 421651"/>
                  <a:gd name="connsiteY128" fmla="*/ 58838 h 124622"/>
                  <a:gd name="connsiteX129" fmla="*/ 289341 w 421651"/>
                  <a:gd name="connsiteY129" fmla="*/ 60886 h 124622"/>
                  <a:gd name="connsiteX130" fmla="*/ 286195 w 421651"/>
                  <a:gd name="connsiteY130" fmla="*/ 61827 h 124622"/>
                  <a:gd name="connsiteX131" fmla="*/ 285024 w 421651"/>
                  <a:gd name="connsiteY131" fmla="*/ 62175 h 124622"/>
                  <a:gd name="connsiteX132" fmla="*/ 282639 w 421651"/>
                  <a:gd name="connsiteY132" fmla="*/ 62810 h 124622"/>
                  <a:gd name="connsiteX133" fmla="*/ 282022 w 421651"/>
                  <a:gd name="connsiteY133" fmla="*/ 61971 h 124622"/>
                  <a:gd name="connsiteX134" fmla="*/ 277457 w 421651"/>
                  <a:gd name="connsiteY134" fmla="*/ 47640 h 124622"/>
                  <a:gd name="connsiteX135" fmla="*/ 269233 w 421651"/>
                  <a:gd name="connsiteY135" fmla="*/ 43996 h 124622"/>
                  <a:gd name="connsiteX136" fmla="*/ 266643 w 421651"/>
                  <a:gd name="connsiteY136" fmla="*/ 43792 h 124622"/>
                  <a:gd name="connsiteX137" fmla="*/ 250647 w 421651"/>
                  <a:gd name="connsiteY137" fmla="*/ 55174 h 124622"/>
                  <a:gd name="connsiteX138" fmla="*/ 250216 w 421651"/>
                  <a:gd name="connsiteY138" fmla="*/ 56853 h 124622"/>
                  <a:gd name="connsiteX139" fmla="*/ 250216 w 421651"/>
                  <a:gd name="connsiteY139" fmla="*/ 57180 h 124622"/>
                  <a:gd name="connsiteX140" fmla="*/ 250092 w 421651"/>
                  <a:gd name="connsiteY140" fmla="*/ 57712 h 124622"/>
                  <a:gd name="connsiteX141" fmla="*/ 250092 w 421651"/>
                  <a:gd name="connsiteY141" fmla="*/ 58122 h 124622"/>
                  <a:gd name="connsiteX142" fmla="*/ 249907 w 421651"/>
                  <a:gd name="connsiteY142" fmla="*/ 59780 h 124622"/>
                  <a:gd name="connsiteX143" fmla="*/ 250915 w 421651"/>
                  <a:gd name="connsiteY143" fmla="*/ 66433 h 124622"/>
                  <a:gd name="connsiteX144" fmla="*/ 251984 w 421651"/>
                  <a:gd name="connsiteY144" fmla="*/ 68910 h 124622"/>
                  <a:gd name="connsiteX145" fmla="*/ 249928 w 421651"/>
                  <a:gd name="connsiteY145" fmla="*/ 69156 h 124622"/>
                  <a:gd name="connsiteX146" fmla="*/ 246700 w 421651"/>
                  <a:gd name="connsiteY146" fmla="*/ 69525 h 124622"/>
                  <a:gd name="connsiteX147" fmla="*/ 245528 w 421651"/>
                  <a:gd name="connsiteY147" fmla="*/ 69668 h 124622"/>
                  <a:gd name="connsiteX148" fmla="*/ 245117 w 421651"/>
                  <a:gd name="connsiteY148" fmla="*/ 68562 h 124622"/>
                  <a:gd name="connsiteX149" fmla="*/ 243945 w 421651"/>
                  <a:gd name="connsiteY149" fmla="*/ 57201 h 124622"/>
                  <a:gd name="connsiteX150" fmla="*/ 244274 w 421651"/>
                  <a:gd name="connsiteY150" fmla="*/ 55481 h 124622"/>
                  <a:gd name="connsiteX151" fmla="*/ 233069 w 421651"/>
                  <a:gd name="connsiteY151" fmla="*/ 48848 h 124622"/>
                  <a:gd name="connsiteX152" fmla="*/ 216477 w 421651"/>
                  <a:gd name="connsiteY152" fmla="*/ 55686 h 124622"/>
                  <a:gd name="connsiteX153" fmla="*/ 215613 w 421651"/>
                  <a:gd name="connsiteY153" fmla="*/ 56894 h 124622"/>
                  <a:gd name="connsiteX154" fmla="*/ 214832 w 421651"/>
                  <a:gd name="connsiteY154" fmla="*/ 58286 h 124622"/>
                  <a:gd name="connsiteX155" fmla="*/ 213105 w 421651"/>
                  <a:gd name="connsiteY155" fmla="*/ 63424 h 124622"/>
                  <a:gd name="connsiteX156" fmla="*/ 213290 w 421651"/>
                  <a:gd name="connsiteY156" fmla="*/ 69566 h 124622"/>
                  <a:gd name="connsiteX157" fmla="*/ 213680 w 421651"/>
                  <a:gd name="connsiteY157" fmla="*/ 71408 h 124622"/>
                  <a:gd name="connsiteX158" fmla="*/ 207348 w 421651"/>
                  <a:gd name="connsiteY158" fmla="*/ 71408 h 124622"/>
                  <a:gd name="connsiteX159" fmla="*/ 207142 w 421651"/>
                  <a:gd name="connsiteY159" fmla="*/ 70180 h 124622"/>
                  <a:gd name="connsiteX160" fmla="*/ 209466 w 421651"/>
                  <a:gd name="connsiteY160" fmla="*/ 55317 h 124622"/>
                  <a:gd name="connsiteX161" fmla="*/ 199597 w 421651"/>
                  <a:gd name="connsiteY161" fmla="*/ 50547 h 124622"/>
                  <a:gd name="connsiteX162" fmla="*/ 181093 w 421651"/>
                  <a:gd name="connsiteY162" fmla="*/ 58736 h 124622"/>
                  <a:gd name="connsiteX163" fmla="*/ 180908 w 421651"/>
                  <a:gd name="connsiteY163" fmla="*/ 59023 h 124622"/>
                  <a:gd name="connsiteX164" fmla="*/ 180229 w 421651"/>
                  <a:gd name="connsiteY164" fmla="*/ 60108 h 124622"/>
                  <a:gd name="connsiteX165" fmla="*/ 179489 w 421651"/>
                  <a:gd name="connsiteY165" fmla="*/ 61725 h 124622"/>
                  <a:gd name="connsiteX166" fmla="*/ 178173 w 421651"/>
                  <a:gd name="connsiteY166" fmla="*/ 66044 h 124622"/>
                  <a:gd name="connsiteX167" fmla="*/ 178029 w 421651"/>
                  <a:gd name="connsiteY167" fmla="*/ 68092 h 124622"/>
                  <a:gd name="connsiteX168" fmla="*/ 178029 w 421651"/>
                  <a:gd name="connsiteY168" fmla="*/ 69688 h 124622"/>
                  <a:gd name="connsiteX169" fmla="*/ 171862 w 421651"/>
                  <a:gd name="connsiteY169" fmla="*/ 69033 h 124622"/>
                  <a:gd name="connsiteX170" fmla="*/ 171862 w 421651"/>
                  <a:gd name="connsiteY170" fmla="*/ 67109 h 124622"/>
                  <a:gd name="connsiteX171" fmla="*/ 172005 w 421651"/>
                  <a:gd name="connsiteY171" fmla="*/ 65205 h 124622"/>
                  <a:gd name="connsiteX172" fmla="*/ 174308 w 421651"/>
                  <a:gd name="connsiteY172" fmla="*/ 58020 h 124622"/>
                  <a:gd name="connsiteX173" fmla="*/ 161972 w 421651"/>
                  <a:gd name="connsiteY173" fmla="*/ 50547 h 124622"/>
                  <a:gd name="connsiteX174" fmla="*/ 147580 w 421651"/>
                  <a:gd name="connsiteY174" fmla="*/ 54376 h 124622"/>
                  <a:gd name="connsiteX175" fmla="*/ 146347 w 421651"/>
                  <a:gd name="connsiteY175" fmla="*/ 55440 h 124622"/>
                  <a:gd name="connsiteX176" fmla="*/ 145031 w 421651"/>
                  <a:gd name="connsiteY176" fmla="*/ 56750 h 124622"/>
                  <a:gd name="connsiteX177" fmla="*/ 141330 w 421651"/>
                  <a:gd name="connsiteY177" fmla="*/ 63137 h 124622"/>
                  <a:gd name="connsiteX178" fmla="*/ 140919 w 421651"/>
                  <a:gd name="connsiteY178" fmla="*/ 64386 h 124622"/>
                  <a:gd name="connsiteX179" fmla="*/ 134895 w 421651"/>
                  <a:gd name="connsiteY179" fmla="*/ 63219 h 124622"/>
                  <a:gd name="connsiteX180" fmla="*/ 135388 w 421651"/>
                  <a:gd name="connsiteY180" fmla="*/ 61623 h 124622"/>
                  <a:gd name="connsiteX181" fmla="*/ 141556 w 421651"/>
                  <a:gd name="connsiteY181" fmla="*/ 51612 h 124622"/>
                  <a:gd name="connsiteX182" fmla="*/ 119222 w 421651"/>
                  <a:gd name="connsiteY182" fmla="*/ 41142 h 124622"/>
                  <a:gd name="connsiteX183" fmla="*/ 110840 w 421651"/>
                  <a:gd name="connsiteY183" fmla="*/ 47518 h 124622"/>
                  <a:gd name="connsiteX184" fmla="*/ 108557 w 421651"/>
                  <a:gd name="connsiteY184" fmla="*/ 51735 h 124622"/>
                  <a:gd name="connsiteX185" fmla="*/ 108557 w 421651"/>
                  <a:gd name="connsiteY185" fmla="*/ 52083 h 124622"/>
                  <a:gd name="connsiteX186" fmla="*/ 107858 w 421651"/>
                  <a:gd name="connsiteY186" fmla="*/ 54826 h 124622"/>
                  <a:gd name="connsiteX187" fmla="*/ 107653 w 421651"/>
                  <a:gd name="connsiteY187" fmla="*/ 56546 h 124622"/>
                  <a:gd name="connsiteX188" fmla="*/ 105946 w 421651"/>
                  <a:gd name="connsiteY188" fmla="*/ 56546 h 124622"/>
                  <a:gd name="connsiteX189" fmla="*/ 101649 w 421651"/>
                  <a:gd name="connsiteY189" fmla="*/ 55399 h 124622"/>
                  <a:gd name="connsiteX190" fmla="*/ 101793 w 421651"/>
                  <a:gd name="connsiteY190" fmla="*/ 54130 h 124622"/>
                  <a:gd name="connsiteX191" fmla="*/ 106625 w 421651"/>
                  <a:gd name="connsiteY191" fmla="*/ 43014 h 124622"/>
                  <a:gd name="connsiteX192" fmla="*/ 89252 w 421651"/>
                  <a:gd name="connsiteY192" fmla="*/ 28684 h 124622"/>
                  <a:gd name="connsiteX193" fmla="*/ 79609 w 421651"/>
                  <a:gd name="connsiteY193" fmla="*/ 30731 h 124622"/>
                  <a:gd name="connsiteX194" fmla="*/ 78355 w 421651"/>
                  <a:gd name="connsiteY194" fmla="*/ 31611 h 124622"/>
                  <a:gd name="connsiteX195" fmla="*/ 77142 w 421651"/>
                  <a:gd name="connsiteY195" fmla="*/ 32737 h 124622"/>
                  <a:gd name="connsiteX196" fmla="*/ 72310 w 421651"/>
                  <a:gd name="connsiteY196" fmla="*/ 41622 h 124622"/>
                  <a:gd name="connsiteX197" fmla="*/ 71940 w 421651"/>
                  <a:gd name="connsiteY197" fmla="*/ 43280 h 124622"/>
                  <a:gd name="connsiteX198" fmla="*/ 66060 w 421651"/>
                  <a:gd name="connsiteY198" fmla="*/ 41233 h 124622"/>
                  <a:gd name="connsiteX199" fmla="*/ 66348 w 421651"/>
                  <a:gd name="connsiteY199" fmla="*/ 39902 h 124622"/>
                  <a:gd name="connsiteX200" fmla="*/ 66944 w 421651"/>
                  <a:gd name="connsiteY200" fmla="*/ 37855 h 124622"/>
                  <a:gd name="connsiteX201" fmla="*/ 73235 w 421651"/>
                  <a:gd name="connsiteY201" fmla="*/ 28069 h 124622"/>
                  <a:gd name="connsiteX202" fmla="*/ 70254 w 421651"/>
                  <a:gd name="connsiteY202" fmla="*/ 24589 h 124622"/>
                  <a:gd name="connsiteX203" fmla="*/ 69905 w 421651"/>
                  <a:gd name="connsiteY203" fmla="*/ 24118 h 124622"/>
                  <a:gd name="connsiteX204" fmla="*/ 54567 w 421651"/>
                  <a:gd name="connsiteY204" fmla="*/ 18489 h 124622"/>
                  <a:gd name="connsiteX205" fmla="*/ 52717 w 421651"/>
                  <a:gd name="connsiteY205" fmla="*/ 18489 h 124622"/>
                  <a:gd name="connsiteX206" fmla="*/ 41470 w 421651"/>
                  <a:gd name="connsiteY206" fmla="*/ 22378 h 124622"/>
                  <a:gd name="connsiteX207" fmla="*/ 40237 w 421651"/>
                  <a:gd name="connsiteY207" fmla="*/ 21355 h 124622"/>
                  <a:gd name="connsiteX208" fmla="*/ 41080 w 421651"/>
                  <a:gd name="connsiteY208" fmla="*/ 22624 h 124622"/>
                  <a:gd name="connsiteX209" fmla="*/ 34069 w 421651"/>
                  <a:gd name="connsiteY209" fmla="*/ 30260 h 124622"/>
                  <a:gd name="connsiteX210" fmla="*/ 33411 w 421651"/>
                  <a:gd name="connsiteY210" fmla="*/ 31529 h 124622"/>
                  <a:gd name="connsiteX211" fmla="*/ 27777 w 421651"/>
                  <a:gd name="connsiteY211" fmla="*/ 29073 h 124622"/>
                  <a:gd name="connsiteX212" fmla="*/ 28497 w 421651"/>
                  <a:gd name="connsiteY212" fmla="*/ 27660 h 124622"/>
                  <a:gd name="connsiteX213" fmla="*/ 31828 w 421651"/>
                  <a:gd name="connsiteY213" fmla="*/ 22542 h 124622"/>
                  <a:gd name="connsiteX214" fmla="*/ 165 w 421651"/>
                  <a:gd name="connsiteY214" fmla="*/ 65655 h 124622"/>
                  <a:gd name="connsiteX215" fmla="*/ 4277 w 421651"/>
                  <a:gd name="connsiteY215" fmla="*/ 81071 h 124622"/>
                  <a:gd name="connsiteX216" fmla="*/ 8698 w 421651"/>
                  <a:gd name="connsiteY216" fmla="*/ 80006 h 124622"/>
                  <a:gd name="connsiteX217" fmla="*/ 6292 w 421651"/>
                  <a:gd name="connsiteY217" fmla="*/ 64693 h 124622"/>
                  <a:gd name="connsiteX218" fmla="*/ 6601 w 421651"/>
                  <a:gd name="connsiteY218" fmla="*/ 62646 h 124622"/>
                  <a:gd name="connsiteX219" fmla="*/ 12440 w 421651"/>
                  <a:gd name="connsiteY219" fmla="*/ 65533 h 124622"/>
                  <a:gd name="connsiteX220" fmla="*/ 12337 w 421651"/>
                  <a:gd name="connsiteY220" fmla="*/ 66556 h 124622"/>
                  <a:gd name="connsiteX221" fmla="*/ 17559 w 421651"/>
                  <a:gd name="connsiteY221" fmla="*/ 82299 h 124622"/>
                  <a:gd name="connsiteX222" fmla="*/ 19615 w 421651"/>
                  <a:gd name="connsiteY222" fmla="*/ 84346 h 124622"/>
                  <a:gd name="connsiteX223" fmla="*/ 26071 w 421651"/>
                  <a:gd name="connsiteY223" fmla="*/ 88318 h 124622"/>
                  <a:gd name="connsiteX224" fmla="*/ 28908 w 421651"/>
                  <a:gd name="connsiteY224" fmla="*/ 89300 h 124622"/>
                  <a:gd name="connsiteX225" fmla="*/ 30964 w 421651"/>
                  <a:gd name="connsiteY225" fmla="*/ 89751 h 124622"/>
                  <a:gd name="connsiteX226" fmla="*/ 31293 w 421651"/>
                  <a:gd name="connsiteY226" fmla="*/ 89751 h 124622"/>
                  <a:gd name="connsiteX227" fmla="*/ 35097 w 421651"/>
                  <a:gd name="connsiteY227" fmla="*/ 90099 h 124622"/>
                  <a:gd name="connsiteX228" fmla="*/ 42848 w 421651"/>
                  <a:gd name="connsiteY228" fmla="*/ 88789 h 124622"/>
                  <a:gd name="connsiteX229" fmla="*/ 46137 w 421651"/>
                  <a:gd name="connsiteY229" fmla="*/ 87315 h 124622"/>
                  <a:gd name="connsiteX230" fmla="*/ 43547 w 421651"/>
                  <a:gd name="connsiteY230" fmla="*/ 70937 h 124622"/>
                  <a:gd name="connsiteX231" fmla="*/ 43896 w 421651"/>
                  <a:gd name="connsiteY231" fmla="*/ 69054 h 124622"/>
                  <a:gd name="connsiteX232" fmla="*/ 45397 w 421651"/>
                  <a:gd name="connsiteY232" fmla="*/ 69054 h 124622"/>
                  <a:gd name="connsiteX233" fmla="*/ 50064 w 421651"/>
                  <a:gd name="connsiteY233" fmla="*/ 69647 h 124622"/>
                  <a:gd name="connsiteX234" fmla="*/ 49694 w 421651"/>
                  <a:gd name="connsiteY234" fmla="*/ 71777 h 124622"/>
                  <a:gd name="connsiteX235" fmla="*/ 51935 w 421651"/>
                  <a:gd name="connsiteY235" fmla="*/ 85042 h 124622"/>
                  <a:gd name="connsiteX236" fmla="*/ 52120 w 421651"/>
                  <a:gd name="connsiteY236" fmla="*/ 85390 h 124622"/>
                  <a:gd name="connsiteX237" fmla="*/ 52655 w 421651"/>
                  <a:gd name="connsiteY237" fmla="*/ 86332 h 124622"/>
                  <a:gd name="connsiteX238" fmla="*/ 51545 w 421651"/>
                  <a:gd name="connsiteY238" fmla="*/ 87417 h 124622"/>
                  <a:gd name="connsiteX239" fmla="*/ 52819 w 421651"/>
                  <a:gd name="connsiteY239" fmla="*/ 86598 h 124622"/>
                  <a:gd name="connsiteX240" fmla="*/ 53498 w 421651"/>
                  <a:gd name="connsiteY240" fmla="*/ 87601 h 124622"/>
                  <a:gd name="connsiteX241" fmla="*/ 60139 w 421651"/>
                  <a:gd name="connsiteY241" fmla="*/ 93743 h 124622"/>
                  <a:gd name="connsiteX242" fmla="*/ 61455 w 421651"/>
                  <a:gd name="connsiteY242" fmla="*/ 94459 h 124622"/>
                  <a:gd name="connsiteX243" fmla="*/ 62873 w 421651"/>
                  <a:gd name="connsiteY243" fmla="*/ 95094 h 124622"/>
                  <a:gd name="connsiteX244" fmla="*/ 74983 w 421651"/>
                  <a:gd name="connsiteY244" fmla="*/ 96445 h 124622"/>
                  <a:gd name="connsiteX245" fmla="*/ 76422 w 421651"/>
                  <a:gd name="connsiteY245" fmla="*/ 96138 h 124622"/>
                  <a:gd name="connsiteX246" fmla="*/ 77820 w 421651"/>
                  <a:gd name="connsiteY246" fmla="*/ 95728 h 124622"/>
                  <a:gd name="connsiteX247" fmla="*/ 82878 w 421651"/>
                  <a:gd name="connsiteY247" fmla="*/ 93374 h 124622"/>
                  <a:gd name="connsiteX248" fmla="*/ 85427 w 421651"/>
                  <a:gd name="connsiteY248" fmla="*/ 75625 h 124622"/>
                  <a:gd name="connsiteX249" fmla="*/ 85941 w 421651"/>
                  <a:gd name="connsiteY249" fmla="*/ 74581 h 124622"/>
                  <a:gd name="connsiteX250" fmla="*/ 87093 w 421651"/>
                  <a:gd name="connsiteY250" fmla="*/ 74806 h 124622"/>
                  <a:gd name="connsiteX251" fmla="*/ 89992 w 421651"/>
                  <a:gd name="connsiteY251" fmla="*/ 75420 h 124622"/>
                  <a:gd name="connsiteX252" fmla="*/ 91945 w 421651"/>
                  <a:gd name="connsiteY252" fmla="*/ 75850 h 124622"/>
                  <a:gd name="connsiteX253" fmla="*/ 91266 w 421651"/>
                  <a:gd name="connsiteY253" fmla="*/ 77652 h 124622"/>
                  <a:gd name="connsiteX254" fmla="*/ 88758 w 421651"/>
                  <a:gd name="connsiteY254" fmla="*/ 84858 h 124622"/>
                  <a:gd name="connsiteX255" fmla="*/ 88758 w 421651"/>
                  <a:gd name="connsiteY255" fmla="*/ 91614 h 124622"/>
                  <a:gd name="connsiteX256" fmla="*/ 89067 w 421651"/>
                  <a:gd name="connsiteY256" fmla="*/ 93333 h 124622"/>
                  <a:gd name="connsiteX257" fmla="*/ 89457 w 421651"/>
                  <a:gd name="connsiteY257" fmla="*/ 94869 h 124622"/>
                  <a:gd name="connsiteX258" fmla="*/ 93076 w 421651"/>
                  <a:gd name="connsiteY258" fmla="*/ 102382 h 124622"/>
                  <a:gd name="connsiteX259" fmla="*/ 108557 w 421651"/>
                  <a:gd name="connsiteY259" fmla="*/ 111717 h 124622"/>
                  <a:gd name="connsiteX260" fmla="*/ 126527 w 421651"/>
                  <a:gd name="connsiteY260" fmla="*/ 107070 h 124622"/>
                  <a:gd name="connsiteX261" fmla="*/ 126424 w 421651"/>
                  <a:gd name="connsiteY261" fmla="*/ 98042 h 124622"/>
                  <a:gd name="connsiteX262" fmla="*/ 133332 w 421651"/>
                  <a:gd name="connsiteY262" fmla="*/ 83568 h 124622"/>
                  <a:gd name="connsiteX263" fmla="*/ 133846 w 421651"/>
                  <a:gd name="connsiteY263" fmla="*/ 82975 h 124622"/>
                  <a:gd name="connsiteX264" fmla="*/ 141803 w 421651"/>
                  <a:gd name="connsiteY264" fmla="*/ 83855 h 124622"/>
                  <a:gd name="connsiteX265" fmla="*/ 139397 w 421651"/>
                  <a:gd name="connsiteY265" fmla="*/ 86004 h 124622"/>
                  <a:gd name="connsiteX266" fmla="*/ 138287 w 421651"/>
                  <a:gd name="connsiteY266" fmla="*/ 87089 h 124622"/>
                  <a:gd name="connsiteX267" fmla="*/ 132489 w 421651"/>
                  <a:gd name="connsiteY267" fmla="*/ 98881 h 124622"/>
                  <a:gd name="connsiteX268" fmla="*/ 132489 w 421651"/>
                  <a:gd name="connsiteY268" fmla="*/ 104797 h 124622"/>
                  <a:gd name="connsiteX269" fmla="*/ 132798 w 421651"/>
                  <a:gd name="connsiteY269" fmla="*/ 106660 h 124622"/>
                  <a:gd name="connsiteX270" fmla="*/ 133168 w 421651"/>
                  <a:gd name="connsiteY270" fmla="*/ 108237 h 124622"/>
                  <a:gd name="connsiteX271" fmla="*/ 160642 w 421651"/>
                  <a:gd name="connsiteY271" fmla="*/ 123793 h 124622"/>
                  <a:gd name="connsiteX272" fmla="*/ 173013 w 421651"/>
                  <a:gd name="connsiteY272" fmla="*/ 115115 h 124622"/>
                  <a:gd name="connsiteX273" fmla="*/ 173342 w 421651"/>
                  <a:gd name="connsiteY273" fmla="*/ 88829 h 124622"/>
                  <a:gd name="connsiteX274" fmla="*/ 173835 w 421651"/>
                  <a:gd name="connsiteY274" fmla="*/ 87949 h 124622"/>
                  <a:gd name="connsiteX275" fmla="*/ 180682 w 421651"/>
                  <a:gd name="connsiteY275" fmla="*/ 88604 h 12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421651" h="124622">
                    <a:moveTo>
                      <a:pt x="179222" y="90754"/>
                    </a:moveTo>
                    <a:lnTo>
                      <a:pt x="178687" y="91634"/>
                    </a:lnTo>
                    <a:cubicBezTo>
                      <a:pt x="178400" y="92166"/>
                      <a:pt x="178112" y="92719"/>
                      <a:pt x="177865" y="93272"/>
                    </a:cubicBezTo>
                    <a:cubicBezTo>
                      <a:pt x="177043" y="95076"/>
                      <a:pt x="176476" y="96984"/>
                      <a:pt x="176179" y="98942"/>
                    </a:cubicBezTo>
                    <a:cubicBezTo>
                      <a:pt x="175516" y="103166"/>
                      <a:pt x="176102" y="107491"/>
                      <a:pt x="177865" y="111389"/>
                    </a:cubicBezTo>
                    <a:cubicBezTo>
                      <a:pt x="178112" y="111942"/>
                      <a:pt x="178400" y="112495"/>
                      <a:pt x="178687" y="113027"/>
                    </a:cubicBezTo>
                    <a:cubicBezTo>
                      <a:pt x="178975" y="113559"/>
                      <a:pt x="179243" y="113989"/>
                      <a:pt x="179551" y="114460"/>
                    </a:cubicBezTo>
                    <a:lnTo>
                      <a:pt x="179736" y="114747"/>
                    </a:lnTo>
                    <a:cubicBezTo>
                      <a:pt x="179900" y="115013"/>
                      <a:pt x="180085" y="115279"/>
                      <a:pt x="180271" y="115545"/>
                    </a:cubicBezTo>
                    <a:cubicBezTo>
                      <a:pt x="183784" y="120324"/>
                      <a:pt x="189069" y="123507"/>
                      <a:pt x="194950" y="124389"/>
                    </a:cubicBezTo>
                    <a:cubicBezTo>
                      <a:pt x="203153" y="125574"/>
                      <a:pt x="211350" y="122196"/>
                      <a:pt x="216312" y="115586"/>
                    </a:cubicBezTo>
                    <a:cubicBezTo>
                      <a:pt x="211742" y="109738"/>
                      <a:pt x="209787" y="102276"/>
                      <a:pt x="210905" y="94951"/>
                    </a:cubicBezTo>
                    <a:cubicBezTo>
                      <a:pt x="211115" y="93682"/>
                      <a:pt x="211417" y="92430"/>
                      <a:pt x="211810" y="91204"/>
                    </a:cubicBezTo>
                    <a:lnTo>
                      <a:pt x="212118" y="90099"/>
                    </a:lnTo>
                    <a:lnTo>
                      <a:pt x="213228" y="90099"/>
                    </a:lnTo>
                    <a:lnTo>
                      <a:pt x="215037" y="90099"/>
                    </a:lnTo>
                    <a:lnTo>
                      <a:pt x="218697" y="90099"/>
                    </a:lnTo>
                    <a:lnTo>
                      <a:pt x="217957" y="92146"/>
                    </a:lnTo>
                    <a:cubicBezTo>
                      <a:pt x="217498" y="93366"/>
                      <a:pt x="217161" y="94627"/>
                      <a:pt x="216949" y="95913"/>
                    </a:cubicBezTo>
                    <a:cubicBezTo>
                      <a:pt x="216093" y="101402"/>
                      <a:pt x="217477" y="107004"/>
                      <a:pt x="220794" y="111471"/>
                    </a:cubicBezTo>
                    <a:lnTo>
                      <a:pt x="219848" y="112720"/>
                    </a:lnTo>
                    <a:lnTo>
                      <a:pt x="221061" y="111799"/>
                    </a:lnTo>
                    <a:cubicBezTo>
                      <a:pt x="221373" y="112234"/>
                      <a:pt x="221710" y="112651"/>
                      <a:pt x="222069" y="113048"/>
                    </a:cubicBezTo>
                    <a:cubicBezTo>
                      <a:pt x="222398" y="113416"/>
                      <a:pt x="222747" y="113744"/>
                      <a:pt x="223097" y="114092"/>
                    </a:cubicBezTo>
                    <a:cubicBezTo>
                      <a:pt x="226229" y="117126"/>
                      <a:pt x="230231" y="119115"/>
                      <a:pt x="234549" y="119783"/>
                    </a:cubicBezTo>
                    <a:cubicBezTo>
                      <a:pt x="244452" y="121166"/>
                      <a:pt x="253989" y="115503"/>
                      <a:pt x="257473" y="106169"/>
                    </a:cubicBezTo>
                    <a:cubicBezTo>
                      <a:pt x="254368" y="100929"/>
                      <a:pt x="253177" y="94782"/>
                      <a:pt x="254101" y="88768"/>
                    </a:cubicBezTo>
                    <a:lnTo>
                      <a:pt x="254389" y="87458"/>
                    </a:lnTo>
                    <a:lnTo>
                      <a:pt x="255438" y="87253"/>
                    </a:lnTo>
                    <a:lnTo>
                      <a:pt x="257350" y="86946"/>
                    </a:lnTo>
                    <a:lnTo>
                      <a:pt x="260886" y="86414"/>
                    </a:lnTo>
                    <a:lnTo>
                      <a:pt x="260393" y="88584"/>
                    </a:lnTo>
                    <a:cubicBezTo>
                      <a:pt x="260296" y="88954"/>
                      <a:pt x="260220" y="89330"/>
                      <a:pt x="260167" y="89710"/>
                    </a:cubicBezTo>
                    <a:cubicBezTo>
                      <a:pt x="260155" y="89921"/>
                      <a:pt x="260155" y="90133"/>
                      <a:pt x="260167" y="90344"/>
                    </a:cubicBezTo>
                    <a:lnTo>
                      <a:pt x="260167" y="90692"/>
                    </a:lnTo>
                    <a:cubicBezTo>
                      <a:pt x="259796" y="94080"/>
                      <a:pt x="260306" y="97506"/>
                      <a:pt x="261647" y="100642"/>
                    </a:cubicBezTo>
                    <a:cubicBezTo>
                      <a:pt x="261958" y="101426"/>
                      <a:pt x="262330" y="102186"/>
                      <a:pt x="262757" y="102914"/>
                    </a:cubicBezTo>
                    <a:cubicBezTo>
                      <a:pt x="263093" y="103502"/>
                      <a:pt x="263464" y="104069"/>
                      <a:pt x="263867" y="104613"/>
                    </a:cubicBezTo>
                    <a:cubicBezTo>
                      <a:pt x="267071" y="109031"/>
                      <a:pt x="271924" y="111982"/>
                      <a:pt x="277334" y="112802"/>
                    </a:cubicBezTo>
                    <a:cubicBezTo>
                      <a:pt x="278363" y="112948"/>
                      <a:pt x="279400" y="113023"/>
                      <a:pt x="280439" y="113027"/>
                    </a:cubicBezTo>
                    <a:cubicBezTo>
                      <a:pt x="290379" y="112943"/>
                      <a:pt x="298836" y="105790"/>
                      <a:pt x="300526" y="96036"/>
                    </a:cubicBezTo>
                    <a:cubicBezTo>
                      <a:pt x="299846" y="95335"/>
                      <a:pt x="299214" y="94589"/>
                      <a:pt x="298634" y="93804"/>
                    </a:cubicBezTo>
                    <a:cubicBezTo>
                      <a:pt x="295713" y="89838"/>
                      <a:pt x="293968" y="85136"/>
                      <a:pt x="293597" y="80231"/>
                    </a:cubicBezTo>
                    <a:lnTo>
                      <a:pt x="293494" y="79003"/>
                    </a:lnTo>
                    <a:lnTo>
                      <a:pt x="294666" y="78655"/>
                    </a:lnTo>
                    <a:lnTo>
                      <a:pt x="297174" y="77877"/>
                    </a:lnTo>
                    <a:lnTo>
                      <a:pt x="299601" y="77099"/>
                    </a:lnTo>
                    <a:lnTo>
                      <a:pt x="299703" y="79515"/>
                    </a:lnTo>
                    <a:cubicBezTo>
                      <a:pt x="299693" y="79651"/>
                      <a:pt x="299693" y="79788"/>
                      <a:pt x="299703" y="79924"/>
                    </a:cubicBezTo>
                    <a:cubicBezTo>
                      <a:pt x="300015" y="83547"/>
                      <a:pt x="301300" y="87019"/>
                      <a:pt x="303425" y="89976"/>
                    </a:cubicBezTo>
                    <a:cubicBezTo>
                      <a:pt x="303896" y="90625"/>
                      <a:pt x="304404" y="91247"/>
                      <a:pt x="304946" y="91839"/>
                    </a:cubicBezTo>
                    <a:cubicBezTo>
                      <a:pt x="305381" y="92333"/>
                      <a:pt x="305848" y="92798"/>
                      <a:pt x="306344" y="93231"/>
                    </a:cubicBezTo>
                    <a:cubicBezTo>
                      <a:pt x="309302" y="95934"/>
                      <a:pt x="313003" y="97695"/>
                      <a:pt x="316974" y="98287"/>
                    </a:cubicBezTo>
                    <a:cubicBezTo>
                      <a:pt x="318000" y="98450"/>
                      <a:pt x="319039" y="98533"/>
                      <a:pt x="320078" y="98533"/>
                    </a:cubicBezTo>
                    <a:cubicBezTo>
                      <a:pt x="330113" y="98449"/>
                      <a:pt x="338621" y="91163"/>
                      <a:pt x="340206" y="81296"/>
                    </a:cubicBezTo>
                    <a:cubicBezTo>
                      <a:pt x="340594" y="78769"/>
                      <a:pt x="340497" y="76192"/>
                      <a:pt x="339919" y="73701"/>
                    </a:cubicBezTo>
                    <a:cubicBezTo>
                      <a:pt x="337605" y="70907"/>
                      <a:pt x="335853" y="67696"/>
                      <a:pt x="334758" y="64243"/>
                    </a:cubicBezTo>
                    <a:lnTo>
                      <a:pt x="333504" y="63076"/>
                    </a:lnTo>
                    <a:lnTo>
                      <a:pt x="335354" y="62073"/>
                    </a:lnTo>
                    <a:lnTo>
                      <a:pt x="337122" y="61090"/>
                    </a:lnTo>
                    <a:lnTo>
                      <a:pt x="339816" y="59616"/>
                    </a:lnTo>
                    <a:lnTo>
                      <a:pt x="340309" y="61479"/>
                    </a:lnTo>
                    <a:cubicBezTo>
                      <a:pt x="341226" y="64836"/>
                      <a:pt x="342915" y="67934"/>
                      <a:pt x="345244" y="70528"/>
                    </a:cubicBezTo>
                    <a:cubicBezTo>
                      <a:pt x="351030" y="76990"/>
                      <a:pt x="359930" y="79739"/>
                      <a:pt x="368374" y="77672"/>
                    </a:cubicBezTo>
                    <a:cubicBezTo>
                      <a:pt x="369217" y="77488"/>
                      <a:pt x="369792" y="77304"/>
                      <a:pt x="370430" y="77140"/>
                    </a:cubicBezTo>
                    <a:lnTo>
                      <a:pt x="372095" y="76505"/>
                    </a:lnTo>
                    <a:lnTo>
                      <a:pt x="372732" y="76239"/>
                    </a:lnTo>
                    <a:cubicBezTo>
                      <a:pt x="373446" y="75815"/>
                      <a:pt x="374188" y="75439"/>
                      <a:pt x="374953" y="75113"/>
                    </a:cubicBezTo>
                    <a:cubicBezTo>
                      <a:pt x="376162" y="74375"/>
                      <a:pt x="377304" y="73533"/>
                      <a:pt x="378366" y="72595"/>
                    </a:cubicBezTo>
                    <a:cubicBezTo>
                      <a:pt x="383697" y="67907"/>
                      <a:pt x="386436" y="60951"/>
                      <a:pt x="385726" y="53905"/>
                    </a:cubicBezTo>
                    <a:cubicBezTo>
                      <a:pt x="381651" y="52024"/>
                      <a:pt x="378074" y="49220"/>
                      <a:pt x="375282" y="45716"/>
                    </a:cubicBezTo>
                    <a:cubicBezTo>
                      <a:pt x="375174" y="45588"/>
                      <a:pt x="375078" y="45451"/>
                      <a:pt x="374994" y="45307"/>
                    </a:cubicBezTo>
                    <a:lnTo>
                      <a:pt x="373966" y="43853"/>
                    </a:lnTo>
                    <a:lnTo>
                      <a:pt x="375426" y="42891"/>
                    </a:lnTo>
                    <a:lnTo>
                      <a:pt x="379394" y="40967"/>
                    </a:lnTo>
                    <a:lnTo>
                      <a:pt x="380154" y="41949"/>
                    </a:lnTo>
                    <a:cubicBezTo>
                      <a:pt x="380381" y="42236"/>
                      <a:pt x="380607" y="42543"/>
                      <a:pt x="380853" y="42809"/>
                    </a:cubicBezTo>
                    <a:cubicBezTo>
                      <a:pt x="382604" y="44794"/>
                      <a:pt x="384692" y="46457"/>
                      <a:pt x="387021" y="47722"/>
                    </a:cubicBezTo>
                    <a:cubicBezTo>
                      <a:pt x="387601" y="48048"/>
                      <a:pt x="388198" y="48342"/>
                      <a:pt x="388810" y="48603"/>
                    </a:cubicBezTo>
                    <a:cubicBezTo>
                      <a:pt x="389324" y="48828"/>
                      <a:pt x="389879" y="49053"/>
                      <a:pt x="390434" y="49237"/>
                    </a:cubicBezTo>
                    <a:cubicBezTo>
                      <a:pt x="393348" y="50265"/>
                      <a:pt x="396434" y="50724"/>
                      <a:pt x="399522" y="50588"/>
                    </a:cubicBezTo>
                    <a:lnTo>
                      <a:pt x="399974" y="50588"/>
                    </a:lnTo>
                    <a:lnTo>
                      <a:pt x="400735" y="50588"/>
                    </a:lnTo>
                    <a:lnTo>
                      <a:pt x="401208" y="50588"/>
                    </a:lnTo>
                    <a:cubicBezTo>
                      <a:pt x="401722" y="50588"/>
                      <a:pt x="402236" y="50465"/>
                      <a:pt x="402750" y="50363"/>
                    </a:cubicBezTo>
                    <a:cubicBezTo>
                      <a:pt x="403868" y="50165"/>
                      <a:pt x="404968" y="49878"/>
                      <a:pt x="406039" y="49503"/>
                    </a:cubicBezTo>
                    <a:cubicBezTo>
                      <a:pt x="406739" y="49276"/>
                      <a:pt x="407426" y="49010"/>
                      <a:pt x="408095" y="48705"/>
                    </a:cubicBezTo>
                    <a:cubicBezTo>
                      <a:pt x="409006" y="48306"/>
                      <a:pt x="409885" y="47841"/>
                      <a:pt x="410727" y="47313"/>
                    </a:cubicBezTo>
                    <a:cubicBezTo>
                      <a:pt x="412639" y="46158"/>
                      <a:pt x="414371" y="44730"/>
                      <a:pt x="415867" y="43075"/>
                    </a:cubicBezTo>
                    <a:cubicBezTo>
                      <a:pt x="416529" y="42356"/>
                      <a:pt x="417147" y="41597"/>
                      <a:pt x="417717" y="40803"/>
                    </a:cubicBezTo>
                    <a:cubicBezTo>
                      <a:pt x="420667" y="36516"/>
                      <a:pt x="422026" y="31341"/>
                      <a:pt x="421562" y="26166"/>
                    </a:cubicBezTo>
                    <a:cubicBezTo>
                      <a:pt x="420329" y="13596"/>
                      <a:pt x="408959" y="9113"/>
                      <a:pt x="398720" y="9113"/>
                    </a:cubicBezTo>
                    <a:cubicBezTo>
                      <a:pt x="397951" y="9113"/>
                      <a:pt x="397182" y="9154"/>
                      <a:pt x="396417" y="9235"/>
                    </a:cubicBezTo>
                    <a:cubicBezTo>
                      <a:pt x="396031" y="9260"/>
                      <a:pt x="395647" y="9308"/>
                      <a:pt x="395266" y="9379"/>
                    </a:cubicBezTo>
                    <a:lnTo>
                      <a:pt x="394937" y="9379"/>
                    </a:lnTo>
                    <a:lnTo>
                      <a:pt x="393477" y="9645"/>
                    </a:lnTo>
                    <a:cubicBezTo>
                      <a:pt x="390924" y="10220"/>
                      <a:pt x="388484" y="11216"/>
                      <a:pt x="386261" y="12593"/>
                    </a:cubicBezTo>
                    <a:lnTo>
                      <a:pt x="385294" y="13186"/>
                    </a:lnTo>
                    <a:lnTo>
                      <a:pt x="380627" y="9092"/>
                    </a:lnTo>
                    <a:lnTo>
                      <a:pt x="382252" y="8028"/>
                    </a:lnTo>
                    <a:cubicBezTo>
                      <a:pt x="384314" y="6546"/>
                      <a:pt x="386560" y="5335"/>
                      <a:pt x="388934" y="4425"/>
                    </a:cubicBezTo>
                    <a:cubicBezTo>
                      <a:pt x="384838" y="1345"/>
                      <a:pt x="379791" y="-212"/>
                      <a:pt x="374665" y="23"/>
                    </a:cubicBezTo>
                    <a:cubicBezTo>
                      <a:pt x="371849" y="40"/>
                      <a:pt x="369047" y="398"/>
                      <a:pt x="366318" y="1088"/>
                    </a:cubicBezTo>
                    <a:cubicBezTo>
                      <a:pt x="360895" y="2129"/>
                      <a:pt x="356536" y="6144"/>
                      <a:pt x="355071" y="11446"/>
                    </a:cubicBezTo>
                    <a:cubicBezTo>
                      <a:pt x="354661" y="13377"/>
                      <a:pt x="354661" y="15371"/>
                      <a:pt x="355071" y="17301"/>
                    </a:cubicBezTo>
                    <a:cubicBezTo>
                      <a:pt x="355230" y="17706"/>
                      <a:pt x="355422" y="18096"/>
                      <a:pt x="355647" y="18468"/>
                    </a:cubicBezTo>
                    <a:lnTo>
                      <a:pt x="356469" y="20024"/>
                    </a:lnTo>
                    <a:lnTo>
                      <a:pt x="352357" y="23566"/>
                    </a:lnTo>
                    <a:lnTo>
                      <a:pt x="351370" y="22644"/>
                    </a:lnTo>
                    <a:cubicBezTo>
                      <a:pt x="348748" y="19813"/>
                      <a:pt x="345319" y="17849"/>
                      <a:pt x="341543" y="17015"/>
                    </a:cubicBezTo>
                    <a:cubicBezTo>
                      <a:pt x="340575" y="16885"/>
                      <a:pt x="339600" y="16817"/>
                      <a:pt x="338623" y="16810"/>
                    </a:cubicBezTo>
                    <a:cubicBezTo>
                      <a:pt x="329351" y="16810"/>
                      <a:pt x="321312" y="22951"/>
                      <a:pt x="319914" y="30874"/>
                    </a:cubicBezTo>
                    <a:cubicBezTo>
                      <a:pt x="319450" y="33506"/>
                      <a:pt x="319735" y="36215"/>
                      <a:pt x="320736" y="38694"/>
                    </a:cubicBezTo>
                    <a:cubicBezTo>
                      <a:pt x="321318" y="40171"/>
                      <a:pt x="322122" y="41552"/>
                      <a:pt x="323121" y="42789"/>
                    </a:cubicBezTo>
                    <a:lnTo>
                      <a:pt x="324190" y="44119"/>
                    </a:lnTo>
                    <a:lnTo>
                      <a:pt x="322730" y="45020"/>
                    </a:lnTo>
                    <a:lnTo>
                      <a:pt x="320839" y="46166"/>
                    </a:lnTo>
                    <a:lnTo>
                      <a:pt x="318783" y="47333"/>
                    </a:lnTo>
                    <a:lnTo>
                      <a:pt x="318125" y="45716"/>
                    </a:lnTo>
                    <a:cubicBezTo>
                      <a:pt x="316968" y="43085"/>
                      <a:pt x="315635" y="40534"/>
                      <a:pt x="314136" y="38080"/>
                    </a:cubicBezTo>
                    <a:cubicBezTo>
                      <a:pt x="311477" y="34501"/>
                      <a:pt x="307498" y="32122"/>
                      <a:pt x="303075" y="31468"/>
                    </a:cubicBezTo>
                    <a:cubicBezTo>
                      <a:pt x="293848" y="30165"/>
                      <a:pt x="285266" y="36438"/>
                      <a:pt x="283749" y="45593"/>
                    </a:cubicBezTo>
                    <a:lnTo>
                      <a:pt x="282227" y="45716"/>
                    </a:lnTo>
                    <a:lnTo>
                      <a:pt x="283728" y="45921"/>
                    </a:lnTo>
                    <a:cubicBezTo>
                      <a:pt x="283639" y="46565"/>
                      <a:pt x="283591" y="47215"/>
                      <a:pt x="283584" y="47866"/>
                    </a:cubicBezTo>
                    <a:cubicBezTo>
                      <a:pt x="283560" y="48727"/>
                      <a:pt x="283602" y="49589"/>
                      <a:pt x="283708" y="50445"/>
                    </a:cubicBezTo>
                    <a:cubicBezTo>
                      <a:pt x="284034" y="52911"/>
                      <a:pt x="284920" y="55270"/>
                      <a:pt x="286298" y="57344"/>
                    </a:cubicBezTo>
                    <a:cubicBezTo>
                      <a:pt x="286473" y="57642"/>
                      <a:pt x="286665" y="57929"/>
                      <a:pt x="286874" y="58204"/>
                    </a:cubicBezTo>
                    <a:cubicBezTo>
                      <a:pt x="287043" y="58429"/>
                      <a:pt x="287228" y="58641"/>
                      <a:pt x="287429" y="58838"/>
                    </a:cubicBezTo>
                    <a:lnTo>
                      <a:pt x="289341" y="60886"/>
                    </a:lnTo>
                    <a:lnTo>
                      <a:pt x="286195" y="61827"/>
                    </a:lnTo>
                    <a:lnTo>
                      <a:pt x="285024" y="62175"/>
                    </a:lnTo>
                    <a:lnTo>
                      <a:pt x="282639" y="62810"/>
                    </a:lnTo>
                    <a:lnTo>
                      <a:pt x="282022" y="61971"/>
                    </a:lnTo>
                    <a:cubicBezTo>
                      <a:pt x="278936" y="57835"/>
                      <a:pt x="277329" y="52791"/>
                      <a:pt x="277457" y="47640"/>
                    </a:cubicBezTo>
                    <a:cubicBezTo>
                      <a:pt x="275106" y="45694"/>
                      <a:pt x="272260" y="44433"/>
                      <a:pt x="269233" y="43996"/>
                    </a:cubicBezTo>
                    <a:cubicBezTo>
                      <a:pt x="268377" y="43857"/>
                      <a:pt x="267511" y="43789"/>
                      <a:pt x="266643" y="43792"/>
                    </a:cubicBezTo>
                    <a:cubicBezTo>
                      <a:pt x="259421" y="43808"/>
                      <a:pt x="253002" y="48376"/>
                      <a:pt x="250647" y="55174"/>
                    </a:cubicBezTo>
                    <a:cubicBezTo>
                      <a:pt x="250460" y="55722"/>
                      <a:pt x="250316" y="56283"/>
                      <a:pt x="250216" y="56853"/>
                    </a:cubicBezTo>
                    <a:lnTo>
                      <a:pt x="250216" y="57180"/>
                    </a:lnTo>
                    <a:cubicBezTo>
                      <a:pt x="250184" y="57360"/>
                      <a:pt x="250143" y="57537"/>
                      <a:pt x="250092" y="57712"/>
                    </a:cubicBezTo>
                    <a:cubicBezTo>
                      <a:pt x="250080" y="57849"/>
                      <a:pt x="250080" y="57986"/>
                      <a:pt x="250092" y="58122"/>
                    </a:cubicBezTo>
                    <a:cubicBezTo>
                      <a:pt x="250010" y="58668"/>
                      <a:pt x="249948" y="59221"/>
                      <a:pt x="249907" y="59780"/>
                    </a:cubicBezTo>
                    <a:cubicBezTo>
                      <a:pt x="249799" y="62042"/>
                      <a:pt x="250141" y="64304"/>
                      <a:pt x="250915" y="66433"/>
                    </a:cubicBezTo>
                    <a:lnTo>
                      <a:pt x="251984" y="68910"/>
                    </a:lnTo>
                    <a:lnTo>
                      <a:pt x="249928" y="69156"/>
                    </a:lnTo>
                    <a:lnTo>
                      <a:pt x="246700" y="69525"/>
                    </a:lnTo>
                    <a:lnTo>
                      <a:pt x="245528" y="69668"/>
                    </a:lnTo>
                    <a:lnTo>
                      <a:pt x="245117" y="68562"/>
                    </a:lnTo>
                    <a:cubicBezTo>
                      <a:pt x="243759" y="64937"/>
                      <a:pt x="243356" y="61025"/>
                      <a:pt x="243945" y="57201"/>
                    </a:cubicBezTo>
                    <a:cubicBezTo>
                      <a:pt x="243945" y="56607"/>
                      <a:pt x="244150" y="56054"/>
                      <a:pt x="244274" y="55481"/>
                    </a:cubicBezTo>
                    <a:cubicBezTo>
                      <a:pt x="241548" y="51902"/>
                      <a:pt x="237528" y="49523"/>
                      <a:pt x="233069" y="48848"/>
                    </a:cubicBezTo>
                    <a:cubicBezTo>
                      <a:pt x="226697" y="47921"/>
                      <a:pt x="220327" y="50546"/>
                      <a:pt x="216477" y="55686"/>
                    </a:cubicBezTo>
                    <a:cubicBezTo>
                      <a:pt x="216168" y="56075"/>
                      <a:pt x="215880" y="56484"/>
                      <a:pt x="215613" y="56894"/>
                    </a:cubicBezTo>
                    <a:cubicBezTo>
                      <a:pt x="215346" y="57303"/>
                      <a:pt x="215079" y="57794"/>
                      <a:pt x="214832" y="58286"/>
                    </a:cubicBezTo>
                    <a:cubicBezTo>
                      <a:pt x="213991" y="59899"/>
                      <a:pt x="213408" y="61632"/>
                      <a:pt x="213105" y="63424"/>
                    </a:cubicBezTo>
                    <a:cubicBezTo>
                      <a:pt x="212794" y="65466"/>
                      <a:pt x="212857" y="67546"/>
                      <a:pt x="213290" y="69566"/>
                    </a:cubicBezTo>
                    <a:lnTo>
                      <a:pt x="213680" y="71408"/>
                    </a:lnTo>
                    <a:lnTo>
                      <a:pt x="207348" y="71408"/>
                    </a:lnTo>
                    <a:lnTo>
                      <a:pt x="207142" y="70180"/>
                    </a:lnTo>
                    <a:cubicBezTo>
                      <a:pt x="206215" y="65106"/>
                      <a:pt x="207033" y="59870"/>
                      <a:pt x="209466" y="55317"/>
                    </a:cubicBezTo>
                    <a:cubicBezTo>
                      <a:pt x="206740" y="52764"/>
                      <a:pt x="203297" y="51100"/>
                      <a:pt x="199597" y="50547"/>
                    </a:cubicBezTo>
                    <a:cubicBezTo>
                      <a:pt x="192350" y="49425"/>
                      <a:pt x="185113" y="52628"/>
                      <a:pt x="181093" y="58736"/>
                    </a:cubicBezTo>
                    <a:lnTo>
                      <a:pt x="180908" y="59023"/>
                    </a:lnTo>
                    <a:cubicBezTo>
                      <a:pt x="180658" y="59369"/>
                      <a:pt x="180431" y="59731"/>
                      <a:pt x="180229" y="60108"/>
                    </a:cubicBezTo>
                    <a:cubicBezTo>
                      <a:pt x="179950" y="60631"/>
                      <a:pt x="179702" y="61171"/>
                      <a:pt x="179489" y="61725"/>
                    </a:cubicBezTo>
                    <a:cubicBezTo>
                      <a:pt x="178873" y="63105"/>
                      <a:pt x="178431" y="64556"/>
                      <a:pt x="178173" y="66044"/>
                    </a:cubicBezTo>
                    <a:cubicBezTo>
                      <a:pt x="178081" y="66723"/>
                      <a:pt x="178033" y="67407"/>
                      <a:pt x="178029" y="68092"/>
                    </a:cubicBezTo>
                    <a:lnTo>
                      <a:pt x="178029" y="69688"/>
                    </a:lnTo>
                    <a:lnTo>
                      <a:pt x="171862" y="69033"/>
                    </a:lnTo>
                    <a:lnTo>
                      <a:pt x="171862" y="67109"/>
                    </a:lnTo>
                    <a:cubicBezTo>
                      <a:pt x="171862" y="66474"/>
                      <a:pt x="171862" y="65840"/>
                      <a:pt x="172005" y="65205"/>
                    </a:cubicBezTo>
                    <a:cubicBezTo>
                      <a:pt x="172406" y="62708"/>
                      <a:pt x="173182" y="60286"/>
                      <a:pt x="174308" y="58020"/>
                    </a:cubicBezTo>
                    <a:cubicBezTo>
                      <a:pt x="171368" y="53984"/>
                      <a:pt x="166923" y="51292"/>
                      <a:pt x="161972" y="50547"/>
                    </a:cubicBezTo>
                    <a:cubicBezTo>
                      <a:pt x="156848" y="49759"/>
                      <a:pt x="151627" y="51148"/>
                      <a:pt x="147580" y="54376"/>
                    </a:cubicBezTo>
                    <a:cubicBezTo>
                      <a:pt x="147169" y="54703"/>
                      <a:pt x="146758" y="55051"/>
                      <a:pt x="146347" y="55440"/>
                    </a:cubicBezTo>
                    <a:cubicBezTo>
                      <a:pt x="145935" y="55829"/>
                      <a:pt x="145442" y="56300"/>
                      <a:pt x="145031" y="56750"/>
                    </a:cubicBezTo>
                    <a:cubicBezTo>
                      <a:pt x="143398" y="58624"/>
                      <a:pt x="142141" y="60792"/>
                      <a:pt x="141330" y="63137"/>
                    </a:cubicBezTo>
                    <a:lnTo>
                      <a:pt x="140919" y="64386"/>
                    </a:lnTo>
                    <a:lnTo>
                      <a:pt x="134895" y="63219"/>
                    </a:lnTo>
                    <a:lnTo>
                      <a:pt x="135388" y="61623"/>
                    </a:lnTo>
                    <a:cubicBezTo>
                      <a:pt x="136617" y="57846"/>
                      <a:pt x="138731" y="54414"/>
                      <a:pt x="141556" y="51612"/>
                    </a:cubicBezTo>
                    <a:cubicBezTo>
                      <a:pt x="138292" y="42580"/>
                      <a:pt x="128293" y="37892"/>
                      <a:pt x="119222" y="41142"/>
                    </a:cubicBezTo>
                    <a:cubicBezTo>
                      <a:pt x="115834" y="42356"/>
                      <a:pt x="112907" y="44582"/>
                      <a:pt x="110840" y="47518"/>
                    </a:cubicBezTo>
                    <a:cubicBezTo>
                      <a:pt x="109884" y="48810"/>
                      <a:pt x="109116" y="50229"/>
                      <a:pt x="108557" y="51735"/>
                    </a:cubicBezTo>
                    <a:lnTo>
                      <a:pt x="108557" y="52083"/>
                    </a:lnTo>
                    <a:cubicBezTo>
                      <a:pt x="108257" y="52979"/>
                      <a:pt x="108024" y="53896"/>
                      <a:pt x="107858" y="54826"/>
                    </a:cubicBezTo>
                    <a:lnTo>
                      <a:pt x="107653" y="56546"/>
                    </a:lnTo>
                    <a:lnTo>
                      <a:pt x="105946" y="56546"/>
                    </a:lnTo>
                    <a:lnTo>
                      <a:pt x="101649" y="55399"/>
                    </a:lnTo>
                    <a:lnTo>
                      <a:pt x="101793" y="54130"/>
                    </a:lnTo>
                    <a:cubicBezTo>
                      <a:pt x="102394" y="50066"/>
                      <a:pt x="104061" y="46232"/>
                      <a:pt x="106625" y="43014"/>
                    </a:cubicBezTo>
                    <a:cubicBezTo>
                      <a:pt x="105029" y="34710"/>
                      <a:pt x="97743" y="28700"/>
                      <a:pt x="89252" y="28684"/>
                    </a:cubicBezTo>
                    <a:cubicBezTo>
                      <a:pt x="85903" y="28368"/>
                      <a:pt x="82537" y="29083"/>
                      <a:pt x="79609" y="30731"/>
                    </a:cubicBezTo>
                    <a:lnTo>
                      <a:pt x="78355" y="31611"/>
                    </a:lnTo>
                    <a:cubicBezTo>
                      <a:pt x="77931" y="31965"/>
                      <a:pt x="77526" y="32341"/>
                      <a:pt x="77142" y="32737"/>
                    </a:cubicBezTo>
                    <a:cubicBezTo>
                      <a:pt x="74681" y="35155"/>
                      <a:pt x="72999" y="38248"/>
                      <a:pt x="72310" y="41622"/>
                    </a:cubicBezTo>
                    <a:lnTo>
                      <a:pt x="71940" y="43280"/>
                    </a:lnTo>
                    <a:lnTo>
                      <a:pt x="66060" y="41233"/>
                    </a:lnTo>
                    <a:lnTo>
                      <a:pt x="66348" y="39902"/>
                    </a:lnTo>
                    <a:cubicBezTo>
                      <a:pt x="66505" y="39208"/>
                      <a:pt x="66704" y="38525"/>
                      <a:pt x="66944" y="37855"/>
                    </a:cubicBezTo>
                    <a:cubicBezTo>
                      <a:pt x="68184" y="34119"/>
                      <a:pt x="70347" y="30754"/>
                      <a:pt x="73235" y="28069"/>
                    </a:cubicBezTo>
                    <a:cubicBezTo>
                      <a:pt x="72391" y="26791"/>
                      <a:pt x="71389" y="25621"/>
                      <a:pt x="70254" y="24589"/>
                    </a:cubicBezTo>
                    <a:lnTo>
                      <a:pt x="69905" y="24118"/>
                    </a:lnTo>
                    <a:cubicBezTo>
                      <a:pt x="65748" y="20285"/>
                      <a:pt x="60228" y="18259"/>
                      <a:pt x="54567" y="18489"/>
                    </a:cubicBezTo>
                    <a:cubicBezTo>
                      <a:pt x="53936" y="18489"/>
                      <a:pt x="53320" y="18489"/>
                      <a:pt x="52717" y="18489"/>
                    </a:cubicBezTo>
                    <a:cubicBezTo>
                      <a:pt x="48731" y="18968"/>
                      <a:pt x="44896" y="20294"/>
                      <a:pt x="41470" y="22378"/>
                    </a:cubicBezTo>
                    <a:lnTo>
                      <a:pt x="40237" y="21355"/>
                    </a:lnTo>
                    <a:lnTo>
                      <a:pt x="41080" y="22624"/>
                    </a:lnTo>
                    <a:cubicBezTo>
                      <a:pt x="38100" y="24500"/>
                      <a:pt x="35679" y="27137"/>
                      <a:pt x="34069" y="30260"/>
                    </a:cubicBezTo>
                    <a:lnTo>
                      <a:pt x="33411" y="31529"/>
                    </a:lnTo>
                    <a:lnTo>
                      <a:pt x="27777" y="29073"/>
                    </a:lnTo>
                    <a:lnTo>
                      <a:pt x="28497" y="27660"/>
                    </a:lnTo>
                    <a:cubicBezTo>
                      <a:pt x="29408" y="25833"/>
                      <a:pt x="30525" y="24116"/>
                      <a:pt x="31828" y="22542"/>
                    </a:cubicBezTo>
                    <a:cubicBezTo>
                      <a:pt x="12522" y="24200"/>
                      <a:pt x="-1706" y="43526"/>
                      <a:pt x="165" y="65655"/>
                    </a:cubicBezTo>
                    <a:cubicBezTo>
                      <a:pt x="592" y="70999"/>
                      <a:pt x="1985" y="76221"/>
                      <a:pt x="4277" y="81071"/>
                    </a:cubicBezTo>
                    <a:cubicBezTo>
                      <a:pt x="5716" y="80584"/>
                      <a:pt x="7195" y="80228"/>
                      <a:pt x="8698" y="80006"/>
                    </a:cubicBezTo>
                    <a:cubicBezTo>
                      <a:pt x="6373" y="75257"/>
                      <a:pt x="5535" y="69922"/>
                      <a:pt x="6292" y="64693"/>
                    </a:cubicBezTo>
                    <a:lnTo>
                      <a:pt x="6601" y="62646"/>
                    </a:lnTo>
                    <a:lnTo>
                      <a:pt x="12440" y="65533"/>
                    </a:lnTo>
                    <a:lnTo>
                      <a:pt x="12337" y="66556"/>
                    </a:lnTo>
                    <a:cubicBezTo>
                      <a:pt x="11858" y="72292"/>
                      <a:pt x="13743" y="77975"/>
                      <a:pt x="17559" y="82299"/>
                    </a:cubicBezTo>
                    <a:cubicBezTo>
                      <a:pt x="18202" y="83023"/>
                      <a:pt x="18888" y="83706"/>
                      <a:pt x="19615" y="84346"/>
                    </a:cubicBezTo>
                    <a:cubicBezTo>
                      <a:pt x="21530" y="86019"/>
                      <a:pt x="23712" y="87361"/>
                      <a:pt x="26071" y="88318"/>
                    </a:cubicBezTo>
                    <a:cubicBezTo>
                      <a:pt x="26993" y="88708"/>
                      <a:pt x="27941" y="89037"/>
                      <a:pt x="28908" y="89300"/>
                    </a:cubicBezTo>
                    <a:cubicBezTo>
                      <a:pt x="29587" y="89485"/>
                      <a:pt x="30286" y="89628"/>
                      <a:pt x="30964" y="89751"/>
                    </a:cubicBezTo>
                    <a:lnTo>
                      <a:pt x="31293" y="89751"/>
                    </a:lnTo>
                    <a:cubicBezTo>
                      <a:pt x="32550" y="89962"/>
                      <a:pt x="33822" y="90078"/>
                      <a:pt x="35097" y="90099"/>
                    </a:cubicBezTo>
                    <a:cubicBezTo>
                      <a:pt x="37737" y="90108"/>
                      <a:pt x="40359" y="89665"/>
                      <a:pt x="42848" y="88789"/>
                    </a:cubicBezTo>
                    <a:cubicBezTo>
                      <a:pt x="43984" y="88391"/>
                      <a:pt x="45085" y="87898"/>
                      <a:pt x="46137" y="87315"/>
                    </a:cubicBezTo>
                    <a:cubicBezTo>
                      <a:pt x="43611" y="82248"/>
                      <a:pt x="42707" y="76532"/>
                      <a:pt x="43547" y="70937"/>
                    </a:cubicBezTo>
                    <a:lnTo>
                      <a:pt x="43896" y="69054"/>
                    </a:lnTo>
                    <a:lnTo>
                      <a:pt x="45397" y="69054"/>
                    </a:lnTo>
                    <a:lnTo>
                      <a:pt x="50064" y="69647"/>
                    </a:lnTo>
                    <a:lnTo>
                      <a:pt x="49694" y="71777"/>
                    </a:lnTo>
                    <a:cubicBezTo>
                      <a:pt x="48998" y="76323"/>
                      <a:pt x="49784" y="80972"/>
                      <a:pt x="51935" y="85042"/>
                    </a:cubicBezTo>
                    <a:lnTo>
                      <a:pt x="52120" y="85390"/>
                    </a:lnTo>
                    <a:cubicBezTo>
                      <a:pt x="52388" y="85861"/>
                      <a:pt x="52511" y="86107"/>
                      <a:pt x="52655" y="86332"/>
                    </a:cubicBezTo>
                    <a:lnTo>
                      <a:pt x="51545" y="87417"/>
                    </a:lnTo>
                    <a:lnTo>
                      <a:pt x="52819" y="86598"/>
                    </a:lnTo>
                    <a:cubicBezTo>
                      <a:pt x="53046" y="86946"/>
                      <a:pt x="53251" y="87274"/>
                      <a:pt x="53498" y="87601"/>
                    </a:cubicBezTo>
                    <a:cubicBezTo>
                      <a:pt x="55256" y="90088"/>
                      <a:pt x="57518" y="92180"/>
                      <a:pt x="60139" y="93743"/>
                    </a:cubicBezTo>
                    <a:cubicBezTo>
                      <a:pt x="60570" y="93988"/>
                      <a:pt x="61002" y="94234"/>
                      <a:pt x="61455" y="94459"/>
                    </a:cubicBezTo>
                    <a:cubicBezTo>
                      <a:pt x="61907" y="94684"/>
                      <a:pt x="62400" y="94889"/>
                      <a:pt x="62873" y="95094"/>
                    </a:cubicBezTo>
                    <a:cubicBezTo>
                      <a:pt x="66694" y="96700"/>
                      <a:pt x="70900" y="97169"/>
                      <a:pt x="74983" y="96445"/>
                    </a:cubicBezTo>
                    <a:lnTo>
                      <a:pt x="76422" y="96138"/>
                    </a:lnTo>
                    <a:lnTo>
                      <a:pt x="77820" y="95728"/>
                    </a:lnTo>
                    <a:cubicBezTo>
                      <a:pt x="79599" y="95158"/>
                      <a:pt x="81298" y="94367"/>
                      <a:pt x="82878" y="93374"/>
                    </a:cubicBezTo>
                    <a:cubicBezTo>
                      <a:pt x="81828" y="87338"/>
                      <a:pt x="82721" y="81126"/>
                      <a:pt x="85427" y="75625"/>
                    </a:cubicBezTo>
                    <a:lnTo>
                      <a:pt x="85941" y="74581"/>
                    </a:lnTo>
                    <a:lnTo>
                      <a:pt x="87093" y="74806"/>
                    </a:lnTo>
                    <a:cubicBezTo>
                      <a:pt x="88059" y="74991"/>
                      <a:pt x="89025" y="75216"/>
                      <a:pt x="89992" y="75420"/>
                    </a:cubicBezTo>
                    <a:lnTo>
                      <a:pt x="91945" y="75850"/>
                    </a:lnTo>
                    <a:lnTo>
                      <a:pt x="91266" y="77652"/>
                    </a:lnTo>
                    <a:cubicBezTo>
                      <a:pt x="90032" y="79898"/>
                      <a:pt x="89184" y="82333"/>
                      <a:pt x="88758" y="84858"/>
                    </a:cubicBezTo>
                    <a:cubicBezTo>
                      <a:pt x="88429" y="87098"/>
                      <a:pt x="88429" y="89374"/>
                      <a:pt x="88758" y="91614"/>
                    </a:cubicBezTo>
                    <a:cubicBezTo>
                      <a:pt x="88831" y="92192"/>
                      <a:pt x="88934" y="92766"/>
                      <a:pt x="89067" y="93333"/>
                    </a:cubicBezTo>
                    <a:cubicBezTo>
                      <a:pt x="89067" y="93866"/>
                      <a:pt x="89313" y="94357"/>
                      <a:pt x="89457" y="94869"/>
                    </a:cubicBezTo>
                    <a:cubicBezTo>
                      <a:pt x="90210" y="97565"/>
                      <a:pt x="91435" y="100109"/>
                      <a:pt x="93076" y="102382"/>
                    </a:cubicBezTo>
                    <a:cubicBezTo>
                      <a:pt x="96771" y="107434"/>
                      <a:pt x="102349" y="110797"/>
                      <a:pt x="108557" y="111717"/>
                    </a:cubicBezTo>
                    <a:cubicBezTo>
                      <a:pt x="114933" y="112667"/>
                      <a:pt x="121422" y="110989"/>
                      <a:pt x="126527" y="107070"/>
                    </a:cubicBezTo>
                    <a:cubicBezTo>
                      <a:pt x="126010" y="104085"/>
                      <a:pt x="125975" y="101037"/>
                      <a:pt x="126424" y="98042"/>
                    </a:cubicBezTo>
                    <a:cubicBezTo>
                      <a:pt x="127264" y="92651"/>
                      <a:pt x="129665" y="87621"/>
                      <a:pt x="133332" y="83568"/>
                    </a:cubicBezTo>
                    <a:lnTo>
                      <a:pt x="133846" y="82975"/>
                    </a:lnTo>
                    <a:lnTo>
                      <a:pt x="141803" y="83855"/>
                    </a:lnTo>
                    <a:lnTo>
                      <a:pt x="139397" y="86004"/>
                    </a:lnTo>
                    <a:cubicBezTo>
                      <a:pt x="139027" y="86373"/>
                      <a:pt x="138637" y="86721"/>
                      <a:pt x="138287" y="87089"/>
                    </a:cubicBezTo>
                    <a:cubicBezTo>
                      <a:pt x="135208" y="90351"/>
                      <a:pt x="133188" y="94460"/>
                      <a:pt x="132489" y="98881"/>
                    </a:cubicBezTo>
                    <a:cubicBezTo>
                      <a:pt x="132231" y="100845"/>
                      <a:pt x="132231" y="102834"/>
                      <a:pt x="132489" y="104797"/>
                    </a:cubicBezTo>
                    <a:cubicBezTo>
                      <a:pt x="132560" y="105423"/>
                      <a:pt x="132663" y="106045"/>
                      <a:pt x="132798" y="106660"/>
                    </a:cubicBezTo>
                    <a:cubicBezTo>
                      <a:pt x="132900" y="107193"/>
                      <a:pt x="133024" y="107725"/>
                      <a:pt x="133168" y="108237"/>
                    </a:cubicBezTo>
                    <a:cubicBezTo>
                      <a:pt x="136440" y="120087"/>
                      <a:pt x="148741" y="127051"/>
                      <a:pt x="160642" y="123793"/>
                    </a:cubicBezTo>
                    <a:cubicBezTo>
                      <a:pt x="165654" y="122421"/>
                      <a:pt x="170028" y="119352"/>
                      <a:pt x="173013" y="115115"/>
                    </a:cubicBezTo>
                    <a:cubicBezTo>
                      <a:pt x="168751" y="106838"/>
                      <a:pt x="168874" y="96998"/>
                      <a:pt x="173342" y="88829"/>
                    </a:cubicBezTo>
                    <a:lnTo>
                      <a:pt x="173835" y="87949"/>
                    </a:lnTo>
                    <a:lnTo>
                      <a:pt x="180682" y="88604"/>
                    </a:lnTo>
                    <a:close/>
                  </a:path>
                </a:pathLst>
              </a:custGeom>
              <a:gradFill>
                <a:gsLst>
                  <a:gs pos="45000">
                    <a:srgbClr val="DD694E">
                      <a:lumMod val="84000"/>
                      <a:lumOff val="16000"/>
                    </a:srgbClr>
                  </a:gs>
                  <a:gs pos="0">
                    <a:srgbClr val="AF2D1C"/>
                  </a:gs>
                  <a:gs pos="100000">
                    <a:srgbClr val="DA8374">
                      <a:lumMod val="80195"/>
                    </a:srgbClr>
                  </a:gs>
                </a:gsLst>
                <a:lin ang="5400000" scaled="1"/>
              </a:gra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5" name="Freeform 285">
                <a:extLst>
                  <a:ext uri="{FF2B5EF4-FFF2-40B4-BE49-F238E27FC236}">
                    <a16:creationId xmlns:a16="http://schemas.microsoft.com/office/drawing/2014/main" id="{BD663EC0-6464-4813-8D79-73DADBBBAD49}"/>
                  </a:ext>
                </a:extLst>
              </p:cNvPr>
              <p:cNvSpPr/>
              <p:nvPr/>
            </p:nvSpPr>
            <p:spPr>
              <a:xfrm>
                <a:off x="7505256" y="3358777"/>
                <a:ext cx="286971" cy="433657"/>
              </a:xfrm>
              <a:custGeom>
                <a:avLst/>
                <a:gdLst>
                  <a:gd name="connsiteX0" fmla="*/ 256992 w 286971"/>
                  <a:gd name="connsiteY0" fmla="*/ 219375 h 433657"/>
                  <a:gd name="connsiteX1" fmla="*/ 257156 w 286971"/>
                  <a:gd name="connsiteY1" fmla="*/ 218536 h 433657"/>
                  <a:gd name="connsiteX2" fmla="*/ 257958 w 286971"/>
                  <a:gd name="connsiteY2" fmla="*/ 218229 h 433657"/>
                  <a:gd name="connsiteX3" fmla="*/ 282404 w 286971"/>
                  <a:gd name="connsiteY3" fmla="*/ 223736 h 433657"/>
                  <a:gd name="connsiteX4" fmla="*/ 281738 w 286971"/>
                  <a:gd name="connsiteY4" fmla="*/ 200207 h 433657"/>
                  <a:gd name="connsiteX5" fmla="*/ 277716 w 286971"/>
                  <a:gd name="connsiteY5" fmla="*/ 197409 h 433657"/>
                  <a:gd name="connsiteX6" fmla="*/ 275928 w 286971"/>
                  <a:gd name="connsiteY6" fmla="*/ 196631 h 433657"/>
                  <a:gd name="connsiteX7" fmla="*/ 273358 w 286971"/>
                  <a:gd name="connsiteY7" fmla="*/ 195935 h 433657"/>
                  <a:gd name="connsiteX8" fmla="*/ 272247 w 286971"/>
                  <a:gd name="connsiteY8" fmla="*/ 195730 h 433657"/>
                  <a:gd name="connsiteX9" fmla="*/ 266347 w 286971"/>
                  <a:gd name="connsiteY9" fmla="*/ 196099 h 433657"/>
                  <a:gd name="connsiteX10" fmla="*/ 263777 w 286971"/>
                  <a:gd name="connsiteY10" fmla="*/ 196918 h 433657"/>
                  <a:gd name="connsiteX11" fmla="*/ 262111 w 286971"/>
                  <a:gd name="connsiteY11" fmla="*/ 197736 h 433657"/>
                  <a:gd name="connsiteX12" fmla="*/ 259685 w 286971"/>
                  <a:gd name="connsiteY12" fmla="*/ 199067 h 433657"/>
                  <a:gd name="connsiteX13" fmla="*/ 259850 w 286971"/>
                  <a:gd name="connsiteY13" fmla="*/ 196324 h 433657"/>
                  <a:gd name="connsiteX14" fmla="*/ 259973 w 286971"/>
                  <a:gd name="connsiteY14" fmla="*/ 193929 h 433657"/>
                  <a:gd name="connsiteX15" fmla="*/ 259973 w 286971"/>
                  <a:gd name="connsiteY15" fmla="*/ 191882 h 433657"/>
                  <a:gd name="connsiteX16" fmla="*/ 260837 w 286971"/>
                  <a:gd name="connsiteY16" fmla="*/ 191493 h 433657"/>
                  <a:gd name="connsiteX17" fmla="*/ 272926 w 286971"/>
                  <a:gd name="connsiteY17" fmla="*/ 189671 h 433657"/>
                  <a:gd name="connsiteX18" fmla="*/ 278087 w 286971"/>
                  <a:gd name="connsiteY18" fmla="*/ 190940 h 433657"/>
                  <a:gd name="connsiteX19" fmla="*/ 283621 w 286971"/>
                  <a:gd name="connsiteY19" fmla="*/ 168027 h 433657"/>
                  <a:gd name="connsiteX20" fmla="*/ 278888 w 286971"/>
                  <a:gd name="connsiteY20" fmla="*/ 163037 h 433657"/>
                  <a:gd name="connsiteX21" fmla="*/ 277696 w 286971"/>
                  <a:gd name="connsiteY21" fmla="*/ 162259 h 433657"/>
                  <a:gd name="connsiteX22" fmla="*/ 276236 w 286971"/>
                  <a:gd name="connsiteY22" fmla="*/ 161522 h 433657"/>
                  <a:gd name="connsiteX23" fmla="*/ 271363 w 286971"/>
                  <a:gd name="connsiteY23" fmla="*/ 160150 h 433657"/>
                  <a:gd name="connsiteX24" fmla="*/ 261967 w 286971"/>
                  <a:gd name="connsiteY24" fmla="*/ 161747 h 433657"/>
                  <a:gd name="connsiteX25" fmla="*/ 259912 w 286971"/>
                  <a:gd name="connsiteY25" fmla="*/ 162771 h 433657"/>
                  <a:gd name="connsiteX26" fmla="*/ 259603 w 286971"/>
                  <a:gd name="connsiteY26" fmla="*/ 156117 h 433657"/>
                  <a:gd name="connsiteX27" fmla="*/ 260590 w 286971"/>
                  <a:gd name="connsiteY27" fmla="*/ 155708 h 433657"/>
                  <a:gd name="connsiteX28" fmla="*/ 279094 w 286971"/>
                  <a:gd name="connsiteY28" fmla="*/ 156138 h 433657"/>
                  <a:gd name="connsiteX29" fmla="*/ 279670 w 286971"/>
                  <a:gd name="connsiteY29" fmla="*/ 137079 h 433657"/>
                  <a:gd name="connsiteX30" fmla="*/ 274838 w 286971"/>
                  <a:gd name="connsiteY30" fmla="*/ 132984 h 433657"/>
                  <a:gd name="connsiteX31" fmla="*/ 273234 w 286971"/>
                  <a:gd name="connsiteY31" fmla="*/ 132247 h 433657"/>
                  <a:gd name="connsiteX32" fmla="*/ 271178 w 286971"/>
                  <a:gd name="connsiteY32" fmla="*/ 131592 h 433657"/>
                  <a:gd name="connsiteX33" fmla="*/ 270623 w 286971"/>
                  <a:gd name="connsiteY33" fmla="*/ 131429 h 433657"/>
                  <a:gd name="connsiteX34" fmla="*/ 269554 w 286971"/>
                  <a:gd name="connsiteY34" fmla="*/ 131183 h 433657"/>
                  <a:gd name="connsiteX35" fmla="*/ 261988 w 286971"/>
                  <a:gd name="connsiteY35" fmla="*/ 132043 h 433657"/>
                  <a:gd name="connsiteX36" fmla="*/ 260076 w 286971"/>
                  <a:gd name="connsiteY36" fmla="*/ 132984 h 433657"/>
                  <a:gd name="connsiteX37" fmla="*/ 258020 w 286971"/>
                  <a:gd name="connsiteY37" fmla="*/ 134110 h 433657"/>
                  <a:gd name="connsiteX38" fmla="*/ 257424 w 286971"/>
                  <a:gd name="connsiteY38" fmla="*/ 127478 h 433657"/>
                  <a:gd name="connsiteX39" fmla="*/ 258390 w 286971"/>
                  <a:gd name="connsiteY39" fmla="*/ 127027 h 433657"/>
                  <a:gd name="connsiteX40" fmla="*/ 275290 w 286971"/>
                  <a:gd name="connsiteY40" fmla="*/ 126433 h 433657"/>
                  <a:gd name="connsiteX41" fmla="*/ 278872 w 286971"/>
                  <a:gd name="connsiteY41" fmla="*/ 103285 h 433657"/>
                  <a:gd name="connsiteX42" fmla="*/ 277943 w 286971"/>
                  <a:gd name="connsiteY42" fmla="*/ 102134 h 433657"/>
                  <a:gd name="connsiteX43" fmla="*/ 270068 w 286971"/>
                  <a:gd name="connsiteY43" fmla="*/ 97138 h 433657"/>
                  <a:gd name="connsiteX44" fmla="*/ 267827 w 286971"/>
                  <a:gd name="connsiteY44" fmla="*/ 96729 h 433657"/>
                  <a:gd name="connsiteX45" fmla="*/ 267210 w 286971"/>
                  <a:gd name="connsiteY45" fmla="*/ 96729 h 433657"/>
                  <a:gd name="connsiteX46" fmla="*/ 266573 w 286971"/>
                  <a:gd name="connsiteY46" fmla="*/ 96729 h 433657"/>
                  <a:gd name="connsiteX47" fmla="*/ 262749 w 286971"/>
                  <a:gd name="connsiteY47" fmla="*/ 96975 h 433657"/>
                  <a:gd name="connsiteX48" fmla="*/ 262358 w 286971"/>
                  <a:gd name="connsiteY48" fmla="*/ 96975 h 433657"/>
                  <a:gd name="connsiteX49" fmla="*/ 258246 w 286971"/>
                  <a:gd name="connsiteY49" fmla="*/ 98387 h 433657"/>
                  <a:gd name="connsiteX50" fmla="*/ 256704 w 286971"/>
                  <a:gd name="connsiteY50" fmla="*/ 99227 h 433657"/>
                  <a:gd name="connsiteX51" fmla="*/ 254648 w 286971"/>
                  <a:gd name="connsiteY51" fmla="*/ 100455 h 433657"/>
                  <a:gd name="connsiteX52" fmla="*/ 253908 w 286971"/>
                  <a:gd name="connsiteY52" fmla="*/ 93699 h 433657"/>
                  <a:gd name="connsiteX53" fmla="*/ 254833 w 286971"/>
                  <a:gd name="connsiteY53" fmla="*/ 93228 h 433657"/>
                  <a:gd name="connsiteX54" fmla="*/ 266861 w 286971"/>
                  <a:gd name="connsiteY54" fmla="*/ 90588 h 433657"/>
                  <a:gd name="connsiteX55" fmla="*/ 269534 w 286971"/>
                  <a:gd name="connsiteY55" fmla="*/ 90936 h 433657"/>
                  <a:gd name="connsiteX56" fmla="*/ 276339 w 286971"/>
                  <a:gd name="connsiteY56" fmla="*/ 78652 h 433657"/>
                  <a:gd name="connsiteX57" fmla="*/ 267642 w 286971"/>
                  <a:gd name="connsiteY57" fmla="*/ 63074 h 433657"/>
                  <a:gd name="connsiteX58" fmla="*/ 266203 w 286971"/>
                  <a:gd name="connsiteY58" fmla="*/ 62398 h 433657"/>
                  <a:gd name="connsiteX59" fmla="*/ 264579 w 286971"/>
                  <a:gd name="connsiteY59" fmla="*/ 61804 h 433657"/>
                  <a:gd name="connsiteX60" fmla="*/ 260796 w 286971"/>
                  <a:gd name="connsiteY60" fmla="*/ 61108 h 433657"/>
                  <a:gd name="connsiteX61" fmla="*/ 252572 w 286971"/>
                  <a:gd name="connsiteY61" fmla="*/ 62787 h 433657"/>
                  <a:gd name="connsiteX62" fmla="*/ 250639 w 286971"/>
                  <a:gd name="connsiteY62" fmla="*/ 63749 h 433657"/>
                  <a:gd name="connsiteX63" fmla="*/ 249919 w 286971"/>
                  <a:gd name="connsiteY63" fmla="*/ 57239 h 433657"/>
                  <a:gd name="connsiteX64" fmla="*/ 250947 w 286971"/>
                  <a:gd name="connsiteY64" fmla="*/ 56789 h 433657"/>
                  <a:gd name="connsiteX65" fmla="*/ 267580 w 286971"/>
                  <a:gd name="connsiteY65" fmla="*/ 56338 h 433657"/>
                  <a:gd name="connsiteX66" fmla="*/ 272371 w 286971"/>
                  <a:gd name="connsiteY66" fmla="*/ 43871 h 433657"/>
                  <a:gd name="connsiteX67" fmla="*/ 263263 w 286971"/>
                  <a:gd name="connsiteY67" fmla="*/ 28763 h 433657"/>
                  <a:gd name="connsiteX68" fmla="*/ 261947 w 286971"/>
                  <a:gd name="connsiteY68" fmla="*/ 28108 h 433657"/>
                  <a:gd name="connsiteX69" fmla="*/ 260467 w 286971"/>
                  <a:gd name="connsiteY69" fmla="*/ 27514 h 433657"/>
                  <a:gd name="connsiteX70" fmla="*/ 254566 w 286971"/>
                  <a:gd name="connsiteY70" fmla="*/ 26470 h 433657"/>
                  <a:gd name="connsiteX71" fmla="*/ 254196 w 286971"/>
                  <a:gd name="connsiteY71" fmla="*/ 26470 h 433657"/>
                  <a:gd name="connsiteX72" fmla="*/ 248028 w 286971"/>
                  <a:gd name="connsiteY72" fmla="*/ 27739 h 433657"/>
                  <a:gd name="connsiteX73" fmla="*/ 246260 w 286971"/>
                  <a:gd name="connsiteY73" fmla="*/ 28435 h 433657"/>
                  <a:gd name="connsiteX74" fmla="*/ 245273 w 286971"/>
                  <a:gd name="connsiteY74" fmla="*/ 22294 h 433657"/>
                  <a:gd name="connsiteX75" fmla="*/ 246465 w 286971"/>
                  <a:gd name="connsiteY75" fmla="*/ 21884 h 433657"/>
                  <a:gd name="connsiteX76" fmla="*/ 254052 w 286971"/>
                  <a:gd name="connsiteY76" fmla="*/ 20472 h 433657"/>
                  <a:gd name="connsiteX77" fmla="*/ 254504 w 286971"/>
                  <a:gd name="connsiteY77" fmla="*/ 20472 h 433657"/>
                  <a:gd name="connsiteX78" fmla="*/ 262440 w 286971"/>
                  <a:gd name="connsiteY78" fmla="*/ 21823 h 433657"/>
                  <a:gd name="connsiteX79" fmla="*/ 264373 w 286971"/>
                  <a:gd name="connsiteY79" fmla="*/ 14187 h 433657"/>
                  <a:gd name="connsiteX80" fmla="*/ 249693 w 286971"/>
                  <a:gd name="connsiteY80" fmla="*/ 0 h 433657"/>
                  <a:gd name="connsiteX81" fmla="*/ 249241 w 286971"/>
                  <a:gd name="connsiteY81" fmla="*/ 0 h 433657"/>
                  <a:gd name="connsiteX82" fmla="*/ 248336 w 286971"/>
                  <a:gd name="connsiteY82" fmla="*/ 103 h 433657"/>
                  <a:gd name="connsiteX83" fmla="*/ 235548 w 286971"/>
                  <a:gd name="connsiteY83" fmla="*/ 10666 h 433657"/>
                  <a:gd name="connsiteX84" fmla="*/ 235548 w 286971"/>
                  <a:gd name="connsiteY84" fmla="*/ 10666 h 433657"/>
                  <a:gd name="connsiteX85" fmla="*/ 234849 w 286971"/>
                  <a:gd name="connsiteY85" fmla="*/ 11014 h 433657"/>
                  <a:gd name="connsiteX86" fmla="*/ 231169 w 286971"/>
                  <a:gd name="connsiteY86" fmla="*/ 12181 h 433657"/>
                  <a:gd name="connsiteX87" fmla="*/ 228887 w 286971"/>
                  <a:gd name="connsiteY87" fmla="*/ 12734 h 433657"/>
                  <a:gd name="connsiteX88" fmla="*/ 228887 w 286971"/>
                  <a:gd name="connsiteY88" fmla="*/ 12365 h 433657"/>
                  <a:gd name="connsiteX89" fmla="*/ 226831 w 286971"/>
                  <a:gd name="connsiteY89" fmla="*/ 12652 h 433657"/>
                  <a:gd name="connsiteX90" fmla="*/ 225659 w 286971"/>
                  <a:gd name="connsiteY90" fmla="*/ 12775 h 433657"/>
                  <a:gd name="connsiteX91" fmla="*/ 225659 w 286971"/>
                  <a:gd name="connsiteY91" fmla="*/ 12775 h 433657"/>
                  <a:gd name="connsiteX92" fmla="*/ 223932 w 286971"/>
                  <a:gd name="connsiteY92" fmla="*/ 12775 h 433657"/>
                  <a:gd name="connsiteX93" fmla="*/ 217537 w 286971"/>
                  <a:gd name="connsiteY93" fmla="*/ 12078 h 433657"/>
                  <a:gd name="connsiteX94" fmla="*/ 217229 w 286971"/>
                  <a:gd name="connsiteY94" fmla="*/ 16418 h 433657"/>
                  <a:gd name="connsiteX95" fmla="*/ 212500 w 286971"/>
                  <a:gd name="connsiteY95" fmla="*/ 28169 h 433657"/>
                  <a:gd name="connsiteX96" fmla="*/ 221218 w 286971"/>
                  <a:gd name="connsiteY96" fmla="*/ 31547 h 433657"/>
                  <a:gd name="connsiteX97" fmla="*/ 221773 w 286971"/>
                  <a:gd name="connsiteY97" fmla="*/ 31916 h 433657"/>
                  <a:gd name="connsiteX98" fmla="*/ 221937 w 286971"/>
                  <a:gd name="connsiteY98" fmla="*/ 32898 h 433657"/>
                  <a:gd name="connsiteX99" fmla="*/ 222534 w 286971"/>
                  <a:gd name="connsiteY99" fmla="*/ 36993 h 433657"/>
                  <a:gd name="connsiteX100" fmla="*/ 223130 w 286971"/>
                  <a:gd name="connsiteY100" fmla="*/ 41087 h 433657"/>
                  <a:gd name="connsiteX101" fmla="*/ 220025 w 286971"/>
                  <a:gd name="connsiteY101" fmla="*/ 38364 h 433657"/>
                  <a:gd name="connsiteX102" fmla="*/ 218730 w 286971"/>
                  <a:gd name="connsiteY102" fmla="*/ 37300 h 433657"/>
                  <a:gd name="connsiteX103" fmla="*/ 217394 w 286971"/>
                  <a:gd name="connsiteY103" fmla="*/ 36419 h 433657"/>
                  <a:gd name="connsiteX104" fmla="*/ 208943 w 286971"/>
                  <a:gd name="connsiteY104" fmla="*/ 34065 h 433657"/>
                  <a:gd name="connsiteX105" fmla="*/ 208594 w 286971"/>
                  <a:gd name="connsiteY105" fmla="*/ 34065 h 433657"/>
                  <a:gd name="connsiteX106" fmla="*/ 206929 w 286971"/>
                  <a:gd name="connsiteY106" fmla="*/ 34188 h 433657"/>
                  <a:gd name="connsiteX107" fmla="*/ 202220 w 286971"/>
                  <a:gd name="connsiteY107" fmla="*/ 37136 h 433657"/>
                  <a:gd name="connsiteX108" fmla="*/ 200288 w 286971"/>
                  <a:gd name="connsiteY108" fmla="*/ 38057 h 433657"/>
                  <a:gd name="connsiteX109" fmla="*/ 198232 w 286971"/>
                  <a:gd name="connsiteY109" fmla="*/ 38835 h 433657"/>
                  <a:gd name="connsiteX110" fmla="*/ 196566 w 286971"/>
                  <a:gd name="connsiteY110" fmla="*/ 39367 h 433657"/>
                  <a:gd name="connsiteX111" fmla="*/ 192208 w 286971"/>
                  <a:gd name="connsiteY111" fmla="*/ 50831 h 433657"/>
                  <a:gd name="connsiteX112" fmla="*/ 200164 w 286971"/>
                  <a:gd name="connsiteY112" fmla="*/ 64568 h 433657"/>
                  <a:gd name="connsiteX113" fmla="*/ 215852 w 286971"/>
                  <a:gd name="connsiteY113" fmla="*/ 59552 h 433657"/>
                  <a:gd name="connsiteX114" fmla="*/ 222020 w 286971"/>
                  <a:gd name="connsiteY114" fmla="*/ 60781 h 433657"/>
                  <a:gd name="connsiteX115" fmla="*/ 224055 w 286971"/>
                  <a:gd name="connsiteY115" fmla="*/ 58426 h 433657"/>
                  <a:gd name="connsiteX116" fmla="*/ 223685 w 286971"/>
                  <a:gd name="connsiteY116" fmla="*/ 68417 h 433657"/>
                  <a:gd name="connsiteX117" fmla="*/ 221629 w 286971"/>
                  <a:gd name="connsiteY117" fmla="*/ 67434 h 433657"/>
                  <a:gd name="connsiteX118" fmla="*/ 220827 w 286971"/>
                  <a:gd name="connsiteY118" fmla="*/ 67066 h 433657"/>
                  <a:gd name="connsiteX119" fmla="*/ 219264 w 286971"/>
                  <a:gd name="connsiteY119" fmla="*/ 66472 h 433657"/>
                  <a:gd name="connsiteX120" fmla="*/ 204461 w 286971"/>
                  <a:gd name="connsiteY120" fmla="*/ 69072 h 433657"/>
                  <a:gd name="connsiteX121" fmla="*/ 204071 w 286971"/>
                  <a:gd name="connsiteY121" fmla="*/ 69358 h 433657"/>
                  <a:gd name="connsiteX122" fmla="*/ 203125 w 286971"/>
                  <a:gd name="connsiteY122" fmla="*/ 70095 h 433657"/>
                  <a:gd name="connsiteX123" fmla="*/ 202426 w 286971"/>
                  <a:gd name="connsiteY123" fmla="*/ 70832 h 433657"/>
                  <a:gd name="connsiteX124" fmla="*/ 202097 w 286971"/>
                  <a:gd name="connsiteY124" fmla="*/ 71221 h 433657"/>
                  <a:gd name="connsiteX125" fmla="*/ 197779 w 286971"/>
                  <a:gd name="connsiteY125" fmla="*/ 81211 h 433657"/>
                  <a:gd name="connsiteX126" fmla="*/ 207093 w 286971"/>
                  <a:gd name="connsiteY126" fmla="*/ 97098 h 433657"/>
                  <a:gd name="connsiteX127" fmla="*/ 220724 w 286971"/>
                  <a:gd name="connsiteY127" fmla="*/ 93003 h 433657"/>
                  <a:gd name="connsiteX128" fmla="*/ 225062 w 286971"/>
                  <a:gd name="connsiteY128" fmla="*/ 93802 h 433657"/>
                  <a:gd name="connsiteX129" fmla="*/ 226029 w 286971"/>
                  <a:gd name="connsiteY129" fmla="*/ 94088 h 433657"/>
                  <a:gd name="connsiteX130" fmla="*/ 226872 w 286971"/>
                  <a:gd name="connsiteY130" fmla="*/ 101008 h 433657"/>
                  <a:gd name="connsiteX131" fmla="*/ 224507 w 286971"/>
                  <a:gd name="connsiteY131" fmla="*/ 100086 h 433657"/>
                  <a:gd name="connsiteX132" fmla="*/ 222780 w 286971"/>
                  <a:gd name="connsiteY132" fmla="*/ 99370 h 433657"/>
                  <a:gd name="connsiteX133" fmla="*/ 220272 w 286971"/>
                  <a:gd name="connsiteY133" fmla="*/ 98960 h 433657"/>
                  <a:gd name="connsiteX134" fmla="*/ 211740 w 286971"/>
                  <a:gd name="connsiteY134" fmla="*/ 101151 h 433657"/>
                  <a:gd name="connsiteX135" fmla="*/ 210465 w 286971"/>
                  <a:gd name="connsiteY135" fmla="*/ 102134 h 433657"/>
                  <a:gd name="connsiteX136" fmla="*/ 209128 w 286971"/>
                  <a:gd name="connsiteY136" fmla="*/ 103382 h 433657"/>
                  <a:gd name="connsiteX137" fmla="*/ 208738 w 286971"/>
                  <a:gd name="connsiteY137" fmla="*/ 122380 h 433657"/>
                  <a:gd name="connsiteX138" fmla="*/ 210054 w 286971"/>
                  <a:gd name="connsiteY138" fmla="*/ 123670 h 433657"/>
                  <a:gd name="connsiteX139" fmla="*/ 228558 w 286971"/>
                  <a:gd name="connsiteY139" fmla="*/ 121909 h 433657"/>
                  <a:gd name="connsiteX140" fmla="*/ 229401 w 286971"/>
                  <a:gd name="connsiteY140" fmla="*/ 122237 h 433657"/>
                  <a:gd name="connsiteX141" fmla="*/ 230264 w 286971"/>
                  <a:gd name="connsiteY141" fmla="*/ 129402 h 433657"/>
                  <a:gd name="connsiteX142" fmla="*/ 226769 w 286971"/>
                  <a:gd name="connsiteY142" fmla="*/ 127785 h 433657"/>
                  <a:gd name="connsiteX143" fmla="*/ 213631 w 286971"/>
                  <a:gd name="connsiteY143" fmla="*/ 128563 h 433657"/>
                  <a:gd name="connsiteX144" fmla="*/ 212624 w 286971"/>
                  <a:gd name="connsiteY144" fmla="*/ 129279 h 433657"/>
                  <a:gd name="connsiteX145" fmla="*/ 212315 w 286971"/>
                  <a:gd name="connsiteY145" fmla="*/ 129504 h 433657"/>
                  <a:gd name="connsiteX146" fmla="*/ 211164 w 286971"/>
                  <a:gd name="connsiteY146" fmla="*/ 130466 h 433657"/>
                  <a:gd name="connsiteX147" fmla="*/ 210461 w 286971"/>
                  <a:gd name="connsiteY147" fmla="*/ 150402 h 433657"/>
                  <a:gd name="connsiteX148" fmla="*/ 211164 w 286971"/>
                  <a:gd name="connsiteY148" fmla="*/ 151102 h 433657"/>
                  <a:gd name="connsiteX149" fmla="*/ 226337 w 286971"/>
                  <a:gd name="connsiteY149" fmla="*/ 146823 h 433657"/>
                  <a:gd name="connsiteX150" fmla="*/ 231683 w 286971"/>
                  <a:gd name="connsiteY150" fmla="*/ 148256 h 433657"/>
                  <a:gd name="connsiteX151" fmla="*/ 232526 w 286971"/>
                  <a:gd name="connsiteY151" fmla="*/ 148604 h 433657"/>
                  <a:gd name="connsiteX152" fmla="*/ 233245 w 286971"/>
                  <a:gd name="connsiteY152" fmla="*/ 156056 h 433657"/>
                  <a:gd name="connsiteX153" fmla="*/ 230716 w 286971"/>
                  <a:gd name="connsiteY153" fmla="*/ 154623 h 433657"/>
                  <a:gd name="connsiteX154" fmla="*/ 230984 w 286971"/>
                  <a:gd name="connsiteY154" fmla="*/ 153354 h 433657"/>
                  <a:gd name="connsiteX155" fmla="*/ 230984 w 286971"/>
                  <a:gd name="connsiteY155" fmla="*/ 153354 h 433657"/>
                  <a:gd name="connsiteX156" fmla="*/ 230449 w 286971"/>
                  <a:gd name="connsiteY156" fmla="*/ 154398 h 433657"/>
                  <a:gd name="connsiteX157" fmla="*/ 225700 w 286971"/>
                  <a:gd name="connsiteY157" fmla="*/ 152883 h 433657"/>
                  <a:gd name="connsiteX158" fmla="*/ 214947 w 286971"/>
                  <a:gd name="connsiteY158" fmla="*/ 156015 h 433657"/>
                  <a:gd name="connsiteX159" fmla="*/ 213816 w 286971"/>
                  <a:gd name="connsiteY159" fmla="*/ 157059 h 433657"/>
                  <a:gd name="connsiteX160" fmla="*/ 213549 w 286971"/>
                  <a:gd name="connsiteY160" fmla="*/ 157346 h 433657"/>
                  <a:gd name="connsiteX161" fmla="*/ 212829 w 286971"/>
                  <a:gd name="connsiteY161" fmla="*/ 158103 h 433657"/>
                  <a:gd name="connsiteX162" fmla="*/ 209807 w 286971"/>
                  <a:gd name="connsiteY162" fmla="*/ 165227 h 433657"/>
                  <a:gd name="connsiteX163" fmla="*/ 213487 w 286971"/>
                  <a:gd name="connsiteY163" fmla="*/ 176569 h 433657"/>
                  <a:gd name="connsiteX164" fmla="*/ 226275 w 286971"/>
                  <a:gd name="connsiteY164" fmla="*/ 173477 h 433657"/>
                  <a:gd name="connsiteX165" fmla="*/ 234109 w 286971"/>
                  <a:gd name="connsiteY165" fmla="*/ 176425 h 433657"/>
                  <a:gd name="connsiteX166" fmla="*/ 234767 w 286971"/>
                  <a:gd name="connsiteY166" fmla="*/ 176855 h 433657"/>
                  <a:gd name="connsiteX167" fmla="*/ 234767 w 286971"/>
                  <a:gd name="connsiteY167" fmla="*/ 177633 h 433657"/>
                  <a:gd name="connsiteX168" fmla="*/ 234890 w 286971"/>
                  <a:gd name="connsiteY168" fmla="*/ 181728 h 433657"/>
                  <a:gd name="connsiteX169" fmla="*/ 234890 w 286971"/>
                  <a:gd name="connsiteY169" fmla="*/ 185351 h 433657"/>
                  <a:gd name="connsiteX170" fmla="*/ 232258 w 286971"/>
                  <a:gd name="connsiteY170" fmla="*/ 182854 h 433657"/>
                  <a:gd name="connsiteX171" fmla="*/ 231210 w 286971"/>
                  <a:gd name="connsiteY171" fmla="*/ 182035 h 433657"/>
                  <a:gd name="connsiteX172" fmla="*/ 230881 w 286971"/>
                  <a:gd name="connsiteY172" fmla="*/ 181809 h 433657"/>
                  <a:gd name="connsiteX173" fmla="*/ 225391 w 286971"/>
                  <a:gd name="connsiteY173" fmla="*/ 179639 h 433657"/>
                  <a:gd name="connsiteX174" fmla="*/ 216736 w 286971"/>
                  <a:gd name="connsiteY174" fmla="*/ 181830 h 433657"/>
                  <a:gd name="connsiteX175" fmla="*/ 215543 w 286971"/>
                  <a:gd name="connsiteY175" fmla="*/ 182731 h 433657"/>
                  <a:gd name="connsiteX176" fmla="*/ 214762 w 286971"/>
                  <a:gd name="connsiteY176" fmla="*/ 183550 h 433657"/>
                  <a:gd name="connsiteX177" fmla="*/ 211226 w 286971"/>
                  <a:gd name="connsiteY177" fmla="*/ 191022 h 433657"/>
                  <a:gd name="connsiteX178" fmla="*/ 213487 w 286971"/>
                  <a:gd name="connsiteY178" fmla="*/ 200173 h 433657"/>
                  <a:gd name="connsiteX179" fmla="*/ 222821 w 286971"/>
                  <a:gd name="connsiteY179" fmla="*/ 198924 h 433657"/>
                  <a:gd name="connsiteX180" fmla="*/ 231868 w 286971"/>
                  <a:gd name="connsiteY180" fmla="*/ 202670 h 433657"/>
                  <a:gd name="connsiteX181" fmla="*/ 234397 w 286971"/>
                  <a:gd name="connsiteY181" fmla="*/ 200623 h 433657"/>
                  <a:gd name="connsiteX182" fmla="*/ 233924 w 286971"/>
                  <a:gd name="connsiteY182" fmla="*/ 205229 h 433657"/>
                  <a:gd name="connsiteX183" fmla="*/ 233698 w 286971"/>
                  <a:gd name="connsiteY183" fmla="*/ 207276 h 433657"/>
                  <a:gd name="connsiteX184" fmla="*/ 233410 w 286971"/>
                  <a:gd name="connsiteY184" fmla="*/ 209323 h 433657"/>
                  <a:gd name="connsiteX185" fmla="*/ 232834 w 286971"/>
                  <a:gd name="connsiteY185" fmla="*/ 213295 h 433657"/>
                  <a:gd name="connsiteX186" fmla="*/ 230634 w 286971"/>
                  <a:gd name="connsiteY186" fmla="*/ 210306 h 433657"/>
                  <a:gd name="connsiteX187" fmla="*/ 230326 w 286971"/>
                  <a:gd name="connsiteY187" fmla="*/ 209856 h 433657"/>
                  <a:gd name="connsiteX188" fmla="*/ 230120 w 286971"/>
                  <a:gd name="connsiteY188" fmla="*/ 209549 h 433657"/>
                  <a:gd name="connsiteX189" fmla="*/ 229154 w 286971"/>
                  <a:gd name="connsiteY189" fmla="*/ 208484 h 433657"/>
                  <a:gd name="connsiteX190" fmla="*/ 227961 w 286971"/>
                  <a:gd name="connsiteY190" fmla="*/ 207481 h 433657"/>
                  <a:gd name="connsiteX191" fmla="*/ 222040 w 286971"/>
                  <a:gd name="connsiteY191" fmla="*/ 205004 h 433657"/>
                  <a:gd name="connsiteX192" fmla="*/ 215872 w 286971"/>
                  <a:gd name="connsiteY192" fmla="*/ 205761 h 433657"/>
                  <a:gd name="connsiteX193" fmla="*/ 214721 w 286971"/>
                  <a:gd name="connsiteY193" fmla="*/ 206335 h 433657"/>
                  <a:gd name="connsiteX194" fmla="*/ 213261 w 286971"/>
                  <a:gd name="connsiteY194" fmla="*/ 207235 h 433657"/>
                  <a:gd name="connsiteX195" fmla="*/ 207977 w 286971"/>
                  <a:gd name="connsiteY195" fmla="*/ 220603 h 433657"/>
                  <a:gd name="connsiteX196" fmla="*/ 227941 w 286971"/>
                  <a:gd name="connsiteY196" fmla="*/ 229140 h 433657"/>
                  <a:gd name="connsiteX197" fmla="*/ 228373 w 286971"/>
                  <a:gd name="connsiteY197" fmla="*/ 229775 h 433657"/>
                  <a:gd name="connsiteX198" fmla="*/ 228126 w 286971"/>
                  <a:gd name="connsiteY198" fmla="*/ 230512 h 433657"/>
                  <a:gd name="connsiteX199" fmla="*/ 226687 w 286971"/>
                  <a:gd name="connsiteY199" fmla="*/ 234258 h 433657"/>
                  <a:gd name="connsiteX200" fmla="*/ 225515 w 286971"/>
                  <a:gd name="connsiteY200" fmla="*/ 237165 h 433657"/>
                  <a:gd name="connsiteX201" fmla="*/ 223459 w 286971"/>
                  <a:gd name="connsiteY201" fmla="*/ 233623 h 433657"/>
                  <a:gd name="connsiteX202" fmla="*/ 223048 w 286971"/>
                  <a:gd name="connsiteY202" fmla="*/ 232866 h 433657"/>
                  <a:gd name="connsiteX203" fmla="*/ 208347 w 286971"/>
                  <a:gd name="connsiteY203" fmla="*/ 226724 h 433657"/>
                  <a:gd name="connsiteX204" fmla="*/ 207463 w 286971"/>
                  <a:gd name="connsiteY204" fmla="*/ 226991 h 433657"/>
                  <a:gd name="connsiteX205" fmla="*/ 206538 w 286971"/>
                  <a:gd name="connsiteY205" fmla="*/ 227298 h 433657"/>
                  <a:gd name="connsiteX206" fmla="*/ 205633 w 286971"/>
                  <a:gd name="connsiteY206" fmla="*/ 227625 h 433657"/>
                  <a:gd name="connsiteX207" fmla="*/ 197080 w 286971"/>
                  <a:gd name="connsiteY207" fmla="*/ 241034 h 433657"/>
                  <a:gd name="connsiteX208" fmla="*/ 197080 w 286971"/>
                  <a:gd name="connsiteY208" fmla="*/ 241996 h 433657"/>
                  <a:gd name="connsiteX209" fmla="*/ 213528 w 286971"/>
                  <a:gd name="connsiteY209" fmla="*/ 256019 h 433657"/>
                  <a:gd name="connsiteX210" fmla="*/ 213775 w 286971"/>
                  <a:gd name="connsiteY210" fmla="*/ 256777 h 433657"/>
                  <a:gd name="connsiteX211" fmla="*/ 212151 w 286971"/>
                  <a:gd name="connsiteY211" fmla="*/ 258824 h 433657"/>
                  <a:gd name="connsiteX212" fmla="*/ 211328 w 286971"/>
                  <a:gd name="connsiteY212" fmla="*/ 259807 h 433657"/>
                  <a:gd name="connsiteX213" fmla="*/ 208697 w 286971"/>
                  <a:gd name="connsiteY213" fmla="*/ 262980 h 433657"/>
                  <a:gd name="connsiteX214" fmla="*/ 208142 w 286971"/>
                  <a:gd name="connsiteY214" fmla="*/ 259704 h 433657"/>
                  <a:gd name="connsiteX215" fmla="*/ 207998 w 286971"/>
                  <a:gd name="connsiteY215" fmla="*/ 258885 h 433657"/>
                  <a:gd name="connsiteX216" fmla="*/ 207545 w 286971"/>
                  <a:gd name="connsiteY216" fmla="*/ 257371 h 433657"/>
                  <a:gd name="connsiteX217" fmla="*/ 196237 w 286971"/>
                  <a:gd name="connsiteY217" fmla="*/ 247995 h 433657"/>
                  <a:gd name="connsiteX218" fmla="*/ 194675 w 286971"/>
                  <a:gd name="connsiteY218" fmla="*/ 247831 h 433657"/>
                  <a:gd name="connsiteX219" fmla="*/ 194284 w 286971"/>
                  <a:gd name="connsiteY219" fmla="*/ 247831 h 433657"/>
                  <a:gd name="connsiteX220" fmla="*/ 193811 w 286971"/>
                  <a:gd name="connsiteY220" fmla="*/ 247831 h 433657"/>
                  <a:gd name="connsiteX221" fmla="*/ 193236 w 286971"/>
                  <a:gd name="connsiteY221" fmla="*/ 247831 h 433657"/>
                  <a:gd name="connsiteX222" fmla="*/ 180180 w 286971"/>
                  <a:gd name="connsiteY222" fmla="*/ 260953 h 433657"/>
                  <a:gd name="connsiteX223" fmla="*/ 192125 w 286971"/>
                  <a:gd name="connsiteY223" fmla="*/ 275775 h 433657"/>
                  <a:gd name="connsiteX224" fmla="*/ 192331 w 286971"/>
                  <a:gd name="connsiteY224" fmla="*/ 276798 h 433657"/>
                  <a:gd name="connsiteX225" fmla="*/ 190933 w 286971"/>
                  <a:gd name="connsiteY225" fmla="*/ 277679 h 433657"/>
                  <a:gd name="connsiteX226" fmla="*/ 188527 w 286971"/>
                  <a:gd name="connsiteY226" fmla="*/ 279153 h 433657"/>
                  <a:gd name="connsiteX227" fmla="*/ 186471 w 286971"/>
                  <a:gd name="connsiteY227" fmla="*/ 280360 h 433657"/>
                  <a:gd name="connsiteX228" fmla="*/ 186286 w 286971"/>
                  <a:gd name="connsiteY228" fmla="*/ 277965 h 433657"/>
                  <a:gd name="connsiteX229" fmla="*/ 186286 w 286971"/>
                  <a:gd name="connsiteY229" fmla="*/ 277249 h 433657"/>
                  <a:gd name="connsiteX230" fmla="*/ 178288 w 286971"/>
                  <a:gd name="connsiteY230" fmla="*/ 266788 h 433657"/>
                  <a:gd name="connsiteX231" fmla="*/ 176788 w 286971"/>
                  <a:gd name="connsiteY231" fmla="*/ 266214 h 433657"/>
                  <a:gd name="connsiteX232" fmla="*/ 176356 w 286971"/>
                  <a:gd name="connsiteY232" fmla="*/ 266071 h 433657"/>
                  <a:gd name="connsiteX233" fmla="*/ 175307 w 286971"/>
                  <a:gd name="connsiteY233" fmla="*/ 265744 h 433657"/>
                  <a:gd name="connsiteX234" fmla="*/ 159620 w 286971"/>
                  <a:gd name="connsiteY234" fmla="*/ 273646 h 433657"/>
                  <a:gd name="connsiteX235" fmla="*/ 165603 w 286971"/>
                  <a:gd name="connsiteY235" fmla="*/ 287792 h 433657"/>
                  <a:gd name="connsiteX236" fmla="*/ 165603 w 286971"/>
                  <a:gd name="connsiteY236" fmla="*/ 288958 h 433657"/>
                  <a:gd name="connsiteX237" fmla="*/ 163711 w 286971"/>
                  <a:gd name="connsiteY237" fmla="*/ 289491 h 433657"/>
                  <a:gd name="connsiteX238" fmla="*/ 161347 w 286971"/>
                  <a:gd name="connsiteY238" fmla="*/ 290166 h 433657"/>
                  <a:gd name="connsiteX239" fmla="*/ 159291 w 286971"/>
                  <a:gd name="connsiteY239" fmla="*/ 290678 h 433657"/>
                  <a:gd name="connsiteX240" fmla="*/ 159291 w 286971"/>
                  <a:gd name="connsiteY240" fmla="*/ 288631 h 433657"/>
                  <a:gd name="connsiteX241" fmla="*/ 160730 w 286971"/>
                  <a:gd name="connsiteY241" fmla="*/ 288344 h 433657"/>
                  <a:gd name="connsiteX242" fmla="*/ 159312 w 286971"/>
                  <a:gd name="connsiteY242" fmla="*/ 288344 h 433657"/>
                  <a:gd name="connsiteX243" fmla="*/ 155590 w 286971"/>
                  <a:gd name="connsiteY243" fmla="*/ 278559 h 433657"/>
                  <a:gd name="connsiteX244" fmla="*/ 154357 w 286971"/>
                  <a:gd name="connsiteY244" fmla="*/ 277331 h 433657"/>
                  <a:gd name="connsiteX245" fmla="*/ 154110 w 286971"/>
                  <a:gd name="connsiteY245" fmla="*/ 277105 h 433657"/>
                  <a:gd name="connsiteX246" fmla="*/ 153164 w 286971"/>
                  <a:gd name="connsiteY246" fmla="*/ 276307 h 433657"/>
                  <a:gd name="connsiteX247" fmla="*/ 135113 w 286971"/>
                  <a:gd name="connsiteY247" fmla="*/ 278088 h 433657"/>
                  <a:gd name="connsiteX248" fmla="*/ 140664 w 286971"/>
                  <a:gd name="connsiteY248" fmla="*/ 292295 h 433657"/>
                  <a:gd name="connsiteX249" fmla="*/ 140664 w 286971"/>
                  <a:gd name="connsiteY249" fmla="*/ 293667 h 433657"/>
                  <a:gd name="connsiteX250" fmla="*/ 138340 w 286971"/>
                  <a:gd name="connsiteY250" fmla="*/ 294035 h 433657"/>
                  <a:gd name="connsiteX251" fmla="*/ 136120 w 286971"/>
                  <a:gd name="connsiteY251" fmla="*/ 294220 h 433657"/>
                  <a:gd name="connsiteX252" fmla="*/ 134455 w 286971"/>
                  <a:gd name="connsiteY252" fmla="*/ 294343 h 433657"/>
                  <a:gd name="connsiteX253" fmla="*/ 134455 w 286971"/>
                  <a:gd name="connsiteY253" fmla="*/ 292295 h 433657"/>
                  <a:gd name="connsiteX254" fmla="*/ 130178 w 286971"/>
                  <a:gd name="connsiteY254" fmla="*/ 281752 h 433657"/>
                  <a:gd name="connsiteX255" fmla="*/ 129376 w 286971"/>
                  <a:gd name="connsiteY255" fmla="*/ 281077 h 433657"/>
                  <a:gd name="connsiteX256" fmla="*/ 128760 w 286971"/>
                  <a:gd name="connsiteY256" fmla="*/ 280565 h 433657"/>
                  <a:gd name="connsiteX257" fmla="*/ 127937 w 286971"/>
                  <a:gd name="connsiteY257" fmla="*/ 279930 h 433657"/>
                  <a:gd name="connsiteX258" fmla="*/ 109639 w 286971"/>
                  <a:gd name="connsiteY258" fmla="*/ 282612 h 433657"/>
                  <a:gd name="connsiteX259" fmla="*/ 111057 w 286971"/>
                  <a:gd name="connsiteY259" fmla="*/ 289962 h 433657"/>
                  <a:gd name="connsiteX260" fmla="*/ 110852 w 286971"/>
                  <a:gd name="connsiteY260" fmla="*/ 292787 h 433657"/>
                  <a:gd name="connsiteX261" fmla="*/ 110646 w 286971"/>
                  <a:gd name="connsiteY261" fmla="*/ 294179 h 433657"/>
                  <a:gd name="connsiteX262" fmla="*/ 108076 w 286971"/>
                  <a:gd name="connsiteY262" fmla="*/ 294015 h 433657"/>
                  <a:gd name="connsiteX263" fmla="*/ 106020 w 286971"/>
                  <a:gd name="connsiteY263" fmla="*/ 293872 h 433657"/>
                  <a:gd name="connsiteX264" fmla="*/ 104375 w 286971"/>
                  <a:gd name="connsiteY264" fmla="*/ 293728 h 433657"/>
                  <a:gd name="connsiteX265" fmla="*/ 104643 w 286971"/>
                  <a:gd name="connsiteY265" fmla="*/ 292132 h 433657"/>
                  <a:gd name="connsiteX266" fmla="*/ 104828 w 286971"/>
                  <a:gd name="connsiteY266" fmla="*/ 289962 h 433657"/>
                  <a:gd name="connsiteX267" fmla="*/ 104273 w 286971"/>
                  <a:gd name="connsiteY267" fmla="*/ 286256 h 433657"/>
                  <a:gd name="connsiteX268" fmla="*/ 103615 w 286971"/>
                  <a:gd name="connsiteY268" fmla="*/ 284352 h 433657"/>
                  <a:gd name="connsiteX269" fmla="*/ 102854 w 286971"/>
                  <a:gd name="connsiteY269" fmla="*/ 282919 h 433657"/>
                  <a:gd name="connsiteX270" fmla="*/ 91731 w 286971"/>
                  <a:gd name="connsiteY270" fmla="*/ 276430 h 433657"/>
                  <a:gd name="connsiteX271" fmla="*/ 84083 w 286971"/>
                  <a:gd name="connsiteY271" fmla="*/ 279071 h 433657"/>
                  <a:gd name="connsiteX272" fmla="*/ 84700 w 286971"/>
                  <a:gd name="connsiteY272" fmla="*/ 281691 h 433657"/>
                  <a:gd name="connsiteX273" fmla="*/ 85008 w 286971"/>
                  <a:gd name="connsiteY273" fmla="*/ 285069 h 433657"/>
                  <a:gd name="connsiteX274" fmla="*/ 85008 w 286971"/>
                  <a:gd name="connsiteY274" fmla="*/ 285478 h 433657"/>
                  <a:gd name="connsiteX275" fmla="*/ 85008 w 286971"/>
                  <a:gd name="connsiteY275" fmla="*/ 286031 h 433657"/>
                  <a:gd name="connsiteX276" fmla="*/ 84658 w 286971"/>
                  <a:gd name="connsiteY276" fmla="*/ 288467 h 433657"/>
                  <a:gd name="connsiteX277" fmla="*/ 82602 w 286971"/>
                  <a:gd name="connsiteY277" fmla="*/ 287259 h 433657"/>
                  <a:gd name="connsiteX278" fmla="*/ 78902 w 286971"/>
                  <a:gd name="connsiteY278" fmla="*/ 284721 h 433657"/>
                  <a:gd name="connsiteX279" fmla="*/ 78737 w 286971"/>
                  <a:gd name="connsiteY279" fmla="*/ 283185 h 433657"/>
                  <a:gd name="connsiteX280" fmla="*/ 78429 w 286971"/>
                  <a:gd name="connsiteY280" fmla="*/ 281609 h 433657"/>
                  <a:gd name="connsiteX281" fmla="*/ 77935 w 286971"/>
                  <a:gd name="connsiteY281" fmla="*/ 280012 h 433657"/>
                  <a:gd name="connsiteX282" fmla="*/ 77380 w 286971"/>
                  <a:gd name="connsiteY282" fmla="*/ 278866 h 433657"/>
                  <a:gd name="connsiteX283" fmla="*/ 77236 w 286971"/>
                  <a:gd name="connsiteY283" fmla="*/ 278600 h 433657"/>
                  <a:gd name="connsiteX284" fmla="*/ 77236 w 286971"/>
                  <a:gd name="connsiteY284" fmla="*/ 278416 h 433657"/>
                  <a:gd name="connsiteX285" fmla="*/ 72590 w 286971"/>
                  <a:gd name="connsiteY285" fmla="*/ 273502 h 433657"/>
                  <a:gd name="connsiteX286" fmla="*/ 68169 w 286971"/>
                  <a:gd name="connsiteY286" fmla="*/ 271783 h 433657"/>
                  <a:gd name="connsiteX287" fmla="*/ 65928 w 286971"/>
                  <a:gd name="connsiteY287" fmla="*/ 271537 h 433657"/>
                  <a:gd name="connsiteX288" fmla="*/ 59267 w 286971"/>
                  <a:gd name="connsiteY288" fmla="*/ 273584 h 433657"/>
                  <a:gd name="connsiteX289" fmla="*/ 58465 w 286971"/>
                  <a:gd name="connsiteY289" fmla="*/ 274076 h 433657"/>
                  <a:gd name="connsiteX290" fmla="*/ 52914 w 286971"/>
                  <a:gd name="connsiteY290" fmla="*/ 270636 h 433657"/>
                  <a:gd name="connsiteX291" fmla="*/ 54723 w 286971"/>
                  <a:gd name="connsiteY291" fmla="*/ 269306 h 433657"/>
                  <a:gd name="connsiteX292" fmla="*/ 59000 w 286971"/>
                  <a:gd name="connsiteY292" fmla="*/ 266890 h 433657"/>
                  <a:gd name="connsiteX293" fmla="*/ 54641 w 286971"/>
                  <a:gd name="connsiteY293" fmla="*/ 265334 h 433657"/>
                  <a:gd name="connsiteX294" fmla="*/ 43785 w 286971"/>
                  <a:gd name="connsiteY294" fmla="*/ 263881 h 433657"/>
                  <a:gd name="connsiteX295" fmla="*/ 7600 w 286971"/>
                  <a:gd name="connsiteY295" fmla="*/ 286666 h 433657"/>
                  <a:gd name="connsiteX296" fmla="*/ 9944 w 286971"/>
                  <a:gd name="connsiteY296" fmla="*/ 352359 h 433657"/>
                  <a:gd name="connsiteX297" fmla="*/ 11362 w 286971"/>
                  <a:gd name="connsiteY297" fmla="*/ 353670 h 433657"/>
                  <a:gd name="connsiteX298" fmla="*/ 12863 w 286971"/>
                  <a:gd name="connsiteY298" fmla="*/ 354959 h 433657"/>
                  <a:gd name="connsiteX299" fmla="*/ 24808 w 286971"/>
                  <a:gd name="connsiteY299" fmla="*/ 361920 h 433657"/>
                  <a:gd name="connsiteX300" fmla="*/ 26206 w 286971"/>
                  <a:gd name="connsiteY300" fmla="*/ 362493 h 433657"/>
                  <a:gd name="connsiteX301" fmla="*/ 23904 w 286971"/>
                  <a:gd name="connsiteY301" fmla="*/ 368143 h 433657"/>
                  <a:gd name="connsiteX302" fmla="*/ 22506 w 286971"/>
                  <a:gd name="connsiteY302" fmla="*/ 367570 h 433657"/>
                  <a:gd name="connsiteX303" fmla="*/ 12226 w 286971"/>
                  <a:gd name="connsiteY303" fmla="*/ 361940 h 433657"/>
                  <a:gd name="connsiteX304" fmla="*/ 19010 w 286971"/>
                  <a:gd name="connsiteY304" fmla="*/ 388123 h 433657"/>
                  <a:gd name="connsiteX305" fmla="*/ 24932 w 286971"/>
                  <a:gd name="connsiteY305" fmla="*/ 394265 h 433657"/>
                  <a:gd name="connsiteX306" fmla="*/ 25795 w 286971"/>
                  <a:gd name="connsiteY306" fmla="*/ 395145 h 433657"/>
                  <a:gd name="connsiteX307" fmla="*/ 29907 w 286971"/>
                  <a:gd name="connsiteY307" fmla="*/ 399567 h 433657"/>
                  <a:gd name="connsiteX308" fmla="*/ 36343 w 286971"/>
                  <a:gd name="connsiteY308" fmla="*/ 423908 h 433657"/>
                  <a:gd name="connsiteX309" fmla="*/ 37638 w 286971"/>
                  <a:gd name="connsiteY309" fmla="*/ 432301 h 433657"/>
                  <a:gd name="connsiteX310" fmla="*/ 44114 w 286971"/>
                  <a:gd name="connsiteY310" fmla="*/ 433612 h 433657"/>
                  <a:gd name="connsiteX311" fmla="*/ 50015 w 286971"/>
                  <a:gd name="connsiteY311" fmla="*/ 432342 h 433657"/>
                  <a:gd name="connsiteX312" fmla="*/ 50508 w 286971"/>
                  <a:gd name="connsiteY312" fmla="*/ 426917 h 433657"/>
                  <a:gd name="connsiteX313" fmla="*/ 58547 w 286971"/>
                  <a:gd name="connsiteY313" fmla="*/ 399649 h 433657"/>
                  <a:gd name="connsiteX314" fmla="*/ 68992 w 286971"/>
                  <a:gd name="connsiteY314" fmla="*/ 376966 h 433657"/>
                  <a:gd name="connsiteX315" fmla="*/ 70760 w 286971"/>
                  <a:gd name="connsiteY315" fmla="*/ 354325 h 433657"/>
                  <a:gd name="connsiteX316" fmla="*/ 64592 w 286971"/>
                  <a:gd name="connsiteY316" fmla="*/ 358644 h 433657"/>
                  <a:gd name="connsiteX317" fmla="*/ 63297 w 286971"/>
                  <a:gd name="connsiteY317" fmla="*/ 359422 h 433657"/>
                  <a:gd name="connsiteX318" fmla="*/ 60110 w 286971"/>
                  <a:gd name="connsiteY318" fmla="*/ 354202 h 433657"/>
                  <a:gd name="connsiteX319" fmla="*/ 61426 w 286971"/>
                  <a:gd name="connsiteY319" fmla="*/ 353403 h 433657"/>
                  <a:gd name="connsiteX320" fmla="*/ 69938 w 286971"/>
                  <a:gd name="connsiteY320" fmla="*/ 346832 h 433657"/>
                  <a:gd name="connsiteX321" fmla="*/ 71109 w 286971"/>
                  <a:gd name="connsiteY321" fmla="*/ 345645 h 433657"/>
                  <a:gd name="connsiteX322" fmla="*/ 72281 w 286971"/>
                  <a:gd name="connsiteY322" fmla="*/ 344375 h 433657"/>
                  <a:gd name="connsiteX323" fmla="*/ 72569 w 286971"/>
                  <a:gd name="connsiteY323" fmla="*/ 344068 h 433657"/>
                  <a:gd name="connsiteX324" fmla="*/ 64839 w 286971"/>
                  <a:gd name="connsiteY324" fmla="*/ 332993 h 433657"/>
                  <a:gd name="connsiteX325" fmla="*/ 47178 w 286971"/>
                  <a:gd name="connsiteY325" fmla="*/ 330311 h 433657"/>
                  <a:gd name="connsiteX326" fmla="*/ 47178 w 286971"/>
                  <a:gd name="connsiteY326" fmla="*/ 330414 h 433657"/>
                  <a:gd name="connsiteX327" fmla="*/ 45944 w 286971"/>
                  <a:gd name="connsiteY327" fmla="*/ 329492 h 433657"/>
                  <a:gd name="connsiteX328" fmla="*/ 45163 w 286971"/>
                  <a:gd name="connsiteY328" fmla="*/ 328858 h 433657"/>
                  <a:gd name="connsiteX329" fmla="*/ 41770 w 286971"/>
                  <a:gd name="connsiteY329" fmla="*/ 325705 h 433657"/>
                  <a:gd name="connsiteX330" fmla="*/ 34451 w 286971"/>
                  <a:gd name="connsiteY330" fmla="*/ 316370 h 433657"/>
                  <a:gd name="connsiteX331" fmla="*/ 33649 w 286971"/>
                  <a:gd name="connsiteY331" fmla="*/ 315101 h 433657"/>
                  <a:gd name="connsiteX332" fmla="*/ 38563 w 286971"/>
                  <a:gd name="connsiteY332" fmla="*/ 311948 h 433657"/>
                  <a:gd name="connsiteX333" fmla="*/ 39632 w 286971"/>
                  <a:gd name="connsiteY333" fmla="*/ 313074 h 433657"/>
                  <a:gd name="connsiteX334" fmla="*/ 46273 w 286971"/>
                  <a:gd name="connsiteY334" fmla="*/ 321263 h 433657"/>
                  <a:gd name="connsiteX335" fmla="*/ 49419 w 286971"/>
                  <a:gd name="connsiteY335" fmla="*/ 324211 h 433657"/>
                  <a:gd name="connsiteX336" fmla="*/ 65229 w 286971"/>
                  <a:gd name="connsiteY336" fmla="*/ 326667 h 433657"/>
                  <a:gd name="connsiteX337" fmla="*/ 66627 w 286971"/>
                  <a:gd name="connsiteY337" fmla="*/ 326135 h 433657"/>
                  <a:gd name="connsiteX338" fmla="*/ 68005 w 286971"/>
                  <a:gd name="connsiteY338" fmla="*/ 325460 h 433657"/>
                  <a:gd name="connsiteX339" fmla="*/ 71130 w 286971"/>
                  <a:gd name="connsiteY339" fmla="*/ 323208 h 433657"/>
                  <a:gd name="connsiteX340" fmla="*/ 71994 w 286971"/>
                  <a:gd name="connsiteY340" fmla="*/ 322450 h 433657"/>
                  <a:gd name="connsiteX341" fmla="*/ 77195 w 286971"/>
                  <a:gd name="connsiteY341" fmla="*/ 325869 h 433657"/>
                  <a:gd name="connsiteX342" fmla="*/ 75818 w 286971"/>
                  <a:gd name="connsiteY342" fmla="*/ 327179 h 433657"/>
                  <a:gd name="connsiteX343" fmla="*/ 70965 w 286971"/>
                  <a:gd name="connsiteY343" fmla="*/ 330782 h 433657"/>
                  <a:gd name="connsiteX344" fmla="*/ 80752 w 286971"/>
                  <a:gd name="connsiteY344" fmla="*/ 341673 h 433657"/>
                  <a:gd name="connsiteX345" fmla="*/ 82130 w 286971"/>
                  <a:gd name="connsiteY345" fmla="*/ 342185 h 433657"/>
                  <a:gd name="connsiteX346" fmla="*/ 83507 w 286971"/>
                  <a:gd name="connsiteY346" fmla="*/ 342574 h 433657"/>
                  <a:gd name="connsiteX347" fmla="*/ 98207 w 286971"/>
                  <a:gd name="connsiteY347" fmla="*/ 339319 h 433657"/>
                  <a:gd name="connsiteX348" fmla="*/ 99359 w 286971"/>
                  <a:gd name="connsiteY348" fmla="*/ 338336 h 433657"/>
                  <a:gd name="connsiteX349" fmla="*/ 100469 w 286971"/>
                  <a:gd name="connsiteY349" fmla="*/ 337190 h 433657"/>
                  <a:gd name="connsiteX350" fmla="*/ 104787 w 286971"/>
                  <a:gd name="connsiteY350" fmla="*/ 325848 h 433657"/>
                  <a:gd name="connsiteX351" fmla="*/ 104560 w 286971"/>
                  <a:gd name="connsiteY351" fmla="*/ 323392 h 433657"/>
                  <a:gd name="connsiteX352" fmla="*/ 104252 w 286971"/>
                  <a:gd name="connsiteY352" fmla="*/ 321345 h 433657"/>
                  <a:gd name="connsiteX353" fmla="*/ 106308 w 286971"/>
                  <a:gd name="connsiteY353" fmla="*/ 321672 h 433657"/>
                  <a:gd name="connsiteX354" fmla="*/ 109515 w 286971"/>
                  <a:gd name="connsiteY354" fmla="*/ 322143 h 433657"/>
                  <a:gd name="connsiteX355" fmla="*/ 110687 w 286971"/>
                  <a:gd name="connsiteY355" fmla="*/ 322307 h 433657"/>
                  <a:gd name="connsiteX356" fmla="*/ 110811 w 286971"/>
                  <a:gd name="connsiteY356" fmla="*/ 323474 h 433657"/>
                  <a:gd name="connsiteX357" fmla="*/ 110934 w 286971"/>
                  <a:gd name="connsiteY357" fmla="*/ 325828 h 433657"/>
                  <a:gd name="connsiteX358" fmla="*/ 104766 w 286971"/>
                  <a:gd name="connsiteY358" fmla="*/ 341530 h 433657"/>
                  <a:gd name="connsiteX359" fmla="*/ 130306 w 286971"/>
                  <a:gd name="connsiteY359" fmla="*/ 347957 h 433657"/>
                  <a:gd name="connsiteX360" fmla="*/ 138382 w 286971"/>
                  <a:gd name="connsiteY360" fmla="*/ 338050 h 433657"/>
                  <a:gd name="connsiteX361" fmla="*/ 138957 w 286971"/>
                  <a:gd name="connsiteY361" fmla="*/ 336002 h 433657"/>
                  <a:gd name="connsiteX362" fmla="*/ 139348 w 286971"/>
                  <a:gd name="connsiteY362" fmla="*/ 333157 h 433657"/>
                  <a:gd name="connsiteX363" fmla="*/ 139348 w 286971"/>
                  <a:gd name="connsiteY363" fmla="*/ 332850 h 433657"/>
                  <a:gd name="connsiteX364" fmla="*/ 139348 w 286971"/>
                  <a:gd name="connsiteY364" fmla="*/ 331949 h 433657"/>
                  <a:gd name="connsiteX365" fmla="*/ 138464 w 286971"/>
                  <a:gd name="connsiteY365" fmla="*/ 326319 h 433657"/>
                  <a:gd name="connsiteX366" fmla="*/ 138258 w 286971"/>
                  <a:gd name="connsiteY366" fmla="*/ 325828 h 433657"/>
                  <a:gd name="connsiteX367" fmla="*/ 137312 w 286971"/>
                  <a:gd name="connsiteY367" fmla="*/ 323433 h 433657"/>
                  <a:gd name="connsiteX368" fmla="*/ 139368 w 286971"/>
                  <a:gd name="connsiteY368" fmla="*/ 323290 h 433657"/>
                  <a:gd name="connsiteX369" fmla="*/ 142555 w 286971"/>
                  <a:gd name="connsiteY369" fmla="*/ 323044 h 433657"/>
                  <a:gd name="connsiteX370" fmla="*/ 143748 w 286971"/>
                  <a:gd name="connsiteY370" fmla="*/ 322921 h 433657"/>
                  <a:gd name="connsiteX371" fmla="*/ 144118 w 286971"/>
                  <a:gd name="connsiteY371" fmla="*/ 324047 h 433657"/>
                  <a:gd name="connsiteX372" fmla="*/ 145495 w 286971"/>
                  <a:gd name="connsiteY372" fmla="*/ 331949 h 433657"/>
                  <a:gd name="connsiteX373" fmla="*/ 144755 w 286971"/>
                  <a:gd name="connsiteY373" fmla="*/ 337804 h 433657"/>
                  <a:gd name="connsiteX374" fmla="*/ 170695 w 286971"/>
                  <a:gd name="connsiteY374" fmla="*/ 342378 h 433657"/>
                  <a:gd name="connsiteX375" fmla="*/ 178371 w 286971"/>
                  <a:gd name="connsiteY375" fmla="*/ 330373 h 433657"/>
                  <a:gd name="connsiteX376" fmla="*/ 178617 w 286971"/>
                  <a:gd name="connsiteY376" fmla="*/ 328326 h 433657"/>
                  <a:gd name="connsiteX377" fmla="*/ 178617 w 286971"/>
                  <a:gd name="connsiteY377" fmla="*/ 327097 h 433657"/>
                  <a:gd name="connsiteX378" fmla="*/ 178617 w 286971"/>
                  <a:gd name="connsiteY378" fmla="*/ 325808 h 433657"/>
                  <a:gd name="connsiteX379" fmla="*/ 176191 w 286971"/>
                  <a:gd name="connsiteY379" fmla="*/ 317865 h 433657"/>
                  <a:gd name="connsiteX380" fmla="*/ 175040 w 286971"/>
                  <a:gd name="connsiteY380" fmla="*/ 316002 h 433657"/>
                  <a:gd name="connsiteX381" fmla="*/ 176767 w 286971"/>
                  <a:gd name="connsiteY381" fmla="*/ 315367 h 433657"/>
                  <a:gd name="connsiteX382" fmla="*/ 179440 w 286971"/>
                  <a:gd name="connsiteY382" fmla="*/ 314343 h 433657"/>
                  <a:gd name="connsiteX383" fmla="*/ 180653 w 286971"/>
                  <a:gd name="connsiteY383" fmla="*/ 313873 h 433657"/>
                  <a:gd name="connsiteX384" fmla="*/ 181558 w 286971"/>
                  <a:gd name="connsiteY384" fmla="*/ 314917 h 433657"/>
                  <a:gd name="connsiteX385" fmla="*/ 184806 w 286971"/>
                  <a:gd name="connsiteY385" fmla="*/ 327097 h 433657"/>
                  <a:gd name="connsiteX386" fmla="*/ 184806 w 286971"/>
                  <a:gd name="connsiteY386" fmla="*/ 329022 h 433657"/>
                  <a:gd name="connsiteX387" fmla="*/ 211144 w 286971"/>
                  <a:gd name="connsiteY387" fmla="*/ 328509 h 433657"/>
                  <a:gd name="connsiteX388" fmla="*/ 216345 w 286971"/>
                  <a:gd name="connsiteY388" fmla="*/ 315613 h 433657"/>
                  <a:gd name="connsiteX389" fmla="*/ 216345 w 286971"/>
                  <a:gd name="connsiteY389" fmla="*/ 314937 h 433657"/>
                  <a:gd name="connsiteX390" fmla="*/ 216222 w 286971"/>
                  <a:gd name="connsiteY390" fmla="*/ 313238 h 433657"/>
                  <a:gd name="connsiteX391" fmla="*/ 215872 w 286971"/>
                  <a:gd name="connsiteY391" fmla="*/ 311355 h 433657"/>
                  <a:gd name="connsiteX392" fmla="*/ 209170 w 286971"/>
                  <a:gd name="connsiteY392" fmla="*/ 301119 h 433657"/>
                  <a:gd name="connsiteX393" fmla="*/ 207545 w 286971"/>
                  <a:gd name="connsiteY393" fmla="*/ 299849 h 433657"/>
                  <a:gd name="connsiteX394" fmla="*/ 209231 w 286971"/>
                  <a:gd name="connsiteY394" fmla="*/ 298683 h 433657"/>
                  <a:gd name="connsiteX395" fmla="*/ 211842 w 286971"/>
                  <a:gd name="connsiteY395" fmla="*/ 296820 h 433657"/>
                  <a:gd name="connsiteX396" fmla="*/ 212809 w 286971"/>
                  <a:gd name="connsiteY396" fmla="*/ 296103 h 433657"/>
                  <a:gd name="connsiteX397" fmla="*/ 213713 w 286971"/>
                  <a:gd name="connsiteY397" fmla="*/ 296881 h 433657"/>
                  <a:gd name="connsiteX398" fmla="*/ 222205 w 286971"/>
                  <a:gd name="connsiteY398" fmla="*/ 311825 h 433657"/>
                  <a:gd name="connsiteX399" fmla="*/ 228537 w 286971"/>
                  <a:gd name="connsiteY399" fmla="*/ 312931 h 433657"/>
                  <a:gd name="connsiteX400" fmla="*/ 247180 w 286971"/>
                  <a:gd name="connsiteY400" fmla="*/ 294358 h 433657"/>
                  <a:gd name="connsiteX401" fmla="*/ 246753 w 286971"/>
                  <a:gd name="connsiteY401" fmla="*/ 290412 h 433657"/>
                  <a:gd name="connsiteX402" fmla="*/ 246321 w 286971"/>
                  <a:gd name="connsiteY402" fmla="*/ 288795 h 433657"/>
                  <a:gd name="connsiteX403" fmla="*/ 245663 w 286971"/>
                  <a:gd name="connsiteY403" fmla="*/ 287034 h 433657"/>
                  <a:gd name="connsiteX404" fmla="*/ 235383 w 286971"/>
                  <a:gd name="connsiteY404" fmla="*/ 277146 h 433657"/>
                  <a:gd name="connsiteX405" fmla="*/ 232834 w 286971"/>
                  <a:gd name="connsiteY405" fmla="*/ 276246 h 433657"/>
                  <a:gd name="connsiteX406" fmla="*/ 234047 w 286971"/>
                  <a:gd name="connsiteY406" fmla="*/ 274608 h 433657"/>
                  <a:gd name="connsiteX407" fmla="*/ 235281 w 286971"/>
                  <a:gd name="connsiteY407" fmla="*/ 272847 h 433657"/>
                  <a:gd name="connsiteX408" fmla="*/ 236535 w 286971"/>
                  <a:gd name="connsiteY408" fmla="*/ 271066 h 433657"/>
                  <a:gd name="connsiteX409" fmla="*/ 237645 w 286971"/>
                  <a:gd name="connsiteY409" fmla="*/ 271496 h 433657"/>
                  <a:gd name="connsiteX410" fmla="*/ 251852 w 286971"/>
                  <a:gd name="connsiteY410" fmla="*/ 286174 h 433657"/>
                  <a:gd name="connsiteX411" fmla="*/ 272927 w 286971"/>
                  <a:gd name="connsiteY411" fmla="*/ 270389 h 433657"/>
                  <a:gd name="connsiteX412" fmla="*/ 273111 w 286971"/>
                  <a:gd name="connsiteY412" fmla="*/ 267750 h 433657"/>
                  <a:gd name="connsiteX413" fmla="*/ 271528 w 286971"/>
                  <a:gd name="connsiteY413" fmla="*/ 260298 h 433657"/>
                  <a:gd name="connsiteX414" fmla="*/ 270911 w 286971"/>
                  <a:gd name="connsiteY414" fmla="*/ 258988 h 433657"/>
                  <a:gd name="connsiteX415" fmla="*/ 270150 w 286971"/>
                  <a:gd name="connsiteY415" fmla="*/ 257739 h 433657"/>
                  <a:gd name="connsiteX416" fmla="*/ 254463 w 286971"/>
                  <a:gd name="connsiteY416" fmla="*/ 249161 h 433657"/>
                  <a:gd name="connsiteX417" fmla="*/ 250618 w 286971"/>
                  <a:gd name="connsiteY417" fmla="*/ 249612 h 433657"/>
                  <a:gd name="connsiteX418" fmla="*/ 247843 w 286971"/>
                  <a:gd name="connsiteY418" fmla="*/ 250205 h 433657"/>
                  <a:gd name="connsiteX419" fmla="*/ 249159 w 286971"/>
                  <a:gd name="connsiteY419" fmla="*/ 246889 h 433657"/>
                  <a:gd name="connsiteX420" fmla="*/ 250187 w 286971"/>
                  <a:gd name="connsiteY420" fmla="*/ 244248 h 433657"/>
                  <a:gd name="connsiteX421" fmla="*/ 250516 w 286971"/>
                  <a:gd name="connsiteY421" fmla="*/ 243388 h 433657"/>
                  <a:gd name="connsiteX422" fmla="*/ 251420 w 286971"/>
                  <a:gd name="connsiteY422" fmla="*/ 243266 h 433657"/>
                  <a:gd name="connsiteX423" fmla="*/ 254463 w 286971"/>
                  <a:gd name="connsiteY423" fmla="*/ 243061 h 433657"/>
                  <a:gd name="connsiteX424" fmla="*/ 274817 w 286971"/>
                  <a:gd name="connsiteY424" fmla="*/ 253706 h 433657"/>
                  <a:gd name="connsiteX425" fmla="*/ 280348 w 286971"/>
                  <a:gd name="connsiteY425" fmla="*/ 231064 h 433657"/>
                  <a:gd name="connsiteX426" fmla="*/ 279567 w 286971"/>
                  <a:gd name="connsiteY426" fmla="*/ 229898 h 433657"/>
                  <a:gd name="connsiteX427" fmla="*/ 279176 w 286971"/>
                  <a:gd name="connsiteY427" fmla="*/ 229345 h 433657"/>
                  <a:gd name="connsiteX428" fmla="*/ 278621 w 286971"/>
                  <a:gd name="connsiteY428" fmla="*/ 228772 h 433657"/>
                  <a:gd name="connsiteX429" fmla="*/ 268012 w 286971"/>
                  <a:gd name="connsiteY429" fmla="*/ 223040 h 433657"/>
                  <a:gd name="connsiteX430" fmla="*/ 258513 w 286971"/>
                  <a:gd name="connsiteY430" fmla="*/ 224698 h 433657"/>
                  <a:gd name="connsiteX431" fmla="*/ 255697 w 286971"/>
                  <a:gd name="connsiteY431" fmla="*/ 226090 h 433657"/>
                  <a:gd name="connsiteX432" fmla="*/ 256334 w 286971"/>
                  <a:gd name="connsiteY432" fmla="*/ 223040 h 433657"/>
                  <a:gd name="connsiteX433" fmla="*/ 256992 w 286971"/>
                  <a:gd name="connsiteY433" fmla="*/ 219375 h 43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</a:cxnLst>
                <a:rect l="l" t="t" r="r" b="b"/>
                <a:pathLst>
                  <a:path w="286971" h="433657">
                    <a:moveTo>
                      <a:pt x="256992" y="219375"/>
                    </a:moveTo>
                    <a:lnTo>
                      <a:pt x="257156" y="218536"/>
                    </a:lnTo>
                    <a:lnTo>
                      <a:pt x="257958" y="218229"/>
                    </a:lnTo>
                    <a:cubicBezTo>
                      <a:pt x="266481" y="215046"/>
                      <a:pt x="276088" y="217210"/>
                      <a:pt x="282404" y="223736"/>
                    </a:cubicBezTo>
                    <a:cubicBezTo>
                      <a:pt x="288745" y="217055"/>
                      <a:pt x="288447" y="206521"/>
                      <a:pt x="281738" y="200207"/>
                    </a:cubicBezTo>
                    <a:cubicBezTo>
                      <a:pt x="280543" y="199083"/>
                      <a:pt x="279188" y="198140"/>
                      <a:pt x="277716" y="197409"/>
                    </a:cubicBezTo>
                    <a:cubicBezTo>
                      <a:pt x="277135" y="197117"/>
                      <a:pt x="276538" y="196857"/>
                      <a:pt x="275928" y="196631"/>
                    </a:cubicBezTo>
                    <a:cubicBezTo>
                      <a:pt x="275092" y="196329"/>
                      <a:pt x="274232" y="196096"/>
                      <a:pt x="273358" y="195935"/>
                    </a:cubicBezTo>
                    <a:lnTo>
                      <a:pt x="272247" y="195730"/>
                    </a:lnTo>
                    <a:cubicBezTo>
                      <a:pt x="270275" y="195487"/>
                      <a:pt x="268274" y="195612"/>
                      <a:pt x="266347" y="196099"/>
                    </a:cubicBezTo>
                    <a:cubicBezTo>
                      <a:pt x="265467" y="196295"/>
                      <a:pt x="264607" y="196569"/>
                      <a:pt x="263777" y="196918"/>
                    </a:cubicBezTo>
                    <a:cubicBezTo>
                      <a:pt x="263202" y="197149"/>
                      <a:pt x="262645" y="197423"/>
                      <a:pt x="262111" y="197736"/>
                    </a:cubicBezTo>
                    <a:lnTo>
                      <a:pt x="259685" y="199067"/>
                    </a:lnTo>
                    <a:lnTo>
                      <a:pt x="259850" y="196324"/>
                    </a:lnTo>
                    <a:lnTo>
                      <a:pt x="259973" y="193929"/>
                    </a:lnTo>
                    <a:lnTo>
                      <a:pt x="259973" y="191882"/>
                    </a:lnTo>
                    <a:lnTo>
                      <a:pt x="260837" y="191493"/>
                    </a:lnTo>
                    <a:cubicBezTo>
                      <a:pt x="264622" y="189792"/>
                      <a:pt x="268805" y="189161"/>
                      <a:pt x="272926" y="189671"/>
                    </a:cubicBezTo>
                    <a:cubicBezTo>
                      <a:pt x="274691" y="189887"/>
                      <a:pt x="276423" y="190313"/>
                      <a:pt x="278087" y="190940"/>
                    </a:cubicBezTo>
                    <a:cubicBezTo>
                      <a:pt x="285969" y="186134"/>
                      <a:pt x="288447" y="175876"/>
                      <a:pt x="283621" y="168027"/>
                    </a:cubicBezTo>
                    <a:cubicBezTo>
                      <a:pt x="282408" y="166055"/>
                      <a:pt x="280797" y="164355"/>
                      <a:pt x="278888" y="163037"/>
                    </a:cubicBezTo>
                    <a:cubicBezTo>
                      <a:pt x="278498" y="162771"/>
                      <a:pt x="278107" y="162505"/>
                      <a:pt x="277696" y="162259"/>
                    </a:cubicBezTo>
                    <a:cubicBezTo>
                      <a:pt x="277285" y="162013"/>
                      <a:pt x="276730" y="161747"/>
                      <a:pt x="276236" y="161522"/>
                    </a:cubicBezTo>
                    <a:cubicBezTo>
                      <a:pt x="274691" y="160821"/>
                      <a:pt x="273048" y="160359"/>
                      <a:pt x="271363" y="160150"/>
                    </a:cubicBezTo>
                    <a:cubicBezTo>
                      <a:pt x="268142" y="159754"/>
                      <a:pt x="264874" y="160309"/>
                      <a:pt x="261967" y="161747"/>
                    </a:cubicBezTo>
                    <a:lnTo>
                      <a:pt x="259912" y="162771"/>
                    </a:lnTo>
                    <a:lnTo>
                      <a:pt x="259603" y="156117"/>
                    </a:lnTo>
                    <a:lnTo>
                      <a:pt x="260590" y="155708"/>
                    </a:lnTo>
                    <a:cubicBezTo>
                      <a:pt x="266533" y="153193"/>
                      <a:pt x="273276" y="153349"/>
                      <a:pt x="279094" y="156138"/>
                    </a:cubicBezTo>
                    <a:cubicBezTo>
                      <a:pt x="283781" y="150717"/>
                      <a:pt x="284021" y="142770"/>
                      <a:pt x="279670" y="137079"/>
                    </a:cubicBezTo>
                    <a:cubicBezTo>
                      <a:pt x="278376" y="135381"/>
                      <a:pt x="276728" y="133984"/>
                      <a:pt x="274838" y="132984"/>
                    </a:cubicBezTo>
                    <a:cubicBezTo>
                      <a:pt x="274319" y="132706"/>
                      <a:pt x="273784" y="132460"/>
                      <a:pt x="273234" y="132247"/>
                    </a:cubicBezTo>
                    <a:cubicBezTo>
                      <a:pt x="272570" y="131969"/>
                      <a:pt x="271882" y="131750"/>
                      <a:pt x="271178" y="131592"/>
                    </a:cubicBezTo>
                    <a:lnTo>
                      <a:pt x="270623" y="131429"/>
                    </a:lnTo>
                    <a:cubicBezTo>
                      <a:pt x="270274" y="131429"/>
                      <a:pt x="269924" y="131244"/>
                      <a:pt x="269554" y="131183"/>
                    </a:cubicBezTo>
                    <a:cubicBezTo>
                      <a:pt x="267000" y="130827"/>
                      <a:pt x="264396" y="131123"/>
                      <a:pt x="261988" y="132043"/>
                    </a:cubicBezTo>
                    <a:cubicBezTo>
                      <a:pt x="261333" y="132319"/>
                      <a:pt x="260694" y="132634"/>
                      <a:pt x="260076" y="132984"/>
                    </a:cubicBezTo>
                    <a:lnTo>
                      <a:pt x="258020" y="134110"/>
                    </a:lnTo>
                    <a:lnTo>
                      <a:pt x="257424" y="127478"/>
                    </a:lnTo>
                    <a:lnTo>
                      <a:pt x="258390" y="127027"/>
                    </a:lnTo>
                    <a:cubicBezTo>
                      <a:pt x="263690" y="124476"/>
                      <a:pt x="269823" y="124261"/>
                      <a:pt x="275290" y="126433"/>
                    </a:cubicBezTo>
                    <a:cubicBezTo>
                      <a:pt x="282699" y="121026"/>
                      <a:pt x="284303" y="110662"/>
                      <a:pt x="278872" y="103285"/>
                    </a:cubicBezTo>
                    <a:cubicBezTo>
                      <a:pt x="278580" y="102888"/>
                      <a:pt x="278270" y="102503"/>
                      <a:pt x="277943" y="102134"/>
                    </a:cubicBezTo>
                    <a:cubicBezTo>
                      <a:pt x="275848" y="99758"/>
                      <a:pt x="273116" y="98025"/>
                      <a:pt x="270068" y="97138"/>
                    </a:cubicBezTo>
                    <a:cubicBezTo>
                      <a:pt x="269330" y="96959"/>
                      <a:pt x="268581" y="96822"/>
                      <a:pt x="267827" y="96729"/>
                    </a:cubicBezTo>
                    <a:lnTo>
                      <a:pt x="267210" y="96729"/>
                    </a:lnTo>
                    <a:lnTo>
                      <a:pt x="266573" y="96729"/>
                    </a:lnTo>
                    <a:cubicBezTo>
                      <a:pt x="265293" y="96660"/>
                      <a:pt x="264009" y="96742"/>
                      <a:pt x="262749" y="96975"/>
                    </a:cubicBezTo>
                    <a:lnTo>
                      <a:pt x="262358" y="96975"/>
                    </a:lnTo>
                    <a:cubicBezTo>
                      <a:pt x="260928" y="97252"/>
                      <a:pt x="259544" y="97727"/>
                      <a:pt x="258246" y="98387"/>
                    </a:cubicBezTo>
                    <a:cubicBezTo>
                      <a:pt x="257712" y="98633"/>
                      <a:pt x="257198" y="98940"/>
                      <a:pt x="256704" y="99227"/>
                    </a:cubicBezTo>
                    <a:lnTo>
                      <a:pt x="254648" y="100455"/>
                    </a:lnTo>
                    <a:lnTo>
                      <a:pt x="253908" y="93699"/>
                    </a:lnTo>
                    <a:lnTo>
                      <a:pt x="254833" y="93228"/>
                    </a:lnTo>
                    <a:cubicBezTo>
                      <a:pt x="258511" y="91233"/>
                      <a:pt x="262681" y="90318"/>
                      <a:pt x="266861" y="90588"/>
                    </a:cubicBezTo>
                    <a:cubicBezTo>
                      <a:pt x="267704" y="90588"/>
                      <a:pt x="268567" y="90772"/>
                      <a:pt x="269534" y="90936"/>
                    </a:cubicBezTo>
                    <a:cubicBezTo>
                      <a:pt x="273537" y="88065"/>
                      <a:pt x="276036" y="83556"/>
                      <a:pt x="276339" y="78652"/>
                    </a:cubicBezTo>
                    <a:cubicBezTo>
                      <a:pt x="276728" y="72218"/>
                      <a:pt x="273336" y="66142"/>
                      <a:pt x="267642" y="63074"/>
                    </a:cubicBezTo>
                    <a:cubicBezTo>
                      <a:pt x="267169" y="62828"/>
                      <a:pt x="266696" y="62603"/>
                      <a:pt x="266203" y="62398"/>
                    </a:cubicBezTo>
                    <a:cubicBezTo>
                      <a:pt x="265673" y="62170"/>
                      <a:pt x="265131" y="61972"/>
                      <a:pt x="264579" y="61804"/>
                    </a:cubicBezTo>
                    <a:cubicBezTo>
                      <a:pt x="263349" y="61428"/>
                      <a:pt x="262079" y="61195"/>
                      <a:pt x="260796" y="61108"/>
                    </a:cubicBezTo>
                    <a:cubicBezTo>
                      <a:pt x="257953" y="60929"/>
                      <a:pt x="255114" y="61508"/>
                      <a:pt x="252572" y="62787"/>
                    </a:cubicBezTo>
                    <a:lnTo>
                      <a:pt x="250639" y="63749"/>
                    </a:lnTo>
                    <a:lnTo>
                      <a:pt x="249919" y="57239"/>
                    </a:lnTo>
                    <a:lnTo>
                      <a:pt x="250947" y="56789"/>
                    </a:lnTo>
                    <a:cubicBezTo>
                      <a:pt x="256228" y="54519"/>
                      <a:pt x="262183" y="54358"/>
                      <a:pt x="267580" y="56338"/>
                    </a:cubicBezTo>
                    <a:cubicBezTo>
                      <a:pt x="270759" y="52970"/>
                      <a:pt x="272480" y="48492"/>
                      <a:pt x="272371" y="43871"/>
                    </a:cubicBezTo>
                    <a:cubicBezTo>
                      <a:pt x="272200" y="37595"/>
                      <a:pt x="268746" y="31864"/>
                      <a:pt x="263263" y="28763"/>
                    </a:cubicBezTo>
                    <a:lnTo>
                      <a:pt x="261947" y="28108"/>
                    </a:lnTo>
                    <a:cubicBezTo>
                      <a:pt x="261466" y="27880"/>
                      <a:pt x="260972" y="27682"/>
                      <a:pt x="260467" y="27514"/>
                    </a:cubicBezTo>
                    <a:cubicBezTo>
                      <a:pt x="258576" y="26826"/>
                      <a:pt x="256579" y="26473"/>
                      <a:pt x="254566" y="26470"/>
                    </a:cubicBezTo>
                    <a:lnTo>
                      <a:pt x="254196" y="26470"/>
                    </a:lnTo>
                    <a:cubicBezTo>
                      <a:pt x="252080" y="26522"/>
                      <a:pt x="249991" y="26952"/>
                      <a:pt x="248028" y="27739"/>
                    </a:cubicBezTo>
                    <a:lnTo>
                      <a:pt x="246260" y="28435"/>
                    </a:lnTo>
                    <a:lnTo>
                      <a:pt x="245273" y="22294"/>
                    </a:lnTo>
                    <a:lnTo>
                      <a:pt x="246465" y="21884"/>
                    </a:lnTo>
                    <a:cubicBezTo>
                      <a:pt x="248896" y="20992"/>
                      <a:pt x="251461" y="20515"/>
                      <a:pt x="254052" y="20472"/>
                    </a:cubicBezTo>
                    <a:lnTo>
                      <a:pt x="254504" y="20472"/>
                    </a:lnTo>
                    <a:cubicBezTo>
                      <a:pt x="257208" y="20466"/>
                      <a:pt x="259892" y="20923"/>
                      <a:pt x="262440" y="21823"/>
                    </a:cubicBezTo>
                    <a:cubicBezTo>
                      <a:pt x="263788" y="19507"/>
                      <a:pt x="264458" y="16862"/>
                      <a:pt x="264373" y="14187"/>
                    </a:cubicBezTo>
                    <a:cubicBezTo>
                      <a:pt x="264172" y="6269"/>
                      <a:pt x="257648" y="-36"/>
                      <a:pt x="249693" y="0"/>
                    </a:cubicBezTo>
                    <a:lnTo>
                      <a:pt x="249241" y="0"/>
                    </a:lnTo>
                    <a:lnTo>
                      <a:pt x="248336" y="103"/>
                    </a:lnTo>
                    <a:cubicBezTo>
                      <a:pt x="245199" y="4790"/>
                      <a:pt x="240754" y="8462"/>
                      <a:pt x="235548" y="10666"/>
                    </a:cubicBezTo>
                    <a:lnTo>
                      <a:pt x="235548" y="10666"/>
                    </a:lnTo>
                    <a:lnTo>
                      <a:pt x="234849" y="11014"/>
                    </a:lnTo>
                    <a:cubicBezTo>
                      <a:pt x="233645" y="11470"/>
                      <a:pt x="232416" y="11860"/>
                      <a:pt x="231169" y="12181"/>
                    </a:cubicBezTo>
                    <a:lnTo>
                      <a:pt x="228887" y="12734"/>
                    </a:lnTo>
                    <a:lnTo>
                      <a:pt x="228887" y="12365"/>
                    </a:lnTo>
                    <a:cubicBezTo>
                      <a:pt x="228085" y="12508"/>
                      <a:pt x="227365" y="12590"/>
                      <a:pt x="226831" y="12652"/>
                    </a:cubicBezTo>
                    <a:lnTo>
                      <a:pt x="225659" y="12775"/>
                    </a:lnTo>
                    <a:lnTo>
                      <a:pt x="225659" y="12775"/>
                    </a:lnTo>
                    <a:cubicBezTo>
                      <a:pt x="225083" y="12775"/>
                      <a:pt x="224507" y="12775"/>
                      <a:pt x="223932" y="12775"/>
                    </a:cubicBezTo>
                    <a:cubicBezTo>
                      <a:pt x="221782" y="12761"/>
                      <a:pt x="219639" y="12528"/>
                      <a:pt x="217537" y="12078"/>
                    </a:cubicBezTo>
                    <a:cubicBezTo>
                      <a:pt x="217561" y="13531"/>
                      <a:pt x="217458" y="14983"/>
                      <a:pt x="217229" y="16418"/>
                    </a:cubicBezTo>
                    <a:cubicBezTo>
                      <a:pt x="216575" y="20644"/>
                      <a:pt x="214957" y="24663"/>
                      <a:pt x="212500" y="28169"/>
                    </a:cubicBezTo>
                    <a:cubicBezTo>
                      <a:pt x="215606" y="28697"/>
                      <a:pt x="218571" y="29846"/>
                      <a:pt x="221218" y="31547"/>
                    </a:cubicBezTo>
                    <a:lnTo>
                      <a:pt x="221773" y="31916"/>
                    </a:lnTo>
                    <a:lnTo>
                      <a:pt x="221937" y="32898"/>
                    </a:lnTo>
                    <a:cubicBezTo>
                      <a:pt x="222143" y="34249"/>
                      <a:pt x="222348" y="35600"/>
                      <a:pt x="222534" y="36993"/>
                    </a:cubicBezTo>
                    <a:lnTo>
                      <a:pt x="223130" y="41087"/>
                    </a:lnTo>
                    <a:lnTo>
                      <a:pt x="220025" y="38364"/>
                    </a:lnTo>
                    <a:cubicBezTo>
                      <a:pt x="219511" y="37914"/>
                      <a:pt x="219121" y="37607"/>
                      <a:pt x="218730" y="37300"/>
                    </a:cubicBezTo>
                    <a:cubicBezTo>
                      <a:pt x="218339" y="36993"/>
                      <a:pt x="217846" y="36685"/>
                      <a:pt x="217394" y="36419"/>
                    </a:cubicBezTo>
                    <a:cubicBezTo>
                      <a:pt x="214843" y="34887"/>
                      <a:pt x="211922" y="34073"/>
                      <a:pt x="208943" y="34065"/>
                    </a:cubicBezTo>
                    <a:lnTo>
                      <a:pt x="208594" y="34065"/>
                    </a:lnTo>
                    <a:cubicBezTo>
                      <a:pt x="208037" y="34075"/>
                      <a:pt x="207481" y="34116"/>
                      <a:pt x="206929" y="34188"/>
                    </a:cubicBezTo>
                    <a:cubicBezTo>
                      <a:pt x="205458" y="35320"/>
                      <a:pt x="203882" y="36307"/>
                      <a:pt x="202220" y="37136"/>
                    </a:cubicBezTo>
                    <a:cubicBezTo>
                      <a:pt x="201583" y="37463"/>
                      <a:pt x="200946" y="37770"/>
                      <a:pt x="200288" y="38057"/>
                    </a:cubicBezTo>
                    <a:cubicBezTo>
                      <a:pt x="199617" y="38352"/>
                      <a:pt x="198930" y="38612"/>
                      <a:pt x="198232" y="38835"/>
                    </a:cubicBezTo>
                    <a:lnTo>
                      <a:pt x="196566" y="39367"/>
                    </a:lnTo>
                    <a:cubicBezTo>
                      <a:pt x="193678" y="42483"/>
                      <a:pt x="192115" y="46592"/>
                      <a:pt x="192208" y="50831"/>
                    </a:cubicBezTo>
                    <a:cubicBezTo>
                      <a:pt x="192365" y="56453"/>
                      <a:pt x="195357" y="61617"/>
                      <a:pt x="200164" y="64568"/>
                    </a:cubicBezTo>
                    <a:cubicBezTo>
                      <a:pt x="204574" y="60992"/>
                      <a:pt x="210175" y="59201"/>
                      <a:pt x="215852" y="59552"/>
                    </a:cubicBezTo>
                    <a:cubicBezTo>
                      <a:pt x="217954" y="59681"/>
                      <a:pt x="220029" y="60094"/>
                      <a:pt x="222020" y="60781"/>
                    </a:cubicBezTo>
                    <a:lnTo>
                      <a:pt x="224055" y="58426"/>
                    </a:lnTo>
                    <a:lnTo>
                      <a:pt x="223685" y="68417"/>
                    </a:lnTo>
                    <a:lnTo>
                      <a:pt x="221629" y="67434"/>
                    </a:lnTo>
                    <a:lnTo>
                      <a:pt x="220827" y="67066"/>
                    </a:lnTo>
                    <a:cubicBezTo>
                      <a:pt x="220318" y="66838"/>
                      <a:pt x="219796" y="66639"/>
                      <a:pt x="219264" y="66472"/>
                    </a:cubicBezTo>
                    <a:cubicBezTo>
                      <a:pt x="214202" y="64843"/>
                      <a:pt x="208658" y="65817"/>
                      <a:pt x="204461" y="69072"/>
                    </a:cubicBezTo>
                    <a:lnTo>
                      <a:pt x="204071" y="69358"/>
                    </a:lnTo>
                    <a:cubicBezTo>
                      <a:pt x="203738" y="69581"/>
                      <a:pt x="203422" y="69827"/>
                      <a:pt x="203125" y="70095"/>
                    </a:cubicBezTo>
                    <a:cubicBezTo>
                      <a:pt x="202878" y="70321"/>
                      <a:pt x="202652" y="70587"/>
                      <a:pt x="202426" y="70832"/>
                    </a:cubicBezTo>
                    <a:lnTo>
                      <a:pt x="202097" y="71221"/>
                    </a:lnTo>
                    <a:cubicBezTo>
                      <a:pt x="199557" y="73964"/>
                      <a:pt x="198034" y="77489"/>
                      <a:pt x="197779" y="81211"/>
                    </a:cubicBezTo>
                    <a:cubicBezTo>
                      <a:pt x="197379" y="87893"/>
                      <a:pt x="201053" y="94159"/>
                      <a:pt x="207093" y="97098"/>
                    </a:cubicBezTo>
                    <a:cubicBezTo>
                      <a:pt x="210991" y="94138"/>
                      <a:pt x="215833" y="92684"/>
                      <a:pt x="220724" y="93003"/>
                    </a:cubicBezTo>
                    <a:cubicBezTo>
                      <a:pt x="222195" y="93114"/>
                      <a:pt x="223649" y="93381"/>
                      <a:pt x="225062" y="93802"/>
                    </a:cubicBezTo>
                    <a:lnTo>
                      <a:pt x="226029" y="94088"/>
                    </a:lnTo>
                    <a:lnTo>
                      <a:pt x="226872" y="101008"/>
                    </a:lnTo>
                    <a:lnTo>
                      <a:pt x="224507" y="100086"/>
                    </a:lnTo>
                    <a:cubicBezTo>
                      <a:pt x="223948" y="99810"/>
                      <a:pt x="223371" y="99570"/>
                      <a:pt x="222780" y="99370"/>
                    </a:cubicBezTo>
                    <a:cubicBezTo>
                      <a:pt x="221958" y="99162"/>
                      <a:pt x="221118" y="99025"/>
                      <a:pt x="220272" y="98960"/>
                    </a:cubicBezTo>
                    <a:cubicBezTo>
                      <a:pt x="217264" y="98750"/>
                      <a:pt x="214270" y="99519"/>
                      <a:pt x="211740" y="101151"/>
                    </a:cubicBezTo>
                    <a:cubicBezTo>
                      <a:pt x="211292" y="101449"/>
                      <a:pt x="210867" y="101777"/>
                      <a:pt x="210465" y="102134"/>
                    </a:cubicBezTo>
                    <a:cubicBezTo>
                      <a:pt x="209997" y="102525"/>
                      <a:pt x="209551" y="102942"/>
                      <a:pt x="209128" y="103382"/>
                    </a:cubicBezTo>
                    <a:cubicBezTo>
                      <a:pt x="204033" y="108640"/>
                      <a:pt x="203863" y="116919"/>
                      <a:pt x="208738" y="122380"/>
                    </a:cubicBezTo>
                    <a:cubicBezTo>
                      <a:pt x="209145" y="122840"/>
                      <a:pt x="209585" y="123271"/>
                      <a:pt x="210054" y="123670"/>
                    </a:cubicBezTo>
                    <a:cubicBezTo>
                      <a:pt x="215548" y="120068"/>
                      <a:pt x="222477" y="119409"/>
                      <a:pt x="228558" y="121909"/>
                    </a:cubicBezTo>
                    <a:lnTo>
                      <a:pt x="229401" y="122237"/>
                    </a:lnTo>
                    <a:lnTo>
                      <a:pt x="230264" y="129402"/>
                    </a:lnTo>
                    <a:lnTo>
                      <a:pt x="226769" y="127785"/>
                    </a:lnTo>
                    <a:cubicBezTo>
                      <a:pt x="222541" y="125806"/>
                      <a:pt x="217593" y="126099"/>
                      <a:pt x="213631" y="128563"/>
                    </a:cubicBezTo>
                    <a:cubicBezTo>
                      <a:pt x="213282" y="128783"/>
                      <a:pt x="212946" y="129022"/>
                      <a:pt x="212624" y="129279"/>
                    </a:cubicBezTo>
                    <a:lnTo>
                      <a:pt x="212315" y="129504"/>
                    </a:lnTo>
                    <a:cubicBezTo>
                      <a:pt x="211925" y="129811"/>
                      <a:pt x="211534" y="130118"/>
                      <a:pt x="211164" y="130466"/>
                    </a:cubicBezTo>
                    <a:cubicBezTo>
                      <a:pt x="205441" y="135778"/>
                      <a:pt x="205126" y="144703"/>
                      <a:pt x="210461" y="150402"/>
                    </a:cubicBezTo>
                    <a:cubicBezTo>
                      <a:pt x="210687" y="150643"/>
                      <a:pt x="210921" y="150877"/>
                      <a:pt x="211164" y="151102"/>
                    </a:cubicBezTo>
                    <a:cubicBezTo>
                      <a:pt x="215431" y="147689"/>
                      <a:pt x="220906" y="146145"/>
                      <a:pt x="226337" y="146823"/>
                    </a:cubicBezTo>
                    <a:cubicBezTo>
                      <a:pt x="228175" y="147062"/>
                      <a:pt x="229973" y="147544"/>
                      <a:pt x="231683" y="148256"/>
                    </a:cubicBezTo>
                    <a:lnTo>
                      <a:pt x="232526" y="148604"/>
                    </a:lnTo>
                    <a:lnTo>
                      <a:pt x="233245" y="156056"/>
                    </a:lnTo>
                    <a:lnTo>
                      <a:pt x="230716" y="154623"/>
                    </a:lnTo>
                    <a:lnTo>
                      <a:pt x="230984" y="153354"/>
                    </a:lnTo>
                    <a:lnTo>
                      <a:pt x="230984" y="153354"/>
                    </a:lnTo>
                    <a:lnTo>
                      <a:pt x="230449" y="154398"/>
                    </a:lnTo>
                    <a:cubicBezTo>
                      <a:pt x="228965" y="153624"/>
                      <a:pt x="227359" y="153112"/>
                      <a:pt x="225700" y="152883"/>
                    </a:cubicBezTo>
                    <a:cubicBezTo>
                      <a:pt x="221834" y="152399"/>
                      <a:pt x="217941" y="153533"/>
                      <a:pt x="214947" y="156015"/>
                    </a:cubicBezTo>
                    <a:cubicBezTo>
                      <a:pt x="214556" y="156343"/>
                      <a:pt x="214186" y="156691"/>
                      <a:pt x="213816" y="157059"/>
                    </a:cubicBezTo>
                    <a:lnTo>
                      <a:pt x="213549" y="157346"/>
                    </a:lnTo>
                    <a:cubicBezTo>
                      <a:pt x="213302" y="157591"/>
                      <a:pt x="213055" y="157837"/>
                      <a:pt x="212829" y="158103"/>
                    </a:cubicBezTo>
                    <a:cubicBezTo>
                      <a:pt x="211170" y="160148"/>
                      <a:pt x="210123" y="162617"/>
                      <a:pt x="209807" y="165227"/>
                    </a:cubicBezTo>
                    <a:cubicBezTo>
                      <a:pt x="209299" y="169363"/>
                      <a:pt x="210645" y="173511"/>
                      <a:pt x="213487" y="176569"/>
                    </a:cubicBezTo>
                    <a:cubicBezTo>
                      <a:pt x="217219" y="173999"/>
                      <a:pt x="221775" y="172897"/>
                      <a:pt x="226275" y="173477"/>
                    </a:cubicBezTo>
                    <a:cubicBezTo>
                      <a:pt x="229082" y="173837"/>
                      <a:pt x="231765" y="174847"/>
                      <a:pt x="234109" y="176425"/>
                    </a:cubicBezTo>
                    <a:lnTo>
                      <a:pt x="234767" y="176855"/>
                    </a:lnTo>
                    <a:lnTo>
                      <a:pt x="234767" y="177633"/>
                    </a:lnTo>
                    <a:cubicBezTo>
                      <a:pt x="234767" y="178964"/>
                      <a:pt x="234767" y="180315"/>
                      <a:pt x="234890" y="181728"/>
                    </a:cubicBezTo>
                    <a:lnTo>
                      <a:pt x="234890" y="185351"/>
                    </a:lnTo>
                    <a:lnTo>
                      <a:pt x="232258" y="182854"/>
                    </a:lnTo>
                    <a:cubicBezTo>
                      <a:pt x="231934" y="182550"/>
                      <a:pt x="231583" y="182276"/>
                      <a:pt x="231210" y="182035"/>
                    </a:cubicBezTo>
                    <a:lnTo>
                      <a:pt x="230881" y="181809"/>
                    </a:lnTo>
                    <a:cubicBezTo>
                      <a:pt x="229253" y="180658"/>
                      <a:pt x="227370" y="179913"/>
                      <a:pt x="225391" y="179639"/>
                    </a:cubicBezTo>
                    <a:cubicBezTo>
                      <a:pt x="222332" y="179251"/>
                      <a:pt x="219238" y="180034"/>
                      <a:pt x="216736" y="181830"/>
                    </a:cubicBezTo>
                    <a:cubicBezTo>
                      <a:pt x="216322" y="182109"/>
                      <a:pt x="215924" y="182409"/>
                      <a:pt x="215543" y="182731"/>
                    </a:cubicBezTo>
                    <a:cubicBezTo>
                      <a:pt x="215267" y="182989"/>
                      <a:pt x="215006" y="183262"/>
                      <a:pt x="214762" y="183550"/>
                    </a:cubicBezTo>
                    <a:cubicBezTo>
                      <a:pt x="212825" y="185609"/>
                      <a:pt x="211588" y="188223"/>
                      <a:pt x="211226" y="191022"/>
                    </a:cubicBezTo>
                    <a:cubicBezTo>
                      <a:pt x="210831" y="194245"/>
                      <a:pt x="211636" y="197500"/>
                      <a:pt x="213487" y="200173"/>
                    </a:cubicBezTo>
                    <a:cubicBezTo>
                      <a:pt x="216432" y="198937"/>
                      <a:pt x="219654" y="198506"/>
                      <a:pt x="222821" y="198924"/>
                    </a:cubicBezTo>
                    <a:cubicBezTo>
                      <a:pt x="226122" y="199332"/>
                      <a:pt x="229250" y="200627"/>
                      <a:pt x="231868" y="202670"/>
                    </a:cubicBezTo>
                    <a:lnTo>
                      <a:pt x="234397" y="200623"/>
                    </a:lnTo>
                    <a:lnTo>
                      <a:pt x="233924" y="205229"/>
                    </a:lnTo>
                    <a:cubicBezTo>
                      <a:pt x="233924" y="205925"/>
                      <a:pt x="233780" y="206642"/>
                      <a:pt x="233698" y="207276"/>
                    </a:cubicBezTo>
                    <a:cubicBezTo>
                      <a:pt x="233615" y="207911"/>
                      <a:pt x="233513" y="208566"/>
                      <a:pt x="233410" y="209323"/>
                    </a:cubicBezTo>
                    <a:lnTo>
                      <a:pt x="232834" y="213295"/>
                    </a:lnTo>
                    <a:lnTo>
                      <a:pt x="230634" y="210306"/>
                    </a:lnTo>
                    <a:lnTo>
                      <a:pt x="230326" y="209856"/>
                    </a:lnTo>
                    <a:cubicBezTo>
                      <a:pt x="230269" y="209746"/>
                      <a:pt x="230200" y="209643"/>
                      <a:pt x="230120" y="209549"/>
                    </a:cubicBezTo>
                    <a:cubicBezTo>
                      <a:pt x="229826" y="209170"/>
                      <a:pt x="229503" y="208814"/>
                      <a:pt x="229154" y="208484"/>
                    </a:cubicBezTo>
                    <a:cubicBezTo>
                      <a:pt x="228775" y="208128"/>
                      <a:pt x="228377" y="207793"/>
                      <a:pt x="227961" y="207481"/>
                    </a:cubicBezTo>
                    <a:cubicBezTo>
                      <a:pt x="226242" y="206149"/>
                      <a:pt x="224199" y="205295"/>
                      <a:pt x="222040" y="205004"/>
                    </a:cubicBezTo>
                    <a:cubicBezTo>
                      <a:pt x="219953" y="204728"/>
                      <a:pt x="217829" y="204989"/>
                      <a:pt x="215872" y="205761"/>
                    </a:cubicBezTo>
                    <a:cubicBezTo>
                      <a:pt x="215476" y="205928"/>
                      <a:pt x="215092" y="206119"/>
                      <a:pt x="214721" y="206335"/>
                    </a:cubicBezTo>
                    <a:cubicBezTo>
                      <a:pt x="214063" y="206703"/>
                      <a:pt x="213652" y="206969"/>
                      <a:pt x="213261" y="207235"/>
                    </a:cubicBezTo>
                    <a:cubicBezTo>
                      <a:pt x="208989" y="210250"/>
                      <a:pt x="206915" y="215498"/>
                      <a:pt x="207977" y="220603"/>
                    </a:cubicBezTo>
                    <a:cubicBezTo>
                      <a:pt x="215742" y="219262"/>
                      <a:pt x="223571" y="222610"/>
                      <a:pt x="227941" y="229140"/>
                    </a:cubicBezTo>
                    <a:lnTo>
                      <a:pt x="228373" y="229775"/>
                    </a:lnTo>
                    <a:lnTo>
                      <a:pt x="228126" y="230512"/>
                    </a:lnTo>
                    <a:cubicBezTo>
                      <a:pt x="227674" y="231760"/>
                      <a:pt x="227201" y="233009"/>
                      <a:pt x="226687" y="234258"/>
                    </a:cubicBezTo>
                    <a:lnTo>
                      <a:pt x="225515" y="237165"/>
                    </a:lnTo>
                    <a:lnTo>
                      <a:pt x="223459" y="233623"/>
                    </a:lnTo>
                    <a:cubicBezTo>
                      <a:pt x="223338" y="233363"/>
                      <a:pt x="223200" y="233110"/>
                      <a:pt x="223048" y="232866"/>
                    </a:cubicBezTo>
                    <a:cubicBezTo>
                      <a:pt x="219923" y="227956"/>
                      <a:pt x="214055" y="225504"/>
                      <a:pt x="208347" y="226724"/>
                    </a:cubicBezTo>
                    <a:cubicBezTo>
                      <a:pt x="208046" y="226791"/>
                      <a:pt x="207751" y="226880"/>
                      <a:pt x="207463" y="226991"/>
                    </a:cubicBezTo>
                    <a:lnTo>
                      <a:pt x="206538" y="227298"/>
                    </a:lnTo>
                    <a:cubicBezTo>
                      <a:pt x="206230" y="227389"/>
                      <a:pt x="205928" y="227498"/>
                      <a:pt x="205633" y="227625"/>
                    </a:cubicBezTo>
                    <a:cubicBezTo>
                      <a:pt x="200390" y="230040"/>
                      <a:pt x="197046" y="235282"/>
                      <a:pt x="197080" y="241034"/>
                    </a:cubicBezTo>
                    <a:cubicBezTo>
                      <a:pt x="197060" y="241355"/>
                      <a:pt x="197060" y="241676"/>
                      <a:pt x="197080" y="241996"/>
                    </a:cubicBezTo>
                    <a:cubicBezTo>
                      <a:pt x="204812" y="243138"/>
                      <a:pt x="211205" y="248588"/>
                      <a:pt x="213528" y="256019"/>
                    </a:cubicBezTo>
                    <a:lnTo>
                      <a:pt x="213775" y="256777"/>
                    </a:lnTo>
                    <a:lnTo>
                      <a:pt x="212151" y="258824"/>
                    </a:lnTo>
                    <a:cubicBezTo>
                      <a:pt x="211904" y="259152"/>
                      <a:pt x="211616" y="259479"/>
                      <a:pt x="211328" y="259807"/>
                    </a:cubicBezTo>
                    <a:lnTo>
                      <a:pt x="208697" y="262980"/>
                    </a:lnTo>
                    <a:lnTo>
                      <a:pt x="208142" y="259704"/>
                    </a:lnTo>
                    <a:cubicBezTo>
                      <a:pt x="208142" y="259274"/>
                      <a:pt x="208142" y="259090"/>
                      <a:pt x="207998" y="258885"/>
                    </a:cubicBezTo>
                    <a:cubicBezTo>
                      <a:pt x="207854" y="258681"/>
                      <a:pt x="207710" y="257862"/>
                      <a:pt x="207545" y="257371"/>
                    </a:cubicBezTo>
                    <a:cubicBezTo>
                      <a:pt x="205810" y="252402"/>
                      <a:pt x="201459" y="248794"/>
                      <a:pt x="196237" y="247995"/>
                    </a:cubicBezTo>
                    <a:cubicBezTo>
                      <a:pt x="195723" y="247995"/>
                      <a:pt x="195209" y="247851"/>
                      <a:pt x="194675" y="247831"/>
                    </a:cubicBezTo>
                    <a:lnTo>
                      <a:pt x="194284" y="247831"/>
                    </a:lnTo>
                    <a:lnTo>
                      <a:pt x="193811" y="247831"/>
                    </a:lnTo>
                    <a:lnTo>
                      <a:pt x="193236" y="247831"/>
                    </a:lnTo>
                    <a:cubicBezTo>
                      <a:pt x="186255" y="248456"/>
                      <a:pt x="180742" y="253997"/>
                      <a:pt x="180180" y="260953"/>
                    </a:cubicBezTo>
                    <a:cubicBezTo>
                      <a:pt x="186333" y="263682"/>
                      <a:pt x="190782" y="269203"/>
                      <a:pt x="192125" y="275775"/>
                    </a:cubicBezTo>
                    <a:lnTo>
                      <a:pt x="192331" y="276798"/>
                    </a:lnTo>
                    <a:lnTo>
                      <a:pt x="190933" y="277679"/>
                    </a:lnTo>
                    <a:cubicBezTo>
                      <a:pt x="190152" y="278170"/>
                      <a:pt x="189350" y="278682"/>
                      <a:pt x="188527" y="279153"/>
                    </a:cubicBezTo>
                    <a:lnTo>
                      <a:pt x="186471" y="280360"/>
                    </a:lnTo>
                    <a:lnTo>
                      <a:pt x="186286" y="277965"/>
                    </a:lnTo>
                    <a:cubicBezTo>
                      <a:pt x="186286" y="277556"/>
                      <a:pt x="186286" y="277392"/>
                      <a:pt x="186286" y="277249"/>
                    </a:cubicBezTo>
                    <a:cubicBezTo>
                      <a:pt x="185429" y="272700"/>
                      <a:pt x="182464" y="268822"/>
                      <a:pt x="178288" y="266788"/>
                    </a:cubicBezTo>
                    <a:cubicBezTo>
                      <a:pt x="177795" y="266562"/>
                      <a:pt x="177302" y="266399"/>
                      <a:pt x="176788" y="266214"/>
                    </a:cubicBezTo>
                    <a:lnTo>
                      <a:pt x="176356" y="266071"/>
                    </a:lnTo>
                    <a:cubicBezTo>
                      <a:pt x="176013" y="265940"/>
                      <a:pt x="175663" y="265831"/>
                      <a:pt x="175307" y="265744"/>
                    </a:cubicBezTo>
                    <a:cubicBezTo>
                      <a:pt x="168855" y="264315"/>
                      <a:pt x="162287" y="267623"/>
                      <a:pt x="159620" y="273646"/>
                    </a:cubicBezTo>
                    <a:cubicBezTo>
                      <a:pt x="163325" y="277447"/>
                      <a:pt x="165460" y="282496"/>
                      <a:pt x="165603" y="287792"/>
                    </a:cubicBezTo>
                    <a:lnTo>
                      <a:pt x="165603" y="288958"/>
                    </a:lnTo>
                    <a:lnTo>
                      <a:pt x="163711" y="289491"/>
                    </a:lnTo>
                    <a:cubicBezTo>
                      <a:pt x="162930" y="289716"/>
                      <a:pt x="162149" y="289962"/>
                      <a:pt x="161347" y="290166"/>
                    </a:cubicBezTo>
                    <a:lnTo>
                      <a:pt x="159291" y="290678"/>
                    </a:lnTo>
                    <a:lnTo>
                      <a:pt x="159291" y="288631"/>
                    </a:lnTo>
                    <a:lnTo>
                      <a:pt x="160730" y="288344"/>
                    </a:lnTo>
                    <a:lnTo>
                      <a:pt x="159312" y="288344"/>
                    </a:lnTo>
                    <a:cubicBezTo>
                      <a:pt x="159307" y="284740"/>
                      <a:pt x="157984" y="281262"/>
                      <a:pt x="155590" y="278559"/>
                    </a:cubicBezTo>
                    <a:cubicBezTo>
                      <a:pt x="155205" y="278124"/>
                      <a:pt x="154793" y="277714"/>
                      <a:pt x="154357" y="277331"/>
                    </a:cubicBezTo>
                    <a:lnTo>
                      <a:pt x="154110" y="277105"/>
                    </a:lnTo>
                    <a:cubicBezTo>
                      <a:pt x="153802" y="276839"/>
                      <a:pt x="153493" y="276553"/>
                      <a:pt x="153164" y="276307"/>
                    </a:cubicBezTo>
                    <a:cubicBezTo>
                      <a:pt x="147566" y="272249"/>
                      <a:pt x="139802" y="273015"/>
                      <a:pt x="135113" y="278088"/>
                    </a:cubicBezTo>
                    <a:cubicBezTo>
                      <a:pt x="138681" y="281967"/>
                      <a:pt x="140662" y="287035"/>
                      <a:pt x="140664" y="292295"/>
                    </a:cubicBezTo>
                    <a:lnTo>
                      <a:pt x="140664" y="293667"/>
                    </a:lnTo>
                    <a:lnTo>
                      <a:pt x="138340" y="294035"/>
                    </a:lnTo>
                    <a:cubicBezTo>
                      <a:pt x="137600" y="294035"/>
                      <a:pt x="136860" y="294179"/>
                      <a:pt x="136120" y="294220"/>
                    </a:cubicBezTo>
                    <a:lnTo>
                      <a:pt x="134455" y="294343"/>
                    </a:lnTo>
                    <a:lnTo>
                      <a:pt x="134455" y="292295"/>
                    </a:lnTo>
                    <a:cubicBezTo>
                      <a:pt x="134484" y="288356"/>
                      <a:pt x="132947" y="284566"/>
                      <a:pt x="130178" y="281752"/>
                    </a:cubicBezTo>
                    <a:cubicBezTo>
                      <a:pt x="129930" y="281506"/>
                      <a:pt x="129662" y="281280"/>
                      <a:pt x="129376" y="281077"/>
                    </a:cubicBezTo>
                    <a:lnTo>
                      <a:pt x="128760" y="280565"/>
                    </a:lnTo>
                    <a:cubicBezTo>
                      <a:pt x="128500" y="280336"/>
                      <a:pt x="128225" y="280124"/>
                      <a:pt x="127937" y="279930"/>
                    </a:cubicBezTo>
                    <a:cubicBezTo>
                      <a:pt x="122071" y="275927"/>
                      <a:pt x="114098" y="277095"/>
                      <a:pt x="109639" y="282612"/>
                    </a:cubicBezTo>
                    <a:cubicBezTo>
                      <a:pt x="110581" y="284949"/>
                      <a:pt x="111062" y="287444"/>
                      <a:pt x="111057" y="289962"/>
                    </a:cubicBezTo>
                    <a:cubicBezTo>
                      <a:pt x="111052" y="290907"/>
                      <a:pt x="110983" y="291851"/>
                      <a:pt x="110852" y="292787"/>
                    </a:cubicBezTo>
                    <a:lnTo>
                      <a:pt x="110646" y="294179"/>
                    </a:lnTo>
                    <a:lnTo>
                      <a:pt x="108076" y="294015"/>
                    </a:lnTo>
                    <a:lnTo>
                      <a:pt x="106020" y="293872"/>
                    </a:lnTo>
                    <a:lnTo>
                      <a:pt x="104375" y="293728"/>
                    </a:lnTo>
                    <a:lnTo>
                      <a:pt x="104643" y="292132"/>
                    </a:lnTo>
                    <a:cubicBezTo>
                      <a:pt x="104756" y="291414"/>
                      <a:pt x="104818" y="290688"/>
                      <a:pt x="104828" y="289962"/>
                    </a:cubicBezTo>
                    <a:cubicBezTo>
                      <a:pt x="104816" y="288707"/>
                      <a:pt x="104629" y="287460"/>
                      <a:pt x="104273" y="286256"/>
                    </a:cubicBezTo>
                    <a:cubicBezTo>
                      <a:pt x="104106" y="285605"/>
                      <a:pt x="103886" y="284968"/>
                      <a:pt x="103615" y="284352"/>
                    </a:cubicBezTo>
                    <a:cubicBezTo>
                      <a:pt x="103398" y="283856"/>
                      <a:pt x="103144" y="283377"/>
                      <a:pt x="102854" y="282919"/>
                    </a:cubicBezTo>
                    <a:cubicBezTo>
                      <a:pt x="100574" y="278936"/>
                      <a:pt x="96336" y="276463"/>
                      <a:pt x="91731" y="276430"/>
                    </a:cubicBezTo>
                    <a:cubicBezTo>
                      <a:pt x="88958" y="276443"/>
                      <a:pt x="86268" y="277371"/>
                      <a:pt x="84083" y="279071"/>
                    </a:cubicBezTo>
                    <a:cubicBezTo>
                      <a:pt x="84351" y="279928"/>
                      <a:pt x="84557" y="280804"/>
                      <a:pt x="84700" y="281691"/>
                    </a:cubicBezTo>
                    <a:cubicBezTo>
                      <a:pt x="84899" y="282806"/>
                      <a:pt x="85003" y="283936"/>
                      <a:pt x="85008" y="285069"/>
                    </a:cubicBezTo>
                    <a:lnTo>
                      <a:pt x="85008" y="285478"/>
                    </a:lnTo>
                    <a:cubicBezTo>
                      <a:pt x="85024" y="285662"/>
                      <a:pt x="85024" y="285847"/>
                      <a:pt x="85008" y="286031"/>
                    </a:cubicBezTo>
                    <a:lnTo>
                      <a:pt x="84658" y="288467"/>
                    </a:lnTo>
                    <a:lnTo>
                      <a:pt x="82602" y="287259"/>
                    </a:lnTo>
                    <a:lnTo>
                      <a:pt x="78902" y="284721"/>
                    </a:lnTo>
                    <a:lnTo>
                      <a:pt x="78737" y="283185"/>
                    </a:lnTo>
                    <a:cubicBezTo>
                      <a:pt x="78737" y="282653"/>
                      <a:pt x="78552" y="282141"/>
                      <a:pt x="78429" y="281609"/>
                    </a:cubicBezTo>
                    <a:cubicBezTo>
                      <a:pt x="78296" y="281068"/>
                      <a:pt x="78131" y="280535"/>
                      <a:pt x="77935" y="280012"/>
                    </a:cubicBezTo>
                    <a:cubicBezTo>
                      <a:pt x="77784" y="279615"/>
                      <a:pt x="77598" y="279231"/>
                      <a:pt x="77380" y="278866"/>
                    </a:cubicBezTo>
                    <a:lnTo>
                      <a:pt x="77236" y="278600"/>
                    </a:lnTo>
                    <a:cubicBezTo>
                      <a:pt x="77229" y="278539"/>
                      <a:pt x="77229" y="278477"/>
                      <a:pt x="77236" y="278416"/>
                    </a:cubicBezTo>
                    <a:cubicBezTo>
                      <a:pt x="76142" y="276404"/>
                      <a:pt x="74540" y="274711"/>
                      <a:pt x="72590" y="273502"/>
                    </a:cubicBezTo>
                    <a:cubicBezTo>
                      <a:pt x="71245" y="272644"/>
                      <a:pt x="69742" y="272059"/>
                      <a:pt x="68169" y="271783"/>
                    </a:cubicBezTo>
                    <a:cubicBezTo>
                      <a:pt x="67432" y="271630"/>
                      <a:pt x="66681" y="271548"/>
                      <a:pt x="65928" y="271537"/>
                    </a:cubicBezTo>
                    <a:cubicBezTo>
                      <a:pt x="63558" y="271579"/>
                      <a:pt x="61248" y="272289"/>
                      <a:pt x="59267" y="273584"/>
                    </a:cubicBezTo>
                    <a:lnTo>
                      <a:pt x="58465" y="274076"/>
                    </a:lnTo>
                    <a:lnTo>
                      <a:pt x="52914" y="270636"/>
                    </a:lnTo>
                    <a:lnTo>
                      <a:pt x="54723" y="269306"/>
                    </a:lnTo>
                    <a:cubicBezTo>
                      <a:pt x="56044" y="268330"/>
                      <a:pt x="57481" y="267519"/>
                      <a:pt x="59000" y="266890"/>
                    </a:cubicBezTo>
                    <a:cubicBezTo>
                      <a:pt x="57575" y="266296"/>
                      <a:pt x="56120" y="265777"/>
                      <a:pt x="54641" y="265334"/>
                    </a:cubicBezTo>
                    <a:cubicBezTo>
                      <a:pt x="51109" y="264344"/>
                      <a:pt x="47454" y="263855"/>
                      <a:pt x="43785" y="263881"/>
                    </a:cubicBezTo>
                    <a:cubicBezTo>
                      <a:pt x="34616" y="263881"/>
                      <a:pt x="17695" y="266849"/>
                      <a:pt x="7600" y="286666"/>
                    </a:cubicBezTo>
                    <a:cubicBezTo>
                      <a:pt x="-8396" y="318028"/>
                      <a:pt x="5071" y="347630"/>
                      <a:pt x="9944" y="352359"/>
                    </a:cubicBezTo>
                    <a:cubicBezTo>
                      <a:pt x="10416" y="352810"/>
                      <a:pt x="10869" y="353240"/>
                      <a:pt x="11362" y="353670"/>
                    </a:cubicBezTo>
                    <a:cubicBezTo>
                      <a:pt x="11856" y="354099"/>
                      <a:pt x="12349" y="354550"/>
                      <a:pt x="12863" y="354959"/>
                    </a:cubicBezTo>
                    <a:cubicBezTo>
                      <a:pt x="16483" y="357847"/>
                      <a:pt x="20507" y="360191"/>
                      <a:pt x="24808" y="361920"/>
                    </a:cubicBezTo>
                    <a:lnTo>
                      <a:pt x="26206" y="362493"/>
                    </a:lnTo>
                    <a:lnTo>
                      <a:pt x="23904" y="368143"/>
                    </a:lnTo>
                    <a:lnTo>
                      <a:pt x="22506" y="367570"/>
                    </a:lnTo>
                    <a:cubicBezTo>
                      <a:pt x="18912" y="366012"/>
                      <a:pt x="15471" y="364127"/>
                      <a:pt x="12226" y="361940"/>
                    </a:cubicBezTo>
                    <a:cubicBezTo>
                      <a:pt x="11465" y="367693"/>
                      <a:pt x="12226" y="380058"/>
                      <a:pt x="19010" y="388123"/>
                    </a:cubicBezTo>
                    <a:cubicBezTo>
                      <a:pt x="19833" y="389106"/>
                      <a:pt x="23122" y="392443"/>
                      <a:pt x="24932" y="394265"/>
                    </a:cubicBezTo>
                    <a:lnTo>
                      <a:pt x="25795" y="395145"/>
                    </a:lnTo>
                    <a:cubicBezTo>
                      <a:pt x="27251" y="396539"/>
                      <a:pt x="28624" y="398015"/>
                      <a:pt x="29907" y="399567"/>
                    </a:cubicBezTo>
                    <a:cubicBezTo>
                      <a:pt x="34184" y="405115"/>
                      <a:pt x="35376" y="415535"/>
                      <a:pt x="36343" y="423908"/>
                    </a:cubicBezTo>
                    <a:cubicBezTo>
                      <a:pt x="36591" y="426731"/>
                      <a:pt x="37024" y="429535"/>
                      <a:pt x="37638" y="432301"/>
                    </a:cubicBezTo>
                    <a:cubicBezTo>
                      <a:pt x="39647" y="433287"/>
                      <a:pt x="41878" y="433738"/>
                      <a:pt x="44114" y="433612"/>
                    </a:cubicBezTo>
                    <a:cubicBezTo>
                      <a:pt x="46166" y="433810"/>
                      <a:pt x="48228" y="433366"/>
                      <a:pt x="50015" y="432342"/>
                    </a:cubicBezTo>
                    <a:cubicBezTo>
                      <a:pt x="50159" y="431892"/>
                      <a:pt x="50385" y="428657"/>
                      <a:pt x="50508" y="426917"/>
                    </a:cubicBezTo>
                    <a:cubicBezTo>
                      <a:pt x="51022" y="419568"/>
                      <a:pt x="51804" y="408493"/>
                      <a:pt x="58547" y="399649"/>
                    </a:cubicBezTo>
                    <a:cubicBezTo>
                      <a:pt x="62495" y="394511"/>
                      <a:pt x="65106" y="391112"/>
                      <a:pt x="68992" y="376966"/>
                    </a:cubicBezTo>
                    <a:cubicBezTo>
                      <a:pt x="70724" y="369551"/>
                      <a:pt x="71320" y="361917"/>
                      <a:pt x="70760" y="354325"/>
                    </a:cubicBezTo>
                    <a:cubicBezTo>
                      <a:pt x="68810" y="355909"/>
                      <a:pt x="66749" y="357353"/>
                      <a:pt x="64592" y="358644"/>
                    </a:cubicBezTo>
                    <a:lnTo>
                      <a:pt x="63297" y="359422"/>
                    </a:lnTo>
                    <a:lnTo>
                      <a:pt x="60110" y="354202"/>
                    </a:lnTo>
                    <a:lnTo>
                      <a:pt x="61426" y="353403"/>
                    </a:lnTo>
                    <a:cubicBezTo>
                      <a:pt x="64502" y="351539"/>
                      <a:pt x="67358" y="349334"/>
                      <a:pt x="69938" y="346832"/>
                    </a:cubicBezTo>
                    <a:lnTo>
                      <a:pt x="71109" y="345645"/>
                    </a:lnTo>
                    <a:cubicBezTo>
                      <a:pt x="71500" y="345235"/>
                      <a:pt x="71911" y="344805"/>
                      <a:pt x="72281" y="344375"/>
                    </a:cubicBezTo>
                    <a:lnTo>
                      <a:pt x="72569" y="344068"/>
                    </a:lnTo>
                    <a:cubicBezTo>
                      <a:pt x="68955" y="341214"/>
                      <a:pt x="66266" y="337361"/>
                      <a:pt x="64839" y="332993"/>
                    </a:cubicBezTo>
                    <a:cubicBezTo>
                      <a:pt x="58827" y="334449"/>
                      <a:pt x="52481" y="333485"/>
                      <a:pt x="47178" y="330311"/>
                    </a:cubicBezTo>
                    <a:lnTo>
                      <a:pt x="47178" y="330414"/>
                    </a:lnTo>
                    <a:lnTo>
                      <a:pt x="45944" y="329492"/>
                    </a:lnTo>
                    <a:lnTo>
                      <a:pt x="45163" y="328858"/>
                    </a:lnTo>
                    <a:cubicBezTo>
                      <a:pt x="43931" y="327921"/>
                      <a:pt x="42794" y="326865"/>
                      <a:pt x="41770" y="325705"/>
                    </a:cubicBezTo>
                    <a:cubicBezTo>
                      <a:pt x="39019" y="322848"/>
                      <a:pt x="36567" y="319721"/>
                      <a:pt x="34451" y="316370"/>
                    </a:cubicBezTo>
                    <a:lnTo>
                      <a:pt x="33649" y="315101"/>
                    </a:lnTo>
                    <a:lnTo>
                      <a:pt x="38563" y="311948"/>
                    </a:lnTo>
                    <a:lnTo>
                      <a:pt x="39632" y="313074"/>
                    </a:lnTo>
                    <a:cubicBezTo>
                      <a:pt x="41561" y="316021"/>
                      <a:pt x="43786" y="318764"/>
                      <a:pt x="46273" y="321263"/>
                    </a:cubicBezTo>
                    <a:cubicBezTo>
                      <a:pt x="47651" y="322655"/>
                      <a:pt x="48761" y="323638"/>
                      <a:pt x="49419" y="324211"/>
                    </a:cubicBezTo>
                    <a:cubicBezTo>
                      <a:pt x="53958" y="327578"/>
                      <a:pt x="59875" y="328497"/>
                      <a:pt x="65229" y="326667"/>
                    </a:cubicBezTo>
                    <a:cubicBezTo>
                      <a:pt x="65702" y="326504"/>
                      <a:pt x="66175" y="326340"/>
                      <a:pt x="66627" y="326135"/>
                    </a:cubicBezTo>
                    <a:cubicBezTo>
                      <a:pt x="67080" y="325930"/>
                      <a:pt x="67553" y="325705"/>
                      <a:pt x="68005" y="325460"/>
                    </a:cubicBezTo>
                    <a:cubicBezTo>
                      <a:pt x="69128" y="324828"/>
                      <a:pt x="70176" y="324072"/>
                      <a:pt x="71130" y="323208"/>
                    </a:cubicBezTo>
                    <a:lnTo>
                      <a:pt x="71994" y="322450"/>
                    </a:lnTo>
                    <a:lnTo>
                      <a:pt x="77195" y="325869"/>
                    </a:lnTo>
                    <a:lnTo>
                      <a:pt x="75818" y="327179"/>
                    </a:lnTo>
                    <a:cubicBezTo>
                      <a:pt x="74353" y="328571"/>
                      <a:pt x="72723" y="329781"/>
                      <a:pt x="70965" y="330782"/>
                    </a:cubicBezTo>
                    <a:cubicBezTo>
                      <a:pt x="72444" y="335678"/>
                      <a:pt x="76029" y="339667"/>
                      <a:pt x="80752" y="341673"/>
                    </a:cubicBezTo>
                    <a:cubicBezTo>
                      <a:pt x="81198" y="341877"/>
                      <a:pt x="81658" y="342048"/>
                      <a:pt x="82130" y="342185"/>
                    </a:cubicBezTo>
                    <a:lnTo>
                      <a:pt x="83507" y="342574"/>
                    </a:lnTo>
                    <a:cubicBezTo>
                      <a:pt x="88649" y="343859"/>
                      <a:pt x="94098" y="342653"/>
                      <a:pt x="98207" y="339319"/>
                    </a:cubicBezTo>
                    <a:cubicBezTo>
                      <a:pt x="98619" y="339012"/>
                      <a:pt x="98989" y="338664"/>
                      <a:pt x="99359" y="338336"/>
                    </a:cubicBezTo>
                    <a:cubicBezTo>
                      <a:pt x="99729" y="338009"/>
                      <a:pt x="100120" y="337579"/>
                      <a:pt x="100469" y="337190"/>
                    </a:cubicBezTo>
                    <a:cubicBezTo>
                      <a:pt x="103241" y="334055"/>
                      <a:pt x="104775" y="330025"/>
                      <a:pt x="104787" y="325848"/>
                    </a:cubicBezTo>
                    <a:cubicBezTo>
                      <a:pt x="104764" y="325026"/>
                      <a:pt x="104689" y="324205"/>
                      <a:pt x="104560" y="323392"/>
                    </a:cubicBezTo>
                    <a:lnTo>
                      <a:pt x="104252" y="321345"/>
                    </a:lnTo>
                    <a:lnTo>
                      <a:pt x="106308" y="321672"/>
                    </a:lnTo>
                    <a:lnTo>
                      <a:pt x="109515" y="322143"/>
                    </a:lnTo>
                    <a:lnTo>
                      <a:pt x="110687" y="322307"/>
                    </a:lnTo>
                    <a:lnTo>
                      <a:pt x="110811" y="323474"/>
                    </a:lnTo>
                    <a:cubicBezTo>
                      <a:pt x="110893" y="324256"/>
                      <a:pt x="110935" y="325042"/>
                      <a:pt x="110934" y="325828"/>
                    </a:cubicBezTo>
                    <a:cubicBezTo>
                      <a:pt x="110929" y="331647"/>
                      <a:pt x="108727" y="337252"/>
                      <a:pt x="104766" y="341530"/>
                    </a:cubicBezTo>
                    <a:cubicBezTo>
                      <a:pt x="110036" y="350327"/>
                      <a:pt x="121471" y="353204"/>
                      <a:pt x="130306" y="347957"/>
                    </a:cubicBezTo>
                    <a:cubicBezTo>
                      <a:pt x="134090" y="345709"/>
                      <a:pt x="136951" y="342199"/>
                      <a:pt x="138382" y="338050"/>
                    </a:cubicBezTo>
                    <a:cubicBezTo>
                      <a:pt x="138608" y="337395"/>
                      <a:pt x="138793" y="336719"/>
                      <a:pt x="138957" y="336002"/>
                    </a:cubicBezTo>
                    <a:cubicBezTo>
                      <a:pt x="139156" y="335065"/>
                      <a:pt x="139287" y="334114"/>
                      <a:pt x="139348" y="333157"/>
                    </a:cubicBezTo>
                    <a:lnTo>
                      <a:pt x="139348" y="332850"/>
                    </a:lnTo>
                    <a:cubicBezTo>
                      <a:pt x="139348" y="332543"/>
                      <a:pt x="139348" y="332256"/>
                      <a:pt x="139348" y="331949"/>
                    </a:cubicBezTo>
                    <a:cubicBezTo>
                      <a:pt x="139342" y="330039"/>
                      <a:pt x="139044" y="328140"/>
                      <a:pt x="138464" y="326319"/>
                    </a:cubicBezTo>
                    <a:cubicBezTo>
                      <a:pt x="138404" y="326152"/>
                      <a:pt x="138336" y="325988"/>
                      <a:pt x="138258" y="325828"/>
                    </a:cubicBezTo>
                    <a:lnTo>
                      <a:pt x="137312" y="323433"/>
                    </a:lnTo>
                    <a:lnTo>
                      <a:pt x="139368" y="323290"/>
                    </a:lnTo>
                    <a:lnTo>
                      <a:pt x="142555" y="323044"/>
                    </a:lnTo>
                    <a:lnTo>
                      <a:pt x="143748" y="322921"/>
                    </a:lnTo>
                    <a:lnTo>
                      <a:pt x="144118" y="324047"/>
                    </a:lnTo>
                    <a:cubicBezTo>
                      <a:pt x="145009" y="326588"/>
                      <a:pt x="145474" y="329258"/>
                      <a:pt x="145495" y="331949"/>
                    </a:cubicBezTo>
                    <a:cubicBezTo>
                      <a:pt x="145492" y="333924"/>
                      <a:pt x="145244" y="335890"/>
                      <a:pt x="144755" y="337804"/>
                    </a:cubicBezTo>
                    <a:cubicBezTo>
                      <a:pt x="150649" y="346199"/>
                      <a:pt x="162263" y="348247"/>
                      <a:pt x="170695" y="342378"/>
                    </a:cubicBezTo>
                    <a:cubicBezTo>
                      <a:pt x="174755" y="339552"/>
                      <a:pt x="177517" y="335232"/>
                      <a:pt x="178371" y="330373"/>
                    </a:cubicBezTo>
                    <a:cubicBezTo>
                      <a:pt x="178494" y="329738"/>
                      <a:pt x="178556" y="329063"/>
                      <a:pt x="178617" y="328326"/>
                    </a:cubicBezTo>
                    <a:cubicBezTo>
                      <a:pt x="178679" y="327589"/>
                      <a:pt x="178617" y="327466"/>
                      <a:pt x="178617" y="327097"/>
                    </a:cubicBezTo>
                    <a:cubicBezTo>
                      <a:pt x="178617" y="326729"/>
                      <a:pt x="178617" y="326217"/>
                      <a:pt x="178617" y="325808"/>
                    </a:cubicBezTo>
                    <a:cubicBezTo>
                      <a:pt x="178421" y="323011"/>
                      <a:pt x="177592" y="320296"/>
                      <a:pt x="176191" y="317865"/>
                    </a:cubicBezTo>
                    <a:lnTo>
                      <a:pt x="175040" y="316002"/>
                    </a:lnTo>
                    <a:lnTo>
                      <a:pt x="176767" y="315367"/>
                    </a:lnTo>
                    <a:lnTo>
                      <a:pt x="179440" y="314343"/>
                    </a:lnTo>
                    <a:lnTo>
                      <a:pt x="180653" y="313873"/>
                    </a:lnTo>
                    <a:lnTo>
                      <a:pt x="181558" y="314917"/>
                    </a:lnTo>
                    <a:cubicBezTo>
                      <a:pt x="183686" y="318626"/>
                      <a:pt x="184805" y="322825"/>
                      <a:pt x="184806" y="327097"/>
                    </a:cubicBezTo>
                    <a:cubicBezTo>
                      <a:pt x="184806" y="327752"/>
                      <a:pt x="184806" y="328387"/>
                      <a:pt x="184806" y="329022"/>
                    </a:cubicBezTo>
                    <a:cubicBezTo>
                      <a:pt x="192221" y="336122"/>
                      <a:pt x="204013" y="335893"/>
                      <a:pt x="211144" y="328509"/>
                    </a:cubicBezTo>
                    <a:cubicBezTo>
                      <a:pt x="214491" y="325044"/>
                      <a:pt x="216355" y="320420"/>
                      <a:pt x="216345" y="315613"/>
                    </a:cubicBezTo>
                    <a:lnTo>
                      <a:pt x="216345" y="314937"/>
                    </a:lnTo>
                    <a:cubicBezTo>
                      <a:pt x="216345" y="314364"/>
                      <a:pt x="216345" y="313791"/>
                      <a:pt x="216222" y="313238"/>
                    </a:cubicBezTo>
                    <a:cubicBezTo>
                      <a:pt x="216137" y="312605"/>
                      <a:pt x="216020" y="311976"/>
                      <a:pt x="215872" y="311355"/>
                    </a:cubicBezTo>
                    <a:cubicBezTo>
                      <a:pt x="214853" y="307291"/>
                      <a:pt x="212492" y="303687"/>
                      <a:pt x="209170" y="301119"/>
                    </a:cubicBezTo>
                    <a:lnTo>
                      <a:pt x="207545" y="299849"/>
                    </a:lnTo>
                    <a:lnTo>
                      <a:pt x="209231" y="298683"/>
                    </a:lnTo>
                    <a:lnTo>
                      <a:pt x="211842" y="296820"/>
                    </a:lnTo>
                    <a:lnTo>
                      <a:pt x="212809" y="296103"/>
                    </a:lnTo>
                    <a:lnTo>
                      <a:pt x="213713" y="296881"/>
                    </a:lnTo>
                    <a:cubicBezTo>
                      <a:pt x="218257" y="300683"/>
                      <a:pt x="221272" y="305989"/>
                      <a:pt x="222205" y="311825"/>
                    </a:cubicBezTo>
                    <a:cubicBezTo>
                      <a:pt x="224234" y="312559"/>
                      <a:pt x="226378" y="312933"/>
                      <a:pt x="228537" y="312931"/>
                    </a:cubicBezTo>
                    <a:cubicBezTo>
                      <a:pt x="238836" y="312928"/>
                      <a:pt x="247183" y="304613"/>
                      <a:pt x="247180" y="294358"/>
                    </a:cubicBezTo>
                    <a:cubicBezTo>
                      <a:pt x="247180" y="293031"/>
                      <a:pt x="247037" y="291708"/>
                      <a:pt x="246753" y="290412"/>
                    </a:cubicBezTo>
                    <a:cubicBezTo>
                      <a:pt x="246630" y="289859"/>
                      <a:pt x="246486" y="289327"/>
                      <a:pt x="246321" y="288795"/>
                    </a:cubicBezTo>
                    <a:cubicBezTo>
                      <a:pt x="246133" y="288197"/>
                      <a:pt x="245913" y="287609"/>
                      <a:pt x="245663" y="287034"/>
                    </a:cubicBezTo>
                    <a:cubicBezTo>
                      <a:pt x="243664" y="282529"/>
                      <a:pt x="239975" y="278980"/>
                      <a:pt x="235383" y="277146"/>
                    </a:cubicBezTo>
                    <a:lnTo>
                      <a:pt x="232834" y="276246"/>
                    </a:lnTo>
                    <a:lnTo>
                      <a:pt x="234047" y="274608"/>
                    </a:lnTo>
                    <a:cubicBezTo>
                      <a:pt x="234479" y="274035"/>
                      <a:pt x="234890" y="273441"/>
                      <a:pt x="235281" y="272847"/>
                    </a:cubicBezTo>
                    <a:lnTo>
                      <a:pt x="236535" y="271066"/>
                    </a:lnTo>
                    <a:lnTo>
                      <a:pt x="237645" y="271496"/>
                    </a:lnTo>
                    <a:cubicBezTo>
                      <a:pt x="244292" y="274109"/>
                      <a:pt x="249475" y="279464"/>
                      <a:pt x="251852" y="286174"/>
                    </a:cubicBezTo>
                    <a:cubicBezTo>
                      <a:pt x="262049" y="287610"/>
                      <a:pt x="271485" y="280543"/>
                      <a:pt x="272927" y="270389"/>
                    </a:cubicBezTo>
                    <a:cubicBezTo>
                      <a:pt x="273052" y="269515"/>
                      <a:pt x="273113" y="268633"/>
                      <a:pt x="273111" y="267750"/>
                    </a:cubicBezTo>
                    <a:cubicBezTo>
                      <a:pt x="273110" y="265183"/>
                      <a:pt x="272571" y="262645"/>
                      <a:pt x="271528" y="260298"/>
                    </a:cubicBezTo>
                    <a:cubicBezTo>
                      <a:pt x="271343" y="259848"/>
                      <a:pt x="271137" y="259418"/>
                      <a:pt x="270911" y="258988"/>
                    </a:cubicBezTo>
                    <a:cubicBezTo>
                      <a:pt x="270685" y="258558"/>
                      <a:pt x="270418" y="258149"/>
                      <a:pt x="270150" y="257739"/>
                    </a:cubicBezTo>
                    <a:cubicBezTo>
                      <a:pt x="266750" y="252385"/>
                      <a:pt x="260825" y="249145"/>
                      <a:pt x="254463" y="249161"/>
                    </a:cubicBezTo>
                    <a:cubicBezTo>
                      <a:pt x="253169" y="249171"/>
                      <a:pt x="251880" y="249322"/>
                      <a:pt x="250618" y="249612"/>
                    </a:cubicBezTo>
                    <a:lnTo>
                      <a:pt x="247843" y="250205"/>
                    </a:lnTo>
                    <a:lnTo>
                      <a:pt x="249159" y="246889"/>
                    </a:lnTo>
                    <a:cubicBezTo>
                      <a:pt x="249508" y="246009"/>
                      <a:pt x="249878" y="245128"/>
                      <a:pt x="250187" y="244248"/>
                    </a:cubicBezTo>
                    <a:lnTo>
                      <a:pt x="250516" y="243388"/>
                    </a:lnTo>
                    <a:lnTo>
                      <a:pt x="251420" y="243266"/>
                    </a:lnTo>
                    <a:cubicBezTo>
                      <a:pt x="252429" y="243136"/>
                      <a:pt x="253446" y="243067"/>
                      <a:pt x="254463" y="243061"/>
                    </a:cubicBezTo>
                    <a:cubicBezTo>
                      <a:pt x="262595" y="243052"/>
                      <a:pt x="270209" y="247034"/>
                      <a:pt x="274817" y="253706"/>
                    </a:cubicBezTo>
                    <a:cubicBezTo>
                      <a:pt x="282535" y="248910"/>
                      <a:pt x="284991" y="238854"/>
                      <a:pt x="280348" y="231064"/>
                    </a:cubicBezTo>
                    <a:cubicBezTo>
                      <a:pt x="280101" y="230655"/>
                      <a:pt x="279834" y="230266"/>
                      <a:pt x="279567" y="229898"/>
                    </a:cubicBezTo>
                    <a:lnTo>
                      <a:pt x="279176" y="229345"/>
                    </a:lnTo>
                    <a:lnTo>
                      <a:pt x="278621" y="228772"/>
                    </a:lnTo>
                    <a:cubicBezTo>
                      <a:pt x="275925" y="225612"/>
                      <a:pt x="272142" y="223568"/>
                      <a:pt x="268012" y="223040"/>
                    </a:cubicBezTo>
                    <a:cubicBezTo>
                      <a:pt x="264751" y="222635"/>
                      <a:pt x="261442" y="223212"/>
                      <a:pt x="258513" y="224698"/>
                    </a:cubicBezTo>
                    <a:lnTo>
                      <a:pt x="255697" y="226090"/>
                    </a:lnTo>
                    <a:lnTo>
                      <a:pt x="256334" y="223040"/>
                    </a:lnTo>
                    <a:cubicBezTo>
                      <a:pt x="256540" y="221811"/>
                      <a:pt x="256766" y="220583"/>
                      <a:pt x="256992" y="219375"/>
                    </a:cubicBezTo>
                    <a:close/>
                  </a:path>
                </a:pathLst>
              </a:custGeom>
              <a:gradFill>
                <a:gsLst>
                  <a:gs pos="45000">
                    <a:srgbClr val="DD694E">
                      <a:lumMod val="84000"/>
                      <a:lumOff val="16000"/>
                    </a:srgbClr>
                  </a:gs>
                  <a:gs pos="0">
                    <a:srgbClr val="AF2D1C"/>
                  </a:gs>
                  <a:gs pos="100000">
                    <a:srgbClr val="DA8374">
                      <a:lumMod val="80195"/>
                    </a:srgbClr>
                  </a:gs>
                </a:gsLst>
                <a:lin ang="5400000" scaled="1"/>
              </a:gra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6" name="Freeform 286">
                <a:extLst>
                  <a:ext uri="{FF2B5EF4-FFF2-40B4-BE49-F238E27FC236}">
                    <a16:creationId xmlns:a16="http://schemas.microsoft.com/office/drawing/2014/main" id="{DE2BF948-C8CE-4571-BC16-F1F977D7BFE7}"/>
                  </a:ext>
                </a:extLst>
              </p:cNvPr>
              <p:cNvSpPr/>
              <p:nvPr/>
            </p:nvSpPr>
            <p:spPr>
              <a:xfrm>
                <a:off x="7323015" y="3399097"/>
                <a:ext cx="98114" cy="234658"/>
              </a:xfrm>
              <a:custGeom>
                <a:avLst/>
                <a:gdLst>
                  <a:gd name="connsiteX0" fmla="*/ 98000 w 98114"/>
                  <a:gd name="connsiteY0" fmla="*/ 199158 h 234658"/>
                  <a:gd name="connsiteX1" fmla="*/ 98000 w 98114"/>
                  <a:gd name="connsiteY1" fmla="*/ 196537 h 234658"/>
                  <a:gd name="connsiteX2" fmla="*/ 85418 w 98114"/>
                  <a:gd name="connsiteY2" fmla="*/ 177929 h 234658"/>
                  <a:gd name="connsiteX3" fmla="*/ 83711 w 98114"/>
                  <a:gd name="connsiteY3" fmla="*/ 177314 h 234658"/>
                  <a:gd name="connsiteX4" fmla="*/ 81655 w 98114"/>
                  <a:gd name="connsiteY4" fmla="*/ 176741 h 234658"/>
                  <a:gd name="connsiteX5" fmla="*/ 78242 w 98114"/>
                  <a:gd name="connsiteY5" fmla="*/ 176332 h 234658"/>
                  <a:gd name="connsiteX6" fmla="*/ 77420 w 98114"/>
                  <a:gd name="connsiteY6" fmla="*/ 176332 h 234658"/>
                  <a:gd name="connsiteX7" fmla="*/ 76721 w 98114"/>
                  <a:gd name="connsiteY7" fmla="*/ 176332 h 234658"/>
                  <a:gd name="connsiteX8" fmla="*/ 69895 w 98114"/>
                  <a:gd name="connsiteY8" fmla="*/ 177785 h 234658"/>
                  <a:gd name="connsiteX9" fmla="*/ 69134 w 98114"/>
                  <a:gd name="connsiteY9" fmla="*/ 178051 h 234658"/>
                  <a:gd name="connsiteX10" fmla="*/ 67078 w 98114"/>
                  <a:gd name="connsiteY10" fmla="*/ 179034 h 234658"/>
                  <a:gd name="connsiteX11" fmla="*/ 65516 w 98114"/>
                  <a:gd name="connsiteY11" fmla="*/ 179996 h 234658"/>
                  <a:gd name="connsiteX12" fmla="*/ 61404 w 98114"/>
                  <a:gd name="connsiteY12" fmla="*/ 183743 h 234658"/>
                  <a:gd name="connsiteX13" fmla="*/ 59039 w 98114"/>
                  <a:gd name="connsiteY13" fmla="*/ 186527 h 234658"/>
                  <a:gd name="connsiteX14" fmla="*/ 58299 w 98114"/>
                  <a:gd name="connsiteY14" fmla="*/ 177642 h 234658"/>
                  <a:gd name="connsiteX15" fmla="*/ 58854 w 98114"/>
                  <a:gd name="connsiteY15" fmla="*/ 177130 h 234658"/>
                  <a:gd name="connsiteX16" fmla="*/ 61897 w 98114"/>
                  <a:gd name="connsiteY16" fmla="*/ 174694 h 234658"/>
                  <a:gd name="connsiteX17" fmla="*/ 62185 w 98114"/>
                  <a:gd name="connsiteY17" fmla="*/ 174510 h 234658"/>
                  <a:gd name="connsiteX18" fmla="*/ 63953 w 98114"/>
                  <a:gd name="connsiteY18" fmla="*/ 173425 h 234658"/>
                  <a:gd name="connsiteX19" fmla="*/ 66461 w 98114"/>
                  <a:gd name="connsiteY19" fmla="*/ 172197 h 234658"/>
                  <a:gd name="connsiteX20" fmla="*/ 76310 w 98114"/>
                  <a:gd name="connsiteY20" fmla="*/ 170027 h 234658"/>
                  <a:gd name="connsiteX21" fmla="*/ 77214 w 98114"/>
                  <a:gd name="connsiteY21" fmla="*/ 170027 h 234658"/>
                  <a:gd name="connsiteX22" fmla="*/ 82765 w 98114"/>
                  <a:gd name="connsiteY22" fmla="*/ 170600 h 234658"/>
                  <a:gd name="connsiteX23" fmla="*/ 85582 w 98114"/>
                  <a:gd name="connsiteY23" fmla="*/ 171337 h 234658"/>
                  <a:gd name="connsiteX24" fmla="*/ 87844 w 98114"/>
                  <a:gd name="connsiteY24" fmla="*/ 172176 h 234658"/>
                  <a:gd name="connsiteX25" fmla="*/ 89900 w 98114"/>
                  <a:gd name="connsiteY25" fmla="*/ 173220 h 234658"/>
                  <a:gd name="connsiteX26" fmla="*/ 90795 w 98114"/>
                  <a:gd name="connsiteY26" fmla="*/ 145383 h 234658"/>
                  <a:gd name="connsiteX27" fmla="*/ 90455 w 98114"/>
                  <a:gd name="connsiteY27" fmla="*/ 145031 h 234658"/>
                  <a:gd name="connsiteX28" fmla="*/ 86343 w 98114"/>
                  <a:gd name="connsiteY28" fmla="*/ 141714 h 234658"/>
                  <a:gd name="connsiteX29" fmla="*/ 84863 w 98114"/>
                  <a:gd name="connsiteY29" fmla="*/ 140936 h 234658"/>
                  <a:gd name="connsiteX30" fmla="*/ 83362 w 98114"/>
                  <a:gd name="connsiteY30" fmla="*/ 140302 h 234658"/>
                  <a:gd name="connsiteX31" fmla="*/ 76536 w 98114"/>
                  <a:gd name="connsiteY31" fmla="*/ 139012 h 234658"/>
                  <a:gd name="connsiteX32" fmla="*/ 65495 w 98114"/>
                  <a:gd name="connsiteY32" fmla="*/ 142267 h 234658"/>
                  <a:gd name="connsiteX33" fmla="*/ 63295 w 98114"/>
                  <a:gd name="connsiteY33" fmla="*/ 143700 h 234658"/>
                  <a:gd name="connsiteX34" fmla="*/ 62966 w 98114"/>
                  <a:gd name="connsiteY34" fmla="*/ 141223 h 234658"/>
                  <a:gd name="connsiteX35" fmla="*/ 62658 w 98114"/>
                  <a:gd name="connsiteY35" fmla="*/ 136842 h 234658"/>
                  <a:gd name="connsiteX36" fmla="*/ 63480 w 98114"/>
                  <a:gd name="connsiteY36" fmla="*/ 136392 h 234658"/>
                  <a:gd name="connsiteX37" fmla="*/ 76248 w 98114"/>
                  <a:gd name="connsiteY37" fmla="*/ 132973 h 234658"/>
                  <a:gd name="connsiteX38" fmla="*/ 86281 w 98114"/>
                  <a:gd name="connsiteY38" fmla="*/ 135020 h 234658"/>
                  <a:gd name="connsiteX39" fmla="*/ 86028 w 98114"/>
                  <a:gd name="connsiteY39" fmla="*/ 106996 h 234658"/>
                  <a:gd name="connsiteX40" fmla="*/ 79106 w 98114"/>
                  <a:gd name="connsiteY40" fmla="*/ 102593 h 234658"/>
                  <a:gd name="connsiteX41" fmla="*/ 77050 w 98114"/>
                  <a:gd name="connsiteY41" fmla="*/ 101958 h 234658"/>
                  <a:gd name="connsiteX42" fmla="*/ 74398 w 98114"/>
                  <a:gd name="connsiteY42" fmla="*/ 101467 h 234658"/>
                  <a:gd name="connsiteX43" fmla="*/ 74089 w 98114"/>
                  <a:gd name="connsiteY43" fmla="*/ 101467 h 234658"/>
                  <a:gd name="connsiteX44" fmla="*/ 72033 w 98114"/>
                  <a:gd name="connsiteY44" fmla="*/ 101467 h 234658"/>
                  <a:gd name="connsiteX45" fmla="*/ 66893 w 98114"/>
                  <a:gd name="connsiteY45" fmla="*/ 102142 h 234658"/>
                  <a:gd name="connsiteX46" fmla="*/ 64241 w 98114"/>
                  <a:gd name="connsiteY46" fmla="*/ 103043 h 234658"/>
                  <a:gd name="connsiteX47" fmla="*/ 63624 w 98114"/>
                  <a:gd name="connsiteY47" fmla="*/ 103330 h 234658"/>
                  <a:gd name="connsiteX48" fmla="*/ 61157 w 98114"/>
                  <a:gd name="connsiteY48" fmla="*/ 104538 h 234658"/>
                  <a:gd name="connsiteX49" fmla="*/ 60910 w 98114"/>
                  <a:gd name="connsiteY49" fmla="*/ 97843 h 234658"/>
                  <a:gd name="connsiteX50" fmla="*/ 61877 w 98114"/>
                  <a:gd name="connsiteY50" fmla="*/ 97454 h 234658"/>
                  <a:gd name="connsiteX51" fmla="*/ 74480 w 98114"/>
                  <a:gd name="connsiteY51" fmla="*/ 95407 h 234658"/>
                  <a:gd name="connsiteX52" fmla="*/ 79044 w 98114"/>
                  <a:gd name="connsiteY52" fmla="*/ 96246 h 234658"/>
                  <a:gd name="connsiteX53" fmla="*/ 83472 w 98114"/>
                  <a:gd name="connsiteY53" fmla="*/ 72625 h 234658"/>
                  <a:gd name="connsiteX54" fmla="*/ 78119 w 98114"/>
                  <a:gd name="connsiteY54" fmla="*/ 67627 h 234658"/>
                  <a:gd name="connsiteX55" fmla="*/ 76618 w 98114"/>
                  <a:gd name="connsiteY55" fmla="*/ 66829 h 234658"/>
                  <a:gd name="connsiteX56" fmla="*/ 74726 w 98114"/>
                  <a:gd name="connsiteY56" fmla="*/ 66051 h 234658"/>
                  <a:gd name="connsiteX57" fmla="*/ 62185 w 98114"/>
                  <a:gd name="connsiteY57" fmla="*/ 66747 h 234658"/>
                  <a:gd name="connsiteX58" fmla="*/ 60129 w 98114"/>
                  <a:gd name="connsiteY58" fmla="*/ 67709 h 234658"/>
                  <a:gd name="connsiteX59" fmla="*/ 59841 w 98114"/>
                  <a:gd name="connsiteY59" fmla="*/ 61097 h 234658"/>
                  <a:gd name="connsiteX60" fmla="*/ 60828 w 98114"/>
                  <a:gd name="connsiteY60" fmla="*/ 60708 h 234658"/>
                  <a:gd name="connsiteX61" fmla="*/ 78653 w 98114"/>
                  <a:gd name="connsiteY61" fmla="*/ 61117 h 234658"/>
                  <a:gd name="connsiteX62" fmla="*/ 82231 w 98114"/>
                  <a:gd name="connsiteY62" fmla="*/ 39335 h 234658"/>
                  <a:gd name="connsiteX63" fmla="*/ 80175 w 98114"/>
                  <a:gd name="connsiteY63" fmla="*/ 36960 h 234658"/>
                  <a:gd name="connsiteX64" fmla="*/ 79496 w 98114"/>
                  <a:gd name="connsiteY64" fmla="*/ 36408 h 234658"/>
                  <a:gd name="connsiteX65" fmla="*/ 78571 w 98114"/>
                  <a:gd name="connsiteY65" fmla="*/ 35691 h 234658"/>
                  <a:gd name="connsiteX66" fmla="*/ 77852 w 98114"/>
                  <a:gd name="connsiteY66" fmla="*/ 35159 h 234658"/>
                  <a:gd name="connsiteX67" fmla="*/ 71951 w 98114"/>
                  <a:gd name="connsiteY67" fmla="*/ 32927 h 234658"/>
                  <a:gd name="connsiteX68" fmla="*/ 60067 w 98114"/>
                  <a:gd name="connsiteY68" fmla="*/ 35773 h 234658"/>
                  <a:gd name="connsiteX69" fmla="*/ 58011 w 98114"/>
                  <a:gd name="connsiteY69" fmla="*/ 37267 h 234658"/>
                  <a:gd name="connsiteX70" fmla="*/ 57086 w 98114"/>
                  <a:gd name="connsiteY70" fmla="*/ 30389 h 234658"/>
                  <a:gd name="connsiteX71" fmla="*/ 57950 w 98114"/>
                  <a:gd name="connsiteY71" fmla="*/ 29857 h 234658"/>
                  <a:gd name="connsiteX72" fmla="*/ 80422 w 98114"/>
                  <a:gd name="connsiteY72" fmla="*/ 29570 h 234658"/>
                  <a:gd name="connsiteX73" fmla="*/ 83156 w 98114"/>
                  <a:gd name="connsiteY73" fmla="*/ 22712 h 234658"/>
                  <a:gd name="connsiteX74" fmla="*/ 82992 w 98114"/>
                  <a:gd name="connsiteY74" fmla="*/ 16693 h 234658"/>
                  <a:gd name="connsiteX75" fmla="*/ 74768 w 98114"/>
                  <a:gd name="connsiteY75" fmla="*/ 16693 h 234658"/>
                  <a:gd name="connsiteX76" fmla="*/ 66934 w 98114"/>
                  <a:gd name="connsiteY76" fmla="*/ 14278 h 234658"/>
                  <a:gd name="connsiteX77" fmla="*/ 65475 w 98114"/>
                  <a:gd name="connsiteY77" fmla="*/ 13500 h 234658"/>
                  <a:gd name="connsiteX78" fmla="*/ 63871 w 98114"/>
                  <a:gd name="connsiteY78" fmla="*/ 12558 h 234658"/>
                  <a:gd name="connsiteX79" fmla="*/ 57292 w 98114"/>
                  <a:gd name="connsiteY79" fmla="*/ 6662 h 234658"/>
                  <a:gd name="connsiteX80" fmla="*/ 54064 w 98114"/>
                  <a:gd name="connsiteY80" fmla="*/ 8218 h 234658"/>
                  <a:gd name="connsiteX81" fmla="*/ 53467 w 98114"/>
                  <a:gd name="connsiteY81" fmla="*/ 8648 h 234658"/>
                  <a:gd name="connsiteX82" fmla="*/ 43455 w 98114"/>
                  <a:gd name="connsiteY82" fmla="*/ 10429 h 234658"/>
                  <a:gd name="connsiteX83" fmla="*/ 36320 w 98114"/>
                  <a:gd name="connsiteY83" fmla="*/ 9549 h 234658"/>
                  <a:gd name="connsiteX84" fmla="*/ 35478 w 98114"/>
                  <a:gd name="connsiteY84" fmla="*/ 9385 h 234658"/>
                  <a:gd name="connsiteX85" fmla="*/ 20551 w 98114"/>
                  <a:gd name="connsiteY85" fmla="*/ 29 h 234658"/>
                  <a:gd name="connsiteX86" fmla="*/ 13643 w 98114"/>
                  <a:gd name="connsiteY86" fmla="*/ 1299 h 234658"/>
                  <a:gd name="connsiteX87" fmla="*/ 12615 w 98114"/>
                  <a:gd name="connsiteY87" fmla="*/ 1790 h 234658"/>
                  <a:gd name="connsiteX88" fmla="*/ 11834 w 98114"/>
                  <a:gd name="connsiteY88" fmla="*/ 2158 h 234658"/>
                  <a:gd name="connsiteX89" fmla="*/ 11114 w 98114"/>
                  <a:gd name="connsiteY89" fmla="*/ 2547 h 234658"/>
                  <a:gd name="connsiteX90" fmla="*/ 4268 w 98114"/>
                  <a:gd name="connsiteY90" fmla="*/ 25291 h 234658"/>
                  <a:gd name="connsiteX91" fmla="*/ 30235 w 98114"/>
                  <a:gd name="connsiteY91" fmla="*/ 22773 h 234658"/>
                  <a:gd name="connsiteX92" fmla="*/ 31078 w 98114"/>
                  <a:gd name="connsiteY92" fmla="*/ 23183 h 234658"/>
                  <a:gd name="connsiteX93" fmla="*/ 31078 w 98114"/>
                  <a:gd name="connsiteY93" fmla="*/ 30307 h 234658"/>
                  <a:gd name="connsiteX94" fmla="*/ 28775 w 98114"/>
                  <a:gd name="connsiteY94" fmla="*/ 28935 h 234658"/>
                  <a:gd name="connsiteX95" fmla="*/ 6755 w 98114"/>
                  <a:gd name="connsiteY95" fmla="*/ 31249 h 234658"/>
                  <a:gd name="connsiteX96" fmla="*/ 5748 w 98114"/>
                  <a:gd name="connsiteY96" fmla="*/ 32272 h 234658"/>
                  <a:gd name="connsiteX97" fmla="*/ 4802 w 98114"/>
                  <a:gd name="connsiteY97" fmla="*/ 33357 h 234658"/>
                  <a:gd name="connsiteX98" fmla="*/ 4268 w 98114"/>
                  <a:gd name="connsiteY98" fmla="*/ 55262 h 234658"/>
                  <a:gd name="connsiteX99" fmla="*/ 8708 w 98114"/>
                  <a:gd name="connsiteY99" fmla="*/ 59664 h 234658"/>
                  <a:gd name="connsiteX100" fmla="*/ 29515 w 98114"/>
                  <a:gd name="connsiteY100" fmla="*/ 57412 h 234658"/>
                  <a:gd name="connsiteX101" fmla="*/ 30584 w 98114"/>
                  <a:gd name="connsiteY101" fmla="*/ 57760 h 234658"/>
                  <a:gd name="connsiteX102" fmla="*/ 30584 w 98114"/>
                  <a:gd name="connsiteY102" fmla="*/ 64085 h 234658"/>
                  <a:gd name="connsiteX103" fmla="*/ 28528 w 98114"/>
                  <a:gd name="connsiteY103" fmla="*/ 63512 h 234658"/>
                  <a:gd name="connsiteX104" fmla="*/ 23614 w 98114"/>
                  <a:gd name="connsiteY104" fmla="*/ 62386 h 234658"/>
                  <a:gd name="connsiteX105" fmla="*/ 12677 w 98114"/>
                  <a:gd name="connsiteY105" fmla="*/ 64433 h 234658"/>
                  <a:gd name="connsiteX106" fmla="*/ 11135 w 98114"/>
                  <a:gd name="connsiteY106" fmla="*/ 65314 h 234658"/>
                  <a:gd name="connsiteX107" fmla="*/ 9736 w 98114"/>
                  <a:gd name="connsiteY107" fmla="*/ 66255 h 234658"/>
                  <a:gd name="connsiteX108" fmla="*/ 5855 w 98114"/>
                  <a:gd name="connsiteY108" fmla="*/ 94100 h 234658"/>
                  <a:gd name="connsiteX109" fmla="*/ 6406 w 98114"/>
                  <a:gd name="connsiteY109" fmla="*/ 94793 h 234658"/>
                  <a:gd name="connsiteX110" fmla="*/ 9695 w 98114"/>
                  <a:gd name="connsiteY110" fmla="*/ 97946 h 234658"/>
                  <a:gd name="connsiteX111" fmla="*/ 22319 w 98114"/>
                  <a:gd name="connsiteY111" fmla="*/ 95898 h 234658"/>
                  <a:gd name="connsiteX112" fmla="*/ 29371 w 98114"/>
                  <a:gd name="connsiteY112" fmla="*/ 97598 h 234658"/>
                  <a:gd name="connsiteX113" fmla="*/ 30317 w 98114"/>
                  <a:gd name="connsiteY113" fmla="*/ 97966 h 234658"/>
                  <a:gd name="connsiteX114" fmla="*/ 30317 w 98114"/>
                  <a:gd name="connsiteY114" fmla="*/ 104701 h 234658"/>
                  <a:gd name="connsiteX115" fmla="*/ 28261 w 98114"/>
                  <a:gd name="connsiteY115" fmla="*/ 103719 h 234658"/>
                  <a:gd name="connsiteX116" fmla="*/ 13478 w 98114"/>
                  <a:gd name="connsiteY116" fmla="*/ 102941 h 234658"/>
                  <a:gd name="connsiteX117" fmla="*/ 11649 w 98114"/>
                  <a:gd name="connsiteY117" fmla="*/ 103657 h 234658"/>
                  <a:gd name="connsiteX118" fmla="*/ 10127 w 98114"/>
                  <a:gd name="connsiteY118" fmla="*/ 104435 h 234658"/>
                  <a:gd name="connsiteX119" fmla="*/ 2580 w 98114"/>
                  <a:gd name="connsiteY119" fmla="*/ 131464 h 234658"/>
                  <a:gd name="connsiteX120" fmla="*/ 11690 w 98114"/>
                  <a:gd name="connsiteY120" fmla="*/ 139769 h 234658"/>
                  <a:gd name="connsiteX121" fmla="*/ 22751 w 98114"/>
                  <a:gd name="connsiteY121" fmla="*/ 137395 h 234658"/>
                  <a:gd name="connsiteX122" fmla="*/ 29659 w 98114"/>
                  <a:gd name="connsiteY122" fmla="*/ 138295 h 234658"/>
                  <a:gd name="connsiteX123" fmla="*/ 33524 w 98114"/>
                  <a:gd name="connsiteY123" fmla="*/ 140076 h 234658"/>
                  <a:gd name="connsiteX124" fmla="*/ 34121 w 98114"/>
                  <a:gd name="connsiteY124" fmla="*/ 140384 h 234658"/>
                  <a:gd name="connsiteX125" fmla="*/ 34285 w 98114"/>
                  <a:gd name="connsiteY125" fmla="*/ 141039 h 234658"/>
                  <a:gd name="connsiteX126" fmla="*/ 35005 w 98114"/>
                  <a:gd name="connsiteY126" fmla="*/ 144478 h 234658"/>
                  <a:gd name="connsiteX127" fmla="*/ 35457 w 98114"/>
                  <a:gd name="connsiteY127" fmla="*/ 147446 h 234658"/>
                  <a:gd name="connsiteX128" fmla="*/ 32887 w 98114"/>
                  <a:gd name="connsiteY128" fmla="*/ 146116 h 234658"/>
                  <a:gd name="connsiteX129" fmla="*/ 30543 w 98114"/>
                  <a:gd name="connsiteY129" fmla="*/ 145031 h 234658"/>
                  <a:gd name="connsiteX130" fmla="*/ 28487 w 98114"/>
                  <a:gd name="connsiteY130" fmla="*/ 144355 h 234658"/>
                  <a:gd name="connsiteX131" fmla="*/ 25753 w 98114"/>
                  <a:gd name="connsiteY131" fmla="*/ 143802 h 234658"/>
                  <a:gd name="connsiteX132" fmla="*/ 23080 w 98114"/>
                  <a:gd name="connsiteY132" fmla="*/ 143598 h 234658"/>
                  <a:gd name="connsiteX133" fmla="*/ 17426 w 98114"/>
                  <a:gd name="connsiteY133" fmla="*/ 144355 h 234658"/>
                  <a:gd name="connsiteX134" fmla="*/ 14671 w 98114"/>
                  <a:gd name="connsiteY134" fmla="*/ 145276 h 234658"/>
                  <a:gd name="connsiteX135" fmla="*/ 12759 w 98114"/>
                  <a:gd name="connsiteY135" fmla="*/ 146197 h 234658"/>
                  <a:gd name="connsiteX136" fmla="*/ 4029 w 98114"/>
                  <a:gd name="connsiteY136" fmla="*/ 174783 h 234658"/>
                  <a:gd name="connsiteX137" fmla="*/ 7619 w 98114"/>
                  <a:gd name="connsiteY137" fmla="*/ 179648 h 234658"/>
                  <a:gd name="connsiteX138" fmla="*/ 12820 w 98114"/>
                  <a:gd name="connsiteY138" fmla="*/ 183497 h 234658"/>
                  <a:gd name="connsiteX139" fmla="*/ 14136 w 98114"/>
                  <a:gd name="connsiteY139" fmla="*/ 182371 h 234658"/>
                  <a:gd name="connsiteX140" fmla="*/ 15946 w 98114"/>
                  <a:gd name="connsiteY140" fmla="*/ 181040 h 234658"/>
                  <a:gd name="connsiteX141" fmla="*/ 18145 w 98114"/>
                  <a:gd name="connsiteY141" fmla="*/ 179710 h 234658"/>
                  <a:gd name="connsiteX142" fmla="*/ 27295 w 98114"/>
                  <a:gd name="connsiteY142" fmla="*/ 176762 h 234658"/>
                  <a:gd name="connsiteX143" fmla="*/ 37698 w 98114"/>
                  <a:gd name="connsiteY143" fmla="*/ 177396 h 234658"/>
                  <a:gd name="connsiteX144" fmla="*/ 40165 w 98114"/>
                  <a:gd name="connsiteY144" fmla="*/ 178174 h 234658"/>
                  <a:gd name="connsiteX145" fmla="*/ 41419 w 98114"/>
                  <a:gd name="connsiteY145" fmla="*/ 178707 h 234658"/>
                  <a:gd name="connsiteX146" fmla="*/ 41872 w 98114"/>
                  <a:gd name="connsiteY146" fmla="*/ 183108 h 234658"/>
                  <a:gd name="connsiteX147" fmla="*/ 42118 w 98114"/>
                  <a:gd name="connsiteY147" fmla="*/ 185667 h 234658"/>
                  <a:gd name="connsiteX148" fmla="*/ 39754 w 98114"/>
                  <a:gd name="connsiteY148" fmla="*/ 184623 h 234658"/>
                  <a:gd name="connsiteX149" fmla="*/ 38048 w 98114"/>
                  <a:gd name="connsiteY149" fmla="*/ 183906 h 234658"/>
                  <a:gd name="connsiteX150" fmla="*/ 37390 w 98114"/>
                  <a:gd name="connsiteY150" fmla="*/ 183702 h 234658"/>
                  <a:gd name="connsiteX151" fmla="*/ 36691 w 98114"/>
                  <a:gd name="connsiteY151" fmla="*/ 183476 h 234658"/>
                  <a:gd name="connsiteX152" fmla="*/ 36156 w 98114"/>
                  <a:gd name="connsiteY152" fmla="*/ 183313 h 234658"/>
                  <a:gd name="connsiteX153" fmla="*/ 30153 w 98114"/>
                  <a:gd name="connsiteY153" fmla="*/ 182658 h 234658"/>
                  <a:gd name="connsiteX154" fmla="*/ 29166 w 98114"/>
                  <a:gd name="connsiteY154" fmla="*/ 182658 h 234658"/>
                  <a:gd name="connsiteX155" fmla="*/ 28323 w 98114"/>
                  <a:gd name="connsiteY155" fmla="*/ 182658 h 234658"/>
                  <a:gd name="connsiteX156" fmla="*/ 21065 w 98114"/>
                  <a:gd name="connsiteY156" fmla="*/ 184971 h 234658"/>
                  <a:gd name="connsiteX157" fmla="*/ 19359 w 98114"/>
                  <a:gd name="connsiteY157" fmla="*/ 185994 h 234658"/>
                  <a:gd name="connsiteX158" fmla="*/ 17981 w 98114"/>
                  <a:gd name="connsiteY158" fmla="*/ 187018 h 234658"/>
                  <a:gd name="connsiteX159" fmla="*/ 14480 w 98114"/>
                  <a:gd name="connsiteY159" fmla="*/ 215759 h 234658"/>
                  <a:gd name="connsiteX160" fmla="*/ 18351 w 98114"/>
                  <a:gd name="connsiteY160" fmla="*/ 219527 h 234658"/>
                  <a:gd name="connsiteX161" fmla="*/ 19359 w 98114"/>
                  <a:gd name="connsiteY161" fmla="*/ 220305 h 234658"/>
                  <a:gd name="connsiteX162" fmla="*/ 19359 w 98114"/>
                  <a:gd name="connsiteY162" fmla="*/ 220428 h 234658"/>
                  <a:gd name="connsiteX163" fmla="*/ 28590 w 98114"/>
                  <a:gd name="connsiteY163" fmla="*/ 225136 h 234658"/>
                  <a:gd name="connsiteX164" fmla="*/ 27541 w 98114"/>
                  <a:gd name="connsiteY164" fmla="*/ 220510 h 234658"/>
                  <a:gd name="connsiteX165" fmla="*/ 32455 w 98114"/>
                  <a:gd name="connsiteY165" fmla="*/ 205013 h 234658"/>
                  <a:gd name="connsiteX166" fmla="*/ 33545 w 98114"/>
                  <a:gd name="connsiteY166" fmla="*/ 203948 h 234658"/>
                  <a:gd name="connsiteX167" fmla="*/ 37616 w 98114"/>
                  <a:gd name="connsiteY167" fmla="*/ 208493 h 234658"/>
                  <a:gd name="connsiteX168" fmla="*/ 36156 w 98114"/>
                  <a:gd name="connsiteY168" fmla="*/ 209946 h 234658"/>
                  <a:gd name="connsiteX169" fmla="*/ 33463 w 98114"/>
                  <a:gd name="connsiteY169" fmla="*/ 219978 h 234658"/>
                  <a:gd name="connsiteX170" fmla="*/ 34737 w 98114"/>
                  <a:gd name="connsiteY170" fmla="*/ 224625 h 234658"/>
                  <a:gd name="connsiteX171" fmla="*/ 35416 w 98114"/>
                  <a:gd name="connsiteY171" fmla="*/ 225935 h 234658"/>
                  <a:gd name="connsiteX172" fmla="*/ 36259 w 98114"/>
                  <a:gd name="connsiteY172" fmla="*/ 227204 h 234658"/>
                  <a:gd name="connsiteX173" fmla="*/ 40371 w 98114"/>
                  <a:gd name="connsiteY173" fmla="*/ 231053 h 234658"/>
                  <a:gd name="connsiteX174" fmla="*/ 41193 w 98114"/>
                  <a:gd name="connsiteY174" fmla="*/ 231565 h 234658"/>
                  <a:gd name="connsiteX175" fmla="*/ 56510 w 98114"/>
                  <a:gd name="connsiteY175" fmla="*/ 234615 h 234658"/>
                  <a:gd name="connsiteX176" fmla="*/ 78468 w 98114"/>
                  <a:gd name="connsiteY176" fmla="*/ 229354 h 234658"/>
                  <a:gd name="connsiteX177" fmla="*/ 95533 w 98114"/>
                  <a:gd name="connsiteY177" fmla="*/ 212587 h 234658"/>
                  <a:gd name="connsiteX178" fmla="*/ 97589 w 98114"/>
                  <a:gd name="connsiteY178" fmla="*/ 206323 h 234658"/>
                  <a:gd name="connsiteX179" fmla="*/ 98083 w 98114"/>
                  <a:gd name="connsiteY179" fmla="*/ 199117 h 234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98114" h="234658">
                    <a:moveTo>
                      <a:pt x="98000" y="199158"/>
                    </a:moveTo>
                    <a:lnTo>
                      <a:pt x="98000" y="196537"/>
                    </a:lnTo>
                    <a:cubicBezTo>
                      <a:pt x="97849" y="188410"/>
                      <a:pt x="92924" y="181126"/>
                      <a:pt x="85418" y="177929"/>
                    </a:cubicBezTo>
                    <a:cubicBezTo>
                      <a:pt x="84863" y="177703"/>
                      <a:pt x="84287" y="177499"/>
                      <a:pt x="83711" y="177314"/>
                    </a:cubicBezTo>
                    <a:cubicBezTo>
                      <a:pt x="83038" y="177084"/>
                      <a:pt x="82351" y="176893"/>
                      <a:pt x="81655" y="176741"/>
                    </a:cubicBezTo>
                    <a:cubicBezTo>
                      <a:pt x="80532" y="176507"/>
                      <a:pt x="79390" y="176370"/>
                      <a:pt x="78242" y="176332"/>
                    </a:cubicBezTo>
                    <a:lnTo>
                      <a:pt x="77420" y="176332"/>
                    </a:lnTo>
                    <a:lnTo>
                      <a:pt x="76721" y="176332"/>
                    </a:lnTo>
                    <a:cubicBezTo>
                      <a:pt x="74380" y="176432"/>
                      <a:pt x="72072" y="176924"/>
                      <a:pt x="69895" y="177785"/>
                    </a:cubicBezTo>
                    <a:lnTo>
                      <a:pt x="69134" y="178051"/>
                    </a:lnTo>
                    <a:cubicBezTo>
                      <a:pt x="68430" y="178338"/>
                      <a:pt x="67743" y="178667"/>
                      <a:pt x="67078" y="179034"/>
                    </a:cubicBezTo>
                    <a:cubicBezTo>
                      <a:pt x="66541" y="179327"/>
                      <a:pt x="66019" y="179648"/>
                      <a:pt x="65516" y="179996"/>
                    </a:cubicBezTo>
                    <a:cubicBezTo>
                      <a:pt x="63983" y="181056"/>
                      <a:pt x="62600" y="182316"/>
                      <a:pt x="61404" y="183743"/>
                    </a:cubicBezTo>
                    <a:lnTo>
                      <a:pt x="59039" y="186527"/>
                    </a:lnTo>
                    <a:lnTo>
                      <a:pt x="58299" y="177642"/>
                    </a:lnTo>
                    <a:lnTo>
                      <a:pt x="58854" y="177130"/>
                    </a:lnTo>
                    <a:cubicBezTo>
                      <a:pt x="59813" y="176252"/>
                      <a:pt x="60830" y="175438"/>
                      <a:pt x="61897" y="174694"/>
                    </a:cubicBezTo>
                    <a:lnTo>
                      <a:pt x="62185" y="174510"/>
                    </a:lnTo>
                    <a:cubicBezTo>
                      <a:pt x="62843" y="174100"/>
                      <a:pt x="63377" y="173752"/>
                      <a:pt x="63953" y="173425"/>
                    </a:cubicBezTo>
                    <a:cubicBezTo>
                      <a:pt x="64529" y="173097"/>
                      <a:pt x="65639" y="172545"/>
                      <a:pt x="66461" y="172197"/>
                    </a:cubicBezTo>
                    <a:cubicBezTo>
                      <a:pt x="69574" y="170852"/>
                      <a:pt x="72918" y="170115"/>
                      <a:pt x="76310" y="170027"/>
                    </a:cubicBezTo>
                    <a:cubicBezTo>
                      <a:pt x="76611" y="170009"/>
                      <a:pt x="76913" y="170009"/>
                      <a:pt x="77214" y="170027"/>
                    </a:cubicBezTo>
                    <a:cubicBezTo>
                      <a:pt x="79080" y="170021"/>
                      <a:pt x="80941" y="170214"/>
                      <a:pt x="82765" y="170600"/>
                    </a:cubicBezTo>
                    <a:cubicBezTo>
                      <a:pt x="83717" y="170795"/>
                      <a:pt x="84657" y="171041"/>
                      <a:pt x="85582" y="171337"/>
                    </a:cubicBezTo>
                    <a:cubicBezTo>
                      <a:pt x="86343" y="171582"/>
                      <a:pt x="87104" y="171869"/>
                      <a:pt x="87844" y="172176"/>
                    </a:cubicBezTo>
                    <a:cubicBezTo>
                      <a:pt x="88547" y="172489"/>
                      <a:pt x="89233" y="172837"/>
                      <a:pt x="89900" y="173220"/>
                    </a:cubicBezTo>
                    <a:cubicBezTo>
                      <a:pt x="97867" y="165779"/>
                      <a:pt x="98268" y="153316"/>
                      <a:pt x="90795" y="145383"/>
                    </a:cubicBezTo>
                    <a:cubicBezTo>
                      <a:pt x="90683" y="145264"/>
                      <a:pt x="90570" y="145147"/>
                      <a:pt x="90455" y="145031"/>
                    </a:cubicBezTo>
                    <a:cubicBezTo>
                      <a:pt x="89233" y="143753"/>
                      <a:pt x="87851" y="142639"/>
                      <a:pt x="86343" y="141714"/>
                    </a:cubicBezTo>
                    <a:cubicBezTo>
                      <a:pt x="85849" y="141428"/>
                      <a:pt x="85356" y="141182"/>
                      <a:pt x="84863" y="140936"/>
                    </a:cubicBezTo>
                    <a:cubicBezTo>
                      <a:pt x="84369" y="140691"/>
                      <a:pt x="83876" y="140486"/>
                      <a:pt x="83362" y="140302"/>
                    </a:cubicBezTo>
                    <a:cubicBezTo>
                      <a:pt x="81181" y="139472"/>
                      <a:pt x="78870" y="139036"/>
                      <a:pt x="76536" y="139012"/>
                    </a:cubicBezTo>
                    <a:cubicBezTo>
                      <a:pt x="72617" y="139009"/>
                      <a:pt x="68781" y="140140"/>
                      <a:pt x="65495" y="142267"/>
                    </a:cubicBezTo>
                    <a:lnTo>
                      <a:pt x="63295" y="143700"/>
                    </a:lnTo>
                    <a:lnTo>
                      <a:pt x="62966" y="141223"/>
                    </a:lnTo>
                    <a:lnTo>
                      <a:pt x="62658" y="136842"/>
                    </a:lnTo>
                    <a:lnTo>
                      <a:pt x="63480" y="136392"/>
                    </a:lnTo>
                    <a:cubicBezTo>
                      <a:pt x="67365" y="134165"/>
                      <a:pt x="71766" y="132986"/>
                      <a:pt x="76248" y="132973"/>
                    </a:cubicBezTo>
                    <a:cubicBezTo>
                      <a:pt x="79694" y="133005"/>
                      <a:pt x="83101" y="133700"/>
                      <a:pt x="86281" y="135020"/>
                    </a:cubicBezTo>
                    <a:cubicBezTo>
                      <a:pt x="93983" y="127212"/>
                      <a:pt x="93870" y="114665"/>
                      <a:pt x="86028" y="106996"/>
                    </a:cubicBezTo>
                    <a:cubicBezTo>
                      <a:pt x="84053" y="105065"/>
                      <a:pt x="81695" y="103565"/>
                      <a:pt x="79106" y="102593"/>
                    </a:cubicBezTo>
                    <a:cubicBezTo>
                      <a:pt x="78448" y="102347"/>
                      <a:pt x="77769" y="102142"/>
                      <a:pt x="77050" y="101958"/>
                    </a:cubicBezTo>
                    <a:cubicBezTo>
                      <a:pt x="76179" y="101731"/>
                      <a:pt x="75292" y="101567"/>
                      <a:pt x="74398" y="101467"/>
                    </a:cubicBezTo>
                    <a:lnTo>
                      <a:pt x="74089" y="101467"/>
                    </a:lnTo>
                    <a:cubicBezTo>
                      <a:pt x="73404" y="101433"/>
                      <a:pt x="72718" y="101433"/>
                      <a:pt x="72033" y="101467"/>
                    </a:cubicBezTo>
                    <a:cubicBezTo>
                      <a:pt x="70298" y="101470"/>
                      <a:pt x="68570" y="101697"/>
                      <a:pt x="66893" y="102142"/>
                    </a:cubicBezTo>
                    <a:cubicBezTo>
                      <a:pt x="65986" y="102372"/>
                      <a:pt x="65099" y="102673"/>
                      <a:pt x="64241" y="103043"/>
                    </a:cubicBezTo>
                    <a:cubicBezTo>
                      <a:pt x="64030" y="103126"/>
                      <a:pt x="63824" y="103222"/>
                      <a:pt x="63624" y="103330"/>
                    </a:cubicBezTo>
                    <a:lnTo>
                      <a:pt x="61157" y="104538"/>
                    </a:lnTo>
                    <a:lnTo>
                      <a:pt x="60910" y="97843"/>
                    </a:lnTo>
                    <a:lnTo>
                      <a:pt x="61877" y="97454"/>
                    </a:lnTo>
                    <a:cubicBezTo>
                      <a:pt x="65835" y="95718"/>
                      <a:pt x="70172" y="95014"/>
                      <a:pt x="74480" y="95407"/>
                    </a:cubicBezTo>
                    <a:cubicBezTo>
                      <a:pt x="76023" y="95556"/>
                      <a:pt x="77550" y="95837"/>
                      <a:pt x="79044" y="96246"/>
                    </a:cubicBezTo>
                    <a:cubicBezTo>
                      <a:pt x="86818" y="90941"/>
                      <a:pt x="88800" y="80365"/>
                      <a:pt x="83472" y="72625"/>
                    </a:cubicBezTo>
                    <a:cubicBezTo>
                      <a:pt x="82073" y="70592"/>
                      <a:pt x="80246" y="68887"/>
                      <a:pt x="78119" y="67627"/>
                    </a:cubicBezTo>
                    <a:cubicBezTo>
                      <a:pt x="77634" y="67332"/>
                      <a:pt x="77133" y="67066"/>
                      <a:pt x="76618" y="66829"/>
                    </a:cubicBezTo>
                    <a:cubicBezTo>
                      <a:pt x="76007" y="66524"/>
                      <a:pt x="75375" y="66264"/>
                      <a:pt x="74726" y="66051"/>
                    </a:cubicBezTo>
                    <a:cubicBezTo>
                      <a:pt x="70609" y="64687"/>
                      <a:pt x="66125" y="64935"/>
                      <a:pt x="62185" y="66747"/>
                    </a:cubicBezTo>
                    <a:lnTo>
                      <a:pt x="60129" y="67709"/>
                    </a:lnTo>
                    <a:lnTo>
                      <a:pt x="59841" y="61097"/>
                    </a:lnTo>
                    <a:lnTo>
                      <a:pt x="60828" y="60708"/>
                    </a:lnTo>
                    <a:cubicBezTo>
                      <a:pt x="66578" y="58422"/>
                      <a:pt x="73015" y="58570"/>
                      <a:pt x="78653" y="61117"/>
                    </a:cubicBezTo>
                    <a:cubicBezTo>
                      <a:pt x="85665" y="56075"/>
                      <a:pt x="87264" y="46338"/>
                      <a:pt x="82231" y="39335"/>
                    </a:cubicBezTo>
                    <a:cubicBezTo>
                      <a:pt x="81629" y="38476"/>
                      <a:pt x="80940" y="37680"/>
                      <a:pt x="80175" y="36960"/>
                    </a:cubicBezTo>
                    <a:cubicBezTo>
                      <a:pt x="79969" y="36756"/>
                      <a:pt x="79723" y="36592"/>
                      <a:pt x="79496" y="36408"/>
                    </a:cubicBezTo>
                    <a:lnTo>
                      <a:pt x="78571" y="35691"/>
                    </a:lnTo>
                    <a:cubicBezTo>
                      <a:pt x="78349" y="35491"/>
                      <a:pt x="78108" y="35313"/>
                      <a:pt x="77852" y="35159"/>
                    </a:cubicBezTo>
                    <a:cubicBezTo>
                      <a:pt x="76055" y="34029"/>
                      <a:pt x="74048" y="33270"/>
                      <a:pt x="71951" y="32927"/>
                    </a:cubicBezTo>
                    <a:cubicBezTo>
                      <a:pt x="67766" y="32225"/>
                      <a:pt x="63474" y="33253"/>
                      <a:pt x="60067" y="35773"/>
                    </a:cubicBezTo>
                    <a:lnTo>
                      <a:pt x="58011" y="37267"/>
                    </a:lnTo>
                    <a:lnTo>
                      <a:pt x="57086" y="30389"/>
                    </a:lnTo>
                    <a:lnTo>
                      <a:pt x="57950" y="29857"/>
                    </a:lnTo>
                    <a:cubicBezTo>
                      <a:pt x="64800" y="25594"/>
                      <a:pt x="73464" y="25484"/>
                      <a:pt x="80422" y="29570"/>
                    </a:cubicBezTo>
                    <a:cubicBezTo>
                      <a:pt x="81822" y="27509"/>
                      <a:pt x="82756" y="25169"/>
                      <a:pt x="83156" y="22712"/>
                    </a:cubicBezTo>
                    <a:cubicBezTo>
                      <a:pt x="83472" y="20713"/>
                      <a:pt x="83416" y="18673"/>
                      <a:pt x="82992" y="16693"/>
                    </a:cubicBezTo>
                    <a:cubicBezTo>
                      <a:pt x="80267" y="17116"/>
                      <a:pt x="77493" y="17116"/>
                      <a:pt x="74768" y="16693"/>
                    </a:cubicBezTo>
                    <a:cubicBezTo>
                      <a:pt x="72051" y="16279"/>
                      <a:pt x="69411" y="15465"/>
                      <a:pt x="66934" y="14278"/>
                    </a:cubicBezTo>
                    <a:cubicBezTo>
                      <a:pt x="66431" y="14051"/>
                      <a:pt x="65943" y="13791"/>
                      <a:pt x="65475" y="13500"/>
                    </a:cubicBezTo>
                    <a:cubicBezTo>
                      <a:pt x="64858" y="13152"/>
                      <a:pt x="64344" y="12865"/>
                      <a:pt x="63871" y="12558"/>
                    </a:cubicBezTo>
                    <a:cubicBezTo>
                      <a:pt x="61372" y="10960"/>
                      <a:pt x="59150" y="8969"/>
                      <a:pt x="57292" y="6662"/>
                    </a:cubicBezTo>
                    <a:cubicBezTo>
                      <a:pt x="56249" y="7246"/>
                      <a:pt x="55171" y="7766"/>
                      <a:pt x="54064" y="8218"/>
                    </a:cubicBezTo>
                    <a:lnTo>
                      <a:pt x="53467" y="8648"/>
                    </a:lnTo>
                    <a:cubicBezTo>
                      <a:pt x="50266" y="9842"/>
                      <a:pt x="46873" y="10446"/>
                      <a:pt x="43455" y="10429"/>
                    </a:cubicBezTo>
                    <a:cubicBezTo>
                      <a:pt x="41048" y="10451"/>
                      <a:pt x="38649" y="10155"/>
                      <a:pt x="36320" y="9549"/>
                    </a:cubicBezTo>
                    <a:lnTo>
                      <a:pt x="35478" y="9385"/>
                    </a:lnTo>
                    <a:cubicBezTo>
                      <a:pt x="29653" y="7871"/>
                      <a:pt x="24441" y="4604"/>
                      <a:pt x="20551" y="29"/>
                    </a:cubicBezTo>
                    <a:cubicBezTo>
                      <a:pt x="18178" y="-122"/>
                      <a:pt x="15805" y="314"/>
                      <a:pt x="13643" y="1299"/>
                    </a:cubicBezTo>
                    <a:cubicBezTo>
                      <a:pt x="13293" y="1442"/>
                      <a:pt x="12964" y="1606"/>
                      <a:pt x="12615" y="1790"/>
                    </a:cubicBezTo>
                    <a:lnTo>
                      <a:pt x="11834" y="2158"/>
                    </a:lnTo>
                    <a:cubicBezTo>
                      <a:pt x="11587" y="2276"/>
                      <a:pt x="11347" y="2406"/>
                      <a:pt x="11114" y="2547"/>
                    </a:cubicBezTo>
                    <a:cubicBezTo>
                      <a:pt x="3193" y="7167"/>
                      <a:pt x="204" y="17096"/>
                      <a:pt x="4268" y="25291"/>
                    </a:cubicBezTo>
                    <a:cubicBezTo>
                      <a:pt x="11703" y="19515"/>
                      <a:pt x="21820" y="18533"/>
                      <a:pt x="30235" y="22773"/>
                    </a:cubicBezTo>
                    <a:lnTo>
                      <a:pt x="31078" y="23183"/>
                    </a:lnTo>
                    <a:lnTo>
                      <a:pt x="31078" y="30307"/>
                    </a:lnTo>
                    <a:lnTo>
                      <a:pt x="28775" y="28935"/>
                    </a:lnTo>
                    <a:cubicBezTo>
                      <a:pt x="21754" y="24659"/>
                      <a:pt x="12725" y="25608"/>
                      <a:pt x="6755" y="31249"/>
                    </a:cubicBezTo>
                    <a:cubicBezTo>
                      <a:pt x="6406" y="31576"/>
                      <a:pt x="6077" y="31924"/>
                      <a:pt x="5748" y="32272"/>
                    </a:cubicBezTo>
                    <a:cubicBezTo>
                      <a:pt x="5419" y="32620"/>
                      <a:pt x="5110" y="32989"/>
                      <a:pt x="4802" y="33357"/>
                    </a:cubicBezTo>
                    <a:cubicBezTo>
                      <a:pt x="-224" y="39737"/>
                      <a:pt x="-442" y="48647"/>
                      <a:pt x="4268" y="55262"/>
                    </a:cubicBezTo>
                    <a:cubicBezTo>
                      <a:pt x="5491" y="56965"/>
                      <a:pt x="6992" y="58453"/>
                      <a:pt x="8708" y="59664"/>
                    </a:cubicBezTo>
                    <a:cubicBezTo>
                      <a:pt x="15009" y="56008"/>
                      <a:pt x="22573" y="55189"/>
                      <a:pt x="29515" y="57412"/>
                    </a:cubicBezTo>
                    <a:lnTo>
                      <a:pt x="30584" y="57760"/>
                    </a:lnTo>
                    <a:lnTo>
                      <a:pt x="30584" y="64085"/>
                    </a:lnTo>
                    <a:lnTo>
                      <a:pt x="28528" y="63512"/>
                    </a:lnTo>
                    <a:cubicBezTo>
                      <a:pt x="26942" y="62940"/>
                      <a:pt x="25292" y="62562"/>
                      <a:pt x="23614" y="62386"/>
                    </a:cubicBezTo>
                    <a:cubicBezTo>
                      <a:pt x="19847" y="62022"/>
                      <a:pt x="16054" y="62732"/>
                      <a:pt x="12677" y="64433"/>
                    </a:cubicBezTo>
                    <a:cubicBezTo>
                      <a:pt x="12145" y="64695"/>
                      <a:pt x="11630" y="64989"/>
                      <a:pt x="11135" y="65314"/>
                    </a:cubicBezTo>
                    <a:cubicBezTo>
                      <a:pt x="10653" y="65604"/>
                      <a:pt x="10186" y="65918"/>
                      <a:pt x="9736" y="66255"/>
                    </a:cubicBezTo>
                    <a:cubicBezTo>
                      <a:pt x="942" y="72877"/>
                      <a:pt x="-796" y="85344"/>
                      <a:pt x="5855" y="94100"/>
                    </a:cubicBezTo>
                    <a:cubicBezTo>
                      <a:pt x="6033" y="94335"/>
                      <a:pt x="6217" y="94566"/>
                      <a:pt x="6406" y="94793"/>
                    </a:cubicBezTo>
                    <a:cubicBezTo>
                      <a:pt x="7376" y="95967"/>
                      <a:pt x="8480" y="97025"/>
                      <a:pt x="9695" y="97946"/>
                    </a:cubicBezTo>
                    <a:cubicBezTo>
                      <a:pt x="13661" y="96209"/>
                      <a:pt x="18005" y="95504"/>
                      <a:pt x="22319" y="95898"/>
                    </a:cubicBezTo>
                    <a:cubicBezTo>
                      <a:pt x="24740" y="96123"/>
                      <a:pt x="27115" y="96696"/>
                      <a:pt x="29371" y="97598"/>
                    </a:cubicBezTo>
                    <a:lnTo>
                      <a:pt x="30317" y="97966"/>
                    </a:lnTo>
                    <a:lnTo>
                      <a:pt x="30317" y="104701"/>
                    </a:lnTo>
                    <a:lnTo>
                      <a:pt x="28261" y="103719"/>
                    </a:lnTo>
                    <a:cubicBezTo>
                      <a:pt x="23615" y="101585"/>
                      <a:pt x="18324" y="101306"/>
                      <a:pt x="13478" y="102941"/>
                    </a:cubicBezTo>
                    <a:cubicBezTo>
                      <a:pt x="12862" y="103166"/>
                      <a:pt x="12245" y="103391"/>
                      <a:pt x="11649" y="103657"/>
                    </a:cubicBezTo>
                    <a:cubicBezTo>
                      <a:pt x="11052" y="103923"/>
                      <a:pt x="10621" y="104149"/>
                      <a:pt x="10127" y="104435"/>
                    </a:cubicBezTo>
                    <a:cubicBezTo>
                      <a:pt x="547" y="109824"/>
                      <a:pt x="-2832" y="121925"/>
                      <a:pt x="2580" y="131464"/>
                    </a:cubicBezTo>
                    <a:cubicBezTo>
                      <a:pt x="4656" y="135123"/>
                      <a:pt x="7846" y="138032"/>
                      <a:pt x="11690" y="139769"/>
                    </a:cubicBezTo>
                    <a:cubicBezTo>
                      <a:pt x="15165" y="138204"/>
                      <a:pt x="18936" y="137394"/>
                      <a:pt x="22751" y="137395"/>
                    </a:cubicBezTo>
                    <a:cubicBezTo>
                      <a:pt x="25087" y="137331"/>
                      <a:pt x="27418" y="137635"/>
                      <a:pt x="29659" y="138295"/>
                    </a:cubicBezTo>
                    <a:cubicBezTo>
                      <a:pt x="30992" y="138789"/>
                      <a:pt x="32284" y="139384"/>
                      <a:pt x="33524" y="140076"/>
                    </a:cubicBezTo>
                    <a:lnTo>
                      <a:pt x="34121" y="140384"/>
                    </a:lnTo>
                    <a:lnTo>
                      <a:pt x="34285" y="141039"/>
                    </a:lnTo>
                    <a:cubicBezTo>
                      <a:pt x="34594" y="142170"/>
                      <a:pt x="34834" y="143318"/>
                      <a:pt x="35005" y="144478"/>
                    </a:cubicBezTo>
                    <a:lnTo>
                      <a:pt x="35457" y="147446"/>
                    </a:lnTo>
                    <a:lnTo>
                      <a:pt x="32887" y="146116"/>
                    </a:lnTo>
                    <a:cubicBezTo>
                      <a:pt x="32130" y="145704"/>
                      <a:pt x="31347" y="145342"/>
                      <a:pt x="30543" y="145031"/>
                    </a:cubicBezTo>
                    <a:cubicBezTo>
                      <a:pt x="29865" y="144764"/>
                      <a:pt x="29166" y="144560"/>
                      <a:pt x="28487" y="144355"/>
                    </a:cubicBezTo>
                    <a:cubicBezTo>
                      <a:pt x="27590" y="144106"/>
                      <a:pt x="26676" y="143921"/>
                      <a:pt x="25753" y="143802"/>
                    </a:cubicBezTo>
                    <a:cubicBezTo>
                      <a:pt x="24868" y="143672"/>
                      <a:pt x="23975" y="143603"/>
                      <a:pt x="23080" y="143598"/>
                    </a:cubicBezTo>
                    <a:cubicBezTo>
                      <a:pt x="21170" y="143602"/>
                      <a:pt x="19269" y="143856"/>
                      <a:pt x="17426" y="144355"/>
                    </a:cubicBezTo>
                    <a:cubicBezTo>
                      <a:pt x="16487" y="144597"/>
                      <a:pt x="15566" y="144905"/>
                      <a:pt x="14671" y="145276"/>
                    </a:cubicBezTo>
                    <a:cubicBezTo>
                      <a:pt x="14014" y="145542"/>
                      <a:pt x="13376" y="145850"/>
                      <a:pt x="12759" y="146197"/>
                    </a:cubicBezTo>
                    <a:cubicBezTo>
                      <a:pt x="2421" y="151691"/>
                      <a:pt x="-1488" y="164489"/>
                      <a:pt x="4029" y="174783"/>
                    </a:cubicBezTo>
                    <a:cubicBezTo>
                      <a:pt x="4986" y="176567"/>
                      <a:pt x="6195" y="178206"/>
                      <a:pt x="7619" y="179648"/>
                    </a:cubicBezTo>
                    <a:cubicBezTo>
                      <a:pt x="9141" y="181193"/>
                      <a:pt x="10896" y="182491"/>
                      <a:pt x="12820" y="183497"/>
                    </a:cubicBezTo>
                    <a:lnTo>
                      <a:pt x="14136" y="182371"/>
                    </a:lnTo>
                    <a:cubicBezTo>
                      <a:pt x="14733" y="181900"/>
                      <a:pt x="15329" y="181450"/>
                      <a:pt x="15946" y="181040"/>
                    </a:cubicBezTo>
                    <a:cubicBezTo>
                      <a:pt x="16562" y="180631"/>
                      <a:pt x="17385" y="180119"/>
                      <a:pt x="18145" y="179710"/>
                    </a:cubicBezTo>
                    <a:cubicBezTo>
                      <a:pt x="20994" y="178190"/>
                      <a:pt x="24092" y="177192"/>
                      <a:pt x="27295" y="176762"/>
                    </a:cubicBezTo>
                    <a:cubicBezTo>
                      <a:pt x="30770" y="176266"/>
                      <a:pt x="34310" y="176482"/>
                      <a:pt x="37698" y="177396"/>
                    </a:cubicBezTo>
                    <a:cubicBezTo>
                      <a:pt x="38541" y="177622"/>
                      <a:pt x="39384" y="177888"/>
                      <a:pt x="40165" y="178174"/>
                    </a:cubicBezTo>
                    <a:lnTo>
                      <a:pt x="41419" y="178707"/>
                    </a:lnTo>
                    <a:lnTo>
                      <a:pt x="41872" y="183108"/>
                    </a:lnTo>
                    <a:lnTo>
                      <a:pt x="42118" y="185667"/>
                    </a:lnTo>
                    <a:lnTo>
                      <a:pt x="39754" y="184623"/>
                    </a:lnTo>
                    <a:cubicBezTo>
                      <a:pt x="39137" y="184336"/>
                      <a:pt x="38603" y="184111"/>
                      <a:pt x="38048" y="183906"/>
                    </a:cubicBezTo>
                    <a:lnTo>
                      <a:pt x="37390" y="183702"/>
                    </a:lnTo>
                    <a:lnTo>
                      <a:pt x="36691" y="183476"/>
                    </a:lnTo>
                    <a:lnTo>
                      <a:pt x="36156" y="183313"/>
                    </a:lnTo>
                    <a:cubicBezTo>
                      <a:pt x="34207" y="182757"/>
                      <a:pt x="32176" y="182536"/>
                      <a:pt x="30153" y="182658"/>
                    </a:cubicBezTo>
                    <a:lnTo>
                      <a:pt x="29166" y="182658"/>
                    </a:lnTo>
                    <a:lnTo>
                      <a:pt x="28323" y="182658"/>
                    </a:lnTo>
                    <a:cubicBezTo>
                      <a:pt x="25778" y="182963"/>
                      <a:pt x="23315" y="183748"/>
                      <a:pt x="21065" y="184971"/>
                    </a:cubicBezTo>
                    <a:cubicBezTo>
                      <a:pt x="20489" y="185278"/>
                      <a:pt x="19914" y="185626"/>
                      <a:pt x="19359" y="185994"/>
                    </a:cubicBezTo>
                    <a:cubicBezTo>
                      <a:pt x="18881" y="186311"/>
                      <a:pt x="18421" y="186652"/>
                      <a:pt x="17981" y="187018"/>
                    </a:cubicBezTo>
                    <a:cubicBezTo>
                      <a:pt x="9043" y="193992"/>
                      <a:pt x="7476" y="206860"/>
                      <a:pt x="14480" y="215759"/>
                    </a:cubicBezTo>
                    <a:cubicBezTo>
                      <a:pt x="15598" y="217179"/>
                      <a:pt x="16899" y="218446"/>
                      <a:pt x="18351" y="219527"/>
                    </a:cubicBezTo>
                    <a:lnTo>
                      <a:pt x="19359" y="220305"/>
                    </a:lnTo>
                    <a:lnTo>
                      <a:pt x="19359" y="220428"/>
                    </a:lnTo>
                    <a:cubicBezTo>
                      <a:pt x="22136" y="222522"/>
                      <a:pt x="25260" y="224116"/>
                      <a:pt x="28590" y="225136"/>
                    </a:cubicBezTo>
                    <a:cubicBezTo>
                      <a:pt x="28062" y="223640"/>
                      <a:pt x="27710" y="222087"/>
                      <a:pt x="27541" y="220510"/>
                    </a:cubicBezTo>
                    <a:cubicBezTo>
                      <a:pt x="26792" y="214874"/>
                      <a:pt x="28592" y="209198"/>
                      <a:pt x="32455" y="205013"/>
                    </a:cubicBezTo>
                    <a:lnTo>
                      <a:pt x="33545" y="203948"/>
                    </a:lnTo>
                    <a:lnTo>
                      <a:pt x="37616" y="208493"/>
                    </a:lnTo>
                    <a:lnTo>
                      <a:pt x="36156" y="209946"/>
                    </a:lnTo>
                    <a:cubicBezTo>
                      <a:pt x="33946" y="212796"/>
                      <a:pt x="32976" y="216410"/>
                      <a:pt x="33463" y="219978"/>
                    </a:cubicBezTo>
                    <a:cubicBezTo>
                      <a:pt x="33655" y="221581"/>
                      <a:pt x="34085" y="223147"/>
                      <a:pt x="34737" y="224625"/>
                    </a:cubicBezTo>
                    <a:cubicBezTo>
                      <a:pt x="34943" y="225055"/>
                      <a:pt x="35169" y="225484"/>
                      <a:pt x="35416" y="225935"/>
                    </a:cubicBezTo>
                    <a:cubicBezTo>
                      <a:pt x="35670" y="226375"/>
                      <a:pt x="35952" y="226799"/>
                      <a:pt x="36259" y="227204"/>
                    </a:cubicBezTo>
                    <a:cubicBezTo>
                      <a:pt x="37361" y="228745"/>
                      <a:pt x="38758" y="230053"/>
                      <a:pt x="40371" y="231053"/>
                    </a:cubicBezTo>
                    <a:lnTo>
                      <a:pt x="41193" y="231565"/>
                    </a:lnTo>
                    <a:cubicBezTo>
                      <a:pt x="45962" y="233843"/>
                      <a:pt x="51229" y="234892"/>
                      <a:pt x="56510" y="234615"/>
                    </a:cubicBezTo>
                    <a:cubicBezTo>
                      <a:pt x="64136" y="234541"/>
                      <a:pt x="71644" y="232742"/>
                      <a:pt x="78468" y="229354"/>
                    </a:cubicBezTo>
                    <a:cubicBezTo>
                      <a:pt x="86692" y="224788"/>
                      <a:pt x="92531" y="219118"/>
                      <a:pt x="95533" y="212587"/>
                    </a:cubicBezTo>
                    <a:cubicBezTo>
                      <a:pt x="96465" y="210588"/>
                      <a:pt x="97155" y="208485"/>
                      <a:pt x="97589" y="206323"/>
                    </a:cubicBezTo>
                    <a:cubicBezTo>
                      <a:pt x="98024" y="203947"/>
                      <a:pt x="98190" y="201530"/>
                      <a:pt x="98083" y="199117"/>
                    </a:cubicBezTo>
                    <a:close/>
                  </a:path>
                </a:pathLst>
              </a:custGeom>
              <a:gradFill>
                <a:gsLst>
                  <a:gs pos="45000">
                    <a:srgbClr val="DD694E">
                      <a:lumMod val="84000"/>
                      <a:lumOff val="16000"/>
                    </a:srgbClr>
                  </a:gs>
                  <a:gs pos="0">
                    <a:srgbClr val="AF2D1C"/>
                  </a:gs>
                  <a:gs pos="100000">
                    <a:srgbClr val="DA8374">
                      <a:lumMod val="80195"/>
                    </a:srgbClr>
                  </a:gs>
                </a:gsLst>
                <a:lin ang="5400000" scaled="1"/>
              </a:gra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203" name="Group Heart">
            <a:extLst>
              <a:ext uri="{FF2B5EF4-FFF2-40B4-BE49-F238E27FC236}">
                <a16:creationId xmlns:a16="http://schemas.microsoft.com/office/drawing/2014/main" id="{18D3DD06-919E-43F7-B27E-A2BA99F3AD29}"/>
              </a:ext>
            </a:extLst>
          </p:cNvPr>
          <p:cNvGrpSpPr/>
          <p:nvPr/>
        </p:nvGrpSpPr>
        <p:grpSpPr>
          <a:xfrm>
            <a:off x="6000514" y="2491703"/>
            <a:ext cx="265887" cy="407087"/>
            <a:chOff x="7356475" y="1863725"/>
            <a:chExt cx="842966" cy="1290638"/>
          </a:xfrm>
          <a:gradFill>
            <a:gsLst>
              <a:gs pos="8000">
                <a:srgbClr val="D38980"/>
              </a:gs>
              <a:gs pos="85000">
                <a:srgbClr val="D38980"/>
              </a:gs>
              <a:gs pos="46000">
                <a:srgbClr val="C23221">
                  <a:lumMod val="86461"/>
                  <a:lumOff val="13539"/>
                </a:srgbClr>
              </a:gs>
            </a:gsLst>
            <a:lin ang="16200000" scaled="0"/>
          </a:gradFill>
          <a:effectLst>
            <a:outerShdw blurRad="63500" sx="102000" sy="102000" algn="ctr" rotWithShape="0">
              <a:schemeClr val="tx2">
                <a:alpha val="16000"/>
              </a:schemeClr>
            </a:outerShdw>
          </a:effectLst>
        </p:grpSpPr>
        <p:sp>
          <p:nvSpPr>
            <p:cNvPr id="204" name="Freeform 84">
              <a:extLst>
                <a:ext uri="{FF2B5EF4-FFF2-40B4-BE49-F238E27FC236}">
                  <a16:creationId xmlns:a16="http://schemas.microsoft.com/office/drawing/2014/main" id="{8105C4B0-F048-4813-BCEB-2609162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2828" y="2068512"/>
              <a:ext cx="836613" cy="1085851"/>
            </a:xfrm>
            <a:custGeom>
              <a:avLst/>
              <a:gdLst>
                <a:gd name="T0" fmla="*/ 798 w 1101"/>
                <a:gd name="T1" fmla="*/ 286 h 1430"/>
                <a:gd name="T2" fmla="*/ 907 w 1101"/>
                <a:gd name="T3" fmla="*/ 196 h 1430"/>
                <a:gd name="T4" fmla="*/ 980 w 1101"/>
                <a:gd name="T5" fmla="*/ 84 h 1430"/>
                <a:gd name="T6" fmla="*/ 892 w 1101"/>
                <a:gd name="T7" fmla="*/ 14 h 1430"/>
                <a:gd name="T8" fmla="*/ 444 w 1101"/>
                <a:gd name="T9" fmla="*/ 465 h 1430"/>
                <a:gd name="T10" fmla="*/ 128 w 1101"/>
                <a:gd name="T11" fmla="*/ 733 h 1430"/>
                <a:gd name="T12" fmla="*/ 85 w 1101"/>
                <a:gd name="T13" fmla="*/ 911 h 1430"/>
                <a:gd name="T14" fmla="*/ 858 w 1101"/>
                <a:gd name="T15" fmla="*/ 1418 h 1430"/>
                <a:gd name="T16" fmla="*/ 1086 w 1101"/>
                <a:gd name="T17" fmla="*/ 974 h 1430"/>
                <a:gd name="T18" fmla="*/ 798 w 1101"/>
                <a:gd name="T19" fmla="*/ 28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1" h="1430">
                  <a:moveTo>
                    <a:pt x="798" y="286"/>
                  </a:moveTo>
                  <a:cubicBezTo>
                    <a:pt x="810" y="269"/>
                    <a:pt x="866" y="215"/>
                    <a:pt x="907" y="196"/>
                  </a:cubicBezTo>
                  <a:cubicBezTo>
                    <a:pt x="948" y="177"/>
                    <a:pt x="997" y="169"/>
                    <a:pt x="980" y="84"/>
                  </a:cubicBezTo>
                  <a:cubicBezTo>
                    <a:pt x="963" y="0"/>
                    <a:pt x="892" y="14"/>
                    <a:pt x="892" y="14"/>
                  </a:cubicBezTo>
                  <a:cubicBezTo>
                    <a:pt x="635" y="58"/>
                    <a:pt x="490" y="334"/>
                    <a:pt x="444" y="465"/>
                  </a:cubicBezTo>
                  <a:cubicBezTo>
                    <a:pt x="398" y="596"/>
                    <a:pt x="257" y="683"/>
                    <a:pt x="128" y="733"/>
                  </a:cubicBezTo>
                  <a:cubicBezTo>
                    <a:pt x="0" y="784"/>
                    <a:pt x="85" y="911"/>
                    <a:pt x="85" y="911"/>
                  </a:cubicBezTo>
                  <a:cubicBezTo>
                    <a:pt x="359" y="1345"/>
                    <a:pt x="708" y="1406"/>
                    <a:pt x="858" y="1418"/>
                  </a:cubicBezTo>
                  <a:cubicBezTo>
                    <a:pt x="1009" y="1430"/>
                    <a:pt x="1072" y="1376"/>
                    <a:pt x="1086" y="974"/>
                  </a:cubicBezTo>
                  <a:cubicBezTo>
                    <a:pt x="1101" y="572"/>
                    <a:pt x="798" y="286"/>
                    <a:pt x="798" y="286"/>
                  </a:cubicBezTo>
                  <a:close/>
                </a:path>
              </a:pathLst>
            </a:custGeom>
            <a:grpFill/>
            <a:ln w="31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7000">
                    <a:srgbClr val="AF2D1D"/>
                  </a:gs>
                  <a:gs pos="87000">
                    <a:schemeClr val="accent1">
                      <a:lumMod val="45000"/>
                      <a:lumOff val="55000"/>
                    </a:schemeClr>
                  </a:gs>
                  <a:gs pos="100000">
                    <a:srgbClr val="AD4B53"/>
                  </a:gs>
                </a:gsLst>
                <a:lin ang="5400000" scaled="1"/>
              </a:gra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05" name="Freeform 85">
              <a:extLst>
                <a:ext uri="{FF2B5EF4-FFF2-40B4-BE49-F238E27FC236}">
                  <a16:creationId xmlns:a16="http://schemas.microsoft.com/office/drawing/2014/main" id="{A6FC16C0-9C19-4C6A-8B10-072B5C308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6475" y="2106613"/>
              <a:ext cx="241300" cy="544513"/>
            </a:xfrm>
            <a:custGeom>
              <a:avLst/>
              <a:gdLst>
                <a:gd name="T0" fmla="*/ 139 w 317"/>
                <a:gd name="T1" fmla="*/ 632 h 716"/>
                <a:gd name="T2" fmla="*/ 317 w 317"/>
                <a:gd name="T3" fmla="*/ 529 h 716"/>
                <a:gd name="T4" fmla="*/ 252 w 317"/>
                <a:gd name="T5" fmla="*/ 238 h 716"/>
                <a:gd name="T6" fmla="*/ 220 w 317"/>
                <a:gd name="T7" fmla="*/ 10 h 716"/>
                <a:gd name="T8" fmla="*/ 121 w 317"/>
                <a:gd name="T9" fmla="*/ 78 h 716"/>
                <a:gd name="T10" fmla="*/ 157 w 317"/>
                <a:gd name="T11" fmla="*/ 182 h 716"/>
                <a:gd name="T12" fmla="*/ 121 w 317"/>
                <a:gd name="T13" fmla="*/ 361 h 716"/>
                <a:gd name="T14" fmla="*/ 36 w 317"/>
                <a:gd name="T15" fmla="*/ 716 h 716"/>
                <a:gd name="T16" fmla="*/ 139 w 317"/>
                <a:gd name="T17" fmla="*/ 632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7" h="716">
                  <a:moveTo>
                    <a:pt x="139" y="632"/>
                  </a:moveTo>
                  <a:cubicBezTo>
                    <a:pt x="237" y="593"/>
                    <a:pt x="317" y="529"/>
                    <a:pt x="317" y="529"/>
                  </a:cubicBezTo>
                  <a:cubicBezTo>
                    <a:pt x="317" y="529"/>
                    <a:pt x="232" y="350"/>
                    <a:pt x="252" y="238"/>
                  </a:cubicBezTo>
                  <a:cubicBezTo>
                    <a:pt x="271" y="127"/>
                    <a:pt x="261" y="20"/>
                    <a:pt x="220" y="10"/>
                  </a:cubicBezTo>
                  <a:cubicBezTo>
                    <a:pt x="179" y="0"/>
                    <a:pt x="111" y="5"/>
                    <a:pt x="121" y="78"/>
                  </a:cubicBezTo>
                  <a:cubicBezTo>
                    <a:pt x="121" y="78"/>
                    <a:pt x="184" y="97"/>
                    <a:pt x="157" y="182"/>
                  </a:cubicBezTo>
                  <a:cubicBezTo>
                    <a:pt x="130" y="267"/>
                    <a:pt x="111" y="331"/>
                    <a:pt x="121" y="361"/>
                  </a:cubicBezTo>
                  <a:cubicBezTo>
                    <a:pt x="121" y="361"/>
                    <a:pt x="0" y="541"/>
                    <a:pt x="36" y="716"/>
                  </a:cubicBezTo>
                  <a:cubicBezTo>
                    <a:pt x="36" y="716"/>
                    <a:pt x="49" y="668"/>
                    <a:pt x="139" y="632"/>
                  </a:cubicBezTo>
                  <a:close/>
                </a:path>
              </a:pathLst>
            </a:custGeom>
            <a:grpFill/>
            <a:ln w="31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7000">
                    <a:srgbClr val="AF2D1D"/>
                  </a:gs>
                  <a:gs pos="87000">
                    <a:schemeClr val="accent1">
                      <a:lumMod val="45000"/>
                      <a:lumOff val="55000"/>
                    </a:schemeClr>
                  </a:gs>
                  <a:gs pos="100000">
                    <a:srgbClr val="AD4B53"/>
                  </a:gs>
                </a:gsLst>
                <a:lin ang="5400000" scaled="1"/>
              </a:gra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06" name="Freeform 86">
              <a:extLst>
                <a:ext uri="{FF2B5EF4-FFF2-40B4-BE49-F238E27FC236}">
                  <a16:creationId xmlns:a16="http://schemas.microsoft.com/office/drawing/2014/main" id="{45F127D9-0723-4B41-BFE4-C1501B813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13" y="1863725"/>
              <a:ext cx="420688" cy="611188"/>
            </a:xfrm>
            <a:custGeom>
              <a:avLst/>
              <a:gdLst>
                <a:gd name="T0" fmla="*/ 143 w 555"/>
                <a:gd name="T1" fmla="*/ 679 h 805"/>
                <a:gd name="T2" fmla="*/ 272 w 555"/>
                <a:gd name="T3" fmla="*/ 454 h 805"/>
                <a:gd name="T4" fmla="*/ 332 w 555"/>
                <a:gd name="T5" fmla="*/ 254 h 805"/>
                <a:gd name="T6" fmla="*/ 463 w 555"/>
                <a:gd name="T7" fmla="*/ 277 h 805"/>
                <a:gd name="T8" fmla="*/ 555 w 555"/>
                <a:gd name="T9" fmla="*/ 236 h 805"/>
                <a:gd name="T10" fmla="*/ 400 w 555"/>
                <a:gd name="T11" fmla="*/ 105 h 805"/>
                <a:gd name="T12" fmla="*/ 386 w 555"/>
                <a:gd name="T13" fmla="*/ 39 h 805"/>
                <a:gd name="T14" fmla="*/ 349 w 555"/>
                <a:gd name="T15" fmla="*/ 44 h 805"/>
                <a:gd name="T16" fmla="*/ 306 w 555"/>
                <a:gd name="T17" fmla="*/ 119 h 805"/>
                <a:gd name="T18" fmla="*/ 272 w 555"/>
                <a:gd name="T19" fmla="*/ 34 h 805"/>
                <a:gd name="T20" fmla="*/ 231 w 555"/>
                <a:gd name="T21" fmla="*/ 42 h 805"/>
                <a:gd name="T22" fmla="*/ 209 w 555"/>
                <a:gd name="T23" fmla="*/ 136 h 805"/>
                <a:gd name="T24" fmla="*/ 146 w 555"/>
                <a:gd name="T25" fmla="*/ 93 h 805"/>
                <a:gd name="T26" fmla="*/ 80 w 555"/>
                <a:gd name="T27" fmla="*/ 93 h 805"/>
                <a:gd name="T28" fmla="*/ 88 w 555"/>
                <a:gd name="T29" fmla="*/ 238 h 805"/>
                <a:gd name="T30" fmla="*/ 15 w 555"/>
                <a:gd name="T31" fmla="*/ 514 h 805"/>
                <a:gd name="T32" fmla="*/ 85 w 555"/>
                <a:gd name="T33" fmla="*/ 805 h 805"/>
                <a:gd name="T34" fmla="*/ 143 w 555"/>
                <a:gd name="T35" fmla="*/ 679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5" h="805">
                  <a:moveTo>
                    <a:pt x="143" y="679"/>
                  </a:moveTo>
                  <a:cubicBezTo>
                    <a:pt x="177" y="575"/>
                    <a:pt x="272" y="454"/>
                    <a:pt x="272" y="454"/>
                  </a:cubicBezTo>
                  <a:cubicBezTo>
                    <a:pt x="272" y="454"/>
                    <a:pt x="267" y="274"/>
                    <a:pt x="332" y="254"/>
                  </a:cubicBezTo>
                  <a:cubicBezTo>
                    <a:pt x="398" y="234"/>
                    <a:pt x="463" y="277"/>
                    <a:pt x="463" y="277"/>
                  </a:cubicBezTo>
                  <a:cubicBezTo>
                    <a:pt x="555" y="236"/>
                    <a:pt x="555" y="236"/>
                    <a:pt x="555" y="236"/>
                  </a:cubicBezTo>
                  <a:cubicBezTo>
                    <a:pt x="517" y="148"/>
                    <a:pt x="422" y="119"/>
                    <a:pt x="400" y="105"/>
                  </a:cubicBezTo>
                  <a:cubicBezTo>
                    <a:pt x="378" y="90"/>
                    <a:pt x="386" y="39"/>
                    <a:pt x="386" y="39"/>
                  </a:cubicBezTo>
                  <a:cubicBezTo>
                    <a:pt x="378" y="10"/>
                    <a:pt x="345" y="20"/>
                    <a:pt x="349" y="44"/>
                  </a:cubicBezTo>
                  <a:cubicBezTo>
                    <a:pt x="354" y="68"/>
                    <a:pt x="342" y="119"/>
                    <a:pt x="306" y="119"/>
                  </a:cubicBezTo>
                  <a:cubicBezTo>
                    <a:pt x="269" y="119"/>
                    <a:pt x="272" y="34"/>
                    <a:pt x="272" y="34"/>
                  </a:cubicBezTo>
                  <a:cubicBezTo>
                    <a:pt x="238" y="0"/>
                    <a:pt x="231" y="42"/>
                    <a:pt x="231" y="42"/>
                  </a:cubicBezTo>
                  <a:cubicBezTo>
                    <a:pt x="231" y="42"/>
                    <a:pt x="243" y="127"/>
                    <a:pt x="209" y="136"/>
                  </a:cubicBezTo>
                  <a:cubicBezTo>
                    <a:pt x="175" y="146"/>
                    <a:pt x="146" y="93"/>
                    <a:pt x="146" y="93"/>
                  </a:cubicBezTo>
                  <a:cubicBezTo>
                    <a:pt x="146" y="93"/>
                    <a:pt x="122" y="42"/>
                    <a:pt x="80" y="93"/>
                  </a:cubicBezTo>
                  <a:cubicBezTo>
                    <a:pt x="39" y="144"/>
                    <a:pt x="80" y="168"/>
                    <a:pt x="88" y="238"/>
                  </a:cubicBezTo>
                  <a:cubicBezTo>
                    <a:pt x="95" y="308"/>
                    <a:pt x="29" y="391"/>
                    <a:pt x="15" y="514"/>
                  </a:cubicBezTo>
                  <a:cubicBezTo>
                    <a:pt x="0" y="638"/>
                    <a:pt x="85" y="805"/>
                    <a:pt x="85" y="805"/>
                  </a:cubicBezTo>
                  <a:cubicBezTo>
                    <a:pt x="85" y="805"/>
                    <a:pt x="109" y="783"/>
                    <a:pt x="143" y="679"/>
                  </a:cubicBezTo>
                  <a:close/>
                </a:path>
              </a:pathLst>
            </a:custGeom>
            <a:grpFill/>
            <a:ln w="31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7000">
                    <a:srgbClr val="AF2D1D"/>
                  </a:gs>
                  <a:gs pos="87000">
                    <a:schemeClr val="accent1">
                      <a:lumMod val="45000"/>
                      <a:lumOff val="55000"/>
                    </a:schemeClr>
                  </a:gs>
                  <a:gs pos="100000">
                    <a:srgbClr val="AD4B53"/>
                  </a:gs>
                </a:gsLst>
                <a:lin ang="5400000" scaled="1"/>
              </a:gra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A66AD5E8-792D-4FB2-B58C-AEEE7DFDADC0}"/>
              </a:ext>
            </a:extLst>
          </p:cNvPr>
          <p:cNvGrpSpPr/>
          <p:nvPr/>
        </p:nvGrpSpPr>
        <p:grpSpPr>
          <a:xfrm>
            <a:off x="2905069" y="1596614"/>
            <a:ext cx="5887968" cy="2799365"/>
            <a:chOff x="2876893" y="1798017"/>
            <a:chExt cx="5887967" cy="2799365"/>
          </a:xfrm>
        </p:grpSpPr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FD518C66-631B-4346-A99D-AFAF7F870FB4}"/>
                </a:ext>
              </a:extLst>
            </p:cNvPr>
            <p:cNvGrpSpPr/>
            <p:nvPr/>
          </p:nvGrpSpPr>
          <p:grpSpPr>
            <a:xfrm>
              <a:off x="4081348" y="1978150"/>
              <a:ext cx="2036331" cy="901023"/>
              <a:chOff x="4067670" y="2649755"/>
              <a:chExt cx="2036331" cy="934784"/>
            </a:xfrm>
          </p:grpSpPr>
          <p:cxnSp>
            <p:nvCxnSpPr>
              <p:cNvPr id="253" name="Straight Connector 252">
                <a:extLst>
                  <a:ext uri="{FF2B5EF4-FFF2-40B4-BE49-F238E27FC236}">
                    <a16:creationId xmlns:a16="http://schemas.microsoft.com/office/drawing/2014/main" id="{CDF96155-EBD3-4DAE-B3CB-F9516F694E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067670" y="2649755"/>
                <a:ext cx="789102" cy="0"/>
              </a:xfrm>
              <a:prstGeom prst="line">
                <a:avLst/>
              </a:prstGeom>
              <a:ln w="19050" cap="rnd">
                <a:solidFill>
                  <a:srgbClr val="00206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>
                <a:extLst>
                  <a:ext uri="{FF2B5EF4-FFF2-40B4-BE49-F238E27FC236}">
                    <a16:creationId xmlns:a16="http://schemas.microsoft.com/office/drawing/2014/main" id="{E0422D00-D9B0-49AF-80FD-514FC171A5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855553" y="2652707"/>
                <a:ext cx="1248448" cy="931832"/>
              </a:xfrm>
              <a:prstGeom prst="line">
                <a:avLst/>
              </a:prstGeom>
              <a:ln w="19050" cap="rnd">
                <a:solidFill>
                  <a:srgbClr val="002060"/>
                </a:solidFill>
                <a:prstDash val="sysDot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3CCF954A-0E74-4487-8BCF-92F1D0185159}"/>
                </a:ext>
              </a:extLst>
            </p:cNvPr>
            <p:cNvCxnSpPr>
              <a:cxnSpLocks/>
            </p:cNvCxnSpPr>
            <p:nvPr/>
          </p:nvCxnSpPr>
          <p:spPr>
            <a:xfrm>
              <a:off x="2876893" y="3151714"/>
              <a:ext cx="3082934" cy="16579"/>
            </a:xfrm>
            <a:prstGeom prst="line">
              <a:avLst/>
            </a:prstGeom>
            <a:ln w="19050" cap="rnd">
              <a:solidFill>
                <a:srgbClr val="002060"/>
              </a:solidFill>
              <a:prstDash val="sysDot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C8A7679F-A030-4D7A-89F9-31E9554BEA1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23792" y="4532843"/>
              <a:ext cx="2524656" cy="0"/>
            </a:xfrm>
            <a:prstGeom prst="line">
              <a:avLst/>
            </a:prstGeom>
            <a:ln w="19050" cap="rnd">
              <a:solidFill>
                <a:srgbClr val="00206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103FFC89-0112-4E29-8DA2-B13CDB979BEF}"/>
                </a:ext>
              </a:extLst>
            </p:cNvPr>
            <p:cNvCxnSpPr>
              <a:cxnSpLocks/>
            </p:cNvCxnSpPr>
            <p:nvPr/>
          </p:nvCxnSpPr>
          <p:spPr>
            <a:xfrm>
              <a:off x="7330960" y="4597382"/>
              <a:ext cx="1028479" cy="0"/>
            </a:xfrm>
            <a:prstGeom prst="line">
              <a:avLst/>
            </a:prstGeom>
            <a:ln w="19050" cap="rnd">
              <a:solidFill>
                <a:srgbClr val="00206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84DC1556-966E-4568-9CA8-3175F5654286}"/>
                </a:ext>
              </a:extLst>
            </p:cNvPr>
            <p:cNvGrpSpPr/>
            <p:nvPr/>
          </p:nvGrpSpPr>
          <p:grpSpPr>
            <a:xfrm rot="10800000" flipH="1" flipV="1">
              <a:off x="6690118" y="2598366"/>
              <a:ext cx="2074742" cy="212109"/>
              <a:chOff x="6902416" y="3845348"/>
              <a:chExt cx="2074742" cy="212109"/>
            </a:xfrm>
          </p:grpSpPr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4BC9B385-9375-472D-9972-7F71ECA2684F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6902416" y="3845348"/>
                <a:ext cx="2074742" cy="0"/>
              </a:xfrm>
              <a:prstGeom prst="line">
                <a:avLst/>
              </a:prstGeom>
              <a:ln w="19050" cap="rnd">
                <a:solidFill>
                  <a:srgbClr val="00206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249">
                <a:extLst>
                  <a:ext uri="{FF2B5EF4-FFF2-40B4-BE49-F238E27FC236}">
                    <a16:creationId xmlns:a16="http://schemas.microsoft.com/office/drawing/2014/main" id="{3AEA7D7D-8A1D-4273-B632-1CE8FE09B26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 flipV="1">
                <a:off x="6902416" y="3845348"/>
                <a:ext cx="0" cy="212109"/>
              </a:xfrm>
              <a:prstGeom prst="line">
                <a:avLst/>
              </a:prstGeom>
              <a:ln w="19050" cap="rnd">
                <a:solidFill>
                  <a:srgbClr val="002060"/>
                </a:solidFill>
                <a:prstDash val="sysDot"/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7DA0D0A-9331-4F49-91E8-7D167E15E9CE}"/>
                </a:ext>
              </a:extLst>
            </p:cNvPr>
            <p:cNvCxnSpPr>
              <a:cxnSpLocks/>
            </p:cNvCxnSpPr>
            <p:nvPr/>
          </p:nvCxnSpPr>
          <p:spPr>
            <a:xfrm>
              <a:off x="6115178" y="1798017"/>
              <a:ext cx="1218698" cy="9716"/>
            </a:xfrm>
            <a:prstGeom prst="line">
              <a:avLst/>
            </a:prstGeom>
            <a:ln w="19050" cap="rnd">
              <a:solidFill>
                <a:srgbClr val="002060"/>
              </a:solidFill>
              <a:prstDash val="sysDot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5" name="Oval 254">
            <a:extLst>
              <a:ext uri="{FF2B5EF4-FFF2-40B4-BE49-F238E27FC236}">
                <a16:creationId xmlns:a16="http://schemas.microsoft.com/office/drawing/2014/main" id="{93C3A78F-A263-45F8-981F-6AFC65BDFFD3}"/>
              </a:ext>
            </a:extLst>
          </p:cNvPr>
          <p:cNvSpPr/>
          <p:nvPr/>
        </p:nvSpPr>
        <p:spPr>
          <a:xfrm>
            <a:off x="5346116" y="5461000"/>
            <a:ext cx="1368000" cy="2412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6" name="Oval 255">
            <a:extLst>
              <a:ext uri="{FF2B5EF4-FFF2-40B4-BE49-F238E27FC236}">
                <a16:creationId xmlns:a16="http://schemas.microsoft.com/office/drawing/2014/main" id="{87170994-5321-4B5E-8DF6-547EB8B1BE2C}"/>
              </a:ext>
            </a:extLst>
          </p:cNvPr>
          <p:cNvSpPr/>
          <p:nvPr/>
        </p:nvSpPr>
        <p:spPr>
          <a:xfrm>
            <a:off x="5374292" y="5260882"/>
            <a:ext cx="1368000" cy="242607"/>
          </a:xfrm>
          <a:prstGeom prst="ellipse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334DA27C-975C-4EBF-A443-7D9123A2A97C}"/>
              </a:ext>
            </a:extLst>
          </p:cNvPr>
          <p:cNvSpPr/>
          <p:nvPr/>
        </p:nvSpPr>
        <p:spPr>
          <a:xfrm flipH="1">
            <a:off x="3551965" y="633512"/>
            <a:ext cx="49051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/>
            <a:r>
              <a:rPr lang="en-GB" sz="1600" spc="100" dirty="0">
                <a:solidFill>
                  <a:prstClr val="black"/>
                </a:solidFill>
                <a:latin typeface="Arial"/>
              </a:rPr>
              <a:t>Prevalence </a:t>
            </a:r>
            <a:r>
              <a:rPr lang="en-GB" sz="1600" b="1" cap="all" spc="100" dirty="0">
                <a:solidFill>
                  <a:schemeClr val="accent1"/>
                </a:solidFill>
                <a:latin typeface="Arial"/>
              </a:rPr>
              <a:t>komorbidit</a:t>
            </a:r>
            <a:r>
              <a:rPr lang="en-GB" sz="1600" cap="all" spc="1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GB" sz="1600" spc="100" dirty="0">
                <a:solidFill>
                  <a:prstClr val="black"/>
                </a:solidFill>
                <a:latin typeface="Arial"/>
              </a:rPr>
              <a:t>u pacientů s </a:t>
            </a:r>
            <a:r>
              <a:rPr lang="en-GB" sz="1600" cap="all" spc="100" dirty="0">
                <a:solidFill>
                  <a:prstClr val="black"/>
                </a:solidFill>
                <a:latin typeface="Arial"/>
              </a:rPr>
              <a:t>HS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F6690FB9-62AF-4D8D-B9AF-9A61EA38F799}"/>
              </a:ext>
            </a:extLst>
          </p:cNvPr>
          <p:cNvSpPr txBox="1">
            <a:spLocks noChangeAspect="1"/>
          </p:cNvSpPr>
          <p:nvPr/>
        </p:nvSpPr>
        <p:spPr>
          <a:xfrm>
            <a:off x="3004765" y="1228515"/>
            <a:ext cx="1094400" cy="1094400"/>
          </a:xfrm>
          <a:prstGeom prst="ellipse">
            <a:avLst/>
          </a:prstGeom>
          <a:solidFill>
            <a:schemeClr val="bg1">
              <a:alpha val="10000"/>
            </a:schemeClr>
          </a:solidFill>
          <a:ln w="19050" cap="rnd">
            <a:solidFill>
              <a:srgbClr val="002060"/>
            </a:solidFill>
            <a:prstDash val="sysDot"/>
          </a:ln>
        </p:spPr>
        <p:txBody>
          <a:bodyPr wrap="none" lIns="0" tIns="90000" rIns="0" bIns="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defRPr/>
            </a:pPr>
            <a:r>
              <a:rPr lang="en-GB" sz="1200" dirty="0">
                <a:solidFill>
                  <a:prstClr val="black"/>
                </a:solidFill>
              </a:rPr>
              <a:t>Metabolický </a:t>
            </a:r>
            <a:br>
              <a:rPr lang="en-GB" sz="1200" dirty="0">
                <a:solidFill>
                  <a:prstClr val="black"/>
                </a:solidFill>
              </a:rPr>
            </a:br>
            <a:r>
              <a:rPr lang="en-GB" sz="1200" dirty="0">
                <a:solidFill>
                  <a:prstClr val="black"/>
                </a:solidFill>
              </a:rPr>
              <a:t>syndrom*</a:t>
            </a:r>
            <a:r>
              <a:rPr lang="en-GB" sz="1200" baseline="30000" dirty="0">
                <a:solidFill>
                  <a:prstClr val="black"/>
                </a:solidFill>
              </a:rPr>
              <a:t>1,2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DCD56039-21CD-4B40-A2A7-D5BC6F126F39}"/>
              </a:ext>
            </a:extLst>
          </p:cNvPr>
          <p:cNvSpPr txBox="1">
            <a:spLocks noChangeAspect="1"/>
          </p:cNvSpPr>
          <p:nvPr/>
        </p:nvSpPr>
        <p:spPr>
          <a:xfrm>
            <a:off x="1810669" y="2403111"/>
            <a:ext cx="1094400" cy="1094400"/>
          </a:xfrm>
          <a:prstGeom prst="ellipse">
            <a:avLst/>
          </a:prstGeom>
          <a:solidFill>
            <a:schemeClr val="bg1">
              <a:alpha val="10000"/>
            </a:schemeClr>
          </a:solidFill>
          <a:ln w="19050" cap="rnd">
            <a:solidFill>
              <a:srgbClr val="002060"/>
            </a:solidFill>
            <a:prstDash val="sysDot"/>
          </a:ln>
        </p:spPr>
        <p:txBody>
          <a:bodyPr wrap="none" lIns="0" tIns="90000" rIns="0" bIns="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defRPr/>
            </a:pPr>
            <a:r>
              <a:rPr lang="en-GB" sz="1400" dirty="0">
                <a:solidFill>
                  <a:prstClr val="black"/>
                </a:solidFill>
                <a:latin typeface="+mn-lt"/>
              </a:rPr>
              <a:t>Spondylo-</a:t>
            </a:r>
            <a:br>
              <a:rPr lang="en-GB" sz="1400" dirty="0">
                <a:solidFill>
                  <a:prstClr val="black"/>
                </a:solidFill>
                <a:latin typeface="+mn-lt"/>
              </a:rPr>
            </a:br>
            <a:r>
              <a:rPr lang="en-GB" sz="1400" dirty="0">
                <a:solidFill>
                  <a:prstClr val="black"/>
                </a:solidFill>
                <a:latin typeface="+mn-lt"/>
              </a:rPr>
              <a:t>artropatie</a:t>
            </a:r>
            <a:r>
              <a:rPr lang="en-GB" sz="1400" baseline="30000" dirty="0">
                <a:solidFill>
                  <a:prstClr val="black"/>
                </a:solidFill>
                <a:latin typeface="+mn-lt"/>
              </a:rPr>
              <a:t>1</a:t>
            </a:r>
            <a:r>
              <a:rPr lang="en-GB" sz="1400" baseline="30000" dirty="0">
                <a:solidFill>
                  <a:prstClr val="black"/>
                </a:solidFill>
                <a:latin typeface="+mn-lt"/>
                <a:cs typeface="Calibri" panose="020F0502020204030204" pitchFamily="34" charset="0"/>
              </a:rPr>
              <a:t>–</a:t>
            </a:r>
            <a:r>
              <a:rPr lang="en-GB" sz="1400" baseline="30000" dirty="0">
                <a:solidFill>
                  <a:prstClr val="black"/>
                </a:solidFill>
                <a:latin typeface="+mn-lt"/>
              </a:rPr>
              <a:t>3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68B8C9ED-5F26-4809-9F78-1CEFD552DBCF}"/>
              </a:ext>
            </a:extLst>
          </p:cNvPr>
          <p:cNvSpPr txBox="1">
            <a:spLocks noChangeAspect="1"/>
          </p:cNvSpPr>
          <p:nvPr/>
        </p:nvSpPr>
        <p:spPr>
          <a:xfrm>
            <a:off x="2457269" y="3815300"/>
            <a:ext cx="1072395" cy="1072395"/>
          </a:xfrm>
          <a:prstGeom prst="ellipse">
            <a:avLst/>
          </a:prstGeom>
          <a:solidFill>
            <a:schemeClr val="bg1">
              <a:alpha val="10000"/>
            </a:schemeClr>
          </a:solidFill>
          <a:ln w="19050" cap="rnd">
            <a:solidFill>
              <a:srgbClr val="002060"/>
            </a:solidFill>
            <a:prstDash val="sysDot"/>
          </a:ln>
        </p:spPr>
        <p:txBody>
          <a:bodyPr wrap="none" lIns="0" tIns="90000" rIns="0" bIns="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defRPr/>
            </a:pPr>
            <a:r>
              <a:rPr lang="en-GB" sz="1200" dirty="0" err="1">
                <a:solidFill>
                  <a:prstClr val="black"/>
                </a:solidFill>
              </a:rPr>
              <a:t>Syndrom</a:t>
            </a:r>
            <a:r>
              <a:rPr lang="en-GB" sz="1200" dirty="0">
                <a:solidFill>
                  <a:prstClr val="black"/>
                </a:solidFill>
              </a:rPr>
              <a:t> </a:t>
            </a:r>
          </a:p>
          <a:p>
            <a:pPr defTabSz="914377">
              <a:defRPr/>
            </a:pPr>
            <a:r>
              <a:rPr lang="en-GB" sz="1200" dirty="0" err="1">
                <a:solidFill>
                  <a:prstClr val="black"/>
                </a:solidFill>
              </a:rPr>
              <a:t>polycystických</a:t>
            </a:r>
            <a:r>
              <a:rPr lang="en-GB" sz="1200" dirty="0">
                <a:solidFill>
                  <a:prstClr val="black"/>
                </a:solidFill>
              </a:rPr>
              <a:t> </a:t>
            </a:r>
          </a:p>
          <a:p>
            <a:pPr defTabSz="914377">
              <a:defRPr/>
            </a:pPr>
            <a:r>
              <a:rPr lang="en-GB" sz="1200" dirty="0">
                <a:solidFill>
                  <a:prstClr val="black"/>
                </a:solidFill>
              </a:rPr>
              <a:t>ovárií</a:t>
            </a:r>
            <a:r>
              <a:rPr lang="en-GB" sz="1200" baseline="30000" dirty="0">
                <a:solidFill>
                  <a:prstClr val="black"/>
                </a:solidFill>
              </a:rPr>
              <a:t>1,3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B3060A0D-C24B-44A9-9B3E-EE2F2F6C9FE6}"/>
              </a:ext>
            </a:extLst>
          </p:cNvPr>
          <p:cNvSpPr txBox="1">
            <a:spLocks noChangeAspect="1"/>
          </p:cNvSpPr>
          <p:nvPr/>
        </p:nvSpPr>
        <p:spPr>
          <a:xfrm>
            <a:off x="10205803" y="2736108"/>
            <a:ext cx="1094400" cy="1094400"/>
          </a:xfrm>
          <a:prstGeom prst="ellipse">
            <a:avLst/>
          </a:prstGeom>
          <a:solidFill>
            <a:schemeClr val="bg1">
              <a:alpha val="10000"/>
            </a:schemeClr>
          </a:solidFill>
          <a:ln w="19050" cap="rnd">
            <a:solidFill>
              <a:srgbClr val="002060"/>
            </a:solidFill>
            <a:prstDash val="sysDot"/>
          </a:ln>
        </p:spPr>
        <p:txBody>
          <a:bodyPr wrap="none" lIns="0" tIns="90000" rIns="0" bIns="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defRPr/>
            </a:pPr>
            <a:r>
              <a:rPr lang="en-GB" sz="1200" dirty="0">
                <a:solidFill>
                  <a:prstClr val="black"/>
                </a:solidFill>
              </a:rPr>
              <a:t>Diabetes</a:t>
            </a:r>
            <a:br>
              <a:rPr lang="en-GB" sz="1200" dirty="0">
                <a:solidFill>
                  <a:prstClr val="black"/>
                </a:solidFill>
              </a:rPr>
            </a:br>
            <a:r>
              <a:rPr lang="en-GB" sz="1200" dirty="0">
                <a:solidFill>
                  <a:prstClr val="black"/>
                </a:solidFill>
              </a:rPr>
              <a:t>mellitus</a:t>
            </a:r>
            <a:r>
              <a:rPr lang="cs-CZ" sz="1200" dirty="0">
                <a:solidFill>
                  <a:prstClr val="black"/>
                </a:solidFill>
              </a:rPr>
              <a:t> </a:t>
            </a:r>
            <a:r>
              <a:rPr lang="en-GB" sz="1200" baseline="30000" dirty="0">
                <a:solidFill>
                  <a:prstClr val="black"/>
                </a:solidFill>
              </a:rPr>
              <a:t>†2,3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6732D4AF-9008-4B56-B48D-319425E117B8}"/>
              </a:ext>
            </a:extLst>
          </p:cNvPr>
          <p:cNvSpPr txBox="1">
            <a:spLocks noChangeAspect="1"/>
          </p:cNvSpPr>
          <p:nvPr/>
        </p:nvSpPr>
        <p:spPr>
          <a:xfrm>
            <a:off x="8412567" y="3800725"/>
            <a:ext cx="1094400" cy="1094400"/>
          </a:xfrm>
          <a:prstGeom prst="ellipse">
            <a:avLst/>
          </a:prstGeom>
          <a:solidFill>
            <a:schemeClr val="bg1">
              <a:alpha val="10000"/>
            </a:schemeClr>
          </a:solidFill>
          <a:ln w="19050" cap="rnd">
            <a:solidFill>
              <a:srgbClr val="002060"/>
            </a:solidFill>
            <a:prstDash val="sysDot"/>
          </a:ln>
        </p:spPr>
        <p:txBody>
          <a:bodyPr wrap="none" lIns="0" tIns="90000" rIns="0" bIns="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defRPr/>
            </a:pPr>
            <a:r>
              <a:rPr lang="en-GB" sz="1200" dirty="0" err="1">
                <a:solidFill>
                  <a:prstClr val="black"/>
                </a:solidFill>
              </a:rPr>
              <a:t>Zánětliv</a:t>
            </a:r>
            <a:r>
              <a:rPr lang="cs-CZ" sz="1200" dirty="0">
                <a:solidFill>
                  <a:prstClr val="black"/>
                </a:solidFill>
              </a:rPr>
              <a:t>á</a:t>
            </a:r>
            <a:br>
              <a:rPr lang="en-GB" sz="1200" dirty="0">
                <a:solidFill>
                  <a:prstClr val="black"/>
                </a:solidFill>
              </a:rPr>
            </a:br>
            <a:r>
              <a:rPr lang="en-GB" sz="1200" dirty="0" err="1">
                <a:solidFill>
                  <a:prstClr val="black"/>
                </a:solidFill>
              </a:rPr>
              <a:t>střevní</a:t>
            </a:r>
            <a:r>
              <a:rPr lang="en-GB" sz="1200" dirty="0">
                <a:solidFill>
                  <a:prstClr val="black"/>
                </a:solidFill>
              </a:rPr>
              <a:t> </a:t>
            </a:r>
            <a:br>
              <a:rPr lang="en-GB" sz="1200" dirty="0">
                <a:solidFill>
                  <a:prstClr val="black"/>
                </a:solidFill>
              </a:rPr>
            </a:br>
            <a:r>
              <a:rPr lang="en-GB" sz="1200" dirty="0" err="1">
                <a:solidFill>
                  <a:prstClr val="black"/>
                </a:solidFill>
              </a:rPr>
              <a:t>onemocnění</a:t>
            </a:r>
            <a:r>
              <a:rPr lang="cs-CZ" sz="1200" dirty="0">
                <a:solidFill>
                  <a:prstClr val="black"/>
                </a:solidFill>
              </a:rPr>
              <a:t> </a:t>
            </a:r>
            <a:r>
              <a:rPr lang="en-GB" sz="1200" baseline="30000" dirty="0">
                <a:solidFill>
                  <a:prstClr val="black"/>
                </a:solidFill>
              </a:rPr>
              <a:t>1,2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DBB37572-90C7-402C-B6AF-505019A1AD3F}"/>
              </a:ext>
            </a:extLst>
          </p:cNvPr>
          <p:cNvSpPr txBox="1">
            <a:spLocks noChangeAspect="1"/>
          </p:cNvSpPr>
          <p:nvPr/>
        </p:nvSpPr>
        <p:spPr>
          <a:xfrm>
            <a:off x="8800952" y="1852980"/>
            <a:ext cx="1094400" cy="1094400"/>
          </a:xfrm>
          <a:prstGeom prst="ellipse">
            <a:avLst/>
          </a:prstGeom>
          <a:solidFill>
            <a:schemeClr val="bg1">
              <a:alpha val="10000"/>
            </a:schemeClr>
          </a:solidFill>
          <a:ln w="19050" cap="rnd">
            <a:solidFill>
              <a:srgbClr val="002060"/>
            </a:solidFill>
            <a:prstDash val="sysDot"/>
          </a:ln>
        </p:spPr>
        <p:txBody>
          <a:bodyPr wrap="none" lIns="0" tIns="90000" rIns="0" bIns="7200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defRPr/>
            </a:pPr>
            <a:r>
              <a:rPr lang="cs-CZ" sz="1200" spc="-11" dirty="0" err="1">
                <a:solidFill>
                  <a:prstClr val="black"/>
                </a:solidFill>
              </a:rPr>
              <a:t>Spinocelulární</a:t>
            </a:r>
            <a:r>
              <a:rPr lang="cs-CZ" sz="1200" spc="-11" dirty="0">
                <a:solidFill>
                  <a:prstClr val="black"/>
                </a:solidFill>
              </a:rPr>
              <a:t> </a:t>
            </a:r>
          </a:p>
          <a:p>
            <a:pPr defTabSz="914377">
              <a:defRPr/>
            </a:pPr>
            <a:r>
              <a:rPr lang="cs-CZ" sz="1200" spc="-11" dirty="0">
                <a:solidFill>
                  <a:prstClr val="black"/>
                </a:solidFill>
              </a:rPr>
              <a:t>karcinom</a:t>
            </a:r>
          </a:p>
        </p:txBody>
      </p:sp>
      <p:sp>
        <p:nvSpPr>
          <p:cNvPr id="264" name="Arc 263">
            <a:extLst>
              <a:ext uri="{FF2B5EF4-FFF2-40B4-BE49-F238E27FC236}">
                <a16:creationId xmlns:a16="http://schemas.microsoft.com/office/drawing/2014/main" id="{D27190CA-DEAC-4562-BE0B-DAE3F7632B2D}"/>
              </a:ext>
            </a:extLst>
          </p:cNvPr>
          <p:cNvSpPr/>
          <p:nvPr/>
        </p:nvSpPr>
        <p:spPr>
          <a:xfrm>
            <a:off x="3011163" y="1219331"/>
            <a:ext cx="1094400" cy="1094400"/>
          </a:xfrm>
          <a:prstGeom prst="arc">
            <a:avLst>
              <a:gd name="adj1" fmla="val 16200000"/>
              <a:gd name="adj2" fmla="val 5377092"/>
            </a:avLst>
          </a:prstGeom>
          <a:ln w="76200" cap="rnd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5" name="Arc 264">
            <a:extLst>
              <a:ext uri="{FF2B5EF4-FFF2-40B4-BE49-F238E27FC236}">
                <a16:creationId xmlns:a16="http://schemas.microsoft.com/office/drawing/2014/main" id="{A80C7252-19D3-4ED0-8BAE-84630F9EBA81}"/>
              </a:ext>
            </a:extLst>
          </p:cNvPr>
          <p:cNvSpPr/>
          <p:nvPr/>
        </p:nvSpPr>
        <p:spPr>
          <a:xfrm>
            <a:off x="3011163" y="1219331"/>
            <a:ext cx="1094400" cy="1094400"/>
          </a:xfrm>
          <a:prstGeom prst="arc">
            <a:avLst>
              <a:gd name="adj1" fmla="val 16200000"/>
              <a:gd name="adj2" fmla="val 2671830"/>
            </a:avLst>
          </a:prstGeom>
          <a:ln w="762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6" name="Arc 265">
            <a:extLst>
              <a:ext uri="{FF2B5EF4-FFF2-40B4-BE49-F238E27FC236}">
                <a16:creationId xmlns:a16="http://schemas.microsoft.com/office/drawing/2014/main" id="{9EEA237E-9219-42F8-A501-0F25E6D2FBD5}"/>
              </a:ext>
            </a:extLst>
          </p:cNvPr>
          <p:cNvSpPr/>
          <p:nvPr/>
        </p:nvSpPr>
        <p:spPr>
          <a:xfrm>
            <a:off x="10199983" y="2735896"/>
            <a:ext cx="1094400" cy="1094400"/>
          </a:xfrm>
          <a:prstGeom prst="arc">
            <a:avLst>
              <a:gd name="adj1" fmla="val 16200000"/>
              <a:gd name="adj2" fmla="val 904579"/>
            </a:avLst>
          </a:prstGeom>
          <a:ln w="76200" cap="rnd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7" name="Arc 266">
            <a:extLst>
              <a:ext uri="{FF2B5EF4-FFF2-40B4-BE49-F238E27FC236}">
                <a16:creationId xmlns:a16="http://schemas.microsoft.com/office/drawing/2014/main" id="{7CE0C381-2398-44E3-BB3D-4316BFCDE229}"/>
              </a:ext>
            </a:extLst>
          </p:cNvPr>
          <p:cNvSpPr/>
          <p:nvPr/>
        </p:nvSpPr>
        <p:spPr>
          <a:xfrm>
            <a:off x="10199983" y="2735896"/>
            <a:ext cx="1094400" cy="1094400"/>
          </a:xfrm>
          <a:prstGeom prst="arc">
            <a:avLst>
              <a:gd name="adj1" fmla="val 16200000"/>
              <a:gd name="adj2" fmla="val 17685952"/>
            </a:avLst>
          </a:prstGeom>
          <a:ln w="762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8" name="Rounded Rectangle 58">
            <a:extLst>
              <a:ext uri="{FF2B5EF4-FFF2-40B4-BE49-F238E27FC236}">
                <a16:creationId xmlns:a16="http://schemas.microsoft.com/office/drawing/2014/main" id="{9101A755-3E12-4FE9-8222-85507D2C067F}"/>
              </a:ext>
            </a:extLst>
          </p:cNvPr>
          <p:cNvSpPr/>
          <p:nvPr/>
        </p:nvSpPr>
        <p:spPr>
          <a:xfrm flipH="1">
            <a:off x="4286893" y="1650546"/>
            <a:ext cx="885741" cy="25967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txBody>
          <a:bodyPr wrap="square" lIns="0" tIns="0" rIns="0" bIns="0" anchor="ctr" anchorCtr="0">
            <a:spAutoFit/>
          </a:bodyPr>
          <a:lstStyle/>
          <a:p>
            <a:pPr algn="ctr" defTabSz="914377"/>
            <a:r>
              <a:rPr lang="en-GB" sz="1200" dirty="0">
                <a:solidFill>
                  <a:prstClr val="white"/>
                </a:solidFill>
                <a:latin typeface="Calibri" panose="020F0502020204030204"/>
              </a:rPr>
              <a:t>40-51%</a:t>
            </a:r>
            <a:r>
              <a:rPr lang="cs-CZ" sz="12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1200" baseline="30000" dirty="0">
                <a:solidFill>
                  <a:prstClr val="white"/>
                </a:solidFill>
                <a:latin typeface="Calibri" panose="020F0502020204030204"/>
              </a:rPr>
              <a:t>1,4</a:t>
            </a:r>
          </a:p>
        </p:txBody>
      </p:sp>
      <p:sp>
        <p:nvSpPr>
          <p:cNvPr id="269" name="Rounded Rectangle 62">
            <a:extLst>
              <a:ext uri="{FF2B5EF4-FFF2-40B4-BE49-F238E27FC236}">
                <a16:creationId xmlns:a16="http://schemas.microsoft.com/office/drawing/2014/main" id="{30C1AA8C-288C-4DAA-A2E5-8CA984A8D9C5}"/>
              </a:ext>
            </a:extLst>
          </p:cNvPr>
          <p:cNvSpPr/>
          <p:nvPr/>
        </p:nvSpPr>
        <p:spPr>
          <a:xfrm flipH="1">
            <a:off x="3149470" y="2817709"/>
            <a:ext cx="780695" cy="25967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txBody>
          <a:bodyPr wrap="square" lIns="0" tIns="0" rIns="0" bIns="0" anchor="ctr" anchorCtr="0">
            <a:spAutoFit/>
          </a:bodyPr>
          <a:lstStyle/>
          <a:p>
            <a:pPr algn="ctr" defTabSz="914377"/>
            <a:r>
              <a:rPr lang="en-GB" sz="1200" dirty="0">
                <a:solidFill>
                  <a:prstClr val="white"/>
                </a:solidFill>
                <a:latin typeface="Calibri" panose="020F0502020204030204"/>
              </a:rPr>
              <a:t>2-28%</a:t>
            </a:r>
            <a:r>
              <a:rPr lang="cs-CZ" sz="12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1200" baseline="30000" dirty="0">
                <a:solidFill>
                  <a:prstClr val="white"/>
                </a:solidFill>
                <a:latin typeface="Calibri" panose="020F0502020204030204"/>
              </a:rPr>
              <a:t>1,6</a:t>
            </a:r>
          </a:p>
        </p:txBody>
      </p:sp>
      <p:sp>
        <p:nvSpPr>
          <p:cNvPr id="270" name="Rounded Rectangle 63">
            <a:extLst>
              <a:ext uri="{FF2B5EF4-FFF2-40B4-BE49-F238E27FC236}">
                <a16:creationId xmlns:a16="http://schemas.microsoft.com/office/drawing/2014/main" id="{057AF86A-947E-4365-AA47-F3AD72BE8FA6}"/>
              </a:ext>
            </a:extLst>
          </p:cNvPr>
          <p:cNvSpPr/>
          <p:nvPr/>
        </p:nvSpPr>
        <p:spPr>
          <a:xfrm flipH="1">
            <a:off x="3729334" y="4200460"/>
            <a:ext cx="780695" cy="25967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txBody>
          <a:bodyPr wrap="square" lIns="0" tIns="0" rIns="0" bIns="0" anchor="ctr" anchorCtr="0">
            <a:spAutoFit/>
          </a:bodyPr>
          <a:lstStyle/>
          <a:p>
            <a:pPr algn="ctr" defTabSz="914377"/>
            <a:r>
              <a:rPr lang="en-GB" sz="1200" dirty="0">
                <a:solidFill>
                  <a:prstClr val="white"/>
                </a:solidFill>
                <a:latin typeface="Calibri" panose="020F0502020204030204"/>
              </a:rPr>
              <a:t>9-14%</a:t>
            </a:r>
            <a:r>
              <a:rPr lang="cs-CZ" sz="12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1200" baseline="30000" dirty="0">
                <a:solidFill>
                  <a:prstClr val="white"/>
                </a:solidFill>
                <a:latin typeface="Calibri" panose="020F0502020204030204"/>
              </a:rPr>
              <a:t>3,9</a:t>
            </a:r>
          </a:p>
        </p:txBody>
      </p:sp>
      <p:sp>
        <p:nvSpPr>
          <p:cNvPr id="272" name="Rounded Rectangle 65">
            <a:extLst>
              <a:ext uri="{FF2B5EF4-FFF2-40B4-BE49-F238E27FC236}">
                <a16:creationId xmlns:a16="http://schemas.microsoft.com/office/drawing/2014/main" id="{2FACFEB2-5609-4B6F-B8D9-EAA5A559FE6B}"/>
              </a:ext>
            </a:extLst>
          </p:cNvPr>
          <p:cNvSpPr/>
          <p:nvPr/>
        </p:nvSpPr>
        <p:spPr>
          <a:xfrm flipH="1">
            <a:off x="7907322" y="2275017"/>
            <a:ext cx="780695" cy="25967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txBody>
          <a:bodyPr wrap="square" lIns="0" tIns="0" rIns="0" bIns="0" anchor="ctr" anchorCtr="0">
            <a:spAutoFit/>
          </a:bodyPr>
          <a:lstStyle/>
          <a:p>
            <a:pPr algn="ctr" defTabSz="914377"/>
            <a:r>
              <a:rPr lang="en-GB" sz="1200" dirty="0">
                <a:solidFill>
                  <a:prstClr val="white"/>
                </a:solidFill>
                <a:latin typeface="Calibri" panose="020F0502020204030204"/>
              </a:rPr>
              <a:t>5%</a:t>
            </a:r>
            <a:r>
              <a:rPr lang="cs-CZ" sz="12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1200" baseline="30000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273" name="Arc 272">
            <a:extLst>
              <a:ext uri="{FF2B5EF4-FFF2-40B4-BE49-F238E27FC236}">
                <a16:creationId xmlns:a16="http://schemas.microsoft.com/office/drawing/2014/main" id="{2BE9213B-E337-42F2-9A91-D8AADD13B595}"/>
              </a:ext>
            </a:extLst>
          </p:cNvPr>
          <p:cNvSpPr/>
          <p:nvPr/>
        </p:nvSpPr>
        <p:spPr>
          <a:xfrm>
            <a:off x="1810669" y="2403111"/>
            <a:ext cx="1094400" cy="1094400"/>
          </a:xfrm>
          <a:prstGeom prst="arc">
            <a:avLst>
              <a:gd name="adj1" fmla="val 16200000"/>
              <a:gd name="adj2" fmla="val 659376"/>
            </a:avLst>
          </a:prstGeom>
          <a:ln w="76200" cap="rnd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4" name="Arc 273">
            <a:extLst>
              <a:ext uri="{FF2B5EF4-FFF2-40B4-BE49-F238E27FC236}">
                <a16:creationId xmlns:a16="http://schemas.microsoft.com/office/drawing/2014/main" id="{67C046F1-C13D-47C8-9144-CFB2EF508EC6}"/>
              </a:ext>
            </a:extLst>
          </p:cNvPr>
          <p:cNvSpPr/>
          <p:nvPr/>
        </p:nvSpPr>
        <p:spPr>
          <a:xfrm>
            <a:off x="1810669" y="2403111"/>
            <a:ext cx="1094400" cy="1094400"/>
          </a:xfrm>
          <a:prstGeom prst="arc">
            <a:avLst>
              <a:gd name="adj1" fmla="val 16200000"/>
              <a:gd name="adj2" fmla="val 16807802"/>
            </a:avLst>
          </a:prstGeom>
          <a:ln w="762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5" name="Arc 274">
            <a:extLst>
              <a:ext uri="{FF2B5EF4-FFF2-40B4-BE49-F238E27FC236}">
                <a16:creationId xmlns:a16="http://schemas.microsoft.com/office/drawing/2014/main" id="{EC998A0B-CC25-434B-A9AA-F200082AAD3D}"/>
              </a:ext>
            </a:extLst>
          </p:cNvPr>
          <p:cNvSpPr/>
          <p:nvPr/>
        </p:nvSpPr>
        <p:spPr>
          <a:xfrm>
            <a:off x="2435265" y="3793296"/>
            <a:ext cx="1094400" cy="1094400"/>
          </a:xfrm>
          <a:prstGeom prst="arc">
            <a:avLst>
              <a:gd name="adj1" fmla="val 16200000"/>
              <a:gd name="adj2" fmla="val 19601096"/>
            </a:avLst>
          </a:prstGeom>
          <a:ln w="76200" cap="rnd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6" name="Arc 275">
            <a:extLst>
              <a:ext uri="{FF2B5EF4-FFF2-40B4-BE49-F238E27FC236}">
                <a16:creationId xmlns:a16="http://schemas.microsoft.com/office/drawing/2014/main" id="{4AF024C5-8780-417D-B472-1D03A86BE9F7}"/>
              </a:ext>
            </a:extLst>
          </p:cNvPr>
          <p:cNvSpPr/>
          <p:nvPr/>
        </p:nvSpPr>
        <p:spPr>
          <a:xfrm>
            <a:off x="2435265" y="3793296"/>
            <a:ext cx="1094400" cy="1094400"/>
          </a:xfrm>
          <a:prstGeom prst="arc">
            <a:avLst>
              <a:gd name="adj1" fmla="val 16200000"/>
              <a:gd name="adj2" fmla="val 17682862"/>
            </a:avLst>
          </a:prstGeom>
          <a:ln w="762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17FCAF20-054E-4E90-8BD0-F0C1BED497AE}"/>
              </a:ext>
            </a:extLst>
          </p:cNvPr>
          <p:cNvSpPr txBox="1">
            <a:spLocks noChangeAspect="1"/>
          </p:cNvSpPr>
          <p:nvPr/>
        </p:nvSpPr>
        <p:spPr>
          <a:xfrm>
            <a:off x="7362052" y="1059129"/>
            <a:ext cx="1094400" cy="1094400"/>
          </a:xfrm>
          <a:prstGeom prst="ellipse">
            <a:avLst/>
          </a:prstGeom>
          <a:solidFill>
            <a:schemeClr val="bg1">
              <a:alpha val="10000"/>
            </a:schemeClr>
          </a:solidFill>
          <a:ln w="19050" cap="rnd">
            <a:solidFill>
              <a:srgbClr val="002060"/>
            </a:solidFill>
            <a:prstDash val="sysDot"/>
          </a:ln>
        </p:spPr>
        <p:txBody>
          <a:bodyPr wrap="none" lIns="0" tIns="90000" rIns="0" bIns="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defRPr/>
            </a:pPr>
            <a:r>
              <a:rPr lang="en-GB" sz="1200" dirty="0">
                <a:solidFill>
                  <a:prstClr val="black"/>
                </a:solidFill>
              </a:rPr>
              <a:t>Psychiatrické </a:t>
            </a:r>
            <a:br>
              <a:rPr lang="en-GB" sz="1200" dirty="0">
                <a:solidFill>
                  <a:prstClr val="black"/>
                </a:solidFill>
              </a:rPr>
            </a:br>
            <a:r>
              <a:rPr lang="en-GB" sz="1200" dirty="0">
                <a:solidFill>
                  <a:prstClr val="black"/>
                </a:solidFill>
              </a:rPr>
              <a:t>poruchy</a:t>
            </a:r>
            <a:r>
              <a:rPr lang="en-GB" sz="1200" baseline="30000" dirty="0">
                <a:solidFill>
                  <a:prstClr val="black"/>
                </a:solidFill>
              </a:rPr>
              <a:t>1‒3</a:t>
            </a:r>
          </a:p>
        </p:txBody>
      </p:sp>
      <p:sp>
        <p:nvSpPr>
          <p:cNvPr id="278" name="Arc 277">
            <a:extLst>
              <a:ext uri="{FF2B5EF4-FFF2-40B4-BE49-F238E27FC236}">
                <a16:creationId xmlns:a16="http://schemas.microsoft.com/office/drawing/2014/main" id="{43E4FAA5-387B-4245-A0E7-36E33C552CAB}"/>
              </a:ext>
            </a:extLst>
          </p:cNvPr>
          <p:cNvSpPr/>
          <p:nvPr/>
        </p:nvSpPr>
        <p:spPr>
          <a:xfrm>
            <a:off x="7376752" y="1059129"/>
            <a:ext cx="1094400" cy="1094400"/>
          </a:xfrm>
          <a:prstGeom prst="arc">
            <a:avLst>
              <a:gd name="adj1" fmla="val 16200000"/>
              <a:gd name="adj2" fmla="val 2445632"/>
            </a:avLst>
          </a:prstGeom>
          <a:ln w="76200" cap="rnd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9" name="Arc 278">
            <a:extLst>
              <a:ext uri="{FF2B5EF4-FFF2-40B4-BE49-F238E27FC236}">
                <a16:creationId xmlns:a16="http://schemas.microsoft.com/office/drawing/2014/main" id="{02B2235D-B7CF-4329-A031-CBEAB66D9DF6}"/>
              </a:ext>
            </a:extLst>
          </p:cNvPr>
          <p:cNvSpPr/>
          <p:nvPr/>
        </p:nvSpPr>
        <p:spPr>
          <a:xfrm>
            <a:off x="7376752" y="1059129"/>
            <a:ext cx="1094400" cy="1094400"/>
          </a:xfrm>
          <a:prstGeom prst="arc">
            <a:avLst>
              <a:gd name="adj1" fmla="val 16200000"/>
              <a:gd name="adj2" fmla="val 17449400"/>
            </a:avLst>
          </a:prstGeom>
          <a:ln w="762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0" name="Arc 279">
            <a:extLst>
              <a:ext uri="{FF2B5EF4-FFF2-40B4-BE49-F238E27FC236}">
                <a16:creationId xmlns:a16="http://schemas.microsoft.com/office/drawing/2014/main" id="{CB58AD34-6F4B-4C64-BBEA-360F9E57DD0A}"/>
              </a:ext>
            </a:extLst>
          </p:cNvPr>
          <p:cNvSpPr/>
          <p:nvPr/>
        </p:nvSpPr>
        <p:spPr>
          <a:xfrm>
            <a:off x="8800952" y="1852980"/>
            <a:ext cx="1094400" cy="1094400"/>
          </a:xfrm>
          <a:prstGeom prst="arc">
            <a:avLst>
              <a:gd name="adj1" fmla="val 16200000"/>
              <a:gd name="adj2" fmla="val 16929575"/>
            </a:avLst>
          </a:prstGeom>
          <a:ln w="762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1" name="Arc 280">
            <a:extLst>
              <a:ext uri="{FF2B5EF4-FFF2-40B4-BE49-F238E27FC236}">
                <a16:creationId xmlns:a16="http://schemas.microsoft.com/office/drawing/2014/main" id="{D78A906E-0B2B-49E2-8F22-7485D6C9CFB9}"/>
              </a:ext>
            </a:extLst>
          </p:cNvPr>
          <p:cNvSpPr/>
          <p:nvPr/>
        </p:nvSpPr>
        <p:spPr>
          <a:xfrm>
            <a:off x="8412567" y="3800725"/>
            <a:ext cx="1094400" cy="1094400"/>
          </a:xfrm>
          <a:prstGeom prst="arc">
            <a:avLst>
              <a:gd name="adj1" fmla="val 16200000"/>
              <a:gd name="adj2" fmla="val 19310740"/>
            </a:avLst>
          </a:prstGeom>
          <a:ln w="76200" cap="rnd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2" name="Arc 281">
            <a:extLst>
              <a:ext uri="{FF2B5EF4-FFF2-40B4-BE49-F238E27FC236}">
                <a16:creationId xmlns:a16="http://schemas.microsoft.com/office/drawing/2014/main" id="{6ABCC0FB-734C-4AB6-993A-00656FB6969C}"/>
              </a:ext>
            </a:extLst>
          </p:cNvPr>
          <p:cNvSpPr/>
          <p:nvPr/>
        </p:nvSpPr>
        <p:spPr>
          <a:xfrm>
            <a:off x="8412567" y="3800725"/>
            <a:ext cx="1094400" cy="1094400"/>
          </a:xfrm>
          <a:prstGeom prst="arc">
            <a:avLst>
              <a:gd name="adj1" fmla="val 16200000"/>
              <a:gd name="adj2" fmla="val 16523998"/>
            </a:avLst>
          </a:prstGeom>
          <a:ln w="762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283" name="Group 282">
            <a:extLst>
              <a:ext uri="{FF2B5EF4-FFF2-40B4-BE49-F238E27FC236}">
                <a16:creationId xmlns:a16="http://schemas.microsoft.com/office/drawing/2014/main" id="{5D41E476-B6F6-4F1D-BB70-2C81A42A2CA7}"/>
              </a:ext>
            </a:extLst>
          </p:cNvPr>
          <p:cNvGrpSpPr/>
          <p:nvPr/>
        </p:nvGrpSpPr>
        <p:grpSpPr>
          <a:xfrm flipV="1">
            <a:off x="101599" y="5395147"/>
            <a:ext cx="5273276" cy="234339"/>
            <a:chOff x="72868" y="5680901"/>
            <a:chExt cx="5388128" cy="213459"/>
          </a:xfrm>
        </p:grpSpPr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616A7A0B-262C-4E99-BD64-3C8A41F0FFF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803568" y="5894360"/>
              <a:ext cx="657428" cy="0"/>
            </a:xfrm>
            <a:prstGeom prst="line">
              <a:avLst/>
            </a:prstGeom>
            <a:ln w="19050" cap="rnd">
              <a:solidFill>
                <a:srgbClr val="00206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D06B41C7-42EE-4D9A-873D-C73EDF7323F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436365" y="5680901"/>
              <a:ext cx="350668" cy="208573"/>
            </a:xfrm>
            <a:prstGeom prst="line">
              <a:avLst/>
            </a:prstGeom>
            <a:ln w="19050" cap="rnd">
              <a:solidFill>
                <a:srgbClr val="00206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FBC2557D-E1D2-41ED-98CB-36270FA415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868" y="5680901"/>
              <a:ext cx="4356000" cy="0"/>
            </a:xfrm>
            <a:prstGeom prst="line">
              <a:avLst/>
            </a:prstGeom>
            <a:ln w="19050" cap="rnd">
              <a:solidFill>
                <a:srgbClr val="00206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7" name="!!Straight Connector 143">
            <a:extLst>
              <a:ext uri="{FF2B5EF4-FFF2-40B4-BE49-F238E27FC236}">
                <a16:creationId xmlns:a16="http://schemas.microsoft.com/office/drawing/2014/main" id="{DFE6627F-A866-4665-AE85-BC0DFD502708}"/>
              </a:ext>
            </a:extLst>
          </p:cNvPr>
          <p:cNvCxnSpPr>
            <a:cxnSpLocks/>
          </p:cNvCxnSpPr>
          <p:nvPr/>
        </p:nvCxnSpPr>
        <p:spPr>
          <a:xfrm flipH="1">
            <a:off x="6745900" y="5395147"/>
            <a:ext cx="5284849" cy="0"/>
          </a:xfrm>
          <a:prstGeom prst="line">
            <a:avLst/>
          </a:prstGeom>
          <a:ln w="19050" cap="rnd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9" name="Rounded Rectangle 64">
            <a:extLst>
              <a:ext uri="{FF2B5EF4-FFF2-40B4-BE49-F238E27FC236}">
                <a16:creationId xmlns:a16="http://schemas.microsoft.com/office/drawing/2014/main" id="{E06BD9BF-6045-4348-9E95-8EBAF34CA0E1}"/>
              </a:ext>
            </a:extLst>
          </p:cNvPr>
          <p:cNvSpPr/>
          <p:nvPr/>
        </p:nvSpPr>
        <p:spPr>
          <a:xfrm flipH="1">
            <a:off x="9739900" y="4901923"/>
            <a:ext cx="937547" cy="25967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txBody>
          <a:bodyPr wrap="square" lIns="0" tIns="0" rIns="0" bIns="0" anchor="ctr" anchorCtr="0">
            <a:spAutoFit/>
          </a:bodyPr>
          <a:lstStyle/>
          <a:p>
            <a:pPr algn="ctr" defTabSz="914377"/>
            <a:r>
              <a:rPr lang="en-GB" sz="1200" dirty="0">
                <a:solidFill>
                  <a:prstClr val="white"/>
                </a:solidFill>
                <a:latin typeface="Calibri" panose="020F0502020204030204"/>
              </a:rPr>
              <a:t>1-9%</a:t>
            </a:r>
            <a:r>
              <a:rPr lang="cs-CZ" sz="12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1200" baseline="30000" dirty="0">
                <a:solidFill>
                  <a:prstClr val="white"/>
                </a:solidFill>
                <a:latin typeface="Calibri" panose="020F0502020204030204"/>
              </a:rPr>
              <a:t>1,10,11</a:t>
            </a:r>
          </a:p>
        </p:txBody>
      </p:sp>
      <p:sp>
        <p:nvSpPr>
          <p:cNvPr id="290" name="Rounded Rectangle 64">
            <a:extLst>
              <a:ext uri="{FF2B5EF4-FFF2-40B4-BE49-F238E27FC236}">
                <a16:creationId xmlns:a16="http://schemas.microsoft.com/office/drawing/2014/main" id="{32469D0E-E673-4F2D-80E4-DBF60D9CA584}"/>
              </a:ext>
            </a:extLst>
          </p:cNvPr>
          <p:cNvSpPr/>
          <p:nvPr/>
        </p:nvSpPr>
        <p:spPr>
          <a:xfrm flipH="1">
            <a:off x="10831429" y="4899401"/>
            <a:ext cx="937547" cy="25967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txBody>
          <a:bodyPr wrap="square" lIns="0" tIns="0" rIns="0" bIns="0" anchor="ctr" anchorCtr="0">
            <a:spAutoFit/>
          </a:bodyPr>
          <a:lstStyle/>
          <a:p>
            <a:pPr algn="ctr" defTabSz="914377"/>
            <a:r>
              <a:rPr lang="en-GB" sz="1200" dirty="0">
                <a:solidFill>
                  <a:prstClr val="white"/>
                </a:solidFill>
                <a:latin typeface="Calibri" panose="020F0502020204030204"/>
              </a:rPr>
              <a:t>1-17%</a:t>
            </a:r>
            <a:r>
              <a:rPr lang="cs-CZ" sz="12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1200" baseline="30000" dirty="0">
                <a:solidFill>
                  <a:prstClr val="white"/>
                </a:solidFill>
                <a:latin typeface="Calibri" panose="020F0502020204030204"/>
              </a:rPr>
              <a:t>1,10,11</a:t>
            </a:r>
          </a:p>
        </p:txBody>
      </p:sp>
      <p:sp>
        <p:nvSpPr>
          <p:cNvPr id="291" name="TextBox Ulcerative Colitis">
            <a:extLst>
              <a:ext uri="{FF2B5EF4-FFF2-40B4-BE49-F238E27FC236}">
                <a16:creationId xmlns:a16="http://schemas.microsoft.com/office/drawing/2014/main" id="{DAAF0866-F639-4EAD-BA62-8A3CCEF41D78}"/>
              </a:ext>
            </a:extLst>
          </p:cNvPr>
          <p:cNvSpPr txBox="1">
            <a:spLocks noChangeAspect="1"/>
          </p:cNvSpPr>
          <p:nvPr/>
        </p:nvSpPr>
        <p:spPr>
          <a:xfrm>
            <a:off x="9788696" y="4003518"/>
            <a:ext cx="850053" cy="850053"/>
          </a:xfrm>
          <a:prstGeom prst="ellipse">
            <a:avLst/>
          </a:prstGeom>
          <a:solidFill>
            <a:schemeClr val="bg1">
              <a:alpha val="10000"/>
            </a:schemeClr>
          </a:solidFill>
          <a:ln w="19050" cap="rnd">
            <a:solidFill>
              <a:srgbClr val="002060"/>
            </a:solidFill>
            <a:prstDash val="sysDot"/>
          </a:ln>
        </p:spPr>
        <p:txBody>
          <a:bodyPr wrap="none" lIns="0" tIns="90000" rIns="0" bIns="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lnSpc>
                <a:spcPts val="1000"/>
              </a:lnSpc>
              <a:defRPr/>
            </a:pPr>
            <a:r>
              <a:rPr lang="en-GB" sz="1200" dirty="0">
                <a:solidFill>
                  <a:prstClr val="black"/>
                </a:solidFill>
              </a:rPr>
              <a:t>Ulcerózní </a:t>
            </a:r>
          </a:p>
          <a:p>
            <a:pPr defTabSz="914377">
              <a:lnSpc>
                <a:spcPts val="1000"/>
              </a:lnSpc>
              <a:defRPr/>
            </a:pPr>
            <a:r>
              <a:rPr lang="en-GB" sz="1200" dirty="0" err="1">
                <a:solidFill>
                  <a:prstClr val="black"/>
                </a:solidFill>
              </a:rPr>
              <a:t>Kolitida</a:t>
            </a:r>
            <a:r>
              <a:rPr lang="cs-CZ" sz="1200" dirty="0">
                <a:solidFill>
                  <a:prstClr val="black"/>
                </a:solidFill>
              </a:rPr>
              <a:t> </a:t>
            </a:r>
            <a:r>
              <a:rPr lang="en-GB" sz="1200" baseline="30000" dirty="0">
                <a:solidFill>
                  <a:prstClr val="black"/>
                </a:solidFill>
              </a:rPr>
              <a:t>1,2</a:t>
            </a:r>
          </a:p>
        </p:txBody>
      </p:sp>
      <p:sp>
        <p:nvSpPr>
          <p:cNvPr id="292" name="TextBox Crohn's Disease">
            <a:extLst>
              <a:ext uri="{FF2B5EF4-FFF2-40B4-BE49-F238E27FC236}">
                <a16:creationId xmlns:a16="http://schemas.microsoft.com/office/drawing/2014/main" id="{48367208-C682-400F-AD2B-69C4E2FF348D}"/>
              </a:ext>
            </a:extLst>
          </p:cNvPr>
          <p:cNvSpPr txBox="1">
            <a:spLocks noChangeAspect="1"/>
          </p:cNvSpPr>
          <p:nvPr/>
        </p:nvSpPr>
        <p:spPr>
          <a:xfrm>
            <a:off x="10863524" y="4003518"/>
            <a:ext cx="850053" cy="850053"/>
          </a:xfrm>
          <a:prstGeom prst="ellipse">
            <a:avLst/>
          </a:prstGeom>
          <a:solidFill>
            <a:schemeClr val="bg1">
              <a:alpha val="10000"/>
            </a:schemeClr>
          </a:solidFill>
          <a:ln w="19050" cap="rnd">
            <a:solidFill>
              <a:schemeClr val="tx2">
                <a:lumMod val="50000"/>
              </a:schemeClr>
            </a:solidFill>
            <a:prstDash val="sysDot"/>
          </a:ln>
        </p:spPr>
        <p:txBody>
          <a:bodyPr wrap="none" lIns="0" tIns="90000" rIns="0" bIns="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lnSpc>
                <a:spcPts val="1000"/>
              </a:lnSpc>
              <a:defRPr/>
            </a:pPr>
            <a:r>
              <a:rPr lang="en-GB" sz="1200" dirty="0" err="1">
                <a:solidFill>
                  <a:prstClr val="black"/>
                </a:solidFill>
              </a:rPr>
              <a:t>Crohnova</a:t>
            </a:r>
            <a:r>
              <a:rPr lang="en-GB" sz="1200" dirty="0">
                <a:solidFill>
                  <a:prstClr val="black"/>
                </a:solidFill>
              </a:rPr>
              <a:t> </a:t>
            </a:r>
          </a:p>
          <a:p>
            <a:pPr defTabSz="914377">
              <a:lnSpc>
                <a:spcPts val="1000"/>
              </a:lnSpc>
              <a:defRPr/>
            </a:pPr>
            <a:r>
              <a:rPr lang="en-GB" sz="1200" dirty="0" err="1">
                <a:solidFill>
                  <a:prstClr val="black"/>
                </a:solidFill>
              </a:rPr>
              <a:t>choroba</a:t>
            </a:r>
            <a:endParaRPr lang="en-GB" sz="1200" dirty="0">
              <a:solidFill>
                <a:prstClr val="black"/>
              </a:solidFill>
            </a:endParaRPr>
          </a:p>
        </p:txBody>
      </p:sp>
      <p:cxnSp>
        <p:nvCxnSpPr>
          <p:cNvPr id="293" name="Straight Connector 77">
            <a:extLst>
              <a:ext uri="{FF2B5EF4-FFF2-40B4-BE49-F238E27FC236}">
                <a16:creationId xmlns:a16="http://schemas.microsoft.com/office/drawing/2014/main" id="{6A94C2DD-7D5C-4067-979A-2DEEF5FCB2F4}"/>
              </a:ext>
            </a:extLst>
          </p:cNvPr>
          <p:cNvCxnSpPr>
            <a:cxnSpLocks/>
          </p:cNvCxnSpPr>
          <p:nvPr/>
        </p:nvCxnSpPr>
        <p:spPr>
          <a:xfrm>
            <a:off x="9510869" y="4395977"/>
            <a:ext cx="277827" cy="0"/>
          </a:xfrm>
          <a:prstGeom prst="line">
            <a:avLst/>
          </a:prstGeom>
          <a:ln w="19050" cap="rnd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777">
            <a:extLst>
              <a:ext uri="{FF2B5EF4-FFF2-40B4-BE49-F238E27FC236}">
                <a16:creationId xmlns:a16="http://schemas.microsoft.com/office/drawing/2014/main" id="{39022AF3-688A-4C90-B0C2-AC7D6A52C552}"/>
              </a:ext>
            </a:extLst>
          </p:cNvPr>
          <p:cNvCxnSpPr>
            <a:cxnSpLocks/>
          </p:cNvCxnSpPr>
          <p:nvPr/>
        </p:nvCxnSpPr>
        <p:spPr>
          <a:xfrm>
            <a:off x="10662607" y="4395977"/>
            <a:ext cx="190364" cy="0"/>
          </a:xfrm>
          <a:prstGeom prst="line">
            <a:avLst/>
          </a:prstGeom>
          <a:ln w="19050" cap="rnd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5" name="Arc 294">
            <a:extLst>
              <a:ext uri="{FF2B5EF4-FFF2-40B4-BE49-F238E27FC236}">
                <a16:creationId xmlns:a16="http://schemas.microsoft.com/office/drawing/2014/main" id="{60BD2723-ECDA-4D4E-9BE5-11BB5D832F23}"/>
              </a:ext>
            </a:extLst>
          </p:cNvPr>
          <p:cNvSpPr/>
          <p:nvPr/>
        </p:nvSpPr>
        <p:spPr>
          <a:xfrm>
            <a:off x="9725061" y="4003439"/>
            <a:ext cx="937547" cy="937547"/>
          </a:xfrm>
          <a:prstGeom prst="arc">
            <a:avLst>
              <a:gd name="adj1" fmla="val 16200000"/>
              <a:gd name="adj2" fmla="val 19310740"/>
            </a:avLst>
          </a:prstGeom>
          <a:ln w="76200" cap="rnd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6" name="Arc 295">
            <a:extLst>
              <a:ext uri="{FF2B5EF4-FFF2-40B4-BE49-F238E27FC236}">
                <a16:creationId xmlns:a16="http://schemas.microsoft.com/office/drawing/2014/main" id="{6373AD03-28F6-4760-B20E-EBBF403BF0C9}"/>
              </a:ext>
            </a:extLst>
          </p:cNvPr>
          <p:cNvSpPr/>
          <p:nvPr/>
        </p:nvSpPr>
        <p:spPr>
          <a:xfrm>
            <a:off x="9725061" y="4003439"/>
            <a:ext cx="937547" cy="937547"/>
          </a:xfrm>
          <a:prstGeom prst="arc">
            <a:avLst>
              <a:gd name="adj1" fmla="val 16200000"/>
              <a:gd name="adj2" fmla="val 16356552"/>
            </a:avLst>
          </a:prstGeom>
          <a:ln w="762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7" name="Arc 296">
            <a:extLst>
              <a:ext uri="{FF2B5EF4-FFF2-40B4-BE49-F238E27FC236}">
                <a16:creationId xmlns:a16="http://schemas.microsoft.com/office/drawing/2014/main" id="{BF478651-B225-4D09-B512-86946F659CAE}"/>
              </a:ext>
            </a:extLst>
          </p:cNvPr>
          <p:cNvSpPr/>
          <p:nvPr/>
        </p:nvSpPr>
        <p:spPr>
          <a:xfrm>
            <a:off x="10792732" y="4003439"/>
            <a:ext cx="937547" cy="937547"/>
          </a:xfrm>
          <a:prstGeom prst="arc">
            <a:avLst>
              <a:gd name="adj1" fmla="val 16200000"/>
              <a:gd name="adj2" fmla="val 18041478"/>
            </a:avLst>
          </a:prstGeom>
          <a:ln w="76200" cap="rnd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8" name="Arc 297">
            <a:extLst>
              <a:ext uri="{FF2B5EF4-FFF2-40B4-BE49-F238E27FC236}">
                <a16:creationId xmlns:a16="http://schemas.microsoft.com/office/drawing/2014/main" id="{7DD87D69-67FE-4CE9-BEC8-DE4F260A7D49}"/>
              </a:ext>
            </a:extLst>
          </p:cNvPr>
          <p:cNvSpPr/>
          <p:nvPr/>
        </p:nvSpPr>
        <p:spPr>
          <a:xfrm>
            <a:off x="10792732" y="4003439"/>
            <a:ext cx="937547" cy="937547"/>
          </a:xfrm>
          <a:prstGeom prst="arc">
            <a:avLst>
              <a:gd name="adj1" fmla="val 16200000"/>
              <a:gd name="adj2" fmla="val 16356559"/>
            </a:avLst>
          </a:prstGeom>
          <a:ln w="762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9" name="Rounded Rectangle 167">
            <a:extLst>
              <a:ext uri="{FF2B5EF4-FFF2-40B4-BE49-F238E27FC236}">
                <a16:creationId xmlns:a16="http://schemas.microsoft.com/office/drawing/2014/main" id="{C83DFA02-7D38-4AEA-93B4-BB27EB2B677C}"/>
              </a:ext>
            </a:extLst>
          </p:cNvPr>
          <p:cNvSpPr/>
          <p:nvPr/>
        </p:nvSpPr>
        <p:spPr>
          <a:xfrm flipH="1">
            <a:off x="6435362" y="1450627"/>
            <a:ext cx="780695" cy="25967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txBody>
          <a:bodyPr wrap="square" lIns="0" tIns="0" rIns="0" bIns="0" anchor="ctr" anchorCtr="0">
            <a:spAutoFit/>
          </a:bodyPr>
          <a:lstStyle/>
          <a:p>
            <a:pPr algn="ctr" defTabSz="914377"/>
            <a:r>
              <a:rPr lang="en-GB" sz="1200" dirty="0">
                <a:solidFill>
                  <a:prstClr val="white"/>
                </a:solidFill>
                <a:latin typeface="Calibri" panose="020F0502020204030204"/>
              </a:rPr>
              <a:t>5-36%</a:t>
            </a:r>
            <a:r>
              <a:rPr lang="cs-CZ" sz="12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1200" baseline="30000" dirty="0">
                <a:solidFill>
                  <a:prstClr val="white"/>
                </a:solidFill>
                <a:latin typeface="Calibri" panose="020F0502020204030204"/>
              </a:rPr>
              <a:t>1,3,5</a:t>
            </a:r>
          </a:p>
        </p:txBody>
      </p:sp>
      <p:grpSp>
        <p:nvGrpSpPr>
          <p:cNvPr id="232" name="Graphic Pancreas">
            <a:extLst>
              <a:ext uri="{FF2B5EF4-FFF2-40B4-BE49-F238E27FC236}">
                <a16:creationId xmlns:a16="http://schemas.microsoft.com/office/drawing/2014/main" id="{24897BB7-2B1B-450B-A679-E2662A90750B}"/>
              </a:ext>
            </a:extLst>
          </p:cNvPr>
          <p:cNvGrpSpPr/>
          <p:nvPr/>
        </p:nvGrpSpPr>
        <p:grpSpPr>
          <a:xfrm>
            <a:off x="5989492" y="3071649"/>
            <a:ext cx="353568" cy="304800"/>
            <a:chOff x="6070354" y="2936698"/>
            <a:chExt cx="176964" cy="154255"/>
          </a:xfrm>
          <a:gradFill>
            <a:gsLst>
              <a:gs pos="92000">
                <a:srgbClr val="ED7D31">
                  <a:lumMod val="75000"/>
                </a:srgbClr>
              </a:gs>
              <a:gs pos="11000">
                <a:srgbClr val="ED7D31">
                  <a:lumMod val="75000"/>
                </a:srgbClr>
              </a:gs>
              <a:gs pos="72000">
                <a:srgbClr val="ED7D31">
                  <a:lumMod val="60000"/>
                  <a:lumOff val="40000"/>
                </a:srgbClr>
              </a:gs>
              <a:gs pos="67000">
                <a:srgbClr val="ED7D31">
                  <a:lumMod val="40000"/>
                  <a:lumOff val="60000"/>
                </a:srgbClr>
              </a:gs>
            </a:gsLst>
            <a:lin ang="16200000" scaled="0"/>
          </a:gradFill>
        </p:grpSpPr>
        <p:sp>
          <p:nvSpPr>
            <p:cNvPr id="233" name="Freeform 278">
              <a:extLst>
                <a:ext uri="{FF2B5EF4-FFF2-40B4-BE49-F238E27FC236}">
                  <a16:creationId xmlns:a16="http://schemas.microsoft.com/office/drawing/2014/main" id="{4F7154D8-CFE0-44CE-B41A-290A3B9B4542}"/>
                </a:ext>
              </a:extLst>
            </p:cNvPr>
            <p:cNvSpPr/>
            <p:nvPr/>
          </p:nvSpPr>
          <p:spPr>
            <a:xfrm>
              <a:off x="6070354" y="2965613"/>
              <a:ext cx="115409" cy="125340"/>
            </a:xfrm>
            <a:custGeom>
              <a:avLst/>
              <a:gdLst>
                <a:gd name="connsiteX0" fmla="*/ 103407 w 115409"/>
                <a:gd name="connsiteY0" fmla="*/ 63786 h 125340"/>
                <a:gd name="connsiteX1" fmla="*/ 97674 w 115409"/>
                <a:gd name="connsiteY1" fmla="*/ 75328 h 125340"/>
                <a:gd name="connsiteX2" fmla="*/ 46776 w 115409"/>
                <a:gd name="connsiteY2" fmla="*/ 92063 h 125340"/>
                <a:gd name="connsiteX3" fmla="*/ 13996 w 115409"/>
                <a:gd name="connsiteY3" fmla="*/ 29388 h 125340"/>
                <a:gd name="connsiteX4" fmla="*/ 23963 w 115409"/>
                <a:gd name="connsiteY4" fmla="*/ 11542 h 125340"/>
                <a:gd name="connsiteX5" fmla="*/ 19269 w 115409"/>
                <a:gd name="connsiteY5" fmla="*/ 0 h 125340"/>
                <a:gd name="connsiteX6" fmla="*/ 61549 w 115409"/>
                <a:gd name="connsiteY6" fmla="*/ 106105 h 125340"/>
                <a:gd name="connsiteX7" fmla="*/ 96174 w 115409"/>
                <a:gd name="connsiteY7" fmla="*/ 95487 h 125340"/>
                <a:gd name="connsiteX8" fmla="*/ 96174 w 115409"/>
                <a:gd name="connsiteY8" fmla="*/ 125341 h 125340"/>
                <a:gd name="connsiteX9" fmla="*/ 115410 w 115409"/>
                <a:gd name="connsiteY9" fmla="*/ 125341 h 125340"/>
                <a:gd name="connsiteX10" fmla="*/ 115410 w 115409"/>
                <a:gd name="connsiteY10" fmla="*/ 75789 h 125340"/>
                <a:gd name="connsiteX11" fmla="*/ 103407 w 115409"/>
                <a:gd name="connsiteY11" fmla="*/ 63786 h 125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409" h="125340">
                  <a:moveTo>
                    <a:pt x="103407" y="63786"/>
                  </a:moveTo>
                  <a:cubicBezTo>
                    <a:pt x="103022" y="63786"/>
                    <a:pt x="100098" y="73289"/>
                    <a:pt x="97674" y="75328"/>
                  </a:cubicBezTo>
                  <a:cubicBezTo>
                    <a:pt x="85710" y="91255"/>
                    <a:pt x="66897" y="98757"/>
                    <a:pt x="46776" y="92063"/>
                  </a:cubicBezTo>
                  <a:cubicBezTo>
                    <a:pt x="20417" y="83807"/>
                    <a:pt x="5741" y="55747"/>
                    <a:pt x="13996" y="29388"/>
                  </a:cubicBezTo>
                  <a:cubicBezTo>
                    <a:pt x="16054" y="22817"/>
                    <a:pt x="19447" y="16741"/>
                    <a:pt x="23963" y="11542"/>
                  </a:cubicBezTo>
                  <a:cubicBezTo>
                    <a:pt x="21254" y="8265"/>
                    <a:pt x="19616" y="4237"/>
                    <a:pt x="19269" y="0"/>
                  </a:cubicBezTo>
                  <a:cubicBezTo>
                    <a:pt x="-20818" y="37741"/>
                    <a:pt x="5689" y="106105"/>
                    <a:pt x="61549" y="106105"/>
                  </a:cubicBezTo>
                  <a:cubicBezTo>
                    <a:pt x="73895" y="106118"/>
                    <a:pt x="85958" y="102418"/>
                    <a:pt x="96174" y="95487"/>
                  </a:cubicBezTo>
                  <a:lnTo>
                    <a:pt x="96174" y="125341"/>
                  </a:lnTo>
                  <a:lnTo>
                    <a:pt x="115410" y="125341"/>
                  </a:lnTo>
                  <a:lnTo>
                    <a:pt x="115410" y="75789"/>
                  </a:lnTo>
                  <a:cubicBezTo>
                    <a:pt x="115410" y="69160"/>
                    <a:pt x="110036" y="63786"/>
                    <a:pt x="103407" y="63786"/>
                  </a:cubicBezTo>
                  <a:close/>
                </a:path>
              </a:pathLst>
            </a:custGeom>
            <a:grpFill/>
            <a:ln w="6350" cap="flat">
              <a:solidFill>
                <a:srgbClr val="FCB139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4" name="Freeform 279">
              <a:extLst>
                <a:ext uri="{FF2B5EF4-FFF2-40B4-BE49-F238E27FC236}">
                  <a16:creationId xmlns:a16="http://schemas.microsoft.com/office/drawing/2014/main" id="{CEC9C7E9-9DC9-4FF2-94FB-D9B3263BADD2}"/>
                </a:ext>
              </a:extLst>
            </p:cNvPr>
            <p:cNvSpPr/>
            <p:nvPr/>
          </p:nvSpPr>
          <p:spPr>
            <a:xfrm>
              <a:off x="6089698" y="2936698"/>
              <a:ext cx="157620" cy="116020"/>
            </a:xfrm>
            <a:custGeom>
              <a:avLst/>
              <a:gdLst>
                <a:gd name="connsiteX0" fmla="*/ 142232 w 157620"/>
                <a:gd name="connsiteY0" fmla="*/ 369 h 116020"/>
                <a:gd name="connsiteX1" fmla="*/ 18199 w 157620"/>
                <a:gd name="connsiteY1" fmla="*/ 38841 h 116020"/>
                <a:gd name="connsiteX2" fmla="*/ 7279 w 157620"/>
                <a:gd name="connsiteY2" fmla="*/ 96854 h 116020"/>
                <a:gd name="connsiteX3" fmla="*/ 11697 w 157620"/>
                <a:gd name="connsiteY3" fmla="*/ 102280 h 116020"/>
                <a:gd name="connsiteX4" fmla="*/ 26470 w 157620"/>
                <a:gd name="connsiteY4" fmla="*/ 78967 h 116020"/>
                <a:gd name="connsiteX5" fmla="*/ 37127 w 157620"/>
                <a:gd name="connsiteY5" fmla="*/ 54422 h 116020"/>
                <a:gd name="connsiteX6" fmla="*/ 42013 w 157620"/>
                <a:gd name="connsiteY6" fmla="*/ 56845 h 116020"/>
                <a:gd name="connsiteX7" fmla="*/ 39589 w 157620"/>
                <a:gd name="connsiteY7" fmla="*/ 61731 h 116020"/>
                <a:gd name="connsiteX8" fmla="*/ 33972 w 157620"/>
                <a:gd name="connsiteY8" fmla="*/ 76043 h 116020"/>
                <a:gd name="connsiteX9" fmla="*/ 57709 w 157620"/>
                <a:gd name="connsiteY9" fmla="*/ 57153 h 116020"/>
                <a:gd name="connsiteX10" fmla="*/ 62473 w 157620"/>
                <a:gd name="connsiteY10" fmla="*/ 54525 h 116020"/>
                <a:gd name="connsiteX11" fmla="*/ 65173 w 157620"/>
                <a:gd name="connsiteY11" fmla="*/ 59000 h 116020"/>
                <a:gd name="connsiteX12" fmla="*/ 55978 w 157620"/>
                <a:gd name="connsiteY12" fmla="*/ 74119 h 116020"/>
                <a:gd name="connsiteX13" fmla="*/ 63172 w 157620"/>
                <a:gd name="connsiteY13" fmla="*/ 88431 h 116020"/>
                <a:gd name="connsiteX14" fmla="*/ 58017 w 157620"/>
                <a:gd name="connsiteY14" fmla="*/ 86738 h 116020"/>
                <a:gd name="connsiteX15" fmla="*/ 48207 w 157620"/>
                <a:gd name="connsiteY15" fmla="*/ 79044 h 116020"/>
                <a:gd name="connsiteX16" fmla="*/ 31856 w 157620"/>
                <a:gd name="connsiteY16" fmla="*/ 85007 h 116020"/>
                <a:gd name="connsiteX17" fmla="*/ 17968 w 157620"/>
                <a:gd name="connsiteY17" fmla="*/ 107897 h 116020"/>
                <a:gd name="connsiteX18" fmla="*/ 71251 w 157620"/>
                <a:gd name="connsiteY18" fmla="*/ 101049 h 116020"/>
                <a:gd name="connsiteX19" fmla="*/ 85486 w 157620"/>
                <a:gd name="connsiteY19" fmla="*/ 76851 h 116020"/>
                <a:gd name="connsiteX20" fmla="*/ 157620 w 157620"/>
                <a:gd name="connsiteY20" fmla="*/ 12372 h 116020"/>
                <a:gd name="connsiteX21" fmla="*/ 145217 w 157620"/>
                <a:gd name="connsiteY21" fmla="*/ 0 h 116020"/>
                <a:gd name="connsiteX22" fmla="*/ 142232 w 157620"/>
                <a:gd name="connsiteY22" fmla="*/ 369 h 116020"/>
                <a:gd name="connsiteX23" fmla="*/ 130690 w 157620"/>
                <a:gd name="connsiteY23" fmla="*/ 34993 h 116020"/>
                <a:gd name="connsiteX24" fmla="*/ 122534 w 157620"/>
                <a:gd name="connsiteY24" fmla="*/ 36802 h 116020"/>
                <a:gd name="connsiteX25" fmla="*/ 90026 w 157620"/>
                <a:gd name="connsiteY25" fmla="*/ 51729 h 116020"/>
                <a:gd name="connsiteX26" fmla="*/ 96066 w 157620"/>
                <a:gd name="connsiteY26" fmla="*/ 54229 h 116020"/>
                <a:gd name="connsiteX27" fmla="*/ 99913 w 157620"/>
                <a:gd name="connsiteY27" fmla="*/ 58076 h 116020"/>
                <a:gd name="connsiteX28" fmla="*/ 96066 w 157620"/>
                <a:gd name="connsiteY28" fmla="*/ 61924 h 116020"/>
                <a:gd name="connsiteX29" fmla="*/ 80369 w 157620"/>
                <a:gd name="connsiteY29" fmla="*/ 51690 h 116020"/>
                <a:gd name="connsiteX30" fmla="*/ 71944 w 157620"/>
                <a:gd name="connsiteY30" fmla="*/ 50382 h 116020"/>
                <a:gd name="connsiteX31" fmla="*/ 69135 w 157620"/>
                <a:gd name="connsiteY31" fmla="*/ 45496 h 116020"/>
                <a:gd name="connsiteX32" fmla="*/ 74021 w 157620"/>
                <a:gd name="connsiteY32" fmla="*/ 42688 h 116020"/>
                <a:gd name="connsiteX33" fmla="*/ 95450 w 157620"/>
                <a:gd name="connsiteY33" fmla="*/ 42880 h 116020"/>
                <a:gd name="connsiteX34" fmla="*/ 97951 w 157620"/>
                <a:gd name="connsiteY34" fmla="*/ 31723 h 116020"/>
                <a:gd name="connsiteX35" fmla="*/ 103029 w 157620"/>
                <a:gd name="connsiteY35" fmla="*/ 29723 h 116020"/>
                <a:gd name="connsiteX36" fmla="*/ 105030 w 157620"/>
                <a:gd name="connsiteY36" fmla="*/ 34801 h 116020"/>
                <a:gd name="connsiteX37" fmla="*/ 103568 w 157620"/>
                <a:gd name="connsiteY37" fmla="*/ 39802 h 116020"/>
                <a:gd name="connsiteX38" fmla="*/ 120380 w 157620"/>
                <a:gd name="connsiteY38" fmla="*/ 29261 h 116020"/>
                <a:gd name="connsiteX39" fmla="*/ 130690 w 157620"/>
                <a:gd name="connsiteY39" fmla="*/ 27299 h 116020"/>
                <a:gd name="connsiteX40" fmla="*/ 134537 w 157620"/>
                <a:gd name="connsiteY40" fmla="*/ 31146 h 116020"/>
                <a:gd name="connsiteX41" fmla="*/ 130690 w 157620"/>
                <a:gd name="connsiteY41" fmla="*/ 34993 h 116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57620" h="116020">
                  <a:moveTo>
                    <a:pt x="142232" y="369"/>
                  </a:moveTo>
                  <a:cubicBezTo>
                    <a:pt x="83601" y="35878"/>
                    <a:pt x="47976" y="19913"/>
                    <a:pt x="18199" y="38841"/>
                  </a:cubicBezTo>
                  <a:cubicBezTo>
                    <a:pt x="-836" y="51845"/>
                    <a:pt x="-5725" y="77819"/>
                    <a:pt x="7279" y="96854"/>
                  </a:cubicBezTo>
                  <a:cubicBezTo>
                    <a:pt x="8598" y="98783"/>
                    <a:pt x="10075" y="100598"/>
                    <a:pt x="11697" y="102280"/>
                  </a:cubicBezTo>
                  <a:cubicBezTo>
                    <a:pt x="15814" y="90239"/>
                    <a:pt x="20815" y="82429"/>
                    <a:pt x="26470" y="78967"/>
                  </a:cubicBezTo>
                  <a:cubicBezTo>
                    <a:pt x="25778" y="72657"/>
                    <a:pt x="25586" y="58269"/>
                    <a:pt x="37127" y="54422"/>
                  </a:cubicBezTo>
                  <a:cubicBezTo>
                    <a:pt x="39146" y="53742"/>
                    <a:pt x="41333" y="54827"/>
                    <a:pt x="42013" y="56845"/>
                  </a:cubicBezTo>
                  <a:cubicBezTo>
                    <a:pt x="42693" y="58864"/>
                    <a:pt x="41608" y="61051"/>
                    <a:pt x="39589" y="61731"/>
                  </a:cubicBezTo>
                  <a:cubicBezTo>
                    <a:pt x="34242" y="63501"/>
                    <a:pt x="33703" y="71080"/>
                    <a:pt x="33972" y="76043"/>
                  </a:cubicBezTo>
                  <a:cubicBezTo>
                    <a:pt x="45937" y="72196"/>
                    <a:pt x="54670" y="69195"/>
                    <a:pt x="57709" y="57153"/>
                  </a:cubicBezTo>
                  <a:cubicBezTo>
                    <a:pt x="58299" y="55112"/>
                    <a:pt x="60432" y="53935"/>
                    <a:pt x="62473" y="54525"/>
                  </a:cubicBezTo>
                  <a:cubicBezTo>
                    <a:pt x="64403" y="55083"/>
                    <a:pt x="65580" y="57032"/>
                    <a:pt x="65173" y="59000"/>
                  </a:cubicBezTo>
                  <a:cubicBezTo>
                    <a:pt x="63879" y="64924"/>
                    <a:pt x="60642" y="70245"/>
                    <a:pt x="55978" y="74119"/>
                  </a:cubicBezTo>
                  <a:cubicBezTo>
                    <a:pt x="61710" y="77582"/>
                    <a:pt x="68982" y="85661"/>
                    <a:pt x="63172" y="88431"/>
                  </a:cubicBezTo>
                  <a:cubicBezTo>
                    <a:pt x="61281" y="89380"/>
                    <a:pt x="58977" y="88624"/>
                    <a:pt x="58017" y="86738"/>
                  </a:cubicBezTo>
                  <a:cubicBezTo>
                    <a:pt x="55748" y="83105"/>
                    <a:pt x="52276" y="80382"/>
                    <a:pt x="48207" y="79044"/>
                  </a:cubicBezTo>
                  <a:cubicBezTo>
                    <a:pt x="42874" y="81340"/>
                    <a:pt x="37416" y="83331"/>
                    <a:pt x="31856" y="85007"/>
                  </a:cubicBezTo>
                  <a:cubicBezTo>
                    <a:pt x="25162" y="87238"/>
                    <a:pt x="20084" y="101703"/>
                    <a:pt x="17968" y="107897"/>
                  </a:cubicBezTo>
                  <a:cubicBezTo>
                    <a:pt x="34819" y="119862"/>
                    <a:pt x="55978" y="119439"/>
                    <a:pt x="71251" y="101049"/>
                  </a:cubicBezTo>
                  <a:cubicBezTo>
                    <a:pt x="78946" y="93355"/>
                    <a:pt x="76445" y="78390"/>
                    <a:pt x="85486" y="76851"/>
                  </a:cubicBezTo>
                  <a:cubicBezTo>
                    <a:pt x="119149" y="70888"/>
                    <a:pt x="157620" y="44958"/>
                    <a:pt x="157620" y="12372"/>
                  </a:cubicBezTo>
                  <a:cubicBezTo>
                    <a:pt x="157611" y="5530"/>
                    <a:pt x="152058" y="-9"/>
                    <a:pt x="145217" y="0"/>
                  </a:cubicBezTo>
                  <a:cubicBezTo>
                    <a:pt x="144210" y="1"/>
                    <a:pt x="143208" y="125"/>
                    <a:pt x="142232" y="369"/>
                  </a:cubicBezTo>
                  <a:close/>
                  <a:moveTo>
                    <a:pt x="130690" y="34993"/>
                  </a:moveTo>
                  <a:cubicBezTo>
                    <a:pt x="127909" y="35271"/>
                    <a:pt x="125172" y="35878"/>
                    <a:pt x="122534" y="36802"/>
                  </a:cubicBezTo>
                  <a:cubicBezTo>
                    <a:pt x="112724" y="39610"/>
                    <a:pt x="111223" y="49805"/>
                    <a:pt x="90026" y="51729"/>
                  </a:cubicBezTo>
                  <a:cubicBezTo>
                    <a:pt x="91648" y="53299"/>
                    <a:pt x="93808" y="54194"/>
                    <a:pt x="96066" y="54229"/>
                  </a:cubicBezTo>
                  <a:cubicBezTo>
                    <a:pt x="98190" y="54229"/>
                    <a:pt x="99913" y="55952"/>
                    <a:pt x="99913" y="58076"/>
                  </a:cubicBezTo>
                  <a:cubicBezTo>
                    <a:pt x="99913" y="60201"/>
                    <a:pt x="98190" y="61924"/>
                    <a:pt x="96066" y="61924"/>
                  </a:cubicBezTo>
                  <a:cubicBezTo>
                    <a:pt x="89350" y="61659"/>
                    <a:pt x="83321" y="57728"/>
                    <a:pt x="80369" y="51690"/>
                  </a:cubicBezTo>
                  <a:cubicBezTo>
                    <a:pt x="77528" y="51499"/>
                    <a:pt x="74709" y="51062"/>
                    <a:pt x="71944" y="50382"/>
                  </a:cubicBezTo>
                  <a:cubicBezTo>
                    <a:pt x="69819" y="49809"/>
                    <a:pt x="68562" y="47621"/>
                    <a:pt x="69135" y="45496"/>
                  </a:cubicBezTo>
                  <a:cubicBezTo>
                    <a:pt x="69709" y="43371"/>
                    <a:pt x="71897" y="42114"/>
                    <a:pt x="74021" y="42688"/>
                  </a:cubicBezTo>
                  <a:cubicBezTo>
                    <a:pt x="81058" y="44372"/>
                    <a:pt x="88385" y="44438"/>
                    <a:pt x="95450" y="42880"/>
                  </a:cubicBezTo>
                  <a:cubicBezTo>
                    <a:pt x="95710" y="39055"/>
                    <a:pt x="96553" y="35293"/>
                    <a:pt x="97951" y="31723"/>
                  </a:cubicBezTo>
                  <a:cubicBezTo>
                    <a:pt x="98801" y="29769"/>
                    <a:pt x="101074" y="28873"/>
                    <a:pt x="103029" y="29723"/>
                  </a:cubicBezTo>
                  <a:cubicBezTo>
                    <a:pt x="104984" y="30573"/>
                    <a:pt x="105879" y="32846"/>
                    <a:pt x="105030" y="34801"/>
                  </a:cubicBezTo>
                  <a:cubicBezTo>
                    <a:pt x="104366" y="36412"/>
                    <a:pt x="103876" y="38088"/>
                    <a:pt x="103568" y="39802"/>
                  </a:cubicBezTo>
                  <a:cubicBezTo>
                    <a:pt x="110146" y="35955"/>
                    <a:pt x="111954" y="31608"/>
                    <a:pt x="120380" y="29261"/>
                  </a:cubicBezTo>
                  <a:cubicBezTo>
                    <a:pt x="123716" y="28158"/>
                    <a:pt x="127182" y="27498"/>
                    <a:pt x="130690" y="27299"/>
                  </a:cubicBezTo>
                  <a:cubicBezTo>
                    <a:pt x="132815" y="27299"/>
                    <a:pt x="134537" y="29021"/>
                    <a:pt x="134537" y="31146"/>
                  </a:cubicBezTo>
                  <a:cubicBezTo>
                    <a:pt x="134537" y="33271"/>
                    <a:pt x="132815" y="34993"/>
                    <a:pt x="130690" y="34993"/>
                  </a:cubicBezTo>
                  <a:close/>
                </a:path>
              </a:pathLst>
            </a:custGeom>
            <a:grpFill/>
            <a:ln w="3175" cap="flat">
              <a:solidFill>
                <a:srgbClr val="FCB139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Freeform 280">
              <a:extLst>
                <a:ext uri="{FF2B5EF4-FFF2-40B4-BE49-F238E27FC236}">
                  <a16:creationId xmlns:a16="http://schemas.microsoft.com/office/drawing/2014/main" id="{88D337C7-6BF1-4C70-9EA4-6792FF362CD1}"/>
                </a:ext>
              </a:extLst>
            </p:cNvPr>
            <p:cNvSpPr/>
            <p:nvPr/>
          </p:nvSpPr>
          <p:spPr>
            <a:xfrm>
              <a:off x="6097230" y="2956259"/>
              <a:ext cx="15013" cy="15432"/>
            </a:xfrm>
            <a:custGeom>
              <a:avLst/>
              <a:gdLst>
                <a:gd name="connsiteX0" fmla="*/ 2703 w 15013"/>
                <a:gd name="connsiteY0" fmla="*/ 15433 h 15432"/>
                <a:gd name="connsiteX1" fmla="*/ 15014 w 15013"/>
                <a:gd name="connsiteY1" fmla="*/ 8277 h 15432"/>
                <a:gd name="connsiteX2" fmla="*/ 3896 w 15013"/>
                <a:gd name="connsiteY2" fmla="*/ 583 h 15432"/>
                <a:gd name="connsiteX3" fmla="*/ 1510 w 15013"/>
                <a:gd name="connsiteY3" fmla="*/ 13702 h 15432"/>
                <a:gd name="connsiteX4" fmla="*/ 2703 w 15013"/>
                <a:gd name="connsiteY4" fmla="*/ 15433 h 15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13" h="15432">
                  <a:moveTo>
                    <a:pt x="2703" y="15433"/>
                  </a:moveTo>
                  <a:cubicBezTo>
                    <a:pt x="6461" y="12497"/>
                    <a:pt x="10603" y="10090"/>
                    <a:pt x="15014" y="8277"/>
                  </a:cubicBezTo>
                  <a:cubicBezTo>
                    <a:pt x="13629" y="2699"/>
                    <a:pt x="8358" y="-1610"/>
                    <a:pt x="3896" y="583"/>
                  </a:cubicBezTo>
                  <a:cubicBezTo>
                    <a:pt x="3434" y="583"/>
                    <a:pt x="-2798" y="5238"/>
                    <a:pt x="1510" y="13702"/>
                  </a:cubicBezTo>
                  <a:cubicBezTo>
                    <a:pt x="1845" y="14320"/>
                    <a:pt x="2245" y="14900"/>
                    <a:pt x="2703" y="15433"/>
                  </a:cubicBezTo>
                  <a:close/>
                </a:path>
              </a:pathLst>
            </a:custGeom>
            <a:grpFill/>
            <a:ln w="6350" cap="flat">
              <a:solidFill>
                <a:srgbClr val="FCB139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38" name="Group Large Intestines">
            <a:extLst>
              <a:ext uri="{FF2B5EF4-FFF2-40B4-BE49-F238E27FC236}">
                <a16:creationId xmlns:a16="http://schemas.microsoft.com/office/drawing/2014/main" id="{5907A793-257F-48D5-BDDD-642BAA35159E}"/>
              </a:ext>
            </a:extLst>
          </p:cNvPr>
          <p:cNvGrpSpPr/>
          <p:nvPr/>
        </p:nvGrpSpPr>
        <p:grpSpPr>
          <a:xfrm>
            <a:off x="5685531" y="3279883"/>
            <a:ext cx="747717" cy="805637"/>
            <a:chOff x="5686626" y="3473311"/>
            <a:chExt cx="747717" cy="805637"/>
          </a:xfrm>
        </p:grpSpPr>
        <p:sp>
          <p:nvSpPr>
            <p:cNvPr id="239" name="Freeform 363">
              <a:extLst>
                <a:ext uri="{FF2B5EF4-FFF2-40B4-BE49-F238E27FC236}">
                  <a16:creationId xmlns:a16="http://schemas.microsoft.com/office/drawing/2014/main" id="{9A979252-4BC2-46A5-A092-0AC0ED0B4B10}"/>
                </a:ext>
              </a:extLst>
            </p:cNvPr>
            <p:cNvSpPr/>
            <p:nvPr/>
          </p:nvSpPr>
          <p:spPr>
            <a:xfrm>
              <a:off x="5699159" y="3473311"/>
              <a:ext cx="671924" cy="210212"/>
            </a:xfrm>
            <a:custGeom>
              <a:avLst/>
              <a:gdLst>
                <a:gd name="connsiteX0" fmla="*/ 179222 w 421651"/>
                <a:gd name="connsiteY0" fmla="*/ 90754 h 124622"/>
                <a:gd name="connsiteX1" fmla="*/ 178687 w 421651"/>
                <a:gd name="connsiteY1" fmla="*/ 91634 h 124622"/>
                <a:gd name="connsiteX2" fmla="*/ 177865 w 421651"/>
                <a:gd name="connsiteY2" fmla="*/ 93272 h 124622"/>
                <a:gd name="connsiteX3" fmla="*/ 176179 w 421651"/>
                <a:gd name="connsiteY3" fmla="*/ 98942 h 124622"/>
                <a:gd name="connsiteX4" fmla="*/ 177865 w 421651"/>
                <a:gd name="connsiteY4" fmla="*/ 111389 h 124622"/>
                <a:gd name="connsiteX5" fmla="*/ 178687 w 421651"/>
                <a:gd name="connsiteY5" fmla="*/ 113027 h 124622"/>
                <a:gd name="connsiteX6" fmla="*/ 179551 w 421651"/>
                <a:gd name="connsiteY6" fmla="*/ 114460 h 124622"/>
                <a:gd name="connsiteX7" fmla="*/ 179736 w 421651"/>
                <a:gd name="connsiteY7" fmla="*/ 114747 h 124622"/>
                <a:gd name="connsiteX8" fmla="*/ 180271 w 421651"/>
                <a:gd name="connsiteY8" fmla="*/ 115545 h 124622"/>
                <a:gd name="connsiteX9" fmla="*/ 194950 w 421651"/>
                <a:gd name="connsiteY9" fmla="*/ 124389 h 124622"/>
                <a:gd name="connsiteX10" fmla="*/ 216312 w 421651"/>
                <a:gd name="connsiteY10" fmla="*/ 115586 h 124622"/>
                <a:gd name="connsiteX11" fmla="*/ 210905 w 421651"/>
                <a:gd name="connsiteY11" fmla="*/ 94951 h 124622"/>
                <a:gd name="connsiteX12" fmla="*/ 211810 w 421651"/>
                <a:gd name="connsiteY12" fmla="*/ 91204 h 124622"/>
                <a:gd name="connsiteX13" fmla="*/ 212118 w 421651"/>
                <a:gd name="connsiteY13" fmla="*/ 90099 h 124622"/>
                <a:gd name="connsiteX14" fmla="*/ 213228 w 421651"/>
                <a:gd name="connsiteY14" fmla="*/ 90099 h 124622"/>
                <a:gd name="connsiteX15" fmla="*/ 215037 w 421651"/>
                <a:gd name="connsiteY15" fmla="*/ 90099 h 124622"/>
                <a:gd name="connsiteX16" fmla="*/ 218697 w 421651"/>
                <a:gd name="connsiteY16" fmla="*/ 90099 h 124622"/>
                <a:gd name="connsiteX17" fmla="*/ 217957 w 421651"/>
                <a:gd name="connsiteY17" fmla="*/ 92146 h 124622"/>
                <a:gd name="connsiteX18" fmla="*/ 216949 w 421651"/>
                <a:gd name="connsiteY18" fmla="*/ 95913 h 124622"/>
                <a:gd name="connsiteX19" fmla="*/ 220794 w 421651"/>
                <a:gd name="connsiteY19" fmla="*/ 111471 h 124622"/>
                <a:gd name="connsiteX20" fmla="*/ 219848 w 421651"/>
                <a:gd name="connsiteY20" fmla="*/ 112720 h 124622"/>
                <a:gd name="connsiteX21" fmla="*/ 221061 w 421651"/>
                <a:gd name="connsiteY21" fmla="*/ 111799 h 124622"/>
                <a:gd name="connsiteX22" fmla="*/ 222069 w 421651"/>
                <a:gd name="connsiteY22" fmla="*/ 113048 h 124622"/>
                <a:gd name="connsiteX23" fmla="*/ 223097 w 421651"/>
                <a:gd name="connsiteY23" fmla="*/ 114092 h 124622"/>
                <a:gd name="connsiteX24" fmla="*/ 234549 w 421651"/>
                <a:gd name="connsiteY24" fmla="*/ 119783 h 124622"/>
                <a:gd name="connsiteX25" fmla="*/ 257473 w 421651"/>
                <a:gd name="connsiteY25" fmla="*/ 106169 h 124622"/>
                <a:gd name="connsiteX26" fmla="*/ 254101 w 421651"/>
                <a:gd name="connsiteY26" fmla="*/ 88768 h 124622"/>
                <a:gd name="connsiteX27" fmla="*/ 254389 w 421651"/>
                <a:gd name="connsiteY27" fmla="*/ 87458 h 124622"/>
                <a:gd name="connsiteX28" fmla="*/ 255438 w 421651"/>
                <a:gd name="connsiteY28" fmla="*/ 87253 h 124622"/>
                <a:gd name="connsiteX29" fmla="*/ 257350 w 421651"/>
                <a:gd name="connsiteY29" fmla="*/ 86946 h 124622"/>
                <a:gd name="connsiteX30" fmla="*/ 260886 w 421651"/>
                <a:gd name="connsiteY30" fmla="*/ 86414 h 124622"/>
                <a:gd name="connsiteX31" fmla="*/ 260393 w 421651"/>
                <a:gd name="connsiteY31" fmla="*/ 88584 h 124622"/>
                <a:gd name="connsiteX32" fmla="*/ 260167 w 421651"/>
                <a:gd name="connsiteY32" fmla="*/ 89710 h 124622"/>
                <a:gd name="connsiteX33" fmla="*/ 260167 w 421651"/>
                <a:gd name="connsiteY33" fmla="*/ 90344 h 124622"/>
                <a:gd name="connsiteX34" fmla="*/ 260167 w 421651"/>
                <a:gd name="connsiteY34" fmla="*/ 90692 h 124622"/>
                <a:gd name="connsiteX35" fmla="*/ 261647 w 421651"/>
                <a:gd name="connsiteY35" fmla="*/ 100642 h 124622"/>
                <a:gd name="connsiteX36" fmla="*/ 262757 w 421651"/>
                <a:gd name="connsiteY36" fmla="*/ 102914 h 124622"/>
                <a:gd name="connsiteX37" fmla="*/ 263867 w 421651"/>
                <a:gd name="connsiteY37" fmla="*/ 104613 h 124622"/>
                <a:gd name="connsiteX38" fmla="*/ 277334 w 421651"/>
                <a:gd name="connsiteY38" fmla="*/ 112802 h 124622"/>
                <a:gd name="connsiteX39" fmla="*/ 280439 w 421651"/>
                <a:gd name="connsiteY39" fmla="*/ 113027 h 124622"/>
                <a:gd name="connsiteX40" fmla="*/ 300526 w 421651"/>
                <a:gd name="connsiteY40" fmla="*/ 96036 h 124622"/>
                <a:gd name="connsiteX41" fmla="*/ 298634 w 421651"/>
                <a:gd name="connsiteY41" fmla="*/ 93804 h 124622"/>
                <a:gd name="connsiteX42" fmla="*/ 293597 w 421651"/>
                <a:gd name="connsiteY42" fmla="*/ 80231 h 124622"/>
                <a:gd name="connsiteX43" fmla="*/ 293494 w 421651"/>
                <a:gd name="connsiteY43" fmla="*/ 79003 h 124622"/>
                <a:gd name="connsiteX44" fmla="*/ 294666 w 421651"/>
                <a:gd name="connsiteY44" fmla="*/ 78655 h 124622"/>
                <a:gd name="connsiteX45" fmla="*/ 297174 w 421651"/>
                <a:gd name="connsiteY45" fmla="*/ 77877 h 124622"/>
                <a:gd name="connsiteX46" fmla="*/ 299601 w 421651"/>
                <a:gd name="connsiteY46" fmla="*/ 77099 h 124622"/>
                <a:gd name="connsiteX47" fmla="*/ 299703 w 421651"/>
                <a:gd name="connsiteY47" fmla="*/ 79515 h 124622"/>
                <a:gd name="connsiteX48" fmla="*/ 299703 w 421651"/>
                <a:gd name="connsiteY48" fmla="*/ 79924 h 124622"/>
                <a:gd name="connsiteX49" fmla="*/ 303425 w 421651"/>
                <a:gd name="connsiteY49" fmla="*/ 89976 h 124622"/>
                <a:gd name="connsiteX50" fmla="*/ 304946 w 421651"/>
                <a:gd name="connsiteY50" fmla="*/ 91839 h 124622"/>
                <a:gd name="connsiteX51" fmla="*/ 306344 w 421651"/>
                <a:gd name="connsiteY51" fmla="*/ 93231 h 124622"/>
                <a:gd name="connsiteX52" fmla="*/ 316974 w 421651"/>
                <a:gd name="connsiteY52" fmla="*/ 98287 h 124622"/>
                <a:gd name="connsiteX53" fmla="*/ 320078 w 421651"/>
                <a:gd name="connsiteY53" fmla="*/ 98533 h 124622"/>
                <a:gd name="connsiteX54" fmla="*/ 340206 w 421651"/>
                <a:gd name="connsiteY54" fmla="*/ 81296 h 124622"/>
                <a:gd name="connsiteX55" fmla="*/ 339919 w 421651"/>
                <a:gd name="connsiteY55" fmla="*/ 73701 h 124622"/>
                <a:gd name="connsiteX56" fmla="*/ 334758 w 421651"/>
                <a:gd name="connsiteY56" fmla="*/ 64243 h 124622"/>
                <a:gd name="connsiteX57" fmla="*/ 333504 w 421651"/>
                <a:gd name="connsiteY57" fmla="*/ 63076 h 124622"/>
                <a:gd name="connsiteX58" fmla="*/ 335354 w 421651"/>
                <a:gd name="connsiteY58" fmla="*/ 62073 h 124622"/>
                <a:gd name="connsiteX59" fmla="*/ 337122 w 421651"/>
                <a:gd name="connsiteY59" fmla="*/ 61090 h 124622"/>
                <a:gd name="connsiteX60" fmla="*/ 339816 w 421651"/>
                <a:gd name="connsiteY60" fmla="*/ 59616 h 124622"/>
                <a:gd name="connsiteX61" fmla="*/ 340309 w 421651"/>
                <a:gd name="connsiteY61" fmla="*/ 61479 h 124622"/>
                <a:gd name="connsiteX62" fmla="*/ 345244 w 421651"/>
                <a:gd name="connsiteY62" fmla="*/ 70528 h 124622"/>
                <a:gd name="connsiteX63" fmla="*/ 368374 w 421651"/>
                <a:gd name="connsiteY63" fmla="*/ 77672 h 124622"/>
                <a:gd name="connsiteX64" fmla="*/ 370430 w 421651"/>
                <a:gd name="connsiteY64" fmla="*/ 77140 h 124622"/>
                <a:gd name="connsiteX65" fmla="*/ 372095 w 421651"/>
                <a:gd name="connsiteY65" fmla="*/ 76505 h 124622"/>
                <a:gd name="connsiteX66" fmla="*/ 372732 w 421651"/>
                <a:gd name="connsiteY66" fmla="*/ 76239 h 124622"/>
                <a:gd name="connsiteX67" fmla="*/ 374953 w 421651"/>
                <a:gd name="connsiteY67" fmla="*/ 75113 h 124622"/>
                <a:gd name="connsiteX68" fmla="*/ 378366 w 421651"/>
                <a:gd name="connsiteY68" fmla="*/ 72595 h 124622"/>
                <a:gd name="connsiteX69" fmla="*/ 385726 w 421651"/>
                <a:gd name="connsiteY69" fmla="*/ 53905 h 124622"/>
                <a:gd name="connsiteX70" fmla="*/ 375282 w 421651"/>
                <a:gd name="connsiteY70" fmla="*/ 45716 h 124622"/>
                <a:gd name="connsiteX71" fmla="*/ 374994 w 421651"/>
                <a:gd name="connsiteY71" fmla="*/ 45307 h 124622"/>
                <a:gd name="connsiteX72" fmla="*/ 373966 w 421651"/>
                <a:gd name="connsiteY72" fmla="*/ 43853 h 124622"/>
                <a:gd name="connsiteX73" fmla="*/ 375426 w 421651"/>
                <a:gd name="connsiteY73" fmla="*/ 42891 h 124622"/>
                <a:gd name="connsiteX74" fmla="*/ 379394 w 421651"/>
                <a:gd name="connsiteY74" fmla="*/ 40967 h 124622"/>
                <a:gd name="connsiteX75" fmla="*/ 380154 w 421651"/>
                <a:gd name="connsiteY75" fmla="*/ 41949 h 124622"/>
                <a:gd name="connsiteX76" fmla="*/ 380853 w 421651"/>
                <a:gd name="connsiteY76" fmla="*/ 42809 h 124622"/>
                <a:gd name="connsiteX77" fmla="*/ 387021 w 421651"/>
                <a:gd name="connsiteY77" fmla="*/ 47722 h 124622"/>
                <a:gd name="connsiteX78" fmla="*/ 388810 w 421651"/>
                <a:gd name="connsiteY78" fmla="*/ 48603 h 124622"/>
                <a:gd name="connsiteX79" fmla="*/ 390434 w 421651"/>
                <a:gd name="connsiteY79" fmla="*/ 49237 h 124622"/>
                <a:gd name="connsiteX80" fmla="*/ 399522 w 421651"/>
                <a:gd name="connsiteY80" fmla="*/ 50588 h 124622"/>
                <a:gd name="connsiteX81" fmla="*/ 399974 w 421651"/>
                <a:gd name="connsiteY81" fmla="*/ 50588 h 124622"/>
                <a:gd name="connsiteX82" fmla="*/ 400735 w 421651"/>
                <a:gd name="connsiteY82" fmla="*/ 50588 h 124622"/>
                <a:gd name="connsiteX83" fmla="*/ 401208 w 421651"/>
                <a:gd name="connsiteY83" fmla="*/ 50588 h 124622"/>
                <a:gd name="connsiteX84" fmla="*/ 402750 w 421651"/>
                <a:gd name="connsiteY84" fmla="*/ 50363 h 124622"/>
                <a:gd name="connsiteX85" fmla="*/ 406039 w 421651"/>
                <a:gd name="connsiteY85" fmla="*/ 49503 h 124622"/>
                <a:gd name="connsiteX86" fmla="*/ 408095 w 421651"/>
                <a:gd name="connsiteY86" fmla="*/ 48705 h 124622"/>
                <a:gd name="connsiteX87" fmla="*/ 410727 w 421651"/>
                <a:gd name="connsiteY87" fmla="*/ 47313 h 124622"/>
                <a:gd name="connsiteX88" fmla="*/ 415867 w 421651"/>
                <a:gd name="connsiteY88" fmla="*/ 43075 h 124622"/>
                <a:gd name="connsiteX89" fmla="*/ 417717 w 421651"/>
                <a:gd name="connsiteY89" fmla="*/ 40803 h 124622"/>
                <a:gd name="connsiteX90" fmla="*/ 421562 w 421651"/>
                <a:gd name="connsiteY90" fmla="*/ 26166 h 124622"/>
                <a:gd name="connsiteX91" fmla="*/ 398720 w 421651"/>
                <a:gd name="connsiteY91" fmla="*/ 9113 h 124622"/>
                <a:gd name="connsiteX92" fmla="*/ 396417 w 421651"/>
                <a:gd name="connsiteY92" fmla="*/ 9235 h 124622"/>
                <a:gd name="connsiteX93" fmla="*/ 395266 w 421651"/>
                <a:gd name="connsiteY93" fmla="*/ 9379 h 124622"/>
                <a:gd name="connsiteX94" fmla="*/ 394937 w 421651"/>
                <a:gd name="connsiteY94" fmla="*/ 9379 h 124622"/>
                <a:gd name="connsiteX95" fmla="*/ 393477 w 421651"/>
                <a:gd name="connsiteY95" fmla="*/ 9645 h 124622"/>
                <a:gd name="connsiteX96" fmla="*/ 386261 w 421651"/>
                <a:gd name="connsiteY96" fmla="*/ 12593 h 124622"/>
                <a:gd name="connsiteX97" fmla="*/ 385294 w 421651"/>
                <a:gd name="connsiteY97" fmla="*/ 13186 h 124622"/>
                <a:gd name="connsiteX98" fmla="*/ 380627 w 421651"/>
                <a:gd name="connsiteY98" fmla="*/ 9092 h 124622"/>
                <a:gd name="connsiteX99" fmla="*/ 382252 w 421651"/>
                <a:gd name="connsiteY99" fmla="*/ 8028 h 124622"/>
                <a:gd name="connsiteX100" fmla="*/ 388934 w 421651"/>
                <a:gd name="connsiteY100" fmla="*/ 4425 h 124622"/>
                <a:gd name="connsiteX101" fmla="*/ 374665 w 421651"/>
                <a:gd name="connsiteY101" fmla="*/ 23 h 124622"/>
                <a:gd name="connsiteX102" fmla="*/ 366318 w 421651"/>
                <a:gd name="connsiteY102" fmla="*/ 1088 h 124622"/>
                <a:gd name="connsiteX103" fmla="*/ 355071 w 421651"/>
                <a:gd name="connsiteY103" fmla="*/ 11446 h 124622"/>
                <a:gd name="connsiteX104" fmla="*/ 355071 w 421651"/>
                <a:gd name="connsiteY104" fmla="*/ 17301 h 124622"/>
                <a:gd name="connsiteX105" fmla="*/ 355647 w 421651"/>
                <a:gd name="connsiteY105" fmla="*/ 18468 h 124622"/>
                <a:gd name="connsiteX106" fmla="*/ 356469 w 421651"/>
                <a:gd name="connsiteY106" fmla="*/ 20024 h 124622"/>
                <a:gd name="connsiteX107" fmla="*/ 352357 w 421651"/>
                <a:gd name="connsiteY107" fmla="*/ 23566 h 124622"/>
                <a:gd name="connsiteX108" fmla="*/ 351370 w 421651"/>
                <a:gd name="connsiteY108" fmla="*/ 22644 h 124622"/>
                <a:gd name="connsiteX109" fmla="*/ 341543 w 421651"/>
                <a:gd name="connsiteY109" fmla="*/ 17015 h 124622"/>
                <a:gd name="connsiteX110" fmla="*/ 338623 w 421651"/>
                <a:gd name="connsiteY110" fmla="*/ 16810 h 124622"/>
                <a:gd name="connsiteX111" fmla="*/ 319914 w 421651"/>
                <a:gd name="connsiteY111" fmla="*/ 30874 h 124622"/>
                <a:gd name="connsiteX112" fmla="*/ 320736 w 421651"/>
                <a:gd name="connsiteY112" fmla="*/ 38694 h 124622"/>
                <a:gd name="connsiteX113" fmla="*/ 323121 w 421651"/>
                <a:gd name="connsiteY113" fmla="*/ 42789 h 124622"/>
                <a:gd name="connsiteX114" fmla="*/ 324190 w 421651"/>
                <a:gd name="connsiteY114" fmla="*/ 44119 h 124622"/>
                <a:gd name="connsiteX115" fmla="*/ 322730 w 421651"/>
                <a:gd name="connsiteY115" fmla="*/ 45020 h 124622"/>
                <a:gd name="connsiteX116" fmla="*/ 320839 w 421651"/>
                <a:gd name="connsiteY116" fmla="*/ 46166 h 124622"/>
                <a:gd name="connsiteX117" fmla="*/ 318783 w 421651"/>
                <a:gd name="connsiteY117" fmla="*/ 47333 h 124622"/>
                <a:gd name="connsiteX118" fmla="*/ 318125 w 421651"/>
                <a:gd name="connsiteY118" fmla="*/ 45716 h 124622"/>
                <a:gd name="connsiteX119" fmla="*/ 314136 w 421651"/>
                <a:gd name="connsiteY119" fmla="*/ 38080 h 124622"/>
                <a:gd name="connsiteX120" fmla="*/ 303075 w 421651"/>
                <a:gd name="connsiteY120" fmla="*/ 31468 h 124622"/>
                <a:gd name="connsiteX121" fmla="*/ 283749 w 421651"/>
                <a:gd name="connsiteY121" fmla="*/ 45593 h 124622"/>
                <a:gd name="connsiteX122" fmla="*/ 282227 w 421651"/>
                <a:gd name="connsiteY122" fmla="*/ 45716 h 124622"/>
                <a:gd name="connsiteX123" fmla="*/ 283728 w 421651"/>
                <a:gd name="connsiteY123" fmla="*/ 45921 h 124622"/>
                <a:gd name="connsiteX124" fmla="*/ 283584 w 421651"/>
                <a:gd name="connsiteY124" fmla="*/ 47866 h 124622"/>
                <a:gd name="connsiteX125" fmla="*/ 283708 w 421651"/>
                <a:gd name="connsiteY125" fmla="*/ 50445 h 124622"/>
                <a:gd name="connsiteX126" fmla="*/ 286298 w 421651"/>
                <a:gd name="connsiteY126" fmla="*/ 57344 h 124622"/>
                <a:gd name="connsiteX127" fmla="*/ 286874 w 421651"/>
                <a:gd name="connsiteY127" fmla="*/ 58204 h 124622"/>
                <a:gd name="connsiteX128" fmla="*/ 287429 w 421651"/>
                <a:gd name="connsiteY128" fmla="*/ 58838 h 124622"/>
                <a:gd name="connsiteX129" fmla="*/ 289341 w 421651"/>
                <a:gd name="connsiteY129" fmla="*/ 60886 h 124622"/>
                <a:gd name="connsiteX130" fmla="*/ 286195 w 421651"/>
                <a:gd name="connsiteY130" fmla="*/ 61827 h 124622"/>
                <a:gd name="connsiteX131" fmla="*/ 285024 w 421651"/>
                <a:gd name="connsiteY131" fmla="*/ 62175 h 124622"/>
                <a:gd name="connsiteX132" fmla="*/ 282639 w 421651"/>
                <a:gd name="connsiteY132" fmla="*/ 62810 h 124622"/>
                <a:gd name="connsiteX133" fmla="*/ 282022 w 421651"/>
                <a:gd name="connsiteY133" fmla="*/ 61971 h 124622"/>
                <a:gd name="connsiteX134" fmla="*/ 277457 w 421651"/>
                <a:gd name="connsiteY134" fmla="*/ 47640 h 124622"/>
                <a:gd name="connsiteX135" fmla="*/ 269233 w 421651"/>
                <a:gd name="connsiteY135" fmla="*/ 43996 h 124622"/>
                <a:gd name="connsiteX136" fmla="*/ 266643 w 421651"/>
                <a:gd name="connsiteY136" fmla="*/ 43792 h 124622"/>
                <a:gd name="connsiteX137" fmla="*/ 250647 w 421651"/>
                <a:gd name="connsiteY137" fmla="*/ 55174 h 124622"/>
                <a:gd name="connsiteX138" fmla="*/ 250216 w 421651"/>
                <a:gd name="connsiteY138" fmla="*/ 56853 h 124622"/>
                <a:gd name="connsiteX139" fmla="*/ 250216 w 421651"/>
                <a:gd name="connsiteY139" fmla="*/ 57180 h 124622"/>
                <a:gd name="connsiteX140" fmla="*/ 250092 w 421651"/>
                <a:gd name="connsiteY140" fmla="*/ 57712 h 124622"/>
                <a:gd name="connsiteX141" fmla="*/ 250092 w 421651"/>
                <a:gd name="connsiteY141" fmla="*/ 58122 h 124622"/>
                <a:gd name="connsiteX142" fmla="*/ 249907 w 421651"/>
                <a:gd name="connsiteY142" fmla="*/ 59780 h 124622"/>
                <a:gd name="connsiteX143" fmla="*/ 250915 w 421651"/>
                <a:gd name="connsiteY143" fmla="*/ 66433 h 124622"/>
                <a:gd name="connsiteX144" fmla="*/ 251984 w 421651"/>
                <a:gd name="connsiteY144" fmla="*/ 68910 h 124622"/>
                <a:gd name="connsiteX145" fmla="*/ 249928 w 421651"/>
                <a:gd name="connsiteY145" fmla="*/ 69156 h 124622"/>
                <a:gd name="connsiteX146" fmla="*/ 246700 w 421651"/>
                <a:gd name="connsiteY146" fmla="*/ 69525 h 124622"/>
                <a:gd name="connsiteX147" fmla="*/ 245528 w 421651"/>
                <a:gd name="connsiteY147" fmla="*/ 69668 h 124622"/>
                <a:gd name="connsiteX148" fmla="*/ 245117 w 421651"/>
                <a:gd name="connsiteY148" fmla="*/ 68562 h 124622"/>
                <a:gd name="connsiteX149" fmla="*/ 243945 w 421651"/>
                <a:gd name="connsiteY149" fmla="*/ 57201 h 124622"/>
                <a:gd name="connsiteX150" fmla="*/ 244274 w 421651"/>
                <a:gd name="connsiteY150" fmla="*/ 55481 h 124622"/>
                <a:gd name="connsiteX151" fmla="*/ 233069 w 421651"/>
                <a:gd name="connsiteY151" fmla="*/ 48848 h 124622"/>
                <a:gd name="connsiteX152" fmla="*/ 216477 w 421651"/>
                <a:gd name="connsiteY152" fmla="*/ 55686 h 124622"/>
                <a:gd name="connsiteX153" fmla="*/ 215613 w 421651"/>
                <a:gd name="connsiteY153" fmla="*/ 56894 h 124622"/>
                <a:gd name="connsiteX154" fmla="*/ 214832 w 421651"/>
                <a:gd name="connsiteY154" fmla="*/ 58286 h 124622"/>
                <a:gd name="connsiteX155" fmla="*/ 213105 w 421651"/>
                <a:gd name="connsiteY155" fmla="*/ 63424 h 124622"/>
                <a:gd name="connsiteX156" fmla="*/ 213290 w 421651"/>
                <a:gd name="connsiteY156" fmla="*/ 69566 h 124622"/>
                <a:gd name="connsiteX157" fmla="*/ 213680 w 421651"/>
                <a:gd name="connsiteY157" fmla="*/ 71408 h 124622"/>
                <a:gd name="connsiteX158" fmla="*/ 207348 w 421651"/>
                <a:gd name="connsiteY158" fmla="*/ 71408 h 124622"/>
                <a:gd name="connsiteX159" fmla="*/ 207142 w 421651"/>
                <a:gd name="connsiteY159" fmla="*/ 70180 h 124622"/>
                <a:gd name="connsiteX160" fmla="*/ 209466 w 421651"/>
                <a:gd name="connsiteY160" fmla="*/ 55317 h 124622"/>
                <a:gd name="connsiteX161" fmla="*/ 199597 w 421651"/>
                <a:gd name="connsiteY161" fmla="*/ 50547 h 124622"/>
                <a:gd name="connsiteX162" fmla="*/ 181093 w 421651"/>
                <a:gd name="connsiteY162" fmla="*/ 58736 h 124622"/>
                <a:gd name="connsiteX163" fmla="*/ 180908 w 421651"/>
                <a:gd name="connsiteY163" fmla="*/ 59023 h 124622"/>
                <a:gd name="connsiteX164" fmla="*/ 180229 w 421651"/>
                <a:gd name="connsiteY164" fmla="*/ 60108 h 124622"/>
                <a:gd name="connsiteX165" fmla="*/ 179489 w 421651"/>
                <a:gd name="connsiteY165" fmla="*/ 61725 h 124622"/>
                <a:gd name="connsiteX166" fmla="*/ 178173 w 421651"/>
                <a:gd name="connsiteY166" fmla="*/ 66044 h 124622"/>
                <a:gd name="connsiteX167" fmla="*/ 178029 w 421651"/>
                <a:gd name="connsiteY167" fmla="*/ 68092 h 124622"/>
                <a:gd name="connsiteX168" fmla="*/ 178029 w 421651"/>
                <a:gd name="connsiteY168" fmla="*/ 69688 h 124622"/>
                <a:gd name="connsiteX169" fmla="*/ 171862 w 421651"/>
                <a:gd name="connsiteY169" fmla="*/ 69033 h 124622"/>
                <a:gd name="connsiteX170" fmla="*/ 171862 w 421651"/>
                <a:gd name="connsiteY170" fmla="*/ 67109 h 124622"/>
                <a:gd name="connsiteX171" fmla="*/ 172005 w 421651"/>
                <a:gd name="connsiteY171" fmla="*/ 65205 h 124622"/>
                <a:gd name="connsiteX172" fmla="*/ 174308 w 421651"/>
                <a:gd name="connsiteY172" fmla="*/ 58020 h 124622"/>
                <a:gd name="connsiteX173" fmla="*/ 161972 w 421651"/>
                <a:gd name="connsiteY173" fmla="*/ 50547 h 124622"/>
                <a:gd name="connsiteX174" fmla="*/ 147580 w 421651"/>
                <a:gd name="connsiteY174" fmla="*/ 54376 h 124622"/>
                <a:gd name="connsiteX175" fmla="*/ 146347 w 421651"/>
                <a:gd name="connsiteY175" fmla="*/ 55440 h 124622"/>
                <a:gd name="connsiteX176" fmla="*/ 145031 w 421651"/>
                <a:gd name="connsiteY176" fmla="*/ 56750 h 124622"/>
                <a:gd name="connsiteX177" fmla="*/ 141330 w 421651"/>
                <a:gd name="connsiteY177" fmla="*/ 63137 h 124622"/>
                <a:gd name="connsiteX178" fmla="*/ 140919 w 421651"/>
                <a:gd name="connsiteY178" fmla="*/ 64386 h 124622"/>
                <a:gd name="connsiteX179" fmla="*/ 134895 w 421651"/>
                <a:gd name="connsiteY179" fmla="*/ 63219 h 124622"/>
                <a:gd name="connsiteX180" fmla="*/ 135388 w 421651"/>
                <a:gd name="connsiteY180" fmla="*/ 61623 h 124622"/>
                <a:gd name="connsiteX181" fmla="*/ 141556 w 421651"/>
                <a:gd name="connsiteY181" fmla="*/ 51612 h 124622"/>
                <a:gd name="connsiteX182" fmla="*/ 119222 w 421651"/>
                <a:gd name="connsiteY182" fmla="*/ 41142 h 124622"/>
                <a:gd name="connsiteX183" fmla="*/ 110840 w 421651"/>
                <a:gd name="connsiteY183" fmla="*/ 47518 h 124622"/>
                <a:gd name="connsiteX184" fmla="*/ 108557 w 421651"/>
                <a:gd name="connsiteY184" fmla="*/ 51735 h 124622"/>
                <a:gd name="connsiteX185" fmla="*/ 108557 w 421651"/>
                <a:gd name="connsiteY185" fmla="*/ 52083 h 124622"/>
                <a:gd name="connsiteX186" fmla="*/ 107858 w 421651"/>
                <a:gd name="connsiteY186" fmla="*/ 54826 h 124622"/>
                <a:gd name="connsiteX187" fmla="*/ 107653 w 421651"/>
                <a:gd name="connsiteY187" fmla="*/ 56546 h 124622"/>
                <a:gd name="connsiteX188" fmla="*/ 105946 w 421651"/>
                <a:gd name="connsiteY188" fmla="*/ 56546 h 124622"/>
                <a:gd name="connsiteX189" fmla="*/ 101649 w 421651"/>
                <a:gd name="connsiteY189" fmla="*/ 55399 h 124622"/>
                <a:gd name="connsiteX190" fmla="*/ 101793 w 421651"/>
                <a:gd name="connsiteY190" fmla="*/ 54130 h 124622"/>
                <a:gd name="connsiteX191" fmla="*/ 106625 w 421651"/>
                <a:gd name="connsiteY191" fmla="*/ 43014 h 124622"/>
                <a:gd name="connsiteX192" fmla="*/ 89252 w 421651"/>
                <a:gd name="connsiteY192" fmla="*/ 28684 h 124622"/>
                <a:gd name="connsiteX193" fmla="*/ 79609 w 421651"/>
                <a:gd name="connsiteY193" fmla="*/ 30731 h 124622"/>
                <a:gd name="connsiteX194" fmla="*/ 78355 w 421651"/>
                <a:gd name="connsiteY194" fmla="*/ 31611 h 124622"/>
                <a:gd name="connsiteX195" fmla="*/ 77142 w 421651"/>
                <a:gd name="connsiteY195" fmla="*/ 32737 h 124622"/>
                <a:gd name="connsiteX196" fmla="*/ 72310 w 421651"/>
                <a:gd name="connsiteY196" fmla="*/ 41622 h 124622"/>
                <a:gd name="connsiteX197" fmla="*/ 71940 w 421651"/>
                <a:gd name="connsiteY197" fmla="*/ 43280 h 124622"/>
                <a:gd name="connsiteX198" fmla="*/ 66060 w 421651"/>
                <a:gd name="connsiteY198" fmla="*/ 41233 h 124622"/>
                <a:gd name="connsiteX199" fmla="*/ 66348 w 421651"/>
                <a:gd name="connsiteY199" fmla="*/ 39902 h 124622"/>
                <a:gd name="connsiteX200" fmla="*/ 66944 w 421651"/>
                <a:gd name="connsiteY200" fmla="*/ 37855 h 124622"/>
                <a:gd name="connsiteX201" fmla="*/ 73235 w 421651"/>
                <a:gd name="connsiteY201" fmla="*/ 28069 h 124622"/>
                <a:gd name="connsiteX202" fmla="*/ 70254 w 421651"/>
                <a:gd name="connsiteY202" fmla="*/ 24589 h 124622"/>
                <a:gd name="connsiteX203" fmla="*/ 69905 w 421651"/>
                <a:gd name="connsiteY203" fmla="*/ 24118 h 124622"/>
                <a:gd name="connsiteX204" fmla="*/ 54567 w 421651"/>
                <a:gd name="connsiteY204" fmla="*/ 18489 h 124622"/>
                <a:gd name="connsiteX205" fmla="*/ 52717 w 421651"/>
                <a:gd name="connsiteY205" fmla="*/ 18489 h 124622"/>
                <a:gd name="connsiteX206" fmla="*/ 41470 w 421651"/>
                <a:gd name="connsiteY206" fmla="*/ 22378 h 124622"/>
                <a:gd name="connsiteX207" fmla="*/ 40237 w 421651"/>
                <a:gd name="connsiteY207" fmla="*/ 21355 h 124622"/>
                <a:gd name="connsiteX208" fmla="*/ 41080 w 421651"/>
                <a:gd name="connsiteY208" fmla="*/ 22624 h 124622"/>
                <a:gd name="connsiteX209" fmla="*/ 34069 w 421651"/>
                <a:gd name="connsiteY209" fmla="*/ 30260 h 124622"/>
                <a:gd name="connsiteX210" fmla="*/ 33411 w 421651"/>
                <a:gd name="connsiteY210" fmla="*/ 31529 h 124622"/>
                <a:gd name="connsiteX211" fmla="*/ 27777 w 421651"/>
                <a:gd name="connsiteY211" fmla="*/ 29073 h 124622"/>
                <a:gd name="connsiteX212" fmla="*/ 28497 w 421651"/>
                <a:gd name="connsiteY212" fmla="*/ 27660 h 124622"/>
                <a:gd name="connsiteX213" fmla="*/ 31828 w 421651"/>
                <a:gd name="connsiteY213" fmla="*/ 22542 h 124622"/>
                <a:gd name="connsiteX214" fmla="*/ 165 w 421651"/>
                <a:gd name="connsiteY214" fmla="*/ 65655 h 124622"/>
                <a:gd name="connsiteX215" fmla="*/ 4277 w 421651"/>
                <a:gd name="connsiteY215" fmla="*/ 81071 h 124622"/>
                <a:gd name="connsiteX216" fmla="*/ 8698 w 421651"/>
                <a:gd name="connsiteY216" fmla="*/ 80006 h 124622"/>
                <a:gd name="connsiteX217" fmla="*/ 6292 w 421651"/>
                <a:gd name="connsiteY217" fmla="*/ 64693 h 124622"/>
                <a:gd name="connsiteX218" fmla="*/ 6601 w 421651"/>
                <a:gd name="connsiteY218" fmla="*/ 62646 h 124622"/>
                <a:gd name="connsiteX219" fmla="*/ 12440 w 421651"/>
                <a:gd name="connsiteY219" fmla="*/ 65533 h 124622"/>
                <a:gd name="connsiteX220" fmla="*/ 12337 w 421651"/>
                <a:gd name="connsiteY220" fmla="*/ 66556 h 124622"/>
                <a:gd name="connsiteX221" fmla="*/ 17559 w 421651"/>
                <a:gd name="connsiteY221" fmla="*/ 82299 h 124622"/>
                <a:gd name="connsiteX222" fmla="*/ 19615 w 421651"/>
                <a:gd name="connsiteY222" fmla="*/ 84346 h 124622"/>
                <a:gd name="connsiteX223" fmla="*/ 26071 w 421651"/>
                <a:gd name="connsiteY223" fmla="*/ 88318 h 124622"/>
                <a:gd name="connsiteX224" fmla="*/ 28908 w 421651"/>
                <a:gd name="connsiteY224" fmla="*/ 89300 h 124622"/>
                <a:gd name="connsiteX225" fmla="*/ 30964 w 421651"/>
                <a:gd name="connsiteY225" fmla="*/ 89751 h 124622"/>
                <a:gd name="connsiteX226" fmla="*/ 31293 w 421651"/>
                <a:gd name="connsiteY226" fmla="*/ 89751 h 124622"/>
                <a:gd name="connsiteX227" fmla="*/ 35097 w 421651"/>
                <a:gd name="connsiteY227" fmla="*/ 90099 h 124622"/>
                <a:gd name="connsiteX228" fmla="*/ 42848 w 421651"/>
                <a:gd name="connsiteY228" fmla="*/ 88789 h 124622"/>
                <a:gd name="connsiteX229" fmla="*/ 46137 w 421651"/>
                <a:gd name="connsiteY229" fmla="*/ 87315 h 124622"/>
                <a:gd name="connsiteX230" fmla="*/ 43547 w 421651"/>
                <a:gd name="connsiteY230" fmla="*/ 70937 h 124622"/>
                <a:gd name="connsiteX231" fmla="*/ 43896 w 421651"/>
                <a:gd name="connsiteY231" fmla="*/ 69054 h 124622"/>
                <a:gd name="connsiteX232" fmla="*/ 45397 w 421651"/>
                <a:gd name="connsiteY232" fmla="*/ 69054 h 124622"/>
                <a:gd name="connsiteX233" fmla="*/ 50064 w 421651"/>
                <a:gd name="connsiteY233" fmla="*/ 69647 h 124622"/>
                <a:gd name="connsiteX234" fmla="*/ 49694 w 421651"/>
                <a:gd name="connsiteY234" fmla="*/ 71777 h 124622"/>
                <a:gd name="connsiteX235" fmla="*/ 51935 w 421651"/>
                <a:gd name="connsiteY235" fmla="*/ 85042 h 124622"/>
                <a:gd name="connsiteX236" fmla="*/ 52120 w 421651"/>
                <a:gd name="connsiteY236" fmla="*/ 85390 h 124622"/>
                <a:gd name="connsiteX237" fmla="*/ 52655 w 421651"/>
                <a:gd name="connsiteY237" fmla="*/ 86332 h 124622"/>
                <a:gd name="connsiteX238" fmla="*/ 51545 w 421651"/>
                <a:gd name="connsiteY238" fmla="*/ 87417 h 124622"/>
                <a:gd name="connsiteX239" fmla="*/ 52819 w 421651"/>
                <a:gd name="connsiteY239" fmla="*/ 86598 h 124622"/>
                <a:gd name="connsiteX240" fmla="*/ 53498 w 421651"/>
                <a:gd name="connsiteY240" fmla="*/ 87601 h 124622"/>
                <a:gd name="connsiteX241" fmla="*/ 60139 w 421651"/>
                <a:gd name="connsiteY241" fmla="*/ 93743 h 124622"/>
                <a:gd name="connsiteX242" fmla="*/ 61455 w 421651"/>
                <a:gd name="connsiteY242" fmla="*/ 94459 h 124622"/>
                <a:gd name="connsiteX243" fmla="*/ 62873 w 421651"/>
                <a:gd name="connsiteY243" fmla="*/ 95094 h 124622"/>
                <a:gd name="connsiteX244" fmla="*/ 74983 w 421651"/>
                <a:gd name="connsiteY244" fmla="*/ 96445 h 124622"/>
                <a:gd name="connsiteX245" fmla="*/ 76422 w 421651"/>
                <a:gd name="connsiteY245" fmla="*/ 96138 h 124622"/>
                <a:gd name="connsiteX246" fmla="*/ 77820 w 421651"/>
                <a:gd name="connsiteY246" fmla="*/ 95728 h 124622"/>
                <a:gd name="connsiteX247" fmla="*/ 82878 w 421651"/>
                <a:gd name="connsiteY247" fmla="*/ 93374 h 124622"/>
                <a:gd name="connsiteX248" fmla="*/ 85427 w 421651"/>
                <a:gd name="connsiteY248" fmla="*/ 75625 h 124622"/>
                <a:gd name="connsiteX249" fmla="*/ 85941 w 421651"/>
                <a:gd name="connsiteY249" fmla="*/ 74581 h 124622"/>
                <a:gd name="connsiteX250" fmla="*/ 87093 w 421651"/>
                <a:gd name="connsiteY250" fmla="*/ 74806 h 124622"/>
                <a:gd name="connsiteX251" fmla="*/ 89992 w 421651"/>
                <a:gd name="connsiteY251" fmla="*/ 75420 h 124622"/>
                <a:gd name="connsiteX252" fmla="*/ 91945 w 421651"/>
                <a:gd name="connsiteY252" fmla="*/ 75850 h 124622"/>
                <a:gd name="connsiteX253" fmla="*/ 91266 w 421651"/>
                <a:gd name="connsiteY253" fmla="*/ 77652 h 124622"/>
                <a:gd name="connsiteX254" fmla="*/ 88758 w 421651"/>
                <a:gd name="connsiteY254" fmla="*/ 84858 h 124622"/>
                <a:gd name="connsiteX255" fmla="*/ 88758 w 421651"/>
                <a:gd name="connsiteY255" fmla="*/ 91614 h 124622"/>
                <a:gd name="connsiteX256" fmla="*/ 89067 w 421651"/>
                <a:gd name="connsiteY256" fmla="*/ 93333 h 124622"/>
                <a:gd name="connsiteX257" fmla="*/ 89457 w 421651"/>
                <a:gd name="connsiteY257" fmla="*/ 94869 h 124622"/>
                <a:gd name="connsiteX258" fmla="*/ 93076 w 421651"/>
                <a:gd name="connsiteY258" fmla="*/ 102382 h 124622"/>
                <a:gd name="connsiteX259" fmla="*/ 108557 w 421651"/>
                <a:gd name="connsiteY259" fmla="*/ 111717 h 124622"/>
                <a:gd name="connsiteX260" fmla="*/ 126527 w 421651"/>
                <a:gd name="connsiteY260" fmla="*/ 107070 h 124622"/>
                <a:gd name="connsiteX261" fmla="*/ 126424 w 421651"/>
                <a:gd name="connsiteY261" fmla="*/ 98042 h 124622"/>
                <a:gd name="connsiteX262" fmla="*/ 133332 w 421651"/>
                <a:gd name="connsiteY262" fmla="*/ 83568 h 124622"/>
                <a:gd name="connsiteX263" fmla="*/ 133846 w 421651"/>
                <a:gd name="connsiteY263" fmla="*/ 82975 h 124622"/>
                <a:gd name="connsiteX264" fmla="*/ 141803 w 421651"/>
                <a:gd name="connsiteY264" fmla="*/ 83855 h 124622"/>
                <a:gd name="connsiteX265" fmla="*/ 139397 w 421651"/>
                <a:gd name="connsiteY265" fmla="*/ 86004 h 124622"/>
                <a:gd name="connsiteX266" fmla="*/ 138287 w 421651"/>
                <a:gd name="connsiteY266" fmla="*/ 87089 h 124622"/>
                <a:gd name="connsiteX267" fmla="*/ 132489 w 421651"/>
                <a:gd name="connsiteY267" fmla="*/ 98881 h 124622"/>
                <a:gd name="connsiteX268" fmla="*/ 132489 w 421651"/>
                <a:gd name="connsiteY268" fmla="*/ 104797 h 124622"/>
                <a:gd name="connsiteX269" fmla="*/ 132798 w 421651"/>
                <a:gd name="connsiteY269" fmla="*/ 106660 h 124622"/>
                <a:gd name="connsiteX270" fmla="*/ 133168 w 421651"/>
                <a:gd name="connsiteY270" fmla="*/ 108237 h 124622"/>
                <a:gd name="connsiteX271" fmla="*/ 160642 w 421651"/>
                <a:gd name="connsiteY271" fmla="*/ 123793 h 124622"/>
                <a:gd name="connsiteX272" fmla="*/ 173013 w 421651"/>
                <a:gd name="connsiteY272" fmla="*/ 115115 h 124622"/>
                <a:gd name="connsiteX273" fmla="*/ 173342 w 421651"/>
                <a:gd name="connsiteY273" fmla="*/ 88829 h 124622"/>
                <a:gd name="connsiteX274" fmla="*/ 173835 w 421651"/>
                <a:gd name="connsiteY274" fmla="*/ 87949 h 124622"/>
                <a:gd name="connsiteX275" fmla="*/ 180682 w 421651"/>
                <a:gd name="connsiteY275" fmla="*/ 88604 h 12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</a:cxnLst>
              <a:rect l="l" t="t" r="r" b="b"/>
              <a:pathLst>
                <a:path w="421651" h="124622">
                  <a:moveTo>
                    <a:pt x="179222" y="90754"/>
                  </a:moveTo>
                  <a:lnTo>
                    <a:pt x="178687" y="91634"/>
                  </a:lnTo>
                  <a:cubicBezTo>
                    <a:pt x="178400" y="92166"/>
                    <a:pt x="178112" y="92719"/>
                    <a:pt x="177865" y="93272"/>
                  </a:cubicBezTo>
                  <a:cubicBezTo>
                    <a:pt x="177043" y="95076"/>
                    <a:pt x="176476" y="96984"/>
                    <a:pt x="176179" y="98942"/>
                  </a:cubicBezTo>
                  <a:cubicBezTo>
                    <a:pt x="175516" y="103166"/>
                    <a:pt x="176102" y="107491"/>
                    <a:pt x="177865" y="111389"/>
                  </a:cubicBezTo>
                  <a:cubicBezTo>
                    <a:pt x="178112" y="111942"/>
                    <a:pt x="178400" y="112495"/>
                    <a:pt x="178687" y="113027"/>
                  </a:cubicBezTo>
                  <a:cubicBezTo>
                    <a:pt x="178975" y="113559"/>
                    <a:pt x="179243" y="113989"/>
                    <a:pt x="179551" y="114460"/>
                  </a:cubicBezTo>
                  <a:lnTo>
                    <a:pt x="179736" y="114747"/>
                  </a:lnTo>
                  <a:cubicBezTo>
                    <a:pt x="179900" y="115013"/>
                    <a:pt x="180085" y="115279"/>
                    <a:pt x="180271" y="115545"/>
                  </a:cubicBezTo>
                  <a:cubicBezTo>
                    <a:pt x="183784" y="120324"/>
                    <a:pt x="189069" y="123507"/>
                    <a:pt x="194950" y="124389"/>
                  </a:cubicBezTo>
                  <a:cubicBezTo>
                    <a:pt x="203153" y="125574"/>
                    <a:pt x="211350" y="122196"/>
                    <a:pt x="216312" y="115586"/>
                  </a:cubicBezTo>
                  <a:cubicBezTo>
                    <a:pt x="211742" y="109738"/>
                    <a:pt x="209787" y="102276"/>
                    <a:pt x="210905" y="94951"/>
                  </a:cubicBezTo>
                  <a:cubicBezTo>
                    <a:pt x="211115" y="93682"/>
                    <a:pt x="211417" y="92430"/>
                    <a:pt x="211810" y="91204"/>
                  </a:cubicBezTo>
                  <a:lnTo>
                    <a:pt x="212118" y="90099"/>
                  </a:lnTo>
                  <a:lnTo>
                    <a:pt x="213228" y="90099"/>
                  </a:lnTo>
                  <a:lnTo>
                    <a:pt x="215037" y="90099"/>
                  </a:lnTo>
                  <a:lnTo>
                    <a:pt x="218697" y="90099"/>
                  </a:lnTo>
                  <a:lnTo>
                    <a:pt x="217957" y="92146"/>
                  </a:lnTo>
                  <a:cubicBezTo>
                    <a:pt x="217498" y="93366"/>
                    <a:pt x="217161" y="94627"/>
                    <a:pt x="216949" y="95913"/>
                  </a:cubicBezTo>
                  <a:cubicBezTo>
                    <a:pt x="216093" y="101402"/>
                    <a:pt x="217477" y="107004"/>
                    <a:pt x="220794" y="111471"/>
                  </a:cubicBezTo>
                  <a:lnTo>
                    <a:pt x="219848" y="112720"/>
                  </a:lnTo>
                  <a:lnTo>
                    <a:pt x="221061" y="111799"/>
                  </a:lnTo>
                  <a:cubicBezTo>
                    <a:pt x="221373" y="112234"/>
                    <a:pt x="221710" y="112651"/>
                    <a:pt x="222069" y="113048"/>
                  </a:cubicBezTo>
                  <a:cubicBezTo>
                    <a:pt x="222398" y="113416"/>
                    <a:pt x="222747" y="113744"/>
                    <a:pt x="223097" y="114092"/>
                  </a:cubicBezTo>
                  <a:cubicBezTo>
                    <a:pt x="226229" y="117126"/>
                    <a:pt x="230231" y="119115"/>
                    <a:pt x="234549" y="119783"/>
                  </a:cubicBezTo>
                  <a:cubicBezTo>
                    <a:pt x="244452" y="121166"/>
                    <a:pt x="253989" y="115503"/>
                    <a:pt x="257473" y="106169"/>
                  </a:cubicBezTo>
                  <a:cubicBezTo>
                    <a:pt x="254368" y="100929"/>
                    <a:pt x="253177" y="94782"/>
                    <a:pt x="254101" y="88768"/>
                  </a:cubicBezTo>
                  <a:lnTo>
                    <a:pt x="254389" y="87458"/>
                  </a:lnTo>
                  <a:lnTo>
                    <a:pt x="255438" y="87253"/>
                  </a:lnTo>
                  <a:lnTo>
                    <a:pt x="257350" y="86946"/>
                  </a:lnTo>
                  <a:lnTo>
                    <a:pt x="260886" y="86414"/>
                  </a:lnTo>
                  <a:lnTo>
                    <a:pt x="260393" y="88584"/>
                  </a:lnTo>
                  <a:cubicBezTo>
                    <a:pt x="260296" y="88954"/>
                    <a:pt x="260220" y="89330"/>
                    <a:pt x="260167" y="89710"/>
                  </a:cubicBezTo>
                  <a:cubicBezTo>
                    <a:pt x="260155" y="89921"/>
                    <a:pt x="260155" y="90133"/>
                    <a:pt x="260167" y="90344"/>
                  </a:cubicBezTo>
                  <a:lnTo>
                    <a:pt x="260167" y="90692"/>
                  </a:lnTo>
                  <a:cubicBezTo>
                    <a:pt x="259796" y="94080"/>
                    <a:pt x="260306" y="97506"/>
                    <a:pt x="261647" y="100642"/>
                  </a:cubicBezTo>
                  <a:cubicBezTo>
                    <a:pt x="261958" y="101426"/>
                    <a:pt x="262330" y="102186"/>
                    <a:pt x="262757" y="102914"/>
                  </a:cubicBezTo>
                  <a:cubicBezTo>
                    <a:pt x="263093" y="103502"/>
                    <a:pt x="263464" y="104069"/>
                    <a:pt x="263867" y="104613"/>
                  </a:cubicBezTo>
                  <a:cubicBezTo>
                    <a:pt x="267071" y="109031"/>
                    <a:pt x="271924" y="111982"/>
                    <a:pt x="277334" y="112802"/>
                  </a:cubicBezTo>
                  <a:cubicBezTo>
                    <a:pt x="278363" y="112948"/>
                    <a:pt x="279400" y="113023"/>
                    <a:pt x="280439" y="113027"/>
                  </a:cubicBezTo>
                  <a:cubicBezTo>
                    <a:pt x="290379" y="112943"/>
                    <a:pt x="298836" y="105790"/>
                    <a:pt x="300526" y="96036"/>
                  </a:cubicBezTo>
                  <a:cubicBezTo>
                    <a:pt x="299846" y="95335"/>
                    <a:pt x="299214" y="94589"/>
                    <a:pt x="298634" y="93804"/>
                  </a:cubicBezTo>
                  <a:cubicBezTo>
                    <a:pt x="295713" y="89838"/>
                    <a:pt x="293968" y="85136"/>
                    <a:pt x="293597" y="80231"/>
                  </a:cubicBezTo>
                  <a:lnTo>
                    <a:pt x="293494" y="79003"/>
                  </a:lnTo>
                  <a:lnTo>
                    <a:pt x="294666" y="78655"/>
                  </a:lnTo>
                  <a:lnTo>
                    <a:pt x="297174" y="77877"/>
                  </a:lnTo>
                  <a:lnTo>
                    <a:pt x="299601" y="77099"/>
                  </a:lnTo>
                  <a:lnTo>
                    <a:pt x="299703" y="79515"/>
                  </a:lnTo>
                  <a:cubicBezTo>
                    <a:pt x="299693" y="79651"/>
                    <a:pt x="299693" y="79788"/>
                    <a:pt x="299703" y="79924"/>
                  </a:cubicBezTo>
                  <a:cubicBezTo>
                    <a:pt x="300015" y="83547"/>
                    <a:pt x="301300" y="87019"/>
                    <a:pt x="303425" y="89976"/>
                  </a:cubicBezTo>
                  <a:cubicBezTo>
                    <a:pt x="303896" y="90625"/>
                    <a:pt x="304404" y="91247"/>
                    <a:pt x="304946" y="91839"/>
                  </a:cubicBezTo>
                  <a:cubicBezTo>
                    <a:pt x="305381" y="92333"/>
                    <a:pt x="305848" y="92798"/>
                    <a:pt x="306344" y="93231"/>
                  </a:cubicBezTo>
                  <a:cubicBezTo>
                    <a:pt x="309302" y="95934"/>
                    <a:pt x="313003" y="97695"/>
                    <a:pt x="316974" y="98287"/>
                  </a:cubicBezTo>
                  <a:cubicBezTo>
                    <a:pt x="318000" y="98450"/>
                    <a:pt x="319039" y="98533"/>
                    <a:pt x="320078" y="98533"/>
                  </a:cubicBezTo>
                  <a:cubicBezTo>
                    <a:pt x="330113" y="98449"/>
                    <a:pt x="338621" y="91163"/>
                    <a:pt x="340206" y="81296"/>
                  </a:cubicBezTo>
                  <a:cubicBezTo>
                    <a:pt x="340594" y="78769"/>
                    <a:pt x="340497" y="76192"/>
                    <a:pt x="339919" y="73701"/>
                  </a:cubicBezTo>
                  <a:cubicBezTo>
                    <a:pt x="337605" y="70907"/>
                    <a:pt x="335853" y="67696"/>
                    <a:pt x="334758" y="64243"/>
                  </a:cubicBezTo>
                  <a:lnTo>
                    <a:pt x="333504" y="63076"/>
                  </a:lnTo>
                  <a:lnTo>
                    <a:pt x="335354" y="62073"/>
                  </a:lnTo>
                  <a:lnTo>
                    <a:pt x="337122" y="61090"/>
                  </a:lnTo>
                  <a:lnTo>
                    <a:pt x="339816" y="59616"/>
                  </a:lnTo>
                  <a:lnTo>
                    <a:pt x="340309" y="61479"/>
                  </a:lnTo>
                  <a:cubicBezTo>
                    <a:pt x="341226" y="64836"/>
                    <a:pt x="342915" y="67934"/>
                    <a:pt x="345244" y="70528"/>
                  </a:cubicBezTo>
                  <a:cubicBezTo>
                    <a:pt x="351030" y="76990"/>
                    <a:pt x="359930" y="79739"/>
                    <a:pt x="368374" y="77672"/>
                  </a:cubicBezTo>
                  <a:cubicBezTo>
                    <a:pt x="369217" y="77488"/>
                    <a:pt x="369792" y="77304"/>
                    <a:pt x="370430" y="77140"/>
                  </a:cubicBezTo>
                  <a:lnTo>
                    <a:pt x="372095" y="76505"/>
                  </a:lnTo>
                  <a:lnTo>
                    <a:pt x="372732" y="76239"/>
                  </a:lnTo>
                  <a:cubicBezTo>
                    <a:pt x="373446" y="75815"/>
                    <a:pt x="374188" y="75439"/>
                    <a:pt x="374953" y="75113"/>
                  </a:cubicBezTo>
                  <a:cubicBezTo>
                    <a:pt x="376162" y="74375"/>
                    <a:pt x="377304" y="73533"/>
                    <a:pt x="378366" y="72595"/>
                  </a:cubicBezTo>
                  <a:cubicBezTo>
                    <a:pt x="383697" y="67907"/>
                    <a:pt x="386436" y="60951"/>
                    <a:pt x="385726" y="53905"/>
                  </a:cubicBezTo>
                  <a:cubicBezTo>
                    <a:pt x="381651" y="52024"/>
                    <a:pt x="378074" y="49220"/>
                    <a:pt x="375282" y="45716"/>
                  </a:cubicBezTo>
                  <a:cubicBezTo>
                    <a:pt x="375174" y="45588"/>
                    <a:pt x="375078" y="45451"/>
                    <a:pt x="374994" y="45307"/>
                  </a:cubicBezTo>
                  <a:lnTo>
                    <a:pt x="373966" y="43853"/>
                  </a:lnTo>
                  <a:lnTo>
                    <a:pt x="375426" y="42891"/>
                  </a:lnTo>
                  <a:lnTo>
                    <a:pt x="379394" y="40967"/>
                  </a:lnTo>
                  <a:lnTo>
                    <a:pt x="380154" y="41949"/>
                  </a:lnTo>
                  <a:cubicBezTo>
                    <a:pt x="380381" y="42236"/>
                    <a:pt x="380607" y="42543"/>
                    <a:pt x="380853" y="42809"/>
                  </a:cubicBezTo>
                  <a:cubicBezTo>
                    <a:pt x="382604" y="44794"/>
                    <a:pt x="384692" y="46457"/>
                    <a:pt x="387021" y="47722"/>
                  </a:cubicBezTo>
                  <a:cubicBezTo>
                    <a:pt x="387601" y="48048"/>
                    <a:pt x="388198" y="48342"/>
                    <a:pt x="388810" y="48603"/>
                  </a:cubicBezTo>
                  <a:cubicBezTo>
                    <a:pt x="389324" y="48828"/>
                    <a:pt x="389879" y="49053"/>
                    <a:pt x="390434" y="49237"/>
                  </a:cubicBezTo>
                  <a:cubicBezTo>
                    <a:pt x="393348" y="50265"/>
                    <a:pt x="396434" y="50724"/>
                    <a:pt x="399522" y="50588"/>
                  </a:cubicBezTo>
                  <a:lnTo>
                    <a:pt x="399974" y="50588"/>
                  </a:lnTo>
                  <a:lnTo>
                    <a:pt x="400735" y="50588"/>
                  </a:lnTo>
                  <a:lnTo>
                    <a:pt x="401208" y="50588"/>
                  </a:lnTo>
                  <a:cubicBezTo>
                    <a:pt x="401722" y="50588"/>
                    <a:pt x="402236" y="50465"/>
                    <a:pt x="402750" y="50363"/>
                  </a:cubicBezTo>
                  <a:cubicBezTo>
                    <a:pt x="403868" y="50165"/>
                    <a:pt x="404968" y="49878"/>
                    <a:pt x="406039" y="49503"/>
                  </a:cubicBezTo>
                  <a:cubicBezTo>
                    <a:pt x="406739" y="49276"/>
                    <a:pt x="407426" y="49010"/>
                    <a:pt x="408095" y="48705"/>
                  </a:cubicBezTo>
                  <a:cubicBezTo>
                    <a:pt x="409006" y="48306"/>
                    <a:pt x="409885" y="47841"/>
                    <a:pt x="410727" y="47313"/>
                  </a:cubicBezTo>
                  <a:cubicBezTo>
                    <a:pt x="412639" y="46158"/>
                    <a:pt x="414371" y="44730"/>
                    <a:pt x="415867" y="43075"/>
                  </a:cubicBezTo>
                  <a:cubicBezTo>
                    <a:pt x="416529" y="42356"/>
                    <a:pt x="417147" y="41597"/>
                    <a:pt x="417717" y="40803"/>
                  </a:cubicBezTo>
                  <a:cubicBezTo>
                    <a:pt x="420667" y="36516"/>
                    <a:pt x="422026" y="31341"/>
                    <a:pt x="421562" y="26166"/>
                  </a:cubicBezTo>
                  <a:cubicBezTo>
                    <a:pt x="420329" y="13596"/>
                    <a:pt x="408959" y="9113"/>
                    <a:pt x="398720" y="9113"/>
                  </a:cubicBezTo>
                  <a:cubicBezTo>
                    <a:pt x="397951" y="9113"/>
                    <a:pt x="397182" y="9154"/>
                    <a:pt x="396417" y="9235"/>
                  </a:cubicBezTo>
                  <a:cubicBezTo>
                    <a:pt x="396031" y="9260"/>
                    <a:pt x="395647" y="9308"/>
                    <a:pt x="395266" y="9379"/>
                  </a:cubicBezTo>
                  <a:lnTo>
                    <a:pt x="394937" y="9379"/>
                  </a:lnTo>
                  <a:lnTo>
                    <a:pt x="393477" y="9645"/>
                  </a:lnTo>
                  <a:cubicBezTo>
                    <a:pt x="390924" y="10220"/>
                    <a:pt x="388484" y="11216"/>
                    <a:pt x="386261" y="12593"/>
                  </a:cubicBezTo>
                  <a:lnTo>
                    <a:pt x="385294" y="13186"/>
                  </a:lnTo>
                  <a:lnTo>
                    <a:pt x="380627" y="9092"/>
                  </a:lnTo>
                  <a:lnTo>
                    <a:pt x="382252" y="8028"/>
                  </a:lnTo>
                  <a:cubicBezTo>
                    <a:pt x="384314" y="6546"/>
                    <a:pt x="386560" y="5335"/>
                    <a:pt x="388934" y="4425"/>
                  </a:cubicBezTo>
                  <a:cubicBezTo>
                    <a:pt x="384838" y="1345"/>
                    <a:pt x="379791" y="-212"/>
                    <a:pt x="374665" y="23"/>
                  </a:cubicBezTo>
                  <a:cubicBezTo>
                    <a:pt x="371849" y="40"/>
                    <a:pt x="369047" y="398"/>
                    <a:pt x="366318" y="1088"/>
                  </a:cubicBezTo>
                  <a:cubicBezTo>
                    <a:pt x="360895" y="2129"/>
                    <a:pt x="356536" y="6144"/>
                    <a:pt x="355071" y="11446"/>
                  </a:cubicBezTo>
                  <a:cubicBezTo>
                    <a:pt x="354661" y="13377"/>
                    <a:pt x="354661" y="15371"/>
                    <a:pt x="355071" y="17301"/>
                  </a:cubicBezTo>
                  <a:cubicBezTo>
                    <a:pt x="355230" y="17706"/>
                    <a:pt x="355422" y="18096"/>
                    <a:pt x="355647" y="18468"/>
                  </a:cubicBezTo>
                  <a:lnTo>
                    <a:pt x="356469" y="20024"/>
                  </a:lnTo>
                  <a:lnTo>
                    <a:pt x="352357" y="23566"/>
                  </a:lnTo>
                  <a:lnTo>
                    <a:pt x="351370" y="22644"/>
                  </a:lnTo>
                  <a:cubicBezTo>
                    <a:pt x="348748" y="19813"/>
                    <a:pt x="345319" y="17849"/>
                    <a:pt x="341543" y="17015"/>
                  </a:cubicBezTo>
                  <a:cubicBezTo>
                    <a:pt x="340575" y="16885"/>
                    <a:pt x="339600" y="16817"/>
                    <a:pt x="338623" y="16810"/>
                  </a:cubicBezTo>
                  <a:cubicBezTo>
                    <a:pt x="329351" y="16810"/>
                    <a:pt x="321312" y="22951"/>
                    <a:pt x="319914" y="30874"/>
                  </a:cubicBezTo>
                  <a:cubicBezTo>
                    <a:pt x="319450" y="33506"/>
                    <a:pt x="319735" y="36215"/>
                    <a:pt x="320736" y="38694"/>
                  </a:cubicBezTo>
                  <a:cubicBezTo>
                    <a:pt x="321318" y="40171"/>
                    <a:pt x="322122" y="41552"/>
                    <a:pt x="323121" y="42789"/>
                  </a:cubicBezTo>
                  <a:lnTo>
                    <a:pt x="324190" y="44119"/>
                  </a:lnTo>
                  <a:lnTo>
                    <a:pt x="322730" y="45020"/>
                  </a:lnTo>
                  <a:lnTo>
                    <a:pt x="320839" y="46166"/>
                  </a:lnTo>
                  <a:lnTo>
                    <a:pt x="318783" y="47333"/>
                  </a:lnTo>
                  <a:lnTo>
                    <a:pt x="318125" y="45716"/>
                  </a:lnTo>
                  <a:cubicBezTo>
                    <a:pt x="316968" y="43085"/>
                    <a:pt x="315635" y="40534"/>
                    <a:pt x="314136" y="38080"/>
                  </a:cubicBezTo>
                  <a:cubicBezTo>
                    <a:pt x="311477" y="34501"/>
                    <a:pt x="307498" y="32122"/>
                    <a:pt x="303075" y="31468"/>
                  </a:cubicBezTo>
                  <a:cubicBezTo>
                    <a:pt x="293848" y="30165"/>
                    <a:pt x="285266" y="36438"/>
                    <a:pt x="283749" y="45593"/>
                  </a:cubicBezTo>
                  <a:lnTo>
                    <a:pt x="282227" y="45716"/>
                  </a:lnTo>
                  <a:lnTo>
                    <a:pt x="283728" y="45921"/>
                  </a:lnTo>
                  <a:cubicBezTo>
                    <a:pt x="283639" y="46565"/>
                    <a:pt x="283591" y="47215"/>
                    <a:pt x="283584" y="47866"/>
                  </a:cubicBezTo>
                  <a:cubicBezTo>
                    <a:pt x="283560" y="48727"/>
                    <a:pt x="283602" y="49589"/>
                    <a:pt x="283708" y="50445"/>
                  </a:cubicBezTo>
                  <a:cubicBezTo>
                    <a:pt x="284034" y="52911"/>
                    <a:pt x="284920" y="55270"/>
                    <a:pt x="286298" y="57344"/>
                  </a:cubicBezTo>
                  <a:cubicBezTo>
                    <a:pt x="286473" y="57642"/>
                    <a:pt x="286665" y="57929"/>
                    <a:pt x="286874" y="58204"/>
                  </a:cubicBezTo>
                  <a:cubicBezTo>
                    <a:pt x="287043" y="58429"/>
                    <a:pt x="287228" y="58641"/>
                    <a:pt x="287429" y="58838"/>
                  </a:cubicBezTo>
                  <a:lnTo>
                    <a:pt x="289341" y="60886"/>
                  </a:lnTo>
                  <a:lnTo>
                    <a:pt x="286195" y="61827"/>
                  </a:lnTo>
                  <a:lnTo>
                    <a:pt x="285024" y="62175"/>
                  </a:lnTo>
                  <a:lnTo>
                    <a:pt x="282639" y="62810"/>
                  </a:lnTo>
                  <a:lnTo>
                    <a:pt x="282022" y="61971"/>
                  </a:lnTo>
                  <a:cubicBezTo>
                    <a:pt x="278936" y="57835"/>
                    <a:pt x="277329" y="52791"/>
                    <a:pt x="277457" y="47640"/>
                  </a:cubicBezTo>
                  <a:cubicBezTo>
                    <a:pt x="275106" y="45694"/>
                    <a:pt x="272260" y="44433"/>
                    <a:pt x="269233" y="43996"/>
                  </a:cubicBezTo>
                  <a:cubicBezTo>
                    <a:pt x="268377" y="43857"/>
                    <a:pt x="267511" y="43789"/>
                    <a:pt x="266643" y="43792"/>
                  </a:cubicBezTo>
                  <a:cubicBezTo>
                    <a:pt x="259421" y="43808"/>
                    <a:pt x="253002" y="48376"/>
                    <a:pt x="250647" y="55174"/>
                  </a:cubicBezTo>
                  <a:cubicBezTo>
                    <a:pt x="250460" y="55722"/>
                    <a:pt x="250316" y="56283"/>
                    <a:pt x="250216" y="56853"/>
                  </a:cubicBezTo>
                  <a:lnTo>
                    <a:pt x="250216" y="57180"/>
                  </a:lnTo>
                  <a:cubicBezTo>
                    <a:pt x="250184" y="57360"/>
                    <a:pt x="250143" y="57537"/>
                    <a:pt x="250092" y="57712"/>
                  </a:cubicBezTo>
                  <a:cubicBezTo>
                    <a:pt x="250080" y="57849"/>
                    <a:pt x="250080" y="57986"/>
                    <a:pt x="250092" y="58122"/>
                  </a:cubicBezTo>
                  <a:cubicBezTo>
                    <a:pt x="250010" y="58668"/>
                    <a:pt x="249948" y="59221"/>
                    <a:pt x="249907" y="59780"/>
                  </a:cubicBezTo>
                  <a:cubicBezTo>
                    <a:pt x="249799" y="62042"/>
                    <a:pt x="250141" y="64304"/>
                    <a:pt x="250915" y="66433"/>
                  </a:cubicBezTo>
                  <a:lnTo>
                    <a:pt x="251984" y="68910"/>
                  </a:lnTo>
                  <a:lnTo>
                    <a:pt x="249928" y="69156"/>
                  </a:lnTo>
                  <a:lnTo>
                    <a:pt x="246700" y="69525"/>
                  </a:lnTo>
                  <a:lnTo>
                    <a:pt x="245528" y="69668"/>
                  </a:lnTo>
                  <a:lnTo>
                    <a:pt x="245117" y="68562"/>
                  </a:lnTo>
                  <a:cubicBezTo>
                    <a:pt x="243759" y="64937"/>
                    <a:pt x="243356" y="61025"/>
                    <a:pt x="243945" y="57201"/>
                  </a:cubicBezTo>
                  <a:cubicBezTo>
                    <a:pt x="243945" y="56607"/>
                    <a:pt x="244150" y="56054"/>
                    <a:pt x="244274" y="55481"/>
                  </a:cubicBezTo>
                  <a:cubicBezTo>
                    <a:pt x="241548" y="51902"/>
                    <a:pt x="237528" y="49523"/>
                    <a:pt x="233069" y="48848"/>
                  </a:cubicBezTo>
                  <a:cubicBezTo>
                    <a:pt x="226697" y="47921"/>
                    <a:pt x="220327" y="50546"/>
                    <a:pt x="216477" y="55686"/>
                  </a:cubicBezTo>
                  <a:cubicBezTo>
                    <a:pt x="216168" y="56075"/>
                    <a:pt x="215880" y="56484"/>
                    <a:pt x="215613" y="56894"/>
                  </a:cubicBezTo>
                  <a:cubicBezTo>
                    <a:pt x="215346" y="57303"/>
                    <a:pt x="215079" y="57794"/>
                    <a:pt x="214832" y="58286"/>
                  </a:cubicBezTo>
                  <a:cubicBezTo>
                    <a:pt x="213991" y="59899"/>
                    <a:pt x="213408" y="61632"/>
                    <a:pt x="213105" y="63424"/>
                  </a:cubicBezTo>
                  <a:cubicBezTo>
                    <a:pt x="212794" y="65466"/>
                    <a:pt x="212857" y="67546"/>
                    <a:pt x="213290" y="69566"/>
                  </a:cubicBezTo>
                  <a:lnTo>
                    <a:pt x="213680" y="71408"/>
                  </a:lnTo>
                  <a:lnTo>
                    <a:pt x="207348" y="71408"/>
                  </a:lnTo>
                  <a:lnTo>
                    <a:pt x="207142" y="70180"/>
                  </a:lnTo>
                  <a:cubicBezTo>
                    <a:pt x="206215" y="65106"/>
                    <a:pt x="207033" y="59870"/>
                    <a:pt x="209466" y="55317"/>
                  </a:cubicBezTo>
                  <a:cubicBezTo>
                    <a:pt x="206740" y="52764"/>
                    <a:pt x="203297" y="51100"/>
                    <a:pt x="199597" y="50547"/>
                  </a:cubicBezTo>
                  <a:cubicBezTo>
                    <a:pt x="192350" y="49425"/>
                    <a:pt x="185113" y="52628"/>
                    <a:pt x="181093" y="58736"/>
                  </a:cubicBezTo>
                  <a:lnTo>
                    <a:pt x="180908" y="59023"/>
                  </a:lnTo>
                  <a:cubicBezTo>
                    <a:pt x="180658" y="59369"/>
                    <a:pt x="180431" y="59731"/>
                    <a:pt x="180229" y="60108"/>
                  </a:cubicBezTo>
                  <a:cubicBezTo>
                    <a:pt x="179950" y="60631"/>
                    <a:pt x="179702" y="61171"/>
                    <a:pt x="179489" y="61725"/>
                  </a:cubicBezTo>
                  <a:cubicBezTo>
                    <a:pt x="178873" y="63105"/>
                    <a:pt x="178431" y="64556"/>
                    <a:pt x="178173" y="66044"/>
                  </a:cubicBezTo>
                  <a:cubicBezTo>
                    <a:pt x="178081" y="66723"/>
                    <a:pt x="178033" y="67407"/>
                    <a:pt x="178029" y="68092"/>
                  </a:cubicBezTo>
                  <a:lnTo>
                    <a:pt x="178029" y="69688"/>
                  </a:lnTo>
                  <a:lnTo>
                    <a:pt x="171862" y="69033"/>
                  </a:lnTo>
                  <a:lnTo>
                    <a:pt x="171862" y="67109"/>
                  </a:lnTo>
                  <a:cubicBezTo>
                    <a:pt x="171862" y="66474"/>
                    <a:pt x="171862" y="65840"/>
                    <a:pt x="172005" y="65205"/>
                  </a:cubicBezTo>
                  <a:cubicBezTo>
                    <a:pt x="172406" y="62708"/>
                    <a:pt x="173182" y="60286"/>
                    <a:pt x="174308" y="58020"/>
                  </a:cubicBezTo>
                  <a:cubicBezTo>
                    <a:pt x="171368" y="53984"/>
                    <a:pt x="166923" y="51292"/>
                    <a:pt x="161972" y="50547"/>
                  </a:cubicBezTo>
                  <a:cubicBezTo>
                    <a:pt x="156848" y="49759"/>
                    <a:pt x="151627" y="51148"/>
                    <a:pt x="147580" y="54376"/>
                  </a:cubicBezTo>
                  <a:cubicBezTo>
                    <a:pt x="147169" y="54703"/>
                    <a:pt x="146758" y="55051"/>
                    <a:pt x="146347" y="55440"/>
                  </a:cubicBezTo>
                  <a:cubicBezTo>
                    <a:pt x="145935" y="55829"/>
                    <a:pt x="145442" y="56300"/>
                    <a:pt x="145031" y="56750"/>
                  </a:cubicBezTo>
                  <a:cubicBezTo>
                    <a:pt x="143398" y="58624"/>
                    <a:pt x="142141" y="60792"/>
                    <a:pt x="141330" y="63137"/>
                  </a:cubicBezTo>
                  <a:lnTo>
                    <a:pt x="140919" y="64386"/>
                  </a:lnTo>
                  <a:lnTo>
                    <a:pt x="134895" y="63219"/>
                  </a:lnTo>
                  <a:lnTo>
                    <a:pt x="135388" y="61623"/>
                  </a:lnTo>
                  <a:cubicBezTo>
                    <a:pt x="136617" y="57846"/>
                    <a:pt x="138731" y="54414"/>
                    <a:pt x="141556" y="51612"/>
                  </a:cubicBezTo>
                  <a:cubicBezTo>
                    <a:pt x="138292" y="42580"/>
                    <a:pt x="128293" y="37892"/>
                    <a:pt x="119222" y="41142"/>
                  </a:cubicBezTo>
                  <a:cubicBezTo>
                    <a:pt x="115834" y="42356"/>
                    <a:pt x="112907" y="44582"/>
                    <a:pt x="110840" y="47518"/>
                  </a:cubicBezTo>
                  <a:cubicBezTo>
                    <a:pt x="109884" y="48810"/>
                    <a:pt x="109116" y="50229"/>
                    <a:pt x="108557" y="51735"/>
                  </a:cubicBezTo>
                  <a:lnTo>
                    <a:pt x="108557" y="52083"/>
                  </a:lnTo>
                  <a:cubicBezTo>
                    <a:pt x="108257" y="52979"/>
                    <a:pt x="108024" y="53896"/>
                    <a:pt x="107858" y="54826"/>
                  </a:cubicBezTo>
                  <a:lnTo>
                    <a:pt x="107653" y="56546"/>
                  </a:lnTo>
                  <a:lnTo>
                    <a:pt x="105946" y="56546"/>
                  </a:lnTo>
                  <a:lnTo>
                    <a:pt x="101649" y="55399"/>
                  </a:lnTo>
                  <a:lnTo>
                    <a:pt x="101793" y="54130"/>
                  </a:lnTo>
                  <a:cubicBezTo>
                    <a:pt x="102394" y="50066"/>
                    <a:pt x="104061" y="46232"/>
                    <a:pt x="106625" y="43014"/>
                  </a:cubicBezTo>
                  <a:cubicBezTo>
                    <a:pt x="105029" y="34710"/>
                    <a:pt x="97743" y="28700"/>
                    <a:pt x="89252" y="28684"/>
                  </a:cubicBezTo>
                  <a:cubicBezTo>
                    <a:pt x="85903" y="28368"/>
                    <a:pt x="82537" y="29083"/>
                    <a:pt x="79609" y="30731"/>
                  </a:cubicBezTo>
                  <a:lnTo>
                    <a:pt x="78355" y="31611"/>
                  </a:lnTo>
                  <a:cubicBezTo>
                    <a:pt x="77931" y="31965"/>
                    <a:pt x="77526" y="32341"/>
                    <a:pt x="77142" y="32737"/>
                  </a:cubicBezTo>
                  <a:cubicBezTo>
                    <a:pt x="74681" y="35155"/>
                    <a:pt x="72999" y="38248"/>
                    <a:pt x="72310" y="41622"/>
                  </a:cubicBezTo>
                  <a:lnTo>
                    <a:pt x="71940" y="43280"/>
                  </a:lnTo>
                  <a:lnTo>
                    <a:pt x="66060" y="41233"/>
                  </a:lnTo>
                  <a:lnTo>
                    <a:pt x="66348" y="39902"/>
                  </a:lnTo>
                  <a:cubicBezTo>
                    <a:pt x="66505" y="39208"/>
                    <a:pt x="66704" y="38525"/>
                    <a:pt x="66944" y="37855"/>
                  </a:cubicBezTo>
                  <a:cubicBezTo>
                    <a:pt x="68184" y="34119"/>
                    <a:pt x="70347" y="30754"/>
                    <a:pt x="73235" y="28069"/>
                  </a:cubicBezTo>
                  <a:cubicBezTo>
                    <a:pt x="72391" y="26791"/>
                    <a:pt x="71389" y="25621"/>
                    <a:pt x="70254" y="24589"/>
                  </a:cubicBezTo>
                  <a:lnTo>
                    <a:pt x="69905" y="24118"/>
                  </a:lnTo>
                  <a:cubicBezTo>
                    <a:pt x="65748" y="20285"/>
                    <a:pt x="60228" y="18259"/>
                    <a:pt x="54567" y="18489"/>
                  </a:cubicBezTo>
                  <a:cubicBezTo>
                    <a:pt x="53936" y="18489"/>
                    <a:pt x="53320" y="18489"/>
                    <a:pt x="52717" y="18489"/>
                  </a:cubicBezTo>
                  <a:cubicBezTo>
                    <a:pt x="48731" y="18968"/>
                    <a:pt x="44896" y="20294"/>
                    <a:pt x="41470" y="22378"/>
                  </a:cubicBezTo>
                  <a:lnTo>
                    <a:pt x="40237" y="21355"/>
                  </a:lnTo>
                  <a:lnTo>
                    <a:pt x="41080" y="22624"/>
                  </a:lnTo>
                  <a:cubicBezTo>
                    <a:pt x="38100" y="24500"/>
                    <a:pt x="35679" y="27137"/>
                    <a:pt x="34069" y="30260"/>
                  </a:cubicBezTo>
                  <a:lnTo>
                    <a:pt x="33411" y="31529"/>
                  </a:lnTo>
                  <a:lnTo>
                    <a:pt x="27777" y="29073"/>
                  </a:lnTo>
                  <a:lnTo>
                    <a:pt x="28497" y="27660"/>
                  </a:lnTo>
                  <a:cubicBezTo>
                    <a:pt x="29408" y="25833"/>
                    <a:pt x="30525" y="24116"/>
                    <a:pt x="31828" y="22542"/>
                  </a:cubicBezTo>
                  <a:cubicBezTo>
                    <a:pt x="12522" y="24200"/>
                    <a:pt x="-1706" y="43526"/>
                    <a:pt x="165" y="65655"/>
                  </a:cubicBezTo>
                  <a:cubicBezTo>
                    <a:pt x="592" y="70999"/>
                    <a:pt x="1985" y="76221"/>
                    <a:pt x="4277" y="81071"/>
                  </a:cubicBezTo>
                  <a:cubicBezTo>
                    <a:pt x="5716" y="80584"/>
                    <a:pt x="7195" y="80228"/>
                    <a:pt x="8698" y="80006"/>
                  </a:cubicBezTo>
                  <a:cubicBezTo>
                    <a:pt x="6373" y="75257"/>
                    <a:pt x="5535" y="69922"/>
                    <a:pt x="6292" y="64693"/>
                  </a:cubicBezTo>
                  <a:lnTo>
                    <a:pt x="6601" y="62646"/>
                  </a:lnTo>
                  <a:lnTo>
                    <a:pt x="12440" y="65533"/>
                  </a:lnTo>
                  <a:lnTo>
                    <a:pt x="12337" y="66556"/>
                  </a:lnTo>
                  <a:cubicBezTo>
                    <a:pt x="11858" y="72292"/>
                    <a:pt x="13743" y="77975"/>
                    <a:pt x="17559" y="82299"/>
                  </a:cubicBezTo>
                  <a:cubicBezTo>
                    <a:pt x="18202" y="83023"/>
                    <a:pt x="18888" y="83706"/>
                    <a:pt x="19615" y="84346"/>
                  </a:cubicBezTo>
                  <a:cubicBezTo>
                    <a:pt x="21530" y="86019"/>
                    <a:pt x="23712" y="87361"/>
                    <a:pt x="26071" y="88318"/>
                  </a:cubicBezTo>
                  <a:cubicBezTo>
                    <a:pt x="26993" y="88708"/>
                    <a:pt x="27941" y="89037"/>
                    <a:pt x="28908" y="89300"/>
                  </a:cubicBezTo>
                  <a:cubicBezTo>
                    <a:pt x="29587" y="89485"/>
                    <a:pt x="30286" y="89628"/>
                    <a:pt x="30964" y="89751"/>
                  </a:cubicBezTo>
                  <a:lnTo>
                    <a:pt x="31293" y="89751"/>
                  </a:lnTo>
                  <a:cubicBezTo>
                    <a:pt x="32550" y="89962"/>
                    <a:pt x="33822" y="90078"/>
                    <a:pt x="35097" y="90099"/>
                  </a:cubicBezTo>
                  <a:cubicBezTo>
                    <a:pt x="37737" y="90108"/>
                    <a:pt x="40359" y="89665"/>
                    <a:pt x="42848" y="88789"/>
                  </a:cubicBezTo>
                  <a:cubicBezTo>
                    <a:pt x="43984" y="88391"/>
                    <a:pt x="45085" y="87898"/>
                    <a:pt x="46137" y="87315"/>
                  </a:cubicBezTo>
                  <a:cubicBezTo>
                    <a:pt x="43611" y="82248"/>
                    <a:pt x="42707" y="76532"/>
                    <a:pt x="43547" y="70937"/>
                  </a:cubicBezTo>
                  <a:lnTo>
                    <a:pt x="43896" y="69054"/>
                  </a:lnTo>
                  <a:lnTo>
                    <a:pt x="45397" y="69054"/>
                  </a:lnTo>
                  <a:lnTo>
                    <a:pt x="50064" y="69647"/>
                  </a:lnTo>
                  <a:lnTo>
                    <a:pt x="49694" y="71777"/>
                  </a:lnTo>
                  <a:cubicBezTo>
                    <a:pt x="48998" y="76323"/>
                    <a:pt x="49784" y="80972"/>
                    <a:pt x="51935" y="85042"/>
                  </a:cubicBezTo>
                  <a:lnTo>
                    <a:pt x="52120" y="85390"/>
                  </a:lnTo>
                  <a:cubicBezTo>
                    <a:pt x="52388" y="85861"/>
                    <a:pt x="52511" y="86107"/>
                    <a:pt x="52655" y="86332"/>
                  </a:cubicBezTo>
                  <a:lnTo>
                    <a:pt x="51545" y="87417"/>
                  </a:lnTo>
                  <a:lnTo>
                    <a:pt x="52819" y="86598"/>
                  </a:lnTo>
                  <a:cubicBezTo>
                    <a:pt x="53046" y="86946"/>
                    <a:pt x="53251" y="87274"/>
                    <a:pt x="53498" y="87601"/>
                  </a:cubicBezTo>
                  <a:cubicBezTo>
                    <a:pt x="55256" y="90088"/>
                    <a:pt x="57518" y="92180"/>
                    <a:pt x="60139" y="93743"/>
                  </a:cubicBezTo>
                  <a:cubicBezTo>
                    <a:pt x="60570" y="93988"/>
                    <a:pt x="61002" y="94234"/>
                    <a:pt x="61455" y="94459"/>
                  </a:cubicBezTo>
                  <a:cubicBezTo>
                    <a:pt x="61907" y="94684"/>
                    <a:pt x="62400" y="94889"/>
                    <a:pt x="62873" y="95094"/>
                  </a:cubicBezTo>
                  <a:cubicBezTo>
                    <a:pt x="66694" y="96700"/>
                    <a:pt x="70900" y="97169"/>
                    <a:pt x="74983" y="96445"/>
                  </a:cubicBezTo>
                  <a:lnTo>
                    <a:pt x="76422" y="96138"/>
                  </a:lnTo>
                  <a:lnTo>
                    <a:pt x="77820" y="95728"/>
                  </a:lnTo>
                  <a:cubicBezTo>
                    <a:pt x="79599" y="95158"/>
                    <a:pt x="81298" y="94367"/>
                    <a:pt x="82878" y="93374"/>
                  </a:cubicBezTo>
                  <a:cubicBezTo>
                    <a:pt x="81828" y="87338"/>
                    <a:pt x="82721" y="81126"/>
                    <a:pt x="85427" y="75625"/>
                  </a:cubicBezTo>
                  <a:lnTo>
                    <a:pt x="85941" y="74581"/>
                  </a:lnTo>
                  <a:lnTo>
                    <a:pt x="87093" y="74806"/>
                  </a:lnTo>
                  <a:cubicBezTo>
                    <a:pt x="88059" y="74991"/>
                    <a:pt x="89025" y="75216"/>
                    <a:pt x="89992" y="75420"/>
                  </a:cubicBezTo>
                  <a:lnTo>
                    <a:pt x="91945" y="75850"/>
                  </a:lnTo>
                  <a:lnTo>
                    <a:pt x="91266" y="77652"/>
                  </a:lnTo>
                  <a:cubicBezTo>
                    <a:pt x="90032" y="79898"/>
                    <a:pt x="89184" y="82333"/>
                    <a:pt x="88758" y="84858"/>
                  </a:cubicBezTo>
                  <a:cubicBezTo>
                    <a:pt x="88429" y="87098"/>
                    <a:pt x="88429" y="89374"/>
                    <a:pt x="88758" y="91614"/>
                  </a:cubicBezTo>
                  <a:cubicBezTo>
                    <a:pt x="88831" y="92192"/>
                    <a:pt x="88934" y="92766"/>
                    <a:pt x="89067" y="93333"/>
                  </a:cubicBezTo>
                  <a:cubicBezTo>
                    <a:pt x="89067" y="93866"/>
                    <a:pt x="89313" y="94357"/>
                    <a:pt x="89457" y="94869"/>
                  </a:cubicBezTo>
                  <a:cubicBezTo>
                    <a:pt x="90210" y="97565"/>
                    <a:pt x="91435" y="100109"/>
                    <a:pt x="93076" y="102382"/>
                  </a:cubicBezTo>
                  <a:cubicBezTo>
                    <a:pt x="96771" y="107434"/>
                    <a:pt x="102349" y="110797"/>
                    <a:pt x="108557" y="111717"/>
                  </a:cubicBezTo>
                  <a:cubicBezTo>
                    <a:pt x="114933" y="112667"/>
                    <a:pt x="121422" y="110989"/>
                    <a:pt x="126527" y="107070"/>
                  </a:cubicBezTo>
                  <a:cubicBezTo>
                    <a:pt x="126010" y="104085"/>
                    <a:pt x="125975" y="101037"/>
                    <a:pt x="126424" y="98042"/>
                  </a:cubicBezTo>
                  <a:cubicBezTo>
                    <a:pt x="127264" y="92651"/>
                    <a:pt x="129665" y="87621"/>
                    <a:pt x="133332" y="83568"/>
                  </a:cubicBezTo>
                  <a:lnTo>
                    <a:pt x="133846" y="82975"/>
                  </a:lnTo>
                  <a:lnTo>
                    <a:pt x="141803" y="83855"/>
                  </a:lnTo>
                  <a:lnTo>
                    <a:pt x="139397" y="86004"/>
                  </a:lnTo>
                  <a:cubicBezTo>
                    <a:pt x="139027" y="86373"/>
                    <a:pt x="138637" y="86721"/>
                    <a:pt x="138287" y="87089"/>
                  </a:cubicBezTo>
                  <a:cubicBezTo>
                    <a:pt x="135208" y="90351"/>
                    <a:pt x="133188" y="94460"/>
                    <a:pt x="132489" y="98881"/>
                  </a:cubicBezTo>
                  <a:cubicBezTo>
                    <a:pt x="132231" y="100845"/>
                    <a:pt x="132231" y="102834"/>
                    <a:pt x="132489" y="104797"/>
                  </a:cubicBezTo>
                  <a:cubicBezTo>
                    <a:pt x="132560" y="105423"/>
                    <a:pt x="132663" y="106045"/>
                    <a:pt x="132798" y="106660"/>
                  </a:cubicBezTo>
                  <a:cubicBezTo>
                    <a:pt x="132900" y="107193"/>
                    <a:pt x="133024" y="107725"/>
                    <a:pt x="133168" y="108237"/>
                  </a:cubicBezTo>
                  <a:cubicBezTo>
                    <a:pt x="136440" y="120087"/>
                    <a:pt x="148741" y="127051"/>
                    <a:pt x="160642" y="123793"/>
                  </a:cubicBezTo>
                  <a:cubicBezTo>
                    <a:pt x="165654" y="122421"/>
                    <a:pt x="170028" y="119352"/>
                    <a:pt x="173013" y="115115"/>
                  </a:cubicBezTo>
                  <a:cubicBezTo>
                    <a:pt x="168751" y="106838"/>
                    <a:pt x="168874" y="96998"/>
                    <a:pt x="173342" y="88829"/>
                  </a:cubicBezTo>
                  <a:lnTo>
                    <a:pt x="173835" y="87949"/>
                  </a:lnTo>
                  <a:lnTo>
                    <a:pt x="180682" y="88604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78EBD">
                    <a:lumMod val="90000"/>
                  </a:srgbClr>
                </a:gs>
                <a:gs pos="68000">
                  <a:srgbClr val="CCB6DE"/>
                </a:gs>
                <a:gs pos="19000">
                  <a:srgbClr val="B78EBD">
                    <a:lumMod val="84000"/>
                  </a:srgbClr>
                </a:gs>
              </a:gsLst>
              <a:lin ang="16200000" scaled="1"/>
              <a:tileRect/>
            </a:gradFill>
            <a:ln w="3175" cap="flat">
              <a:solidFill>
                <a:srgbClr val="9B83B3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0" name="Freeform 364">
              <a:extLst>
                <a:ext uri="{FF2B5EF4-FFF2-40B4-BE49-F238E27FC236}">
                  <a16:creationId xmlns:a16="http://schemas.microsoft.com/office/drawing/2014/main" id="{EE391F40-654E-4251-B84D-302C4EE6B36D}"/>
                </a:ext>
              </a:extLst>
            </p:cNvPr>
            <p:cNvSpPr/>
            <p:nvPr/>
          </p:nvSpPr>
          <p:spPr>
            <a:xfrm>
              <a:off x="5977039" y="3547456"/>
              <a:ext cx="457304" cy="731492"/>
            </a:xfrm>
            <a:custGeom>
              <a:avLst/>
              <a:gdLst>
                <a:gd name="connsiteX0" fmla="*/ 256992 w 286971"/>
                <a:gd name="connsiteY0" fmla="*/ 219375 h 433657"/>
                <a:gd name="connsiteX1" fmla="*/ 257156 w 286971"/>
                <a:gd name="connsiteY1" fmla="*/ 218536 h 433657"/>
                <a:gd name="connsiteX2" fmla="*/ 257958 w 286971"/>
                <a:gd name="connsiteY2" fmla="*/ 218229 h 433657"/>
                <a:gd name="connsiteX3" fmla="*/ 282404 w 286971"/>
                <a:gd name="connsiteY3" fmla="*/ 223736 h 433657"/>
                <a:gd name="connsiteX4" fmla="*/ 281738 w 286971"/>
                <a:gd name="connsiteY4" fmla="*/ 200207 h 433657"/>
                <a:gd name="connsiteX5" fmla="*/ 277716 w 286971"/>
                <a:gd name="connsiteY5" fmla="*/ 197409 h 433657"/>
                <a:gd name="connsiteX6" fmla="*/ 275928 w 286971"/>
                <a:gd name="connsiteY6" fmla="*/ 196631 h 433657"/>
                <a:gd name="connsiteX7" fmla="*/ 273358 w 286971"/>
                <a:gd name="connsiteY7" fmla="*/ 195935 h 433657"/>
                <a:gd name="connsiteX8" fmla="*/ 272247 w 286971"/>
                <a:gd name="connsiteY8" fmla="*/ 195730 h 433657"/>
                <a:gd name="connsiteX9" fmla="*/ 266347 w 286971"/>
                <a:gd name="connsiteY9" fmla="*/ 196099 h 433657"/>
                <a:gd name="connsiteX10" fmla="*/ 263777 w 286971"/>
                <a:gd name="connsiteY10" fmla="*/ 196918 h 433657"/>
                <a:gd name="connsiteX11" fmla="*/ 262111 w 286971"/>
                <a:gd name="connsiteY11" fmla="*/ 197736 h 433657"/>
                <a:gd name="connsiteX12" fmla="*/ 259685 w 286971"/>
                <a:gd name="connsiteY12" fmla="*/ 199067 h 433657"/>
                <a:gd name="connsiteX13" fmla="*/ 259850 w 286971"/>
                <a:gd name="connsiteY13" fmla="*/ 196324 h 433657"/>
                <a:gd name="connsiteX14" fmla="*/ 259973 w 286971"/>
                <a:gd name="connsiteY14" fmla="*/ 193929 h 433657"/>
                <a:gd name="connsiteX15" fmla="*/ 259973 w 286971"/>
                <a:gd name="connsiteY15" fmla="*/ 191882 h 433657"/>
                <a:gd name="connsiteX16" fmla="*/ 260837 w 286971"/>
                <a:gd name="connsiteY16" fmla="*/ 191493 h 433657"/>
                <a:gd name="connsiteX17" fmla="*/ 272926 w 286971"/>
                <a:gd name="connsiteY17" fmla="*/ 189671 h 433657"/>
                <a:gd name="connsiteX18" fmla="*/ 278087 w 286971"/>
                <a:gd name="connsiteY18" fmla="*/ 190940 h 433657"/>
                <a:gd name="connsiteX19" fmla="*/ 283621 w 286971"/>
                <a:gd name="connsiteY19" fmla="*/ 168027 h 433657"/>
                <a:gd name="connsiteX20" fmla="*/ 278888 w 286971"/>
                <a:gd name="connsiteY20" fmla="*/ 163037 h 433657"/>
                <a:gd name="connsiteX21" fmla="*/ 277696 w 286971"/>
                <a:gd name="connsiteY21" fmla="*/ 162259 h 433657"/>
                <a:gd name="connsiteX22" fmla="*/ 276236 w 286971"/>
                <a:gd name="connsiteY22" fmla="*/ 161522 h 433657"/>
                <a:gd name="connsiteX23" fmla="*/ 271363 w 286971"/>
                <a:gd name="connsiteY23" fmla="*/ 160150 h 433657"/>
                <a:gd name="connsiteX24" fmla="*/ 261967 w 286971"/>
                <a:gd name="connsiteY24" fmla="*/ 161747 h 433657"/>
                <a:gd name="connsiteX25" fmla="*/ 259912 w 286971"/>
                <a:gd name="connsiteY25" fmla="*/ 162771 h 433657"/>
                <a:gd name="connsiteX26" fmla="*/ 259603 w 286971"/>
                <a:gd name="connsiteY26" fmla="*/ 156117 h 433657"/>
                <a:gd name="connsiteX27" fmla="*/ 260590 w 286971"/>
                <a:gd name="connsiteY27" fmla="*/ 155708 h 433657"/>
                <a:gd name="connsiteX28" fmla="*/ 279094 w 286971"/>
                <a:gd name="connsiteY28" fmla="*/ 156138 h 433657"/>
                <a:gd name="connsiteX29" fmla="*/ 279670 w 286971"/>
                <a:gd name="connsiteY29" fmla="*/ 137079 h 433657"/>
                <a:gd name="connsiteX30" fmla="*/ 274838 w 286971"/>
                <a:gd name="connsiteY30" fmla="*/ 132984 h 433657"/>
                <a:gd name="connsiteX31" fmla="*/ 273234 w 286971"/>
                <a:gd name="connsiteY31" fmla="*/ 132247 h 433657"/>
                <a:gd name="connsiteX32" fmla="*/ 271178 w 286971"/>
                <a:gd name="connsiteY32" fmla="*/ 131592 h 433657"/>
                <a:gd name="connsiteX33" fmla="*/ 270623 w 286971"/>
                <a:gd name="connsiteY33" fmla="*/ 131429 h 433657"/>
                <a:gd name="connsiteX34" fmla="*/ 269554 w 286971"/>
                <a:gd name="connsiteY34" fmla="*/ 131183 h 433657"/>
                <a:gd name="connsiteX35" fmla="*/ 261988 w 286971"/>
                <a:gd name="connsiteY35" fmla="*/ 132043 h 433657"/>
                <a:gd name="connsiteX36" fmla="*/ 260076 w 286971"/>
                <a:gd name="connsiteY36" fmla="*/ 132984 h 433657"/>
                <a:gd name="connsiteX37" fmla="*/ 258020 w 286971"/>
                <a:gd name="connsiteY37" fmla="*/ 134110 h 433657"/>
                <a:gd name="connsiteX38" fmla="*/ 257424 w 286971"/>
                <a:gd name="connsiteY38" fmla="*/ 127478 h 433657"/>
                <a:gd name="connsiteX39" fmla="*/ 258390 w 286971"/>
                <a:gd name="connsiteY39" fmla="*/ 127027 h 433657"/>
                <a:gd name="connsiteX40" fmla="*/ 275290 w 286971"/>
                <a:gd name="connsiteY40" fmla="*/ 126433 h 433657"/>
                <a:gd name="connsiteX41" fmla="*/ 278872 w 286971"/>
                <a:gd name="connsiteY41" fmla="*/ 103285 h 433657"/>
                <a:gd name="connsiteX42" fmla="*/ 277943 w 286971"/>
                <a:gd name="connsiteY42" fmla="*/ 102134 h 433657"/>
                <a:gd name="connsiteX43" fmla="*/ 270068 w 286971"/>
                <a:gd name="connsiteY43" fmla="*/ 97138 h 433657"/>
                <a:gd name="connsiteX44" fmla="*/ 267827 w 286971"/>
                <a:gd name="connsiteY44" fmla="*/ 96729 h 433657"/>
                <a:gd name="connsiteX45" fmla="*/ 267210 w 286971"/>
                <a:gd name="connsiteY45" fmla="*/ 96729 h 433657"/>
                <a:gd name="connsiteX46" fmla="*/ 266573 w 286971"/>
                <a:gd name="connsiteY46" fmla="*/ 96729 h 433657"/>
                <a:gd name="connsiteX47" fmla="*/ 262749 w 286971"/>
                <a:gd name="connsiteY47" fmla="*/ 96975 h 433657"/>
                <a:gd name="connsiteX48" fmla="*/ 262358 w 286971"/>
                <a:gd name="connsiteY48" fmla="*/ 96975 h 433657"/>
                <a:gd name="connsiteX49" fmla="*/ 258246 w 286971"/>
                <a:gd name="connsiteY49" fmla="*/ 98387 h 433657"/>
                <a:gd name="connsiteX50" fmla="*/ 256704 w 286971"/>
                <a:gd name="connsiteY50" fmla="*/ 99227 h 433657"/>
                <a:gd name="connsiteX51" fmla="*/ 254648 w 286971"/>
                <a:gd name="connsiteY51" fmla="*/ 100455 h 433657"/>
                <a:gd name="connsiteX52" fmla="*/ 253908 w 286971"/>
                <a:gd name="connsiteY52" fmla="*/ 93699 h 433657"/>
                <a:gd name="connsiteX53" fmla="*/ 254833 w 286971"/>
                <a:gd name="connsiteY53" fmla="*/ 93228 h 433657"/>
                <a:gd name="connsiteX54" fmla="*/ 266861 w 286971"/>
                <a:gd name="connsiteY54" fmla="*/ 90588 h 433657"/>
                <a:gd name="connsiteX55" fmla="*/ 269534 w 286971"/>
                <a:gd name="connsiteY55" fmla="*/ 90936 h 433657"/>
                <a:gd name="connsiteX56" fmla="*/ 276339 w 286971"/>
                <a:gd name="connsiteY56" fmla="*/ 78652 h 433657"/>
                <a:gd name="connsiteX57" fmla="*/ 267642 w 286971"/>
                <a:gd name="connsiteY57" fmla="*/ 63074 h 433657"/>
                <a:gd name="connsiteX58" fmla="*/ 266203 w 286971"/>
                <a:gd name="connsiteY58" fmla="*/ 62398 h 433657"/>
                <a:gd name="connsiteX59" fmla="*/ 264579 w 286971"/>
                <a:gd name="connsiteY59" fmla="*/ 61804 h 433657"/>
                <a:gd name="connsiteX60" fmla="*/ 260796 w 286971"/>
                <a:gd name="connsiteY60" fmla="*/ 61108 h 433657"/>
                <a:gd name="connsiteX61" fmla="*/ 252572 w 286971"/>
                <a:gd name="connsiteY61" fmla="*/ 62787 h 433657"/>
                <a:gd name="connsiteX62" fmla="*/ 250639 w 286971"/>
                <a:gd name="connsiteY62" fmla="*/ 63749 h 433657"/>
                <a:gd name="connsiteX63" fmla="*/ 249919 w 286971"/>
                <a:gd name="connsiteY63" fmla="*/ 57239 h 433657"/>
                <a:gd name="connsiteX64" fmla="*/ 250947 w 286971"/>
                <a:gd name="connsiteY64" fmla="*/ 56789 h 433657"/>
                <a:gd name="connsiteX65" fmla="*/ 267580 w 286971"/>
                <a:gd name="connsiteY65" fmla="*/ 56338 h 433657"/>
                <a:gd name="connsiteX66" fmla="*/ 272371 w 286971"/>
                <a:gd name="connsiteY66" fmla="*/ 43871 h 433657"/>
                <a:gd name="connsiteX67" fmla="*/ 263263 w 286971"/>
                <a:gd name="connsiteY67" fmla="*/ 28763 h 433657"/>
                <a:gd name="connsiteX68" fmla="*/ 261947 w 286971"/>
                <a:gd name="connsiteY68" fmla="*/ 28108 h 433657"/>
                <a:gd name="connsiteX69" fmla="*/ 260467 w 286971"/>
                <a:gd name="connsiteY69" fmla="*/ 27514 h 433657"/>
                <a:gd name="connsiteX70" fmla="*/ 254566 w 286971"/>
                <a:gd name="connsiteY70" fmla="*/ 26470 h 433657"/>
                <a:gd name="connsiteX71" fmla="*/ 254196 w 286971"/>
                <a:gd name="connsiteY71" fmla="*/ 26470 h 433657"/>
                <a:gd name="connsiteX72" fmla="*/ 248028 w 286971"/>
                <a:gd name="connsiteY72" fmla="*/ 27739 h 433657"/>
                <a:gd name="connsiteX73" fmla="*/ 246260 w 286971"/>
                <a:gd name="connsiteY73" fmla="*/ 28435 h 433657"/>
                <a:gd name="connsiteX74" fmla="*/ 245273 w 286971"/>
                <a:gd name="connsiteY74" fmla="*/ 22294 h 433657"/>
                <a:gd name="connsiteX75" fmla="*/ 246465 w 286971"/>
                <a:gd name="connsiteY75" fmla="*/ 21884 h 433657"/>
                <a:gd name="connsiteX76" fmla="*/ 254052 w 286971"/>
                <a:gd name="connsiteY76" fmla="*/ 20472 h 433657"/>
                <a:gd name="connsiteX77" fmla="*/ 254504 w 286971"/>
                <a:gd name="connsiteY77" fmla="*/ 20472 h 433657"/>
                <a:gd name="connsiteX78" fmla="*/ 262440 w 286971"/>
                <a:gd name="connsiteY78" fmla="*/ 21823 h 433657"/>
                <a:gd name="connsiteX79" fmla="*/ 264373 w 286971"/>
                <a:gd name="connsiteY79" fmla="*/ 14187 h 433657"/>
                <a:gd name="connsiteX80" fmla="*/ 249693 w 286971"/>
                <a:gd name="connsiteY80" fmla="*/ 0 h 433657"/>
                <a:gd name="connsiteX81" fmla="*/ 249241 w 286971"/>
                <a:gd name="connsiteY81" fmla="*/ 0 h 433657"/>
                <a:gd name="connsiteX82" fmla="*/ 248336 w 286971"/>
                <a:gd name="connsiteY82" fmla="*/ 103 h 433657"/>
                <a:gd name="connsiteX83" fmla="*/ 235548 w 286971"/>
                <a:gd name="connsiteY83" fmla="*/ 10666 h 433657"/>
                <a:gd name="connsiteX84" fmla="*/ 235548 w 286971"/>
                <a:gd name="connsiteY84" fmla="*/ 10666 h 433657"/>
                <a:gd name="connsiteX85" fmla="*/ 234849 w 286971"/>
                <a:gd name="connsiteY85" fmla="*/ 11014 h 433657"/>
                <a:gd name="connsiteX86" fmla="*/ 231169 w 286971"/>
                <a:gd name="connsiteY86" fmla="*/ 12181 h 433657"/>
                <a:gd name="connsiteX87" fmla="*/ 228887 w 286971"/>
                <a:gd name="connsiteY87" fmla="*/ 12734 h 433657"/>
                <a:gd name="connsiteX88" fmla="*/ 228887 w 286971"/>
                <a:gd name="connsiteY88" fmla="*/ 12365 h 433657"/>
                <a:gd name="connsiteX89" fmla="*/ 226831 w 286971"/>
                <a:gd name="connsiteY89" fmla="*/ 12652 h 433657"/>
                <a:gd name="connsiteX90" fmla="*/ 225659 w 286971"/>
                <a:gd name="connsiteY90" fmla="*/ 12775 h 433657"/>
                <a:gd name="connsiteX91" fmla="*/ 225659 w 286971"/>
                <a:gd name="connsiteY91" fmla="*/ 12775 h 433657"/>
                <a:gd name="connsiteX92" fmla="*/ 223932 w 286971"/>
                <a:gd name="connsiteY92" fmla="*/ 12775 h 433657"/>
                <a:gd name="connsiteX93" fmla="*/ 217537 w 286971"/>
                <a:gd name="connsiteY93" fmla="*/ 12078 h 433657"/>
                <a:gd name="connsiteX94" fmla="*/ 217229 w 286971"/>
                <a:gd name="connsiteY94" fmla="*/ 16418 h 433657"/>
                <a:gd name="connsiteX95" fmla="*/ 212500 w 286971"/>
                <a:gd name="connsiteY95" fmla="*/ 28169 h 433657"/>
                <a:gd name="connsiteX96" fmla="*/ 221218 w 286971"/>
                <a:gd name="connsiteY96" fmla="*/ 31547 h 433657"/>
                <a:gd name="connsiteX97" fmla="*/ 221773 w 286971"/>
                <a:gd name="connsiteY97" fmla="*/ 31916 h 433657"/>
                <a:gd name="connsiteX98" fmla="*/ 221937 w 286971"/>
                <a:gd name="connsiteY98" fmla="*/ 32898 h 433657"/>
                <a:gd name="connsiteX99" fmla="*/ 222534 w 286971"/>
                <a:gd name="connsiteY99" fmla="*/ 36993 h 433657"/>
                <a:gd name="connsiteX100" fmla="*/ 223130 w 286971"/>
                <a:gd name="connsiteY100" fmla="*/ 41087 h 433657"/>
                <a:gd name="connsiteX101" fmla="*/ 220025 w 286971"/>
                <a:gd name="connsiteY101" fmla="*/ 38364 h 433657"/>
                <a:gd name="connsiteX102" fmla="*/ 218730 w 286971"/>
                <a:gd name="connsiteY102" fmla="*/ 37300 h 433657"/>
                <a:gd name="connsiteX103" fmla="*/ 217394 w 286971"/>
                <a:gd name="connsiteY103" fmla="*/ 36419 h 433657"/>
                <a:gd name="connsiteX104" fmla="*/ 208943 w 286971"/>
                <a:gd name="connsiteY104" fmla="*/ 34065 h 433657"/>
                <a:gd name="connsiteX105" fmla="*/ 208594 w 286971"/>
                <a:gd name="connsiteY105" fmla="*/ 34065 h 433657"/>
                <a:gd name="connsiteX106" fmla="*/ 206929 w 286971"/>
                <a:gd name="connsiteY106" fmla="*/ 34188 h 433657"/>
                <a:gd name="connsiteX107" fmla="*/ 202220 w 286971"/>
                <a:gd name="connsiteY107" fmla="*/ 37136 h 433657"/>
                <a:gd name="connsiteX108" fmla="*/ 200288 w 286971"/>
                <a:gd name="connsiteY108" fmla="*/ 38057 h 433657"/>
                <a:gd name="connsiteX109" fmla="*/ 198232 w 286971"/>
                <a:gd name="connsiteY109" fmla="*/ 38835 h 433657"/>
                <a:gd name="connsiteX110" fmla="*/ 196566 w 286971"/>
                <a:gd name="connsiteY110" fmla="*/ 39367 h 433657"/>
                <a:gd name="connsiteX111" fmla="*/ 192208 w 286971"/>
                <a:gd name="connsiteY111" fmla="*/ 50831 h 433657"/>
                <a:gd name="connsiteX112" fmla="*/ 200164 w 286971"/>
                <a:gd name="connsiteY112" fmla="*/ 64568 h 433657"/>
                <a:gd name="connsiteX113" fmla="*/ 215852 w 286971"/>
                <a:gd name="connsiteY113" fmla="*/ 59552 h 433657"/>
                <a:gd name="connsiteX114" fmla="*/ 222020 w 286971"/>
                <a:gd name="connsiteY114" fmla="*/ 60781 h 433657"/>
                <a:gd name="connsiteX115" fmla="*/ 224055 w 286971"/>
                <a:gd name="connsiteY115" fmla="*/ 58426 h 433657"/>
                <a:gd name="connsiteX116" fmla="*/ 223685 w 286971"/>
                <a:gd name="connsiteY116" fmla="*/ 68417 h 433657"/>
                <a:gd name="connsiteX117" fmla="*/ 221629 w 286971"/>
                <a:gd name="connsiteY117" fmla="*/ 67434 h 433657"/>
                <a:gd name="connsiteX118" fmla="*/ 220827 w 286971"/>
                <a:gd name="connsiteY118" fmla="*/ 67066 h 433657"/>
                <a:gd name="connsiteX119" fmla="*/ 219264 w 286971"/>
                <a:gd name="connsiteY119" fmla="*/ 66472 h 433657"/>
                <a:gd name="connsiteX120" fmla="*/ 204461 w 286971"/>
                <a:gd name="connsiteY120" fmla="*/ 69072 h 433657"/>
                <a:gd name="connsiteX121" fmla="*/ 204071 w 286971"/>
                <a:gd name="connsiteY121" fmla="*/ 69358 h 433657"/>
                <a:gd name="connsiteX122" fmla="*/ 203125 w 286971"/>
                <a:gd name="connsiteY122" fmla="*/ 70095 h 433657"/>
                <a:gd name="connsiteX123" fmla="*/ 202426 w 286971"/>
                <a:gd name="connsiteY123" fmla="*/ 70832 h 433657"/>
                <a:gd name="connsiteX124" fmla="*/ 202097 w 286971"/>
                <a:gd name="connsiteY124" fmla="*/ 71221 h 433657"/>
                <a:gd name="connsiteX125" fmla="*/ 197779 w 286971"/>
                <a:gd name="connsiteY125" fmla="*/ 81211 h 433657"/>
                <a:gd name="connsiteX126" fmla="*/ 207093 w 286971"/>
                <a:gd name="connsiteY126" fmla="*/ 97098 h 433657"/>
                <a:gd name="connsiteX127" fmla="*/ 220724 w 286971"/>
                <a:gd name="connsiteY127" fmla="*/ 93003 h 433657"/>
                <a:gd name="connsiteX128" fmla="*/ 225062 w 286971"/>
                <a:gd name="connsiteY128" fmla="*/ 93802 h 433657"/>
                <a:gd name="connsiteX129" fmla="*/ 226029 w 286971"/>
                <a:gd name="connsiteY129" fmla="*/ 94088 h 433657"/>
                <a:gd name="connsiteX130" fmla="*/ 226872 w 286971"/>
                <a:gd name="connsiteY130" fmla="*/ 101008 h 433657"/>
                <a:gd name="connsiteX131" fmla="*/ 224507 w 286971"/>
                <a:gd name="connsiteY131" fmla="*/ 100086 h 433657"/>
                <a:gd name="connsiteX132" fmla="*/ 222780 w 286971"/>
                <a:gd name="connsiteY132" fmla="*/ 99370 h 433657"/>
                <a:gd name="connsiteX133" fmla="*/ 220272 w 286971"/>
                <a:gd name="connsiteY133" fmla="*/ 98960 h 433657"/>
                <a:gd name="connsiteX134" fmla="*/ 211740 w 286971"/>
                <a:gd name="connsiteY134" fmla="*/ 101151 h 433657"/>
                <a:gd name="connsiteX135" fmla="*/ 210465 w 286971"/>
                <a:gd name="connsiteY135" fmla="*/ 102134 h 433657"/>
                <a:gd name="connsiteX136" fmla="*/ 209128 w 286971"/>
                <a:gd name="connsiteY136" fmla="*/ 103382 h 433657"/>
                <a:gd name="connsiteX137" fmla="*/ 208738 w 286971"/>
                <a:gd name="connsiteY137" fmla="*/ 122380 h 433657"/>
                <a:gd name="connsiteX138" fmla="*/ 210054 w 286971"/>
                <a:gd name="connsiteY138" fmla="*/ 123670 h 433657"/>
                <a:gd name="connsiteX139" fmla="*/ 228558 w 286971"/>
                <a:gd name="connsiteY139" fmla="*/ 121909 h 433657"/>
                <a:gd name="connsiteX140" fmla="*/ 229401 w 286971"/>
                <a:gd name="connsiteY140" fmla="*/ 122237 h 433657"/>
                <a:gd name="connsiteX141" fmla="*/ 230264 w 286971"/>
                <a:gd name="connsiteY141" fmla="*/ 129402 h 433657"/>
                <a:gd name="connsiteX142" fmla="*/ 226769 w 286971"/>
                <a:gd name="connsiteY142" fmla="*/ 127785 h 433657"/>
                <a:gd name="connsiteX143" fmla="*/ 213631 w 286971"/>
                <a:gd name="connsiteY143" fmla="*/ 128563 h 433657"/>
                <a:gd name="connsiteX144" fmla="*/ 212624 w 286971"/>
                <a:gd name="connsiteY144" fmla="*/ 129279 h 433657"/>
                <a:gd name="connsiteX145" fmla="*/ 212315 w 286971"/>
                <a:gd name="connsiteY145" fmla="*/ 129504 h 433657"/>
                <a:gd name="connsiteX146" fmla="*/ 211164 w 286971"/>
                <a:gd name="connsiteY146" fmla="*/ 130466 h 433657"/>
                <a:gd name="connsiteX147" fmla="*/ 210461 w 286971"/>
                <a:gd name="connsiteY147" fmla="*/ 150402 h 433657"/>
                <a:gd name="connsiteX148" fmla="*/ 211164 w 286971"/>
                <a:gd name="connsiteY148" fmla="*/ 151102 h 433657"/>
                <a:gd name="connsiteX149" fmla="*/ 226337 w 286971"/>
                <a:gd name="connsiteY149" fmla="*/ 146823 h 433657"/>
                <a:gd name="connsiteX150" fmla="*/ 231683 w 286971"/>
                <a:gd name="connsiteY150" fmla="*/ 148256 h 433657"/>
                <a:gd name="connsiteX151" fmla="*/ 232526 w 286971"/>
                <a:gd name="connsiteY151" fmla="*/ 148604 h 433657"/>
                <a:gd name="connsiteX152" fmla="*/ 233245 w 286971"/>
                <a:gd name="connsiteY152" fmla="*/ 156056 h 433657"/>
                <a:gd name="connsiteX153" fmla="*/ 230716 w 286971"/>
                <a:gd name="connsiteY153" fmla="*/ 154623 h 433657"/>
                <a:gd name="connsiteX154" fmla="*/ 230984 w 286971"/>
                <a:gd name="connsiteY154" fmla="*/ 153354 h 433657"/>
                <a:gd name="connsiteX155" fmla="*/ 230984 w 286971"/>
                <a:gd name="connsiteY155" fmla="*/ 153354 h 433657"/>
                <a:gd name="connsiteX156" fmla="*/ 230449 w 286971"/>
                <a:gd name="connsiteY156" fmla="*/ 154398 h 433657"/>
                <a:gd name="connsiteX157" fmla="*/ 225700 w 286971"/>
                <a:gd name="connsiteY157" fmla="*/ 152883 h 433657"/>
                <a:gd name="connsiteX158" fmla="*/ 214947 w 286971"/>
                <a:gd name="connsiteY158" fmla="*/ 156015 h 433657"/>
                <a:gd name="connsiteX159" fmla="*/ 213816 w 286971"/>
                <a:gd name="connsiteY159" fmla="*/ 157059 h 433657"/>
                <a:gd name="connsiteX160" fmla="*/ 213549 w 286971"/>
                <a:gd name="connsiteY160" fmla="*/ 157346 h 433657"/>
                <a:gd name="connsiteX161" fmla="*/ 212829 w 286971"/>
                <a:gd name="connsiteY161" fmla="*/ 158103 h 433657"/>
                <a:gd name="connsiteX162" fmla="*/ 209807 w 286971"/>
                <a:gd name="connsiteY162" fmla="*/ 165227 h 433657"/>
                <a:gd name="connsiteX163" fmla="*/ 213487 w 286971"/>
                <a:gd name="connsiteY163" fmla="*/ 176569 h 433657"/>
                <a:gd name="connsiteX164" fmla="*/ 226275 w 286971"/>
                <a:gd name="connsiteY164" fmla="*/ 173477 h 433657"/>
                <a:gd name="connsiteX165" fmla="*/ 234109 w 286971"/>
                <a:gd name="connsiteY165" fmla="*/ 176425 h 433657"/>
                <a:gd name="connsiteX166" fmla="*/ 234767 w 286971"/>
                <a:gd name="connsiteY166" fmla="*/ 176855 h 433657"/>
                <a:gd name="connsiteX167" fmla="*/ 234767 w 286971"/>
                <a:gd name="connsiteY167" fmla="*/ 177633 h 433657"/>
                <a:gd name="connsiteX168" fmla="*/ 234890 w 286971"/>
                <a:gd name="connsiteY168" fmla="*/ 181728 h 433657"/>
                <a:gd name="connsiteX169" fmla="*/ 234890 w 286971"/>
                <a:gd name="connsiteY169" fmla="*/ 185351 h 433657"/>
                <a:gd name="connsiteX170" fmla="*/ 232258 w 286971"/>
                <a:gd name="connsiteY170" fmla="*/ 182854 h 433657"/>
                <a:gd name="connsiteX171" fmla="*/ 231210 w 286971"/>
                <a:gd name="connsiteY171" fmla="*/ 182035 h 433657"/>
                <a:gd name="connsiteX172" fmla="*/ 230881 w 286971"/>
                <a:gd name="connsiteY172" fmla="*/ 181809 h 433657"/>
                <a:gd name="connsiteX173" fmla="*/ 225391 w 286971"/>
                <a:gd name="connsiteY173" fmla="*/ 179639 h 433657"/>
                <a:gd name="connsiteX174" fmla="*/ 216736 w 286971"/>
                <a:gd name="connsiteY174" fmla="*/ 181830 h 433657"/>
                <a:gd name="connsiteX175" fmla="*/ 215543 w 286971"/>
                <a:gd name="connsiteY175" fmla="*/ 182731 h 433657"/>
                <a:gd name="connsiteX176" fmla="*/ 214762 w 286971"/>
                <a:gd name="connsiteY176" fmla="*/ 183550 h 433657"/>
                <a:gd name="connsiteX177" fmla="*/ 211226 w 286971"/>
                <a:gd name="connsiteY177" fmla="*/ 191022 h 433657"/>
                <a:gd name="connsiteX178" fmla="*/ 213487 w 286971"/>
                <a:gd name="connsiteY178" fmla="*/ 200173 h 433657"/>
                <a:gd name="connsiteX179" fmla="*/ 222821 w 286971"/>
                <a:gd name="connsiteY179" fmla="*/ 198924 h 433657"/>
                <a:gd name="connsiteX180" fmla="*/ 231868 w 286971"/>
                <a:gd name="connsiteY180" fmla="*/ 202670 h 433657"/>
                <a:gd name="connsiteX181" fmla="*/ 234397 w 286971"/>
                <a:gd name="connsiteY181" fmla="*/ 200623 h 433657"/>
                <a:gd name="connsiteX182" fmla="*/ 233924 w 286971"/>
                <a:gd name="connsiteY182" fmla="*/ 205229 h 433657"/>
                <a:gd name="connsiteX183" fmla="*/ 233698 w 286971"/>
                <a:gd name="connsiteY183" fmla="*/ 207276 h 433657"/>
                <a:gd name="connsiteX184" fmla="*/ 233410 w 286971"/>
                <a:gd name="connsiteY184" fmla="*/ 209323 h 433657"/>
                <a:gd name="connsiteX185" fmla="*/ 232834 w 286971"/>
                <a:gd name="connsiteY185" fmla="*/ 213295 h 433657"/>
                <a:gd name="connsiteX186" fmla="*/ 230634 w 286971"/>
                <a:gd name="connsiteY186" fmla="*/ 210306 h 433657"/>
                <a:gd name="connsiteX187" fmla="*/ 230326 w 286971"/>
                <a:gd name="connsiteY187" fmla="*/ 209856 h 433657"/>
                <a:gd name="connsiteX188" fmla="*/ 230120 w 286971"/>
                <a:gd name="connsiteY188" fmla="*/ 209549 h 433657"/>
                <a:gd name="connsiteX189" fmla="*/ 229154 w 286971"/>
                <a:gd name="connsiteY189" fmla="*/ 208484 h 433657"/>
                <a:gd name="connsiteX190" fmla="*/ 227961 w 286971"/>
                <a:gd name="connsiteY190" fmla="*/ 207481 h 433657"/>
                <a:gd name="connsiteX191" fmla="*/ 222040 w 286971"/>
                <a:gd name="connsiteY191" fmla="*/ 205004 h 433657"/>
                <a:gd name="connsiteX192" fmla="*/ 215872 w 286971"/>
                <a:gd name="connsiteY192" fmla="*/ 205761 h 433657"/>
                <a:gd name="connsiteX193" fmla="*/ 214721 w 286971"/>
                <a:gd name="connsiteY193" fmla="*/ 206335 h 433657"/>
                <a:gd name="connsiteX194" fmla="*/ 213261 w 286971"/>
                <a:gd name="connsiteY194" fmla="*/ 207235 h 433657"/>
                <a:gd name="connsiteX195" fmla="*/ 207977 w 286971"/>
                <a:gd name="connsiteY195" fmla="*/ 220603 h 433657"/>
                <a:gd name="connsiteX196" fmla="*/ 227941 w 286971"/>
                <a:gd name="connsiteY196" fmla="*/ 229140 h 433657"/>
                <a:gd name="connsiteX197" fmla="*/ 228373 w 286971"/>
                <a:gd name="connsiteY197" fmla="*/ 229775 h 433657"/>
                <a:gd name="connsiteX198" fmla="*/ 228126 w 286971"/>
                <a:gd name="connsiteY198" fmla="*/ 230512 h 433657"/>
                <a:gd name="connsiteX199" fmla="*/ 226687 w 286971"/>
                <a:gd name="connsiteY199" fmla="*/ 234258 h 433657"/>
                <a:gd name="connsiteX200" fmla="*/ 225515 w 286971"/>
                <a:gd name="connsiteY200" fmla="*/ 237165 h 433657"/>
                <a:gd name="connsiteX201" fmla="*/ 223459 w 286971"/>
                <a:gd name="connsiteY201" fmla="*/ 233623 h 433657"/>
                <a:gd name="connsiteX202" fmla="*/ 223048 w 286971"/>
                <a:gd name="connsiteY202" fmla="*/ 232866 h 433657"/>
                <a:gd name="connsiteX203" fmla="*/ 208347 w 286971"/>
                <a:gd name="connsiteY203" fmla="*/ 226724 h 433657"/>
                <a:gd name="connsiteX204" fmla="*/ 207463 w 286971"/>
                <a:gd name="connsiteY204" fmla="*/ 226991 h 433657"/>
                <a:gd name="connsiteX205" fmla="*/ 206538 w 286971"/>
                <a:gd name="connsiteY205" fmla="*/ 227298 h 433657"/>
                <a:gd name="connsiteX206" fmla="*/ 205633 w 286971"/>
                <a:gd name="connsiteY206" fmla="*/ 227625 h 433657"/>
                <a:gd name="connsiteX207" fmla="*/ 197080 w 286971"/>
                <a:gd name="connsiteY207" fmla="*/ 241034 h 433657"/>
                <a:gd name="connsiteX208" fmla="*/ 197080 w 286971"/>
                <a:gd name="connsiteY208" fmla="*/ 241996 h 433657"/>
                <a:gd name="connsiteX209" fmla="*/ 213528 w 286971"/>
                <a:gd name="connsiteY209" fmla="*/ 256019 h 433657"/>
                <a:gd name="connsiteX210" fmla="*/ 213775 w 286971"/>
                <a:gd name="connsiteY210" fmla="*/ 256777 h 433657"/>
                <a:gd name="connsiteX211" fmla="*/ 212151 w 286971"/>
                <a:gd name="connsiteY211" fmla="*/ 258824 h 433657"/>
                <a:gd name="connsiteX212" fmla="*/ 211328 w 286971"/>
                <a:gd name="connsiteY212" fmla="*/ 259807 h 433657"/>
                <a:gd name="connsiteX213" fmla="*/ 208697 w 286971"/>
                <a:gd name="connsiteY213" fmla="*/ 262980 h 433657"/>
                <a:gd name="connsiteX214" fmla="*/ 208142 w 286971"/>
                <a:gd name="connsiteY214" fmla="*/ 259704 h 433657"/>
                <a:gd name="connsiteX215" fmla="*/ 207998 w 286971"/>
                <a:gd name="connsiteY215" fmla="*/ 258885 h 433657"/>
                <a:gd name="connsiteX216" fmla="*/ 207545 w 286971"/>
                <a:gd name="connsiteY216" fmla="*/ 257371 h 433657"/>
                <a:gd name="connsiteX217" fmla="*/ 196237 w 286971"/>
                <a:gd name="connsiteY217" fmla="*/ 247995 h 433657"/>
                <a:gd name="connsiteX218" fmla="*/ 194675 w 286971"/>
                <a:gd name="connsiteY218" fmla="*/ 247831 h 433657"/>
                <a:gd name="connsiteX219" fmla="*/ 194284 w 286971"/>
                <a:gd name="connsiteY219" fmla="*/ 247831 h 433657"/>
                <a:gd name="connsiteX220" fmla="*/ 193811 w 286971"/>
                <a:gd name="connsiteY220" fmla="*/ 247831 h 433657"/>
                <a:gd name="connsiteX221" fmla="*/ 193236 w 286971"/>
                <a:gd name="connsiteY221" fmla="*/ 247831 h 433657"/>
                <a:gd name="connsiteX222" fmla="*/ 180180 w 286971"/>
                <a:gd name="connsiteY222" fmla="*/ 260953 h 433657"/>
                <a:gd name="connsiteX223" fmla="*/ 192125 w 286971"/>
                <a:gd name="connsiteY223" fmla="*/ 275775 h 433657"/>
                <a:gd name="connsiteX224" fmla="*/ 192331 w 286971"/>
                <a:gd name="connsiteY224" fmla="*/ 276798 h 433657"/>
                <a:gd name="connsiteX225" fmla="*/ 190933 w 286971"/>
                <a:gd name="connsiteY225" fmla="*/ 277679 h 433657"/>
                <a:gd name="connsiteX226" fmla="*/ 188527 w 286971"/>
                <a:gd name="connsiteY226" fmla="*/ 279153 h 433657"/>
                <a:gd name="connsiteX227" fmla="*/ 186471 w 286971"/>
                <a:gd name="connsiteY227" fmla="*/ 280360 h 433657"/>
                <a:gd name="connsiteX228" fmla="*/ 186286 w 286971"/>
                <a:gd name="connsiteY228" fmla="*/ 277965 h 433657"/>
                <a:gd name="connsiteX229" fmla="*/ 186286 w 286971"/>
                <a:gd name="connsiteY229" fmla="*/ 277249 h 433657"/>
                <a:gd name="connsiteX230" fmla="*/ 178288 w 286971"/>
                <a:gd name="connsiteY230" fmla="*/ 266788 h 433657"/>
                <a:gd name="connsiteX231" fmla="*/ 176788 w 286971"/>
                <a:gd name="connsiteY231" fmla="*/ 266214 h 433657"/>
                <a:gd name="connsiteX232" fmla="*/ 176356 w 286971"/>
                <a:gd name="connsiteY232" fmla="*/ 266071 h 433657"/>
                <a:gd name="connsiteX233" fmla="*/ 175307 w 286971"/>
                <a:gd name="connsiteY233" fmla="*/ 265744 h 433657"/>
                <a:gd name="connsiteX234" fmla="*/ 159620 w 286971"/>
                <a:gd name="connsiteY234" fmla="*/ 273646 h 433657"/>
                <a:gd name="connsiteX235" fmla="*/ 165603 w 286971"/>
                <a:gd name="connsiteY235" fmla="*/ 287792 h 433657"/>
                <a:gd name="connsiteX236" fmla="*/ 165603 w 286971"/>
                <a:gd name="connsiteY236" fmla="*/ 288958 h 433657"/>
                <a:gd name="connsiteX237" fmla="*/ 163711 w 286971"/>
                <a:gd name="connsiteY237" fmla="*/ 289491 h 433657"/>
                <a:gd name="connsiteX238" fmla="*/ 161347 w 286971"/>
                <a:gd name="connsiteY238" fmla="*/ 290166 h 433657"/>
                <a:gd name="connsiteX239" fmla="*/ 159291 w 286971"/>
                <a:gd name="connsiteY239" fmla="*/ 290678 h 433657"/>
                <a:gd name="connsiteX240" fmla="*/ 159291 w 286971"/>
                <a:gd name="connsiteY240" fmla="*/ 288631 h 433657"/>
                <a:gd name="connsiteX241" fmla="*/ 160730 w 286971"/>
                <a:gd name="connsiteY241" fmla="*/ 288344 h 433657"/>
                <a:gd name="connsiteX242" fmla="*/ 159312 w 286971"/>
                <a:gd name="connsiteY242" fmla="*/ 288344 h 433657"/>
                <a:gd name="connsiteX243" fmla="*/ 155590 w 286971"/>
                <a:gd name="connsiteY243" fmla="*/ 278559 h 433657"/>
                <a:gd name="connsiteX244" fmla="*/ 154357 w 286971"/>
                <a:gd name="connsiteY244" fmla="*/ 277331 h 433657"/>
                <a:gd name="connsiteX245" fmla="*/ 154110 w 286971"/>
                <a:gd name="connsiteY245" fmla="*/ 277105 h 433657"/>
                <a:gd name="connsiteX246" fmla="*/ 153164 w 286971"/>
                <a:gd name="connsiteY246" fmla="*/ 276307 h 433657"/>
                <a:gd name="connsiteX247" fmla="*/ 135113 w 286971"/>
                <a:gd name="connsiteY247" fmla="*/ 278088 h 433657"/>
                <a:gd name="connsiteX248" fmla="*/ 140664 w 286971"/>
                <a:gd name="connsiteY248" fmla="*/ 292295 h 433657"/>
                <a:gd name="connsiteX249" fmla="*/ 140664 w 286971"/>
                <a:gd name="connsiteY249" fmla="*/ 293667 h 433657"/>
                <a:gd name="connsiteX250" fmla="*/ 138340 w 286971"/>
                <a:gd name="connsiteY250" fmla="*/ 294035 h 433657"/>
                <a:gd name="connsiteX251" fmla="*/ 136120 w 286971"/>
                <a:gd name="connsiteY251" fmla="*/ 294220 h 433657"/>
                <a:gd name="connsiteX252" fmla="*/ 134455 w 286971"/>
                <a:gd name="connsiteY252" fmla="*/ 294343 h 433657"/>
                <a:gd name="connsiteX253" fmla="*/ 134455 w 286971"/>
                <a:gd name="connsiteY253" fmla="*/ 292295 h 433657"/>
                <a:gd name="connsiteX254" fmla="*/ 130178 w 286971"/>
                <a:gd name="connsiteY254" fmla="*/ 281752 h 433657"/>
                <a:gd name="connsiteX255" fmla="*/ 129376 w 286971"/>
                <a:gd name="connsiteY255" fmla="*/ 281077 h 433657"/>
                <a:gd name="connsiteX256" fmla="*/ 128760 w 286971"/>
                <a:gd name="connsiteY256" fmla="*/ 280565 h 433657"/>
                <a:gd name="connsiteX257" fmla="*/ 127937 w 286971"/>
                <a:gd name="connsiteY257" fmla="*/ 279930 h 433657"/>
                <a:gd name="connsiteX258" fmla="*/ 109639 w 286971"/>
                <a:gd name="connsiteY258" fmla="*/ 282612 h 433657"/>
                <a:gd name="connsiteX259" fmla="*/ 111057 w 286971"/>
                <a:gd name="connsiteY259" fmla="*/ 289962 h 433657"/>
                <a:gd name="connsiteX260" fmla="*/ 110852 w 286971"/>
                <a:gd name="connsiteY260" fmla="*/ 292787 h 433657"/>
                <a:gd name="connsiteX261" fmla="*/ 110646 w 286971"/>
                <a:gd name="connsiteY261" fmla="*/ 294179 h 433657"/>
                <a:gd name="connsiteX262" fmla="*/ 108076 w 286971"/>
                <a:gd name="connsiteY262" fmla="*/ 294015 h 433657"/>
                <a:gd name="connsiteX263" fmla="*/ 106020 w 286971"/>
                <a:gd name="connsiteY263" fmla="*/ 293872 h 433657"/>
                <a:gd name="connsiteX264" fmla="*/ 104375 w 286971"/>
                <a:gd name="connsiteY264" fmla="*/ 293728 h 433657"/>
                <a:gd name="connsiteX265" fmla="*/ 104643 w 286971"/>
                <a:gd name="connsiteY265" fmla="*/ 292132 h 433657"/>
                <a:gd name="connsiteX266" fmla="*/ 104828 w 286971"/>
                <a:gd name="connsiteY266" fmla="*/ 289962 h 433657"/>
                <a:gd name="connsiteX267" fmla="*/ 104273 w 286971"/>
                <a:gd name="connsiteY267" fmla="*/ 286256 h 433657"/>
                <a:gd name="connsiteX268" fmla="*/ 103615 w 286971"/>
                <a:gd name="connsiteY268" fmla="*/ 284352 h 433657"/>
                <a:gd name="connsiteX269" fmla="*/ 102854 w 286971"/>
                <a:gd name="connsiteY269" fmla="*/ 282919 h 433657"/>
                <a:gd name="connsiteX270" fmla="*/ 91731 w 286971"/>
                <a:gd name="connsiteY270" fmla="*/ 276430 h 433657"/>
                <a:gd name="connsiteX271" fmla="*/ 84083 w 286971"/>
                <a:gd name="connsiteY271" fmla="*/ 279071 h 433657"/>
                <a:gd name="connsiteX272" fmla="*/ 84700 w 286971"/>
                <a:gd name="connsiteY272" fmla="*/ 281691 h 433657"/>
                <a:gd name="connsiteX273" fmla="*/ 85008 w 286971"/>
                <a:gd name="connsiteY273" fmla="*/ 285069 h 433657"/>
                <a:gd name="connsiteX274" fmla="*/ 85008 w 286971"/>
                <a:gd name="connsiteY274" fmla="*/ 285478 h 433657"/>
                <a:gd name="connsiteX275" fmla="*/ 85008 w 286971"/>
                <a:gd name="connsiteY275" fmla="*/ 286031 h 433657"/>
                <a:gd name="connsiteX276" fmla="*/ 84658 w 286971"/>
                <a:gd name="connsiteY276" fmla="*/ 288467 h 433657"/>
                <a:gd name="connsiteX277" fmla="*/ 82602 w 286971"/>
                <a:gd name="connsiteY277" fmla="*/ 287259 h 433657"/>
                <a:gd name="connsiteX278" fmla="*/ 78902 w 286971"/>
                <a:gd name="connsiteY278" fmla="*/ 284721 h 433657"/>
                <a:gd name="connsiteX279" fmla="*/ 78737 w 286971"/>
                <a:gd name="connsiteY279" fmla="*/ 283185 h 433657"/>
                <a:gd name="connsiteX280" fmla="*/ 78429 w 286971"/>
                <a:gd name="connsiteY280" fmla="*/ 281609 h 433657"/>
                <a:gd name="connsiteX281" fmla="*/ 77935 w 286971"/>
                <a:gd name="connsiteY281" fmla="*/ 280012 h 433657"/>
                <a:gd name="connsiteX282" fmla="*/ 77380 w 286971"/>
                <a:gd name="connsiteY282" fmla="*/ 278866 h 433657"/>
                <a:gd name="connsiteX283" fmla="*/ 77236 w 286971"/>
                <a:gd name="connsiteY283" fmla="*/ 278600 h 433657"/>
                <a:gd name="connsiteX284" fmla="*/ 77236 w 286971"/>
                <a:gd name="connsiteY284" fmla="*/ 278416 h 433657"/>
                <a:gd name="connsiteX285" fmla="*/ 72590 w 286971"/>
                <a:gd name="connsiteY285" fmla="*/ 273502 h 433657"/>
                <a:gd name="connsiteX286" fmla="*/ 68169 w 286971"/>
                <a:gd name="connsiteY286" fmla="*/ 271783 h 433657"/>
                <a:gd name="connsiteX287" fmla="*/ 65928 w 286971"/>
                <a:gd name="connsiteY287" fmla="*/ 271537 h 433657"/>
                <a:gd name="connsiteX288" fmla="*/ 59267 w 286971"/>
                <a:gd name="connsiteY288" fmla="*/ 273584 h 433657"/>
                <a:gd name="connsiteX289" fmla="*/ 58465 w 286971"/>
                <a:gd name="connsiteY289" fmla="*/ 274076 h 433657"/>
                <a:gd name="connsiteX290" fmla="*/ 52914 w 286971"/>
                <a:gd name="connsiteY290" fmla="*/ 270636 h 433657"/>
                <a:gd name="connsiteX291" fmla="*/ 54723 w 286971"/>
                <a:gd name="connsiteY291" fmla="*/ 269306 h 433657"/>
                <a:gd name="connsiteX292" fmla="*/ 59000 w 286971"/>
                <a:gd name="connsiteY292" fmla="*/ 266890 h 433657"/>
                <a:gd name="connsiteX293" fmla="*/ 54641 w 286971"/>
                <a:gd name="connsiteY293" fmla="*/ 265334 h 433657"/>
                <a:gd name="connsiteX294" fmla="*/ 43785 w 286971"/>
                <a:gd name="connsiteY294" fmla="*/ 263881 h 433657"/>
                <a:gd name="connsiteX295" fmla="*/ 7600 w 286971"/>
                <a:gd name="connsiteY295" fmla="*/ 286666 h 433657"/>
                <a:gd name="connsiteX296" fmla="*/ 9944 w 286971"/>
                <a:gd name="connsiteY296" fmla="*/ 352359 h 433657"/>
                <a:gd name="connsiteX297" fmla="*/ 11362 w 286971"/>
                <a:gd name="connsiteY297" fmla="*/ 353670 h 433657"/>
                <a:gd name="connsiteX298" fmla="*/ 12863 w 286971"/>
                <a:gd name="connsiteY298" fmla="*/ 354959 h 433657"/>
                <a:gd name="connsiteX299" fmla="*/ 24808 w 286971"/>
                <a:gd name="connsiteY299" fmla="*/ 361920 h 433657"/>
                <a:gd name="connsiteX300" fmla="*/ 26206 w 286971"/>
                <a:gd name="connsiteY300" fmla="*/ 362493 h 433657"/>
                <a:gd name="connsiteX301" fmla="*/ 23904 w 286971"/>
                <a:gd name="connsiteY301" fmla="*/ 368143 h 433657"/>
                <a:gd name="connsiteX302" fmla="*/ 22506 w 286971"/>
                <a:gd name="connsiteY302" fmla="*/ 367570 h 433657"/>
                <a:gd name="connsiteX303" fmla="*/ 12226 w 286971"/>
                <a:gd name="connsiteY303" fmla="*/ 361940 h 433657"/>
                <a:gd name="connsiteX304" fmla="*/ 19010 w 286971"/>
                <a:gd name="connsiteY304" fmla="*/ 388123 h 433657"/>
                <a:gd name="connsiteX305" fmla="*/ 24932 w 286971"/>
                <a:gd name="connsiteY305" fmla="*/ 394265 h 433657"/>
                <a:gd name="connsiteX306" fmla="*/ 25795 w 286971"/>
                <a:gd name="connsiteY306" fmla="*/ 395145 h 433657"/>
                <a:gd name="connsiteX307" fmla="*/ 29907 w 286971"/>
                <a:gd name="connsiteY307" fmla="*/ 399567 h 433657"/>
                <a:gd name="connsiteX308" fmla="*/ 36343 w 286971"/>
                <a:gd name="connsiteY308" fmla="*/ 423908 h 433657"/>
                <a:gd name="connsiteX309" fmla="*/ 37638 w 286971"/>
                <a:gd name="connsiteY309" fmla="*/ 432301 h 433657"/>
                <a:gd name="connsiteX310" fmla="*/ 44114 w 286971"/>
                <a:gd name="connsiteY310" fmla="*/ 433612 h 433657"/>
                <a:gd name="connsiteX311" fmla="*/ 50015 w 286971"/>
                <a:gd name="connsiteY311" fmla="*/ 432342 h 433657"/>
                <a:gd name="connsiteX312" fmla="*/ 50508 w 286971"/>
                <a:gd name="connsiteY312" fmla="*/ 426917 h 433657"/>
                <a:gd name="connsiteX313" fmla="*/ 58547 w 286971"/>
                <a:gd name="connsiteY313" fmla="*/ 399649 h 433657"/>
                <a:gd name="connsiteX314" fmla="*/ 68992 w 286971"/>
                <a:gd name="connsiteY314" fmla="*/ 376966 h 433657"/>
                <a:gd name="connsiteX315" fmla="*/ 70760 w 286971"/>
                <a:gd name="connsiteY315" fmla="*/ 354325 h 433657"/>
                <a:gd name="connsiteX316" fmla="*/ 64592 w 286971"/>
                <a:gd name="connsiteY316" fmla="*/ 358644 h 433657"/>
                <a:gd name="connsiteX317" fmla="*/ 63297 w 286971"/>
                <a:gd name="connsiteY317" fmla="*/ 359422 h 433657"/>
                <a:gd name="connsiteX318" fmla="*/ 60110 w 286971"/>
                <a:gd name="connsiteY318" fmla="*/ 354202 h 433657"/>
                <a:gd name="connsiteX319" fmla="*/ 61426 w 286971"/>
                <a:gd name="connsiteY319" fmla="*/ 353403 h 433657"/>
                <a:gd name="connsiteX320" fmla="*/ 69938 w 286971"/>
                <a:gd name="connsiteY320" fmla="*/ 346832 h 433657"/>
                <a:gd name="connsiteX321" fmla="*/ 71109 w 286971"/>
                <a:gd name="connsiteY321" fmla="*/ 345645 h 433657"/>
                <a:gd name="connsiteX322" fmla="*/ 72281 w 286971"/>
                <a:gd name="connsiteY322" fmla="*/ 344375 h 433657"/>
                <a:gd name="connsiteX323" fmla="*/ 72569 w 286971"/>
                <a:gd name="connsiteY323" fmla="*/ 344068 h 433657"/>
                <a:gd name="connsiteX324" fmla="*/ 64839 w 286971"/>
                <a:gd name="connsiteY324" fmla="*/ 332993 h 433657"/>
                <a:gd name="connsiteX325" fmla="*/ 47178 w 286971"/>
                <a:gd name="connsiteY325" fmla="*/ 330311 h 433657"/>
                <a:gd name="connsiteX326" fmla="*/ 47178 w 286971"/>
                <a:gd name="connsiteY326" fmla="*/ 330414 h 433657"/>
                <a:gd name="connsiteX327" fmla="*/ 45944 w 286971"/>
                <a:gd name="connsiteY327" fmla="*/ 329492 h 433657"/>
                <a:gd name="connsiteX328" fmla="*/ 45163 w 286971"/>
                <a:gd name="connsiteY328" fmla="*/ 328858 h 433657"/>
                <a:gd name="connsiteX329" fmla="*/ 41770 w 286971"/>
                <a:gd name="connsiteY329" fmla="*/ 325705 h 433657"/>
                <a:gd name="connsiteX330" fmla="*/ 34451 w 286971"/>
                <a:gd name="connsiteY330" fmla="*/ 316370 h 433657"/>
                <a:gd name="connsiteX331" fmla="*/ 33649 w 286971"/>
                <a:gd name="connsiteY331" fmla="*/ 315101 h 433657"/>
                <a:gd name="connsiteX332" fmla="*/ 38563 w 286971"/>
                <a:gd name="connsiteY332" fmla="*/ 311948 h 433657"/>
                <a:gd name="connsiteX333" fmla="*/ 39632 w 286971"/>
                <a:gd name="connsiteY333" fmla="*/ 313074 h 433657"/>
                <a:gd name="connsiteX334" fmla="*/ 46273 w 286971"/>
                <a:gd name="connsiteY334" fmla="*/ 321263 h 433657"/>
                <a:gd name="connsiteX335" fmla="*/ 49419 w 286971"/>
                <a:gd name="connsiteY335" fmla="*/ 324211 h 433657"/>
                <a:gd name="connsiteX336" fmla="*/ 65229 w 286971"/>
                <a:gd name="connsiteY336" fmla="*/ 326667 h 433657"/>
                <a:gd name="connsiteX337" fmla="*/ 66627 w 286971"/>
                <a:gd name="connsiteY337" fmla="*/ 326135 h 433657"/>
                <a:gd name="connsiteX338" fmla="*/ 68005 w 286971"/>
                <a:gd name="connsiteY338" fmla="*/ 325460 h 433657"/>
                <a:gd name="connsiteX339" fmla="*/ 71130 w 286971"/>
                <a:gd name="connsiteY339" fmla="*/ 323208 h 433657"/>
                <a:gd name="connsiteX340" fmla="*/ 71994 w 286971"/>
                <a:gd name="connsiteY340" fmla="*/ 322450 h 433657"/>
                <a:gd name="connsiteX341" fmla="*/ 77195 w 286971"/>
                <a:gd name="connsiteY341" fmla="*/ 325869 h 433657"/>
                <a:gd name="connsiteX342" fmla="*/ 75818 w 286971"/>
                <a:gd name="connsiteY342" fmla="*/ 327179 h 433657"/>
                <a:gd name="connsiteX343" fmla="*/ 70965 w 286971"/>
                <a:gd name="connsiteY343" fmla="*/ 330782 h 433657"/>
                <a:gd name="connsiteX344" fmla="*/ 80752 w 286971"/>
                <a:gd name="connsiteY344" fmla="*/ 341673 h 433657"/>
                <a:gd name="connsiteX345" fmla="*/ 82130 w 286971"/>
                <a:gd name="connsiteY345" fmla="*/ 342185 h 433657"/>
                <a:gd name="connsiteX346" fmla="*/ 83507 w 286971"/>
                <a:gd name="connsiteY346" fmla="*/ 342574 h 433657"/>
                <a:gd name="connsiteX347" fmla="*/ 98207 w 286971"/>
                <a:gd name="connsiteY347" fmla="*/ 339319 h 433657"/>
                <a:gd name="connsiteX348" fmla="*/ 99359 w 286971"/>
                <a:gd name="connsiteY348" fmla="*/ 338336 h 433657"/>
                <a:gd name="connsiteX349" fmla="*/ 100469 w 286971"/>
                <a:gd name="connsiteY349" fmla="*/ 337190 h 433657"/>
                <a:gd name="connsiteX350" fmla="*/ 104787 w 286971"/>
                <a:gd name="connsiteY350" fmla="*/ 325848 h 433657"/>
                <a:gd name="connsiteX351" fmla="*/ 104560 w 286971"/>
                <a:gd name="connsiteY351" fmla="*/ 323392 h 433657"/>
                <a:gd name="connsiteX352" fmla="*/ 104252 w 286971"/>
                <a:gd name="connsiteY352" fmla="*/ 321345 h 433657"/>
                <a:gd name="connsiteX353" fmla="*/ 106308 w 286971"/>
                <a:gd name="connsiteY353" fmla="*/ 321672 h 433657"/>
                <a:gd name="connsiteX354" fmla="*/ 109515 w 286971"/>
                <a:gd name="connsiteY354" fmla="*/ 322143 h 433657"/>
                <a:gd name="connsiteX355" fmla="*/ 110687 w 286971"/>
                <a:gd name="connsiteY355" fmla="*/ 322307 h 433657"/>
                <a:gd name="connsiteX356" fmla="*/ 110811 w 286971"/>
                <a:gd name="connsiteY356" fmla="*/ 323474 h 433657"/>
                <a:gd name="connsiteX357" fmla="*/ 110934 w 286971"/>
                <a:gd name="connsiteY357" fmla="*/ 325828 h 433657"/>
                <a:gd name="connsiteX358" fmla="*/ 104766 w 286971"/>
                <a:gd name="connsiteY358" fmla="*/ 341530 h 433657"/>
                <a:gd name="connsiteX359" fmla="*/ 130306 w 286971"/>
                <a:gd name="connsiteY359" fmla="*/ 347957 h 433657"/>
                <a:gd name="connsiteX360" fmla="*/ 138382 w 286971"/>
                <a:gd name="connsiteY360" fmla="*/ 338050 h 433657"/>
                <a:gd name="connsiteX361" fmla="*/ 138957 w 286971"/>
                <a:gd name="connsiteY361" fmla="*/ 336002 h 433657"/>
                <a:gd name="connsiteX362" fmla="*/ 139348 w 286971"/>
                <a:gd name="connsiteY362" fmla="*/ 333157 h 433657"/>
                <a:gd name="connsiteX363" fmla="*/ 139348 w 286971"/>
                <a:gd name="connsiteY363" fmla="*/ 332850 h 433657"/>
                <a:gd name="connsiteX364" fmla="*/ 139348 w 286971"/>
                <a:gd name="connsiteY364" fmla="*/ 331949 h 433657"/>
                <a:gd name="connsiteX365" fmla="*/ 138464 w 286971"/>
                <a:gd name="connsiteY365" fmla="*/ 326319 h 433657"/>
                <a:gd name="connsiteX366" fmla="*/ 138258 w 286971"/>
                <a:gd name="connsiteY366" fmla="*/ 325828 h 433657"/>
                <a:gd name="connsiteX367" fmla="*/ 137312 w 286971"/>
                <a:gd name="connsiteY367" fmla="*/ 323433 h 433657"/>
                <a:gd name="connsiteX368" fmla="*/ 139368 w 286971"/>
                <a:gd name="connsiteY368" fmla="*/ 323290 h 433657"/>
                <a:gd name="connsiteX369" fmla="*/ 142555 w 286971"/>
                <a:gd name="connsiteY369" fmla="*/ 323044 h 433657"/>
                <a:gd name="connsiteX370" fmla="*/ 143748 w 286971"/>
                <a:gd name="connsiteY370" fmla="*/ 322921 h 433657"/>
                <a:gd name="connsiteX371" fmla="*/ 144118 w 286971"/>
                <a:gd name="connsiteY371" fmla="*/ 324047 h 433657"/>
                <a:gd name="connsiteX372" fmla="*/ 145495 w 286971"/>
                <a:gd name="connsiteY372" fmla="*/ 331949 h 433657"/>
                <a:gd name="connsiteX373" fmla="*/ 144755 w 286971"/>
                <a:gd name="connsiteY373" fmla="*/ 337804 h 433657"/>
                <a:gd name="connsiteX374" fmla="*/ 170695 w 286971"/>
                <a:gd name="connsiteY374" fmla="*/ 342378 h 433657"/>
                <a:gd name="connsiteX375" fmla="*/ 178371 w 286971"/>
                <a:gd name="connsiteY375" fmla="*/ 330373 h 433657"/>
                <a:gd name="connsiteX376" fmla="*/ 178617 w 286971"/>
                <a:gd name="connsiteY376" fmla="*/ 328326 h 433657"/>
                <a:gd name="connsiteX377" fmla="*/ 178617 w 286971"/>
                <a:gd name="connsiteY377" fmla="*/ 327097 h 433657"/>
                <a:gd name="connsiteX378" fmla="*/ 178617 w 286971"/>
                <a:gd name="connsiteY378" fmla="*/ 325808 h 433657"/>
                <a:gd name="connsiteX379" fmla="*/ 176191 w 286971"/>
                <a:gd name="connsiteY379" fmla="*/ 317865 h 433657"/>
                <a:gd name="connsiteX380" fmla="*/ 175040 w 286971"/>
                <a:gd name="connsiteY380" fmla="*/ 316002 h 433657"/>
                <a:gd name="connsiteX381" fmla="*/ 176767 w 286971"/>
                <a:gd name="connsiteY381" fmla="*/ 315367 h 433657"/>
                <a:gd name="connsiteX382" fmla="*/ 179440 w 286971"/>
                <a:gd name="connsiteY382" fmla="*/ 314343 h 433657"/>
                <a:gd name="connsiteX383" fmla="*/ 180653 w 286971"/>
                <a:gd name="connsiteY383" fmla="*/ 313873 h 433657"/>
                <a:gd name="connsiteX384" fmla="*/ 181558 w 286971"/>
                <a:gd name="connsiteY384" fmla="*/ 314917 h 433657"/>
                <a:gd name="connsiteX385" fmla="*/ 184806 w 286971"/>
                <a:gd name="connsiteY385" fmla="*/ 327097 h 433657"/>
                <a:gd name="connsiteX386" fmla="*/ 184806 w 286971"/>
                <a:gd name="connsiteY386" fmla="*/ 329022 h 433657"/>
                <a:gd name="connsiteX387" fmla="*/ 211144 w 286971"/>
                <a:gd name="connsiteY387" fmla="*/ 328509 h 433657"/>
                <a:gd name="connsiteX388" fmla="*/ 216345 w 286971"/>
                <a:gd name="connsiteY388" fmla="*/ 315613 h 433657"/>
                <a:gd name="connsiteX389" fmla="*/ 216345 w 286971"/>
                <a:gd name="connsiteY389" fmla="*/ 314937 h 433657"/>
                <a:gd name="connsiteX390" fmla="*/ 216222 w 286971"/>
                <a:gd name="connsiteY390" fmla="*/ 313238 h 433657"/>
                <a:gd name="connsiteX391" fmla="*/ 215872 w 286971"/>
                <a:gd name="connsiteY391" fmla="*/ 311355 h 433657"/>
                <a:gd name="connsiteX392" fmla="*/ 209170 w 286971"/>
                <a:gd name="connsiteY392" fmla="*/ 301119 h 433657"/>
                <a:gd name="connsiteX393" fmla="*/ 207545 w 286971"/>
                <a:gd name="connsiteY393" fmla="*/ 299849 h 433657"/>
                <a:gd name="connsiteX394" fmla="*/ 209231 w 286971"/>
                <a:gd name="connsiteY394" fmla="*/ 298683 h 433657"/>
                <a:gd name="connsiteX395" fmla="*/ 211842 w 286971"/>
                <a:gd name="connsiteY395" fmla="*/ 296820 h 433657"/>
                <a:gd name="connsiteX396" fmla="*/ 212809 w 286971"/>
                <a:gd name="connsiteY396" fmla="*/ 296103 h 433657"/>
                <a:gd name="connsiteX397" fmla="*/ 213713 w 286971"/>
                <a:gd name="connsiteY397" fmla="*/ 296881 h 433657"/>
                <a:gd name="connsiteX398" fmla="*/ 222205 w 286971"/>
                <a:gd name="connsiteY398" fmla="*/ 311825 h 433657"/>
                <a:gd name="connsiteX399" fmla="*/ 228537 w 286971"/>
                <a:gd name="connsiteY399" fmla="*/ 312931 h 433657"/>
                <a:gd name="connsiteX400" fmla="*/ 247180 w 286971"/>
                <a:gd name="connsiteY400" fmla="*/ 294358 h 433657"/>
                <a:gd name="connsiteX401" fmla="*/ 246753 w 286971"/>
                <a:gd name="connsiteY401" fmla="*/ 290412 h 433657"/>
                <a:gd name="connsiteX402" fmla="*/ 246321 w 286971"/>
                <a:gd name="connsiteY402" fmla="*/ 288795 h 433657"/>
                <a:gd name="connsiteX403" fmla="*/ 245663 w 286971"/>
                <a:gd name="connsiteY403" fmla="*/ 287034 h 433657"/>
                <a:gd name="connsiteX404" fmla="*/ 235383 w 286971"/>
                <a:gd name="connsiteY404" fmla="*/ 277146 h 433657"/>
                <a:gd name="connsiteX405" fmla="*/ 232834 w 286971"/>
                <a:gd name="connsiteY405" fmla="*/ 276246 h 433657"/>
                <a:gd name="connsiteX406" fmla="*/ 234047 w 286971"/>
                <a:gd name="connsiteY406" fmla="*/ 274608 h 433657"/>
                <a:gd name="connsiteX407" fmla="*/ 235281 w 286971"/>
                <a:gd name="connsiteY407" fmla="*/ 272847 h 433657"/>
                <a:gd name="connsiteX408" fmla="*/ 236535 w 286971"/>
                <a:gd name="connsiteY408" fmla="*/ 271066 h 433657"/>
                <a:gd name="connsiteX409" fmla="*/ 237645 w 286971"/>
                <a:gd name="connsiteY409" fmla="*/ 271496 h 433657"/>
                <a:gd name="connsiteX410" fmla="*/ 251852 w 286971"/>
                <a:gd name="connsiteY410" fmla="*/ 286174 h 433657"/>
                <a:gd name="connsiteX411" fmla="*/ 272927 w 286971"/>
                <a:gd name="connsiteY411" fmla="*/ 270389 h 433657"/>
                <a:gd name="connsiteX412" fmla="*/ 273111 w 286971"/>
                <a:gd name="connsiteY412" fmla="*/ 267750 h 433657"/>
                <a:gd name="connsiteX413" fmla="*/ 271528 w 286971"/>
                <a:gd name="connsiteY413" fmla="*/ 260298 h 433657"/>
                <a:gd name="connsiteX414" fmla="*/ 270911 w 286971"/>
                <a:gd name="connsiteY414" fmla="*/ 258988 h 433657"/>
                <a:gd name="connsiteX415" fmla="*/ 270150 w 286971"/>
                <a:gd name="connsiteY415" fmla="*/ 257739 h 433657"/>
                <a:gd name="connsiteX416" fmla="*/ 254463 w 286971"/>
                <a:gd name="connsiteY416" fmla="*/ 249161 h 433657"/>
                <a:gd name="connsiteX417" fmla="*/ 250618 w 286971"/>
                <a:gd name="connsiteY417" fmla="*/ 249612 h 433657"/>
                <a:gd name="connsiteX418" fmla="*/ 247843 w 286971"/>
                <a:gd name="connsiteY418" fmla="*/ 250205 h 433657"/>
                <a:gd name="connsiteX419" fmla="*/ 249159 w 286971"/>
                <a:gd name="connsiteY419" fmla="*/ 246889 h 433657"/>
                <a:gd name="connsiteX420" fmla="*/ 250187 w 286971"/>
                <a:gd name="connsiteY420" fmla="*/ 244248 h 433657"/>
                <a:gd name="connsiteX421" fmla="*/ 250516 w 286971"/>
                <a:gd name="connsiteY421" fmla="*/ 243388 h 433657"/>
                <a:gd name="connsiteX422" fmla="*/ 251420 w 286971"/>
                <a:gd name="connsiteY422" fmla="*/ 243266 h 433657"/>
                <a:gd name="connsiteX423" fmla="*/ 254463 w 286971"/>
                <a:gd name="connsiteY423" fmla="*/ 243061 h 433657"/>
                <a:gd name="connsiteX424" fmla="*/ 274817 w 286971"/>
                <a:gd name="connsiteY424" fmla="*/ 253706 h 433657"/>
                <a:gd name="connsiteX425" fmla="*/ 280348 w 286971"/>
                <a:gd name="connsiteY425" fmla="*/ 231064 h 433657"/>
                <a:gd name="connsiteX426" fmla="*/ 279567 w 286971"/>
                <a:gd name="connsiteY426" fmla="*/ 229898 h 433657"/>
                <a:gd name="connsiteX427" fmla="*/ 279176 w 286971"/>
                <a:gd name="connsiteY427" fmla="*/ 229345 h 433657"/>
                <a:gd name="connsiteX428" fmla="*/ 278621 w 286971"/>
                <a:gd name="connsiteY428" fmla="*/ 228772 h 433657"/>
                <a:gd name="connsiteX429" fmla="*/ 268012 w 286971"/>
                <a:gd name="connsiteY429" fmla="*/ 223040 h 433657"/>
                <a:gd name="connsiteX430" fmla="*/ 258513 w 286971"/>
                <a:gd name="connsiteY430" fmla="*/ 224698 h 433657"/>
                <a:gd name="connsiteX431" fmla="*/ 255697 w 286971"/>
                <a:gd name="connsiteY431" fmla="*/ 226090 h 433657"/>
                <a:gd name="connsiteX432" fmla="*/ 256334 w 286971"/>
                <a:gd name="connsiteY432" fmla="*/ 223040 h 433657"/>
                <a:gd name="connsiteX433" fmla="*/ 256992 w 286971"/>
                <a:gd name="connsiteY433" fmla="*/ 219375 h 433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</a:cxnLst>
              <a:rect l="l" t="t" r="r" b="b"/>
              <a:pathLst>
                <a:path w="286971" h="433657">
                  <a:moveTo>
                    <a:pt x="256992" y="219375"/>
                  </a:moveTo>
                  <a:lnTo>
                    <a:pt x="257156" y="218536"/>
                  </a:lnTo>
                  <a:lnTo>
                    <a:pt x="257958" y="218229"/>
                  </a:lnTo>
                  <a:cubicBezTo>
                    <a:pt x="266481" y="215046"/>
                    <a:pt x="276088" y="217210"/>
                    <a:pt x="282404" y="223736"/>
                  </a:cubicBezTo>
                  <a:cubicBezTo>
                    <a:pt x="288745" y="217055"/>
                    <a:pt x="288447" y="206521"/>
                    <a:pt x="281738" y="200207"/>
                  </a:cubicBezTo>
                  <a:cubicBezTo>
                    <a:pt x="280543" y="199083"/>
                    <a:pt x="279188" y="198140"/>
                    <a:pt x="277716" y="197409"/>
                  </a:cubicBezTo>
                  <a:cubicBezTo>
                    <a:pt x="277135" y="197117"/>
                    <a:pt x="276538" y="196857"/>
                    <a:pt x="275928" y="196631"/>
                  </a:cubicBezTo>
                  <a:cubicBezTo>
                    <a:pt x="275092" y="196329"/>
                    <a:pt x="274232" y="196096"/>
                    <a:pt x="273358" y="195935"/>
                  </a:cubicBezTo>
                  <a:lnTo>
                    <a:pt x="272247" y="195730"/>
                  </a:lnTo>
                  <a:cubicBezTo>
                    <a:pt x="270275" y="195487"/>
                    <a:pt x="268274" y="195612"/>
                    <a:pt x="266347" y="196099"/>
                  </a:cubicBezTo>
                  <a:cubicBezTo>
                    <a:pt x="265467" y="196295"/>
                    <a:pt x="264607" y="196569"/>
                    <a:pt x="263777" y="196918"/>
                  </a:cubicBezTo>
                  <a:cubicBezTo>
                    <a:pt x="263202" y="197149"/>
                    <a:pt x="262645" y="197423"/>
                    <a:pt x="262111" y="197736"/>
                  </a:cubicBezTo>
                  <a:lnTo>
                    <a:pt x="259685" y="199067"/>
                  </a:lnTo>
                  <a:lnTo>
                    <a:pt x="259850" y="196324"/>
                  </a:lnTo>
                  <a:lnTo>
                    <a:pt x="259973" y="193929"/>
                  </a:lnTo>
                  <a:lnTo>
                    <a:pt x="259973" y="191882"/>
                  </a:lnTo>
                  <a:lnTo>
                    <a:pt x="260837" y="191493"/>
                  </a:lnTo>
                  <a:cubicBezTo>
                    <a:pt x="264622" y="189792"/>
                    <a:pt x="268805" y="189161"/>
                    <a:pt x="272926" y="189671"/>
                  </a:cubicBezTo>
                  <a:cubicBezTo>
                    <a:pt x="274691" y="189887"/>
                    <a:pt x="276423" y="190313"/>
                    <a:pt x="278087" y="190940"/>
                  </a:cubicBezTo>
                  <a:cubicBezTo>
                    <a:pt x="285969" y="186134"/>
                    <a:pt x="288447" y="175876"/>
                    <a:pt x="283621" y="168027"/>
                  </a:cubicBezTo>
                  <a:cubicBezTo>
                    <a:pt x="282408" y="166055"/>
                    <a:pt x="280797" y="164355"/>
                    <a:pt x="278888" y="163037"/>
                  </a:cubicBezTo>
                  <a:cubicBezTo>
                    <a:pt x="278498" y="162771"/>
                    <a:pt x="278107" y="162505"/>
                    <a:pt x="277696" y="162259"/>
                  </a:cubicBezTo>
                  <a:cubicBezTo>
                    <a:pt x="277285" y="162013"/>
                    <a:pt x="276730" y="161747"/>
                    <a:pt x="276236" y="161522"/>
                  </a:cubicBezTo>
                  <a:cubicBezTo>
                    <a:pt x="274691" y="160821"/>
                    <a:pt x="273048" y="160359"/>
                    <a:pt x="271363" y="160150"/>
                  </a:cubicBezTo>
                  <a:cubicBezTo>
                    <a:pt x="268142" y="159754"/>
                    <a:pt x="264874" y="160309"/>
                    <a:pt x="261967" y="161747"/>
                  </a:cubicBezTo>
                  <a:lnTo>
                    <a:pt x="259912" y="162771"/>
                  </a:lnTo>
                  <a:lnTo>
                    <a:pt x="259603" y="156117"/>
                  </a:lnTo>
                  <a:lnTo>
                    <a:pt x="260590" y="155708"/>
                  </a:lnTo>
                  <a:cubicBezTo>
                    <a:pt x="266533" y="153193"/>
                    <a:pt x="273276" y="153349"/>
                    <a:pt x="279094" y="156138"/>
                  </a:cubicBezTo>
                  <a:cubicBezTo>
                    <a:pt x="283781" y="150717"/>
                    <a:pt x="284021" y="142770"/>
                    <a:pt x="279670" y="137079"/>
                  </a:cubicBezTo>
                  <a:cubicBezTo>
                    <a:pt x="278376" y="135381"/>
                    <a:pt x="276728" y="133984"/>
                    <a:pt x="274838" y="132984"/>
                  </a:cubicBezTo>
                  <a:cubicBezTo>
                    <a:pt x="274319" y="132706"/>
                    <a:pt x="273784" y="132460"/>
                    <a:pt x="273234" y="132247"/>
                  </a:cubicBezTo>
                  <a:cubicBezTo>
                    <a:pt x="272570" y="131969"/>
                    <a:pt x="271882" y="131750"/>
                    <a:pt x="271178" y="131592"/>
                  </a:cubicBezTo>
                  <a:lnTo>
                    <a:pt x="270623" y="131429"/>
                  </a:lnTo>
                  <a:cubicBezTo>
                    <a:pt x="270274" y="131429"/>
                    <a:pt x="269924" y="131244"/>
                    <a:pt x="269554" y="131183"/>
                  </a:cubicBezTo>
                  <a:cubicBezTo>
                    <a:pt x="267000" y="130827"/>
                    <a:pt x="264396" y="131123"/>
                    <a:pt x="261988" y="132043"/>
                  </a:cubicBezTo>
                  <a:cubicBezTo>
                    <a:pt x="261333" y="132319"/>
                    <a:pt x="260694" y="132634"/>
                    <a:pt x="260076" y="132984"/>
                  </a:cubicBezTo>
                  <a:lnTo>
                    <a:pt x="258020" y="134110"/>
                  </a:lnTo>
                  <a:lnTo>
                    <a:pt x="257424" y="127478"/>
                  </a:lnTo>
                  <a:lnTo>
                    <a:pt x="258390" y="127027"/>
                  </a:lnTo>
                  <a:cubicBezTo>
                    <a:pt x="263690" y="124476"/>
                    <a:pt x="269823" y="124261"/>
                    <a:pt x="275290" y="126433"/>
                  </a:cubicBezTo>
                  <a:cubicBezTo>
                    <a:pt x="282699" y="121026"/>
                    <a:pt x="284303" y="110662"/>
                    <a:pt x="278872" y="103285"/>
                  </a:cubicBezTo>
                  <a:cubicBezTo>
                    <a:pt x="278580" y="102888"/>
                    <a:pt x="278270" y="102503"/>
                    <a:pt x="277943" y="102134"/>
                  </a:cubicBezTo>
                  <a:cubicBezTo>
                    <a:pt x="275848" y="99758"/>
                    <a:pt x="273116" y="98025"/>
                    <a:pt x="270068" y="97138"/>
                  </a:cubicBezTo>
                  <a:cubicBezTo>
                    <a:pt x="269330" y="96959"/>
                    <a:pt x="268581" y="96822"/>
                    <a:pt x="267827" y="96729"/>
                  </a:cubicBezTo>
                  <a:lnTo>
                    <a:pt x="267210" y="96729"/>
                  </a:lnTo>
                  <a:lnTo>
                    <a:pt x="266573" y="96729"/>
                  </a:lnTo>
                  <a:cubicBezTo>
                    <a:pt x="265293" y="96660"/>
                    <a:pt x="264009" y="96742"/>
                    <a:pt x="262749" y="96975"/>
                  </a:cubicBezTo>
                  <a:lnTo>
                    <a:pt x="262358" y="96975"/>
                  </a:lnTo>
                  <a:cubicBezTo>
                    <a:pt x="260928" y="97252"/>
                    <a:pt x="259544" y="97727"/>
                    <a:pt x="258246" y="98387"/>
                  </a:cubicBezTo>
                  <a:cubicBezTo>
                    <a:pt x="257712" y="98633"/>
                    <a:pt x="257198" y="98940"/>
                    <a:pt x="256704" y="99227"/>
                  </a:cubicBezTo>
                  <a:lnTo>
                    <a:pt x="254648" y="100455"/>
                  </a:lnTo>
                  <a:lnTo>
                    <a:pt x="253908" y="93699"/>
                  </a:lnTo>
                  <a:lnTo>
                    <a:pt x="254833" y="93228"/>
                  </a:lnTo>
                  <a:cubicBezTo>
                    <a:pt x="258511" y="91233"/>
                    <a:pt x="262681" y="90318"/>
                    <a:pt x="266861" y="90588"/>
                  </a:cubicBezTo>
                  <a:cubicBezTo>
                    <a:pt x="267704" y="90588"/>
                    <a:pt x="268567" y="90772"/>
                    <a:pt x="269534" y="90936"/>
                  </a:cubicBezTo>
                  <a:cubicBezTo>
                    <a:pt x="273537" y="88065"/>
                    <a:pt x="276036" y="83556"/>
                    <a:pt x="276339" y="78652"/>
                  </a:cubicBezTo>
                  <a:cubicBezTo>
                    <a:pt x="276728" y="72218"/>
                    <a:pt x="273336" y="66142"/>
                    <a:pt x="267642" y="63074"/>
                  </a:cubicBezTo>
                  <a:cubicBezTo>
                    <a:pt x="267169" y="62828"/>
                    <a:pt x="266696" y="62603"/>
                    <a:pt x="266203" y="62398"/>
                  </a:cubicBezTo>
                  <a:cubicBezTo>
                    <a:pt x="265673" y="62170"/>
                    <a:pt x="265131" y="61972"/>
                    <a:pt x="264579" y="61804"/>
                  </a:cubicBezTo>
                  <a:cubicBezTo>
                    <a:pt x="263349" y="61428"/>
                    <a:pt x="262079" y="61195"/>
                    <a:pt x="260796" y="61108"/>
                  </a:cubicBezTo>
                  <a:cubicBezTo>
                    <a:pt x="257953" y="60929"/>
                    <a:pt x="255114" y="61508"/>
                    <a:pt x="252572" y="62787"/>
                  </a:cubicBezTo>
                  <a:lnTo>
                    <a:pt x="250639" y="63749"/>
                  </a:lnTo>
                  <a:lnTo>
                    <a:pt x="249919" y="57239"/>
                  </a:lnTo>
                  <a:lnTo>
                    <a:pt x="250947" y="56789"/>
                  </a:lnTo>
                  <a:cubicBezTo>
                    <a:pt x="256228" y="54519"/>
                    <a:pt x="262183" y="54358"/>
                    <a:pt x="267580" y="56338"/>
                  </a:cubicBezTo>
                  <a:cubicBezTo>
                    <a:pt x="270759" y="52970"/>
                    <a:pt x="272480" y="48492"/>
                    <a:pt x="272371" y="43871"/>
                  </a:cubicBezTo>
                  <a:cubicBezTo>
                    <a:pt x="272200" y="37595"/>
                    <a:pt x="268746" y="31864"/>
                    <a:pt x="263263" y="28763"/>
                  </a:cubicBezTo>
                  <a:lnTo>
                    <a:pt x="261947" y="28108"/>
                  </a:lnTo>
                  <a:cubicBezTo>
                    <a:pt x="261466" y="27880"/>
                    <a:pt x="260972" y="27682"/>
                    <a:pt x="260467" y="27514"/>
                  </a:cubicBezTo>
                  <a:cubicBezTo>
                    <a:pt x="258576" y="26826"/>
                    <a:pt x="256579" y="26473"/>
                    <a:pt x="254566" y="26470"/>
                  </a:cubicBezTo>
                  <a:lnTo>
                    <a:pt x="254196" y="26470"/>
                  </a:lnTo>
                  <a:cubicBezTo>
                    <a:pt x="252080" y="26522"/>
                    <a:pt x="249991" y="26952"/>
                    <a:pt x="248028" y="27739"/>
                  </a:cubicBezTo>
                  <a:lnTo>
                    <a:pt x="246260" y="28435"/>
                  </a:lnTo>
                  <a:lnTo>
                    <a:pt x="245273" y="22294"/>
                  </a:lnTo>
                  <a:lnTo>
                    <a:pt x="246465" y="21884"/>
                  </a:lnTo>
                  <a:cubicBezTo>
                    <a:pt x="248896" y="20992"/>
                    <a:pt x="251461" y="20515"/>
                    <a:pt x="254052" y="20472"/>
                  </a:cubicBezTo>
                  <a:lnTo>
                    <a:pt x="254504" y="20472"/>
                  </a:lnTo>
                  <a:cubicBezTo>
                    <a:pt x="257208" y="20466"/>
                    <a:pt x="259892" y="20923"/>
                    <a:pt x="262440" y="21823"/>
                  </a:cubicBezTo>
                  <a:cubicBezTo>
                    <a:pt x="263788" y="19507"/>
                    <a:pt x="264458" y="16862"/>
                    <a:pt x="264373" y="14187"/>
                  </a:cubicBezTo>
                  <a:cubicBezTo>
                    <a:pt x="264172" y="6269"/>
                    <a:pt x="257648" y="-36"/>
                    <a:pt x="249693" y="0"/>
                  </a:cubicBezTo>
                  <a:lnTo>
                    <a:pt x="249241" y="0"/>
                  </a:lnTo>
                  <a:lnTo>
                    <a:pt x="248336" y="103"/>
                  </a:lnTo>
                  <a:cubicBezTo>
                    <a:pt x="245199" y="4790"/>
                    <a:pt x="240754" y="8462"/>
                    <a:pt x="235548" y="10666"/>
                  </a:cubicBezTo>
                  <a:lnTo>
                    <a:pt x="235548" y="10666"/>
                  </a:lnTo>
                  <a:lnTo>
                    <a:pt x="234849" y="11014"/>
                  </a:lnTo>
                  <a:cubicBezTo>
                    <a:pt x="233645" y="11470"/>
                    <a:pt x="232416" y="11860"/>
                    <a:pt x="231169" y="12181"/>
                  </a:cubicBezTo>
                  <a:lnTo>
                    <a:pt x="228887" y="12734"/>
                  </a:lnTo>
                  <a:lnTo>
                    <a:pt x="228887" y="12365"/>
                  </a:lnTo>
                  <a:cubicBezTo>
                    <a:pt x="228085" y="12508"/>
                    <a:pt x="227365" y="12590"/>
                    <a:pt x="226831" y="12652"/>
                  </a:cubicBezTo>
                  <a:lnTo>
                    <a:pt x="225659" y="12775"/>
                  </a:lnTo>
                  <a:lnTo>
                    <a:pt x="225659" y="12775"/>
                  </a:lnTo>
                  <a:cubicBezTo>
                    <a:pt x="225083" y="12775"/>
                    <a:pt x="224507" y="12775"/>
                    <a:pt x="223932" y="12775"/>
                  </a:cubicBezTo>
                  <a:cubicBezTo>
                    <a:pt x="221782" y="12761"/>
                    <a:pt x="219639" y="12528"/>
                    <a:pt x="217537" y="12078"/>
                  </a:cubicBezTo>
                  <a:cubicBezTo>
                    <a:pt x="217561" y="13531"/>
                    <a:pt x="217458" y="14983"/>
                    <a:pt x="217229" y="16418"/>
                  </a:cubicBezTo>
                  <a:cubicBezTo>
                    <a:pt x="216575" y="20644"/>
                    <a:pt x="214957" y="24663"/>
                    <a:pt x="212500" y="28169"/>
                  </a:cubicBezTo>
                  <a:cubicBezTo>
                    <a:pt x="215606" y="28697"/>
                    <a:pt x="218571" y="29846"/>
                    <a:pt x="221218" y="31547"/>
                  </a:cubicBezTo>
                  <a:lnTo>
                    <a:pt x="221773" y="31916"/>
                  </a:lnTo>
                  <a:lnTo>
                    <a:pt x="221937" y="32898"/>
                  </a:lnTo>
                  <a:cubicBezTo>
                    <a:pt x="222143" y="34249"/>
                    <a:pt x="222348" y="35600"/>
                    <a:pt x="222534" y="36993"/>
                  </a:cubicBezTo>
                  <a:lnTo>
                    <a:pt x="223130" y="41087"/>
                  </a:lnTo>
                  <a:lnTo>
                    <a:pt x="220025" y="38364"/>
                  </a:lnTo>
                  <a:cubicBezTo>
                    <a:pt x="219511" y="37914"/>
                    <a:pt x="219121" y="37607"/>
                    <a:pt x="218730" y="37300"/>
                  </a:cubicBezTo>
                  <a:cubicBezTo>
                    <a:pt x="218339" y="36993"/>
                    <a:pt x="217846" y="36685"/>
                    <a:pt x="217394" y="36419"/>
                  </a:cubicBezTo>
                  <a:cubicBezTo>
                    <a:pt x="214843" y="34887"/>
                    <a:pt x="211922" y="34073"/>
                    <a:pt x="208943" y="34065"/>
                  </a:cubicBezTo>
                  <a:lnTo>
                    <a:pt x="208594" y="34065"/>
                  </a:lnTo>
                  <a:cubicBezTo>
                    <a:pt x="208037" y="34075"/>
                    <a:pt x="207481" y="34116"/>
                    <a:pt x="206929" y="34188"/>
                  </a:cubicBezTo>
                  <a:cubicBezTo>
                    <a:pt x="205458" y="35320"/>
                    <a:pt x="203882" y="36307"/>
                    <a:pt x="202220" y="37136"/>
                  </a:cubicBezTo>
                  <a:cubicBezTo>
                    <a:pt x="201583" y="37463"/>
                    <a:pt x="200946" y="37770"/>
                    <a:pt x="200288" y="38057"/>
                  </a:cubicBezTo>
                  <a:cubicBezTo>
                    <a:pt x="199617" y="38352"/>
                    <a:pt x="198930" y="38612"/>
                    <a:pt x="198232" y="38835"/>
                  </a:cubicBezTo>
                  <a:lnTo>
                    <a:pt x="196566" y="39367"/>
                  </a:lnTo>
                  <a:cubicBezTo>
                    <a:pt x="193678" y="42483"/>
                    <a:pt x="192115" y="46592"/>
                    <a:pt x="192208" y="50831"/>
                  </a:cubicBezTo>
                  <a:cubicBezTo>
                    <a:pt x="192365" y="56453"/>
                    <a:pt x="195357" y="61617"/>
                    <a:pt x="200164" y="64568"/>
                  </a:cubicBezTo>
                  <a:cubicBezTo>
                    <a:pt x="204574" y="60992"/>
                    <a:pt x="210175" y="59201"/>
                    <a:pt x="215852" y="59552"/>
                  </a:cubicBezTo>
                  <a:cubicBezTo>
                    <a:pt x="217954" y="59681"/>
                    <a:pt x="220029" y="60094"/>
                    <a:pt x="222020" y="60781"/>
                  </a:cubicBezTo>
                  <a:lnTo>
                    <a:pt x="224055" y="58426"/>
                  </a:lnTo>
                  <a:lnTo>
                    <a:pt x="223685" y="68417"/>
                  </a:lnTo>
                  <a:lnTo>
                    <a:pt x="221629" y="67434"/>
                  </a:lnTo>
                  <a:lnTo>
                    <a:pt x="220827" y="67066"/>
                  </a:lnTo>
                  <a:cubicBezTo>
                    <a:pt x="220318" y="66838"/>
                    <a:pt x="219796" y="66639"/>
                    <a:pt x="219264" y="66472"/>
                  </a:cubicBezTo>
                  <a:cubicBezTo>
                    <a:pt x="214202" y="64843"/>
                    <a:pt x="208658" y="65817"/>
                    <a:pt x="204461" y="69072"/>
                  </a:cubicBezTo>
                  <a:lnTo>
                    <a:pt x="204071" y="69358"/>
                  </a:lnTo>
                  <a:cubicBezTo>
                    <a:pt x="203738" y="69581"/>
                    <a:pt x="203422" y="69827"/>
                    <a:pt x="203125" y="70095"/>
                  </a:cubicBezTo>
                  <a:cubicBezTo>
                    <a:pt x="202878" y="70321"/>
                    <a:pt x="202652" y="70587"/>
                    <a:pt x="202426" y="70832"/>
                  </a:cubicBezTo>
                  <a:lnTo>
                    <a:pt x="202097" y="71221"/>
                  </a:lnTo>
                  <a:cubicBezTo>
                    <a:pt x="199557" y="73964"/>
                    <a:pt x="198034" y="77489"/>
                    <a:pt x="197779" y="81211"/>
                  </a:cubicBezTo>
                  <a:cubicBezTo>
                    <a:pt x="197379" y="87893"/>
                    <a:pt x="201053" y="94159"/>
                    <a:pt x="207093" y="97098"/>
                  </a:cubicBezTo>
                  <a:cubicBezTo>
                    <a:pt x="210991" y="94138"/>
                    <a:pt x="215833" y="92684"/>
                    <a:pt x="220724" y="93003"/>
                  </a:cubicBezTo>
                  <a:cubicBezTo>
                    <a:pt x="222195" y="93114"/>
                    <a:pt x="223649" y="93381"/>
                    <a:pt x="225062" y="93802"/>
                  </a:cubicBezTo>
                  <a:lnTo>
                    <a:pt x="226029" y="94088"/>
                  </a:lnTo>
                  <a:lnTo>
                    <a:pt x="226872" y="101008"/>
                  </a:lnTo>
                  <a:lnTo>
                    <a:pt x="224507" y="100086"/>
                  </a:lnTo>
                  <a:cubicBezTo>
                    <a:pt x="223948" y="99810"/>
                    <a:pt x="223371" y="99570"/>
                    <a:pt x="222780" y="99370"/>
                  </a:cubicBezTo>
                  <a:cubicBezTo>
                    <a:pt x="221958" y="99162"/>
                    <a:pt x="221118" y="99025"/>
                    <a:pt x="220272" y="98960"/>
                  </a:cubicBezTo>
                  <a:cubicBezTo>
                    <a:pt x="217264" y="98750"/>
                    <a:pt x="214270" y="99519"/>
                    <a:pt x="211740" y="101151"/>
                  </a:cubicBezTo>
                  <a:cubicBezTo>
                    <a:pt x="211292" y="101449"/>
                    <a:pt x="210867" y="101777"/>
                    <a:pt x="210465" y="102134"/>
                  </a:cubicBezTo>
                  <a:cubicBezTo>
                    <a:pt x="209997" y="102525"/>
                    <a:pt x="209551" y="102942"/>
                    <a:pt x="209128" y="103382"/>
                  </a:cubicBezTo>
                  <a:cubicBezTo>
                    <a:pt x="204033" y="108640"/>
                    <a:pt x="203863" y="116919"/>
                    <a:pt x="208738" y="122380"/>
                  </a:cubicBezTo>
                  <a:cubicBezTo>
                    <a:pt x="209145" y="122840"/>
                    <a:pt x="209585" y="123271"/>
                    <a:pt x="210054" y="123670"/>
                  </a:cubicBezTo>
                  <a:cubicBezTo>
                    <a:pt x="215548" y="120068"/>
                    <a:pt x="222477" y="119409"/>
                    <a:pt x="228558" y="121909"/>
                  </a:cubicBezTo>
                  <a:lnTo>
                    <a:pt x="229401" y="122237"/>
                  </a:lnTo>
                  <a:lnTo>
                    <a:pt x="230264" y="129402"/>
                  </a:lnTo>
                  <a:lnTo>
                    <a:pt x="226769" y="127785"/>
                  </a:lnTo>
                  <a:cubicBezTo>
                    <a:pt x="222541" y="125806"/>
                    <a:pt x="217593" y="126099"/>
                    <a:pt x="213631" y="128563"/>
                  </a:cubicBezTo>
                  <a:cubicBezTo>
                    <a:pt x="213282" y="128783"/>
                    <a:pt x="212946" y="129022"/>
                    <a:pt x="212624" y="129279"/>
                  </a:cubicBezTo>
                  <a:lnTo>
                    <a:pt x="212315" y="129504"/>
                  </a:lnTo>
                  <a:cubicBezTo>
                    <a:pt x="211925" y="129811"/>
                    <a:pt x="211534" y="130118"/>
                    <a:pt x="211164" y="130466"/>
                  </a:cubicBezTo>
                  <a:cubicBezTo>
                    <a:pt x="205441" y="135778"/>
                    <a:pt x="205126" y="144703"/>
                    <a:pt x="210461" y="150402"/>
                  </a:cubicBezTo>
                  <a:cubicBezTo>
                    <a:pt x="210687" y="150643"/>
                    <a:pt x="210921" y="150877"/>
                    <a:pt x="211164" y="151102"/>
                  </a:cubicBezTo>
                  <a:cubicBezTo>
                    <a:pt x="215431" y="147689"/>
                    <a:pt x="220906" y="146145"/>
                    <a:pt x="226337" y="146823"/>
                  </a:cubicBezTo>
                  <a:cubicBezTo>
                    <a:pt x="228175" y="147062"/>
                    <a:pt x="229973" y="147544"/>
                    <a:pt x="231683" y="148256"/>
                  </a:cubicBezTo>
                  <a:lnTo>
                    <a:pt x="232526" y="148604"/>
                  </a:lnTo>
                  <a:lnTo>
                    <a:pt x="233245" y="156056"/>
                  </a:lnTo>
                  <a:lnTo>
                    <a:pt x="230716" y="154623"/>
                  </a:lnTo>
                  <a:lnTo>
                    <a:pt x="230984" y="153354"/>
                  </a:lnTo>
                  <a:lnTo>
                    <a:pt x="230984" y="153354"/>
                  </a:lnTo>
                  <a:lnTo>
                    <a:pt x="230449" y="154398"/>
                  </a:lnTo>
                  <a:cubicBezTo>
                    <a:pt x="228965" y="153624"/>
                    <a:pt x="227359" y="153112"/>
                    <a:pt x="225700" y="152883"/>
                  </a:cubicBezTo>
                  <a:cubicBezTo>
                    <a:pt x="221834" y="152399"/>
                    <a:pt x="217941" y="153533"/>
                    <a:pt x="214947" y="156015"/>
                  </a:cubicBezTo>
                  <a:cubicBezTo>
                    <a:pt x="214556" y="156343"/>
                    <a:pt x="214186" y="156691"/>
                    <a:pt x="213816" y="157059"/>
                  </a:cubicBezTo>
                  <a:lnTo>
                    <a:pt x="213549" y="157346"/>
                  </a:lnTo>
                  <a:cubicBezTo>
                    <a:pt x="213302" y="157591"/>
                    <a:pt x="213055" y="157837"/>
                    <a:pt x="212829" y="158103"/>
                  </a:cubicBezTo>
                  <a:cubicBezTo>
                    <a:pt x="211170" y="160148"/>
                    <a:pt x="210123" y="162617"/>
                    <a:pt x="209807" y="165227"/>
                  </a:cubicBezTo>
                  <a:cubicBezTo>
                    <a:pt x="209299" y="169363"/>
                    <a:pt x="210645" y="173511"/>
                    <a:pt x="213487" y="176569"/>
                  </a:cubicBezTo>
                  <a:cubicBezTo>
                    <a:pt x="217219" y="173999"/>
                    <a:pt x="221775" y="172897"/>
                    <a:pt x="226275" y="173477"/>
                  </a:cubicBezTo>
                  <a:cubicBezTo>
                    <a:pt x="229082" y="173837"/>
                    <a:pt x="231765" y="174847"/>
                    <a:pt x="234109" y="176425"/>
                  </a:cubicBezTo>
                  <a:lnTo>
                    <a:pt x="234767" y="176855"/>
                  </a:lnTo>
                  <a:lnTo>
                    <a:pt x="234767" y="177633"/>
                  </a:lnTo>
                  <a:cubicBezTo>
                    <a:pt x="234767" y="178964"/>
                    <a:pt x="234767" y="180315"/>
                    <a:pt x="234890" y="181728"/>
                  </a:cubicBezTo>
                  <a:lnTo>
                    <a:pt x="234890" y="185351"/>
                  </a:lnTo>
                  <a:lnTo>
                    <a:pt x="232258" y="182854"/>
                  </a:lnTo>
                  <a:cubicBezTo>
                    <a:pt x="231934" y="182550"/>
                    <a:pt x="231583" y="182276"/>
                    <a:pt x="231210" y="182035"/>
                  </a:cubicBezTo>
                  <a:lnTo>
                    <a:pt x="230881" y="181809"/>
                  </a:lnTo>
                  <a:cubicBezTo>
                    <a:pt x="229253" y="180658"/>
                    <a:pt x="227370" y="179913"/>
                    <a:pt x="225391" y="179639"/>
                  </a:cubicBezTo>
                  <a:cubicBezTo>
                    <a:pt x="222332" y="179251"/>
                    <a:pt x="219238" y="180034"/>
                    <a:pt x="216736" y="181830"/>
                  </a:cubicBezTo>
                  <a:cubicBezTo>
                    <a:pt x="216322" y="182109"/>
                    <a:pt x="215924" y="182409"/>
                    <a:pt x="215543" y="182731"/>
                  </a:cubicBezTo>
                  <a:cubicBezTo>
                    <a:pt x="215267" y="182989"/>
                    <a:pt x="215006" y="183262"/>
                    <a:pt x="214762" y="183550"/>
                  </a:cubicBezTo>
                  <a:cubicBezTo>
                    <a:pt x="212825" y="185609"/>
                    <a:pt x="211588" y="188223"/>
                    <a:pt x="211226" y="191022"/>
                  </a:cubicBezTo>
                  <a:cubicBezTo>
                    <a:pt x="210831" y="194245"/>
                    <a:pt x="211636" y="197500"/>
                    <a:pt x="213487" y="200173"/>
                  </a:cubicBezTo>
                  <a:cubicBezTo>
                    <a:pt x="216432" y="198937"/>
                    <a:pt x="219654" y="198506"/>
                    <a:pt x="222821" y="198924"/>
                  </a:cubicBezTo>
                  <a:cubicBezTo>
                    <a:pt x="226122" y="199332"/>
                    <a:pt x="229250" y="200627"/>
                    <a:pt x="231868" y="202670"/>
                  </a:cubicBezTo>
                  <a:lnTo>
                    <a:pt x="234397" y="200623"/>
                  </a:lnTo>
                  <a:lnTo>
                    <a:pt x="233924" y="205229"/>
                  </a:lnTo>
                  <a:cubicBezTo>
                    <a:pt x="233924" y="205925"/>
                    <a:pt x="233780" y="206642"/>
                    <a:pt x="233698" y="207276"/>
                  </a:cubicBezTo>
                  <a:cubicBezTo>
                    <a:pt x="233615" y="207911"/>
                    <a:pt x="233513" y="208566"/>
                    <a:pt x="233410" y="209323"/>
                  </a:cubicBezTo>
                  <a:lnTo>
                    <a:pt x="232834" y="213295"/>
                  </a:lnTo>
                  <a:lnTo>
                    <a:pt x="230634" y="210306"/>
                  </a:lnTo>
                  <a:lnTo>
                    <a:pt x="230326" y="209856"/>
                  </a:lnTo>
                  <a:cubicBezTo>
                    <a:pt x="230269" y="209746"/>
                    <a:pt x="230200" y="209643"/>
                    <a:pt x="230120" y="209549"/>
                  </a:cubicBezTo>
                  <a:cubicBezTo>
                    <a:pt x="229826" y="209170"/>
                    <a:pt x="229503" y="208814"/>
                    <a:pt x="229154" y="208484"/>
                  </a:cubicBezTo>
                  <a:cubicBezTo>
                    <a:pt x="228775" y="208128"/>
                    <a:pt x="228377" y="207793"/>
                    <a:pt x="227961" y="207481"/>
                  </a:cubicBezTo>
                  <a:cubicBezTo>
                    <a:pt x="226242" y="206149"/>
                    <a:pt x="224199" y="205295"/>
                    <a:pt x="222040" y="205004"/>
                  </a:cubicBezTo>
                  <a:cubicBezTo>
                    <a:pt x="219953" y="204728"/>
                    <a:pt x="217829" y="204989"/>
                    <a:pt x="215872" y="205761"/>
                  </a:cubicBezTo>
                  <a:cubicBezTo>
                    <a:pt x="215476" y="205928"/>
                    <a:pt x="215092" y="206119"/>
                    <a:pt x="214721" y="206335"/>
                  </a:cubicBezTo>
                  <a:cubicBezTo>
                    <a:pt x="214063" y="206703"/>
                    <a:pt x="213652" y="206969"/>
                    <a:pt x="213261" y="207235"/>
                  </a:cubicBezTo>
                  <a:cubicBezTo>
                    <a:pt x="208989" y="210250"/>
                    <a:pt x="206915" y="215498"/>
                    <a:pt x="207977" y="220603"/>
                  </a:cubicBezTo>
                  <a:cubicBezTo>
                    <a:pt x="215742" y="219262"/>
                    <a:pt x="223571" y="222610"/>
                    <a:pt x="227941" y="229140"/>
                  </a:cubicBezTo>
                  <a:lnTo>
                    <a:pt x="228373" y="229775"/>
                  </a:lnTo>
                  <a:lnTo>
                    <a:pt x="228126" y="230512"/>
                  </a:lnTo>
                  <a:cubicBezTo>
                    <a:pt x="227674" y="231760"/>
                    <a:pt x="227201" y="233009"/>
                    <a:pt x="226687" y="234258"/>
                  </a:cubicBezTo>
                  <a:lnTo>
                    <a:pt x="225515" y="237165"/>
                  </a:lnTo>
                  <a:lnTo>
                    <a:pt x="223459" y="233623"/>
                  </a:lnTo>
                  <a:cubicBezTo>
                    <a:pt x="223338" y="233363"/>
                    <a:pt x="223200" y="233110"/>
                    <a:pt x="223048" y="232866"/>
                  </a:cubicBezTo>
                  <a:cubicBezTo>
                    <a:pt x="219923" y="227956"/>
                    <a:pt x="214055" y="225504"/>
                    <a:pt x="208347" y="226724"/>
                  </a:cubicBezTo>
                  <a:cubicBezTo>
                    <a:pt x="208046" y="226791"/>
                    <a:pt x="207751" y="226880"/>
                    <a:pt x="207463" y="226991"/>
                  </a:cubicBezTo>
                  <a:lnTo>
                    <a:pt x="206538" y="227298"/>
                  </a:lnTo>
                  <a:cubicBezTo>
                    <a:pt x="206230" y="227389"/>
                    <a:pt x="205928" y="227498"/>
                    <a:pt x="205633" y="227625"/>
                  </a:cubicBezTo>
                  <a:cubicBezTo>
                    <a:pt x="200390" y="230040"/>
                    <a:pt x="197046" y="235282"/>
                    <a:pt x="197080" y="241034"/>
                  </a:cubicBezTo>
                  <a:cubicBezTo>
                    <a:pt x="197060" y="241355"/>
                    <a:pt x="197060" y="241676"/>
                    <a:pt x="197080" y="241996"/>
                  </a:cubicBezTo>
                  <a:cubicBezTo>
                    <a:pt x="204812" y="243138"/>
                    <a:pt x="211205" y="248588"/>
                    <a:pt x="213528" y="256019"/>
                  </a:cubicBezTo>
                  <a:lnTo>
                    <a:pt x="213775" y="256777"/>
                  </a:lnTo>
                  <a:lnTo>
                    <a:pt x="212151" y="258824"/>
                  </a:lnTo>
                  <a:cubicBezTo>
                    <a:pt x="211904" y="259152"/>
                    <a:pt x="211616" y="259479"/>
                    <a:pt x="211328" y="259807"/>
                  </a:cubicBezTo>
                  <a:lnTo>
                    <a:pt x="208697" y="262980"/>
                  </a:lnTo>
                  <a:lnTo>
                    <a:pt x="208142" y="259704"/>
                  </a:lnTo>
                  <a:cubicBezTo>
                    <a:pt x="208142" y="259274"/>
                    <a:pt x="208142" y="259090"/>
                    <a:pt x="207998" y="258885"/>
                  </a:cubicBezTo>
                  <a:cubicBezTo>
                    <a:pt x="207854" y="258681"/>
                    <a:pt x="207710" y="257862"/>
                    <a:pt x="207545" y="257371"/>
                  </a:cubicBezTo>
                  <a:cubicBezTo>
                    <a:pt x="205810" y="252402"/>
                    <a:pt x="201459" y="248794"/>
                    <a:pt x="196237" y="247995"/>
                  </a:cubicBezTo>
                  <a:cubicBezTo>
                    <a:pt x="195723" y="247995"/>
                    <a:pt x="195209" y="247851"/>
                    <a:pt x="194675" y="247831"/>
                  </a:cubicBezTo>
                  <a:lnTo>
                    <a:pt x="194284" y="247831"/>
                  </a:lnTo>
                  <a:lnTo>
                    <a:pt x="193811" y="247831"/>
                  </a:lnTo>
                  <a:lnTo>
                    <a:pt x="193236" y="247831"/>
                  </a:lnTo>
                  <a:cubicBezTo>
                    <a:pt x="186255" y="248456"/>
                    <a:pt x="180742" y="253997"/>
                    <a:pt x="180180" y="260953"/>
                  </a:cubicBezTo>
                  <a:cubicBezTo>
                    <a:pt x="186333" y="263682"/>
                    <a:pt x="190782" y="269203"/>
                    <a:pt x="192125" y="275775"/>
                  </a:cubicBezTo>
                  <a:lnTo>
                    <a:pt x="192331" y="276798"/>
                  </a:lnTo>
                  <a:lnTo>
                    <a:pt x="190933" y="277679"/>
                  </a:lnTo>
                  <a:cubicBezTo>
                    <a:pt x="190152" y="278170"/>
                    <a:pt x="189350" y="278682"/>
                    <a:pt x="188527" y="279153"/>
                  </a:cubicBezTo>
                  <a:lnTo>
                    <a:pt x="186471" y="280360"/>
                  </a:lnTo>
                  <a:lnTo>
                    <a:pt x="186286" y="277965"/>
                  </a:lnTo>
                  <a:cubicBezTo>
                    <a:pt x="186286" y="277556"/>
                    <a:pt x="186286" y="277392"/>
                    <a:pt x="186286" y="277249"/>
                  </a:cubicBezTo>
                  <a:cubicBezTo>
                    <a:pt x="185429" y="272700"/>
                    <a:pt x="182464" y="268822"/>
                    <a:pt x="178288" y="266788"/>
                  </a:cubicBezTo>
                  <a:cubicBezTo>
                    <a:pt x="177795" y="266562"/>
                    <a:pt x="177302" y="266399"/>
                    <a:pt x="176788" y="266214"/>
                  </a:cubicBezTo>
                  <a:lnTo>
                    <a:pt x="176356" y="266071"/>
                  </a:lnTo>
                  <a:cubicBezTo>
                    <a:pt x="176013" y="265940"/>
                    <a:pt x="175663" y="265831"/>
                    <a:pt x="175307" y="265744"/>
                  </a:cubicBezTo>
                  <a:cubicBezTo>
                    <a:pt x="168855" y="264315"/>
                    <a:pt x="162287" y="267623"/>
                    <a:pt x="159620" y="273646"/>
                  </a:cubicBezTo>
                  <a:cubicBezTo>
                    <a:pt x="163325" y="277447"/>
                    <a:pt x="165460" y="282496"/>
                    <a:pt x="165603" y="287792"/>
                  </a:cubicBezTo>
                  <a:lnTo>
                    <a:pt x="165603" y="288958"/>
                  </a:lnTo>
                  <a:lnTo>
                    <a:pt x="163711" y="289491"/>
                  </a:lnTo>
                  <a:cubicBezTo>
                    <a:pt x="162930" y="289716"/>
                    <a:pt x="162149" y="289962"/>
                    <a:pt x="161347" y="290166"/>
                  </a:cubicBezTo>
                  <a:lnTo>
                    <a:pt x="159291" y="290678"/>
                  </a:lnTo>
                  <a:lnTo>
                    <a:pt x="159291" y="288631"/>
                  </a:lnTo>
                  <a:lnTo>
                    <a:pt x="160730" y="288344"/>
                  </a:lnTo>
                  <a:lnTo>
                    <a:pt x="159312" y="288344"/>
                  </a:lnTo>
                  <a:cubicBezTo>
                    <a:pt x="159307" y="284740"/>
                    <a:pt x="157984" y="281262"/>
                    <a:pt x="155590" y="278559"/>
                  </a:cubicBezTo>
                  <a:cubicBezTo>
                    <a:pt x="155205" y="278124"/>
                    <a:pt x="154793" y="277714"/>
                    <a:pt x="154357" y="277331"/>
                  </a:cubicBezTo>
                  <a:lnTo>
                    <a:pt x="154110" y="277105"/>
                  </a:lnTo>
                  <a:cubicBezTo>
                    <a:pt x="153802" y="276839"/>
                    <a:pt x="153493" y="276553"/>
                    <a:pt x="153164" y="276307"/>
                  </a:cubicBezTo>
                  <a:cubicBezTo>
                    <a:pt x="147566" y="272249"/>
                    <a:pt x="139802" y="273015"/>
                    <a:pt x="135113" y="278088"/>
                  </a:cubicBezTo>
                  <a:cubicBezTo>
                    <a:pt x="138681" y="281967"/>
                    <a:pt x="140662" y="287035"/>
                    <a:pt x="140664" y="292295"/>
                  </a:cubicBezTo>
                  <a:lnTo>
                    <a:pt x="140664" y="293667"/>
                  </a:lnTo>
                  <a:lnTo>
                    <a:pt x="138340" y="294035"/>
                  </a:lnTo>
                  <a:cubicBezTo>
                    <a:pt x="137600" y="294035"/>
                    <a:pt x="136860" y="294179"/>
                    <a:pt x="136120" y="294220"/>
                  </a:cubicBezTo>
                  <a:lnTo>
                    <a:pt x="134455" y="294343"/>
                  </a:lnTo>
                  <a:lnTo>
                    <a:pt x="134455" y="292295"/>
                  </a:lnTo>
                  <a:cubicBezTo>
                    <a:pt x="134484" y="288356"/>
                    <a:pt x="132947" y="284566"/>
                    <a:pt x="130178" y="281752"/>
                  </a:cubicBezTo>
                  <a:cubicBezTo>
                    <a:pt x="129930" y="281506"/>
                    <a:pt x="129662" y="281280"/>
                    <a:pt x="129376" y="281077"/>
                  </a:cubicBezTo>
                  <a:lnTo>
                    <a:pt x="128760" y="280565"/>
                  </a:lnTo>
                  <a:cubicBezTo>
                    <a:pt x="128500" y="280336"/>
                    <a:pt x="128225" y="280124"/>
                    <a:pt x="127937" y="279930"/>
                  </a:cubicBezTo>
                  <a:cubicBezTo>
                    <a:pt x="122071" y="275927"/>
                    <a:pt x="114098" y="277095"/>
                    <a:pt x="109639" y="282612"/>
                  </a:cubicBezTo>
                  <a:cubicBezTo>
                    <a:pt x="110581" y="284949"/>
                    <a:pt x="111062" y="287444"/>
                    <a:pt x="111057" y="289962"/>
                  </a:cubicBezTo>
                  <a:cubicBezTo>
                    <a:pt x="111052" y="290907"/>
                    <a:pt x="110983" y="291851"/>
                    <a:pt x="110852" y="292787"/>
                  </a:cubicBezTo>
                  <a:lnTo>
                    <a:pt x="110646" y="294179"/>
                  </a:lnTo>
                  <a:lnTo>
                    <a:pt x="108076" y="294015"/>
                  </a:lnTo>
                  <a:lnTo>
                    <a:pt x="106020" y="293872"/>
                  </a:lnTo>
                  <a:lnTo>
                    <a:pt x="104375" y="293728"/>
                  </a:lnTo>
                  <a:lnTo>
                    <a:pt x="104643" y="292132"/>
                  </a:lnTo>
                  <a:cubicBezTo>
                    <a:pt x="104756" y="291414"/>
                    <a:pt x="104818" y="290688"/>
                    <a:pt x="104828" y="289962"/>
                  </a:cubicBezTo>
                  <a:cubicBezTo>
                    <a:pt x="104816" y="288707"/>
                    <a:pt x="104629" y="287460"/>
                    <a:pt x="104273" y="286256"/>
                  </a:cubicBezTo>
                  <a:cubicBezTo>
                    <a:pt x="104106" y="285605"/>
                    <a:pt x="103886" y="284968"/>
                    <a:pt x="103615" y="284352"/>
                  </a:cubicBezTo>
                  <a:cubicBezTo>
                    <a:pt x="103398" y="283856"/>
                    <a:pt x="103144" y="283377"/>
                    <a:pt x="102854" y="282919"/>
                  </a:cubicBezTo>
                  <a:cubicBezTo>
                    <a:pt x="100574" y="278936"/>
                    <a:pt x="96336" y="276463"/>
                    <a:pt x="91731" y="276430"/>
                  </a:cubicBezTo>
                  <a:cubicBezTo>
                    <a:pt x="88958" y="276443"/>
                    <a:pt x="86268" y="277371"/>
                    <a:pt x="84083" y="279071"/>
                  </a:cubicBezTo>
                  <a:cubicBezTo>
                    <a:pt x="84351" y="279928"/>
                    <a:pt x="84557" y="280804"/>
                    <a:pt x="84700" y="281691"/>
                  </a:cubicBezTo>
                  <a:cubicBezTo>
                    <a:pt x="84899" y="282806"/>
                    <a:pt x="85003" y="283936"/>
                    <a:pt x="85008" y="285069"/>
                  </a:cubicBezTo>
                  <a:lnTo>
                    <a:pt x="85008" y="285478"/>
                  </a:lnTo>
                  <a:cubicBezTo>
                    <a:pt x="85024" y="285662"/>
                    <a:pt x="85024" y="285847"/>
                    <a:pt x="85008" y="286031"/>
                  </a:cubicBezTo>
                  <a:lnTo>
                    <a:pt x="84658" y="288467"/>
                  </a:lnTo>
                  <a:lnTo>
                    <a:pt x="82602" y="287259"/>
                  </a:lnTo>
                  <a:lnTo>
                    <a:pt x="78902" y="284721"/>
                  </a:lnTo>
                  <a:lnTo>
                    <a:pt x="78737" y="283185"/>
                  </a:lnTo>
                  <a:cubicBezTo>
                    <a:pt x="78737" y="282653"/>
                    <a:pt x="78552" y="282141"/>
                    <a:pt x="78429" y="281609"/>
                  </a:cubicBezTo>
                  <a:cubicBezTo>
                    <a:pt x="78296" y="281068"/>
                    <a:pt x="78131" y="280535"/>
                    <a:pt x="77935" y="280012"/>
                  </a:cubicBezTo>
                  <a:cubicBezTo>
                    <a:pt x="77784" y="279615"/>
                    <a:pt x="77598" y="279231"/>
                    <a:pt x="77380" y="278866"/>
                  </a:cubicBezTo>
                  <a:lnTo>
                    <a:pt x="77236" y="278600"/>
                  </a:lnTo>
                  <a:cubicBezTo>
                    <a:pt x="77229" y="278539"/>
                    <a:pt x="77229" y="278477"/>
                    <a:pt x="77236" y="278416"/>
                  </a:cubicBezTo>
                  <a:cubicBezTo>
                    <a:pt x="76142" y="276404"/>
                    <a:pt x="74540" y="274711"/>
                    <a:pt x="72590" y="273502"/>
                  </a:cubicBezTo>
                  <a:cubicBezTo>
                    <a:pt x="71245" y="272644"/>
                    <a:pt x="69742" y="272059"/>
                    <a:pt x="68169" y="271783"/>
                  </a:cubicBezTo>
                  <a:cubicBezTo>
                    <a:pt x="67432" y="271630"/>
                    <a:pt x="66681" y="271548"/>
                    <a:pt x="65928" y="271537"/>
                  </a:cubicBezTo>
                  <a:cubicBezTo>
                    <a:pt x="63558" y="271579"/>
                    <a:pt x="61248" y="272289"/>
                    <a:pt x="59267" y="273584"/>
                  </a:cubicBezTo>
                  <a:lnTo>
                    <a:pt x="58465" y="274076"/>
                  </a:lnTo>
                  <a:lnTo>
                    <a:pt x="52914" y="270636"/>
                  </a:lnTo>
                  <a:lnTo>
                    <a:pt x="54723" y="269306"/>
                  </a:lnTo>
                  <a:cubicBezTo>
                    <a:pt x="56044" y="268330"/>
                    <a:pt x="57481" y="267519"/>
                    <a:pt x="59000" y="266890"/>
                  </a:cubicBezTo>
                  <a:cubicBezTo>
                    <a:pt x="57575" y="266296"/>
                    <a:pt x="56120" y="265777"/>
                    <a:pt x="54641" y="265334"/>
                  </a:cubicBezTo>
                  <a:cubicBezTo>
                    <a:pt x="51109" y="264344"/>
                    <a:pt x="47454" y="263855"/>
                    <a:pt x="43785" y="263881"/>
                  </a:cubicBezTo>
                  <a:cubicBezTo>
                    <a:pt x="34616" y="263881"/>
                    <a:pt x="17695" y="266849"/>
                    <a:pt x="7600" y="286666"/>
                  </a:cubicBezTo>
                  <a:cubicBezTo>
                    <a:pt x="-8396" y="318028"/>
                    <a:pt x="5071" y="347630"/>
                    <a:pt x="9944" y="352359"/>
                  </a:cubicBezTo>
                  <a:cubicBezTo>
                    <a:pt x="10416" y="352810"/>
                    <a:pt x="10869" y="353240"/>
                    <a:pt x="11362" y="353670"/>
                  </a:cubicBezTo>
                  <a:cubicBezTo>
                    <a:pt x="11856" y="354099"/>
                    <a:pt x="12349" y="354550"/>
                    <a:pt x="12863" y="354959"/>
                  </a:cubicBezTo>
                  <a:cubicBezTo>
                    <a:pt x="16483" y="357847"/>
                    <a:pt x="20507" y="360191"/>
                    <a:pt x="24808" y="361920"/>
                  </a:cubicBezTo>
                  <a:lnTo>
                    <a:pt x="26206" y="362493"/>
                  </a:lnTo>
                  <a:lnTo>
                    <a:pt x="23904" y="368143"/>
                  </a:lnTo>
                  <a:lnTo>
                    <a:pt x="22506" y="367570"/>
                  </a:lnTo>
                  <a:cubicBezTo>
                    <a:pt x="18912" y="366012"/>
                    <a:pt x="15471" y="364127"/>
                    <a:pt x="12226" y="361940"/>
                  </a:cubicBezTo>
                  <a:cubicBezTo>
                    <a:pt x="11465" y="367693"/>
                    <a:pt x="12226" y="380058"/>
                    <a:pt x="19010" y="388123"/>
                  </a:cubicBezTo>
                  <a:cubicBezTo>
                    <a:pt x="19833" y="389106"/>
                    <a:pt x="23122" y="392443"/>
                    <a:pt x="24932" y="394265"/>
                  </a:cubicBezTo>
                  <a:lnTo>
                    <a:pt x="25795" y="395145"/>
                  </a:lnTo>
                  <a:cubicBezTo>
                    <a:pt x="27251" y="396539"/>
                    <a:pt x="28624" y="398015"/>
                    <a:pt x="29907" y="399567"/>
                  </a:cubicBezTo>
                  <a:cubicBezTo>
                    <a:pt x="34184" y="405115"/>
                    <a:pt x="35376" y="415535"/>
                    <a:pt x="36343" y="423908"/>
                  </a:cubicBezTo>
                  <a:cubicBezTo>
                    <a:pt x="36591" y="426731"/>
                    <a:pt x="37024" y="429535"/>
                    <a:pt x="37638" y="432301"/>
                  </a:cubicBezTo>
                  <a:cubicBezTo>
                    <a:pt x="39647" y="433287"/>
                    <a:pt x="41878" y="433738"/>
                    <a:pt x="44114" y="433612"/>
                  </a:cubicBezTo>
                  <a:cubicBezTo>
                    <a:pt x="46166" y="433810"/>
                    <a:pt x="48228" y="433366"/>
                    <a:pt x="50015" y="432342"/>
                  </a:cubicBezTo>
                  <a:cubicBezTo>
                    <a:pt x="50159" y="431892"/>
                    <a:pt x="50385" y="428657"/>
                    <a:pt x="50508" y="426917"/>
                  </a:cubicBezTo>
                  <a:cubicBezTo>
                    <a:pt x="51022" y="419568"/>
                    <a:pt x="51804" y="408493"/>
                    <a:pt x="58547" y="399649"/>
                  </a:cubicBezTo>
                  <a:cubicBezTo>
                    <a:pt x="62495" y="394511"/>
                    <a:pt x="65106" y="391112"/>
                    <a:pt x="68992" y="376966"/>
                  </a:cubicBezTo>
                  <a:cubicBezTo>
                    <a:pt x="70724" y="369551"/>
                    <a:pt x="71320" y="361917"/>
                    <a:pt x="70760" y="354325"/>
                  </a:cubicBezTo>
                  <a:cubicBezTo>
                    <a:pt x="68810" y="355909"/>
                    <a:pt x="66749" y="357353"/>
                    <a:pt x="64592" y="358644"/>
                  </a:cubicBezTo>
                  <a:lnTo>
                    <a:pt x="63297" y="359422"/>
                  </a:lnTo>
                  <a:lnTo>
                    <a:pt x="60110" y="354202"/>
                  </a:lnTo>
                  <a:lnTo>
                    <a:pt x="61426" y="353403"/>
                  </a:lnTo>
                  <a:cubicBezTo>
                    <a:pt x="64502" y="351539"/>
                    <a:pt x="67358" y="349334"/>
                    <a:pt x="69938" y="346832"/>
                  </a:cubicBezTo>
                  <a:lnTo>
                    <a:pt x="71109" y="345645"/>
                  </a:lnTo>
                  <a:cubicBezTo>
                    <a:pt x="71500" y="345235"/>
                    <a:pt x="71911" y="344805"/>
                    <a:pt x="72281" y="344375"/>
                  </a:cubicBezTo>
                  <a:lnTo>
                    <a:pt x="72569" y="344068"/>
                  </a:lnTo>
                  <a:cubicBezTo>
                    <a:pt x="68955" y="341214"/>
                    <a:pt x="66266" y="337361"/>
                    <a:pt x="64839" y="332993"/>
                  </a:cubicBezTo>
                  <a:cubicBezTo>
                    <a:pt x="58827" y="334449"/>
                    <a:pt x="52481" y="333485"/>
                    <a:pt x="47178" y="330311"/>
                  </a:cubicBezTo>
                  <a:lnTo>
                    <a:pt x="47178" y="330414"/>
                  </a:lnTo>
                  <a:lnTo>
                    <a:pt x="45944" y="329492"/>
                  </a:lnTo>
                  <a:lnTo>
                    <a:pt x="45163" y="328858"/>
                  </a:lnTo>
                  <a:cubicBezTo>
                    <a:pt x="43931" y="327921"/>
                    <a:pt x="42794" y="326865"/>
                    <a:pt x="41770" y="325705"/>
                  </a:cubicBezTo>
                  <a:cubicBezTo>
                    <a:pt x="39019" y="322848"/>
                    <a:pt x="36567" y="319721"/>
                    <a:pt x="34451" y="316370"/>
                  </a:cubicBezTo>
                  <a:lnTo>
                    <a:pt x="33649" y="315101"/>
                  </a:lnTo>
                  <a:lnTo>
                    <a:pt x="38563" y="311948"/>
                  </a:lnTo>
                  <a:lnTo>
                    <a:pt x="39632" y="313074"/>
                  </a:lnTo>
                  <a:cubicBezTo>
                    <a:pt x="41561" y="316021"/>
                    <a:pt x="43786" y="318764"/>
                    <a:pt x="46273" y="321263"/>
                  </a:cubicBezTo>
                  <a:cubicBezTo>
                    <a:pt x="47651" y="322655"/>
                    <a:pt x="48761" y="323638"/>
                    <a:pt x="49419" y="324211"/>
                  </a:cubicBezTo>
                  <a:cubicBezTo>
                    <a:pt x="53958" y="327578"/>
                    <a:pt x="59875" y="328497"/>
                    <a:pt x="65229" y="326667"/>
                  </a:cubicBezTo>
                  <a:cubicBezTo>
                    <a:pt x="65702" y="326504"/>
                    <a:pt x="66175" y="326340"/>
                    <a:pt x="66627" y="326135"/>
                  </a:cubicBezTo>
                  <a:cubicBezTo>
                    <a:pt x="67080" y="325930"/>
                    <a:pt x="67553" y="325705"/>
                    <a:pt x="68005" y="325460"/>
                  </a:cubicBezTo>
                  <a:cubicBezTo>
                    <a:pt x="69128" y="324828"/>
                    <a:pt x="70176" y="324072"/>
                    <a:pt x="71130" y="323208"/>
                  </a:cubicBezTo>
                  <a:lnTo>
                    <a:pt x="71994" y="322450"/>
                  </a:lnTo>
                  <a:lnTo>
                    <a:pt x="77195" y="325869"/>
                  </a:lnTo>
                  <a:lnTo>
                    <a:pt x="75818" y="327179"/>
                  </a:lnTo>
                  <a:cubicBezTo>
                    <a:pt x="74353" y="328571"/>
                    <a:pt x="72723" y="329781"/>
                    <a:pt x="70965" y="330782"/>
                  </a:cubicBezTo>
                  <a:cubicBezTo>
                    <a:pt x="72444" y="335678"/>
                    <a:pt x="76029" y="339667"/>
                    <a:pt x="80752" y="341673"/>
                  </a:cubicBezTo>
                  <a:cubicBezTo>
                    <a:pt x="81198" y="341877"/>
                    <a:pt x="81658" y="342048"/>
                    <a:pt x="82130" y="342185"/>
                  </a:cubicBezTo>
                  <a:lnTo>
                    <a:pt x="83507" y="342574"/>
                  </a:lnTo>
                  <a:cubicBezTo>
                    <a:pt x="88649" y="343859"/>
                    <a:pt x="94098" y="342653"/>
                    <a:pt x="98207" y="339319"/>
                  </a:cubicBezTo>
                  <a:cubicBezTo>
                    <a:pt x="98619" y="339012"/>
                    <a:pt x="98989" y="338664"/>
                    <a:pt x="99359" y="338336"/>
                  </a:cubicBezTo>
                  <a:cubicBezTo>
                    <a:pt x="99729" y="338009"/>
                    <a:pt x="100120" y="337579"/>
                    <a:pt x="100469" y="337190"/>
                  </a:cubicBezTo>
                  <a:cubicBezTo>
                    <a:pt x="103241" y="334055"/>
                    <a:pt x="104775" y="330025"/>
                    <a:pt x="104787" y="325848"/>
                  </a:cubicBezTo>
                  <a:cubicBezTo>
                    <a:pt x="104764" y="325026"/>
                    <a:pt x="104689" y="324205"/>
                    <a:pt x="104560" y="323392"/>
                  </a:cubicBezTo>
                  <a:lnTo>
                    <a:pt x="104252" y="321345"/>
                  </a:lnTo>
                  <a:lnTo>
                    <a:pt x="106308" y="321672"/>
                  </a:lnTo>
                  <a:lnTo>
                    <a:pt x="109515" y="322143"/>
                  </a:lnTo>
                  <a:lnTo>
                    <a:pt x="110687" y="322307"/>
                  </a:lnTo>
                  <a:lnTo>
                    <a:pt x="110811" y="323474"/>
                  </a:lnTo>
                  <a:cubicBezTo>
                    <a:pt x="110893" y="324256"/>
                    <a:pt x="110935" y="325042"/>
                    <a:pt x="110934" y="325828"/>
                  </a:cubicBezTo>
                  <a:cubicBezTo>
                    <a:pt x="110929" y="331647"/>
                    <a:pt x="108727" y="337252"/>
                    <a:pt x="104766" y="341530"/>
                  </a:cubicBezTo>
                  <a:cubicBezTo>
                    <a:pt x="110036" y="350327"/>
                    <a:pt x="121471" y="353204"/>
                    <a:pt x="130306" y="347957"/>
                  </a:cubicBezTo>
                  <a:cubicBezTo>
                    <a:pt x="134090" y="345709"/>
                    <a:pt x="136951" y="342199"/>
                    <a:pt x="138382" y="338050"/>
                  </a:cubicBezTo>
                  <a:cubicBezTo>
                    <a:pt x="138608" y="337395"/>
                    <a:pt x="138793" y="336719"/>
                    <a:pt x="138957" y="336002"/>
                  </a:cubicBezTo>
                  <a:cubicBezTo>
                    <a:pt x="139156" y="335065"/>
                    <a:pt x="139287" y="334114"/>
                    <a:pt x="139348" y="333157"/>
                  </a:cubicBezTo>
                  <a:lnTo>
                    <a:pt x="139348" y="332850"/>
                  </a:lnTo>
                  <a:cubicBezTo>
                    <a:pt x="139348" y="332543"/>
                    <a:pt x="139348" y="332256"/>
                    <a:pt x="139348" y="331949"/>
                  </a:cubicBezTo>
                  <a:cubicBezTo>
                    <a:pt x="139342" y="330039"/>
                    <a:pt x="139044" y="328140"/>
                    <a:pt x="138464" y="326319"/>
                  </a:cubicBezTo>
                  <a:cubicBezTo>
                    <a:pt x="138404" y="326152"/>
                    <a:pt x="138336" y="325988"/>
                    <a:pt x="138258" y="325828"/>
                  </a:cubicBezTo>
                  <a:lnTo>
                    <a:pt x="137312" y="323433"/>
                  </a:lnTo>
                  <a:lnTo>
                    <a:pt x="139368" y="323290"/>
                  </a:lnTo>
                  <a:lnTo>
                    <a:pt x="142555" y="323044"/>
                  </a:lnTo>
                  <a:lnTo>
                    <a:pt x="143748" y="322921"/>
                  </a:lnTo>
                  <a:lnTo>
                    <a:pt x="144118" y="324047"/>
                  </a:lnTo>
                  <a:cubicBezTo>
                    <a:pt x="145009" y="326588"/>
                    <a:pt x="145474" y="329258"/>
                    <a:pt x="145495" y="331949"/>
                  </a:cubicBezTo>
                  <a:cubicBezTo>
                    <a:pt x="145492" y="333924"/>
                    <a:pt x="145244" y="335890"/>
                    <a:pt x="144755" y="337804"/>
                  </a:cubicBezTo>
                  <a:cubicBezTo>
                    <a:pt x="150649" y="346199"/>
                    <a:pt x="162263" y="348247"/>
                    <a:pt x="170695" y="342378"/>
                  </a:cubicBezTo>
                  <a:cubicBezTo>
                    <a:pt x="174755" y="339552"/>
                    <a:pt x="177517" y="335232"/>
                    <a:pt x="178371" y="330373"/>
                  </a:cubicBezTo>
                  <a:cubicBezTo>
                    <a:pt x="178494" y="329738"/>
                    <a:pt x="178556" y="329063"/>
                    <a:pt x="178617" y="328326"/>
                  </a:cubicBezTo>
                  <a:cubicBezTo>
                    <a:pt x="178679" y="327589"/>
                    <a:pt x="178617" y="327466"/>
                    <a:pt x="178617" y="327097"/>
                  </a:cubicBezTo>
                  <a:cubicBezTo>
                    <a:pt x="178617" y="326729"/>
                    <a:pt x="178617" y="326217"/>
                    <a:pt x="178617" y="325808"/>
                  </a:cubicBezTo>
                  <a:cubicBezTo>
                    <a:pt x="178421" y="323011"/>
                    <a:pt x="177592" y="320296"/>
                    <a:pt x="176191" y="317865"/>
                  </a:cubicBezTo>
                  <a:lnTo>
                    <a:pt x="175040" y="316002"/>
                  </a:lnTo>
                  <a:lnTo>
                    <a:pt x="176767" y="315367"/>
                  </a:lnTo>
                  <a:lnTo>
                    <a:pt x="179440" y="314343"/>
                  </a:lnTo>
                  <a:lnTo>
                    <a:pt x="180653" y="313873"/>
                  </a:lnTo>
                  <a:lnTo>
                    <a:pt x="181558" y="314917"/>
                  </a:lnTo>
                  <a:cubicBezTo>
                    <a:pt x="183686" y="318626"/>
                    <a:pt x="184805" y="322825"/>
                    <a:pt x="184806" y="327097"/>
                  </a:cubicBezTo>
                  <a:cubicBezTo>
                    <a:pt x="184806" y="327752"/>
                    <a:pt x="184806" y="328387"/>
                    <a:pt x="184806" y="329022"/>
                  </a:cubicBezTo>
                  <a:cubicBezTo>
                    <a:pt x="192221" y="336122"/>
                    <a:pt x="204013" y="335893"/>
                    <a:pt x="211144" y="328509"/>
                  </a:cubicBezTo>
                  <a:cubicBezTo>
                    <a:pt x="214491" y="325044"/>
                    <a:pt x="216355" y="320420"/>
                    <a:pt x="216345" y="315613"/>
                  </a:cubicBezTo>
                  <a:lnTo>
                    <a:pt x="216345" y="314937"/>
                  </a:lnTo>
                  <a:cubicBezTo>
                    <a:pt x="216345" y="314364"/>
                    <a:pt x="216345" y="313791"/>
                    <a:pt x="216222" y="313238"/>
                  </a:cubicBezTo>
                  <a:cubicBezTo>
                    <a:pt x="216137" y="312605"/>
                    <a:pt x="216020" y="311976"/>
                    <a:pt x="215872" y="311355"/>
                  </a:cubicBezTo>
                  <a:cubicBezTo>
                    <a:pt x="214853" y="307291"/>
                    <a:pt x="212492" y="303687"/>
                    <a:pt x="209170" y="301119"/>
                  </a:cubicBezTo>
                  <a:lnTo>
                    <a:pt x="207545" y="299849"/>
                  </a:lnTo>
                  <a:lnTo>
                    <a:pt x="209231" y="298683"/>
                  </a:lnTo>
                  <a:lnTo>
                    <a:pt x="211842" y="296820"/>
                  </a:lnTo>
                  <a:lnTo>
                    <a:pt x="212809" y="296103"/>
                  </a:lnTo>
                  <a:lnTo>
                    <a:pt x="213713" y="296881"/>
                  </a:lnTo>
                  <a:cubicBezTo>
                    <a:pt x="218257" y="300683"/>
                    <a:pt x="221272" y="305989"/>
                    <a:pt x="222205" y="311825"/>
                  </a:cubicBezTo>
                  <a:cubicBezTo>
                    <a:pt x="224234" y="312559"/>
                    <a:pt x="226378" y="312933"/>
                    <a:pt x="228537" y="312931"/>
                  </a:cubicBezTo>
                  <a:cubicBezTo>
                    <a:pt x="238836" y="312928"/>
                    <a:pt x="247183" y="304613"/>
                    <a:pt x="247180" y="294358"/>
                  </a:cubicBezTo>
                  <a:cubicBezTo>
                    <a:pt x="247180" y="293031"/>
                    <a:pt x="247037" y="291708"/>
                    <a:pt x="246753" y="290412"/>
                  </a:cubicBezTo>
                  <a:cubicBezTo>
                    <a:pt x="246630" y="289859"/>
                    <a:pt x="246486" y="289327"/>
                    <a:pt x="246321" y="288795"/>
                  </a:cubicBezTo>
                  <a:cubicBezTo>
                    <a:pt x="246133" y="288197"/>
                    <a:pt x="245913" y="287609"/>
                    <a:pt x="245663" y="287034"/>
                  </a:cubicBezTo>
                  <a:cubicBezTo>
                    <a:pt x="243664" y="282529"/>
                    <a:pt x="239975" y="278980"/>
                    <a:pt x="235383" y="277146"/>
                  </a:cubicBezTo>
                  <a:lnTo>
                    <a:pt x="232834" y="276246"/>
                  </a:lnTo>
                  <a:lnTo>
                    <a:pt x="234047" y="274608"/>
                  </a:lnTo>
                  <a:cubicBezTo>
                    <a:pt x="234479" y="274035"/>
                    <a:pt x="234890" y="273441"/>
                    <a:pt x="235281" y="272847"/>
                  </a:cubicBezTo>
                  <a:lnTo>
                    <a:pt x="236535" y="271066"/>
                  </a:lnTo>
                  <a:lnTo>
                    <a:pt x="237645" y="271496"/>
                  </a:lnTo>
                  <a:cubicBezTo>
                    <a:pt x="244292" y="274109"/>
                    <a:pt x="249475" y="279464"/>
                    <a:pt x="251852" y="286174"/>
                  </a:cubicBezTo>
                  <a:cubicBezTo>
                    <a:pt x="262049" y="287610"/>
                    <a:pt x="271485" y="280543"/>
                    <a:pt x="272927" y="270389"/>
                  </a:cubicBezTo>
                  <a:cubicBezTo>
                    <a:pt x="273052" y="269515"/>
                    <a:pt x="273113" y="268633"/>
                    <a:pt x="273111" y="267750"/>
                  </a:cubicBezTo>
                  <a:cubicBezTo>
                    <a:pt x="273110" y="265183"/>
                    <a:pt x="272571" y="262645"/>
                    <a:pt x="271528" y="260298"/>
                  </a:cubicBezTo>
                  <a:cubicBezTo>
                    <a:pt x="271343" y="259848"/>
                    <a:pt x="271137" y="259418"/>
                    <a:pt x="270911" y="258988"/>
                  </a:cubicBezTo>
                  <a:cubicBezTo>
                    <a:pt x="270685" y="258558"/>
                    <a:pt x="270418" y="258149"/>
                    <a:pt x="270150" y="257739"/>
                  </a:cubicBezTo>
                  <a:cubicBezTo>
                    <a:pt x="266750" y="252385"/>
                    <a:pt x="260825" y="249145"/>
                    <a:pt x="254463" y="249161"/>
                  </a:cubicBezTo>
                  <a:cubicBezTo>
                    <a:pt x="253169" y="249171"/>
                    <a:pt x="251880" y="249322"/>
                    <a:pt x="250618" y="249612"/>
                  </a:cubicBezTo>
                  <a:lnTo>
                    <a:pt x="247843" y="250205"/>
                  </a:lnTo>
                  <a:lnTo>
                    <a:pt x="249159" y="246889"/>
                  </a:lnTo>
                  <a:cubicBezTo>
                    <a:pt x="249508" y="246009"/>
                    <a:pt x="249878" y="245128"/>
                    <a:pt x="250187" y="244248"/>
                  </a:cubicBezTo>
                  <a:lnTo>
                    <a:pt x="250516" y="243388"/>
                  </a:lnTo>
                  <a:lnTo>
                    <a:pt x="251420" y="243266"/>
                  </a:lnTo>
                  <a:cubicBezTo>
                    <a:pt x="252429" y="243136"/>
                    <a:pt x="253446" y="243067"/>
                    <a:pt x="254463" y="243061"/>
                  </a:cubicBezTo>
                  <a:cubicBezTo>
                    <a:pt x="262595" y="243052"/>
                    <a:pt x="270209" y="247034"/>
                    <a:pt x="274817" y="253706"/>
                  </a:cubicBezTo>
                  <a:cubicBezTo>
                    <a:pt x="282535" y="248910"/>
                    <a:pt x="284991" y="238854"/>
                    <a:pt x="280348" y="231064"/>
                  </a:cubicBezTo>
                  <a:cubicBezTo>
                    <a:pt x="280101" y="230655"/>
                    <a:pt x="279834" y="230266"/>
                    <a:pt x="279567" y="229898"/>
                  </a:cubicBezTo>
                  <a:lnTo>
                    <a:pt x="279176" y="229345"/>
                  </a:lnTo>
                  <a:lnTo>
                    <a:pt x="278621" y="228772"/>
                  </a:lnTo>
                  <a:cubicBezTo>
                    <a:pt x="275925" y="225612"/>
                    <a:pt x="272142" y="223568"/>
                    <a:pt x="268012" y="223040"/>
                  </a:cubicBezTo>
                  <a:cubicBezTo>
                    <a:pt x="264751" y="222635"/>
                    <a:pt x="261442" y="223212"/>
                    <a:pt x="258513" y="224698"/>
                  </a:cubicBezTo>
                  <a:lnTo>
                    <a:pt x="255697" y="226090"/>
                  </a:lnTo>
                  <a:lnTo>
                    <a:pt x="256334" y="223040"/>
                  </a:lnTo>
                  <a:cubicBezTo>
                    <a:pt x="256540" y="221811"/>
                    <a:pt x="256766" y="220583"/>
                    <a:pt x="256992" y="219375"/>
                  </a:cubicBezTo>
                  <a:close/>
                </a:path>
              </a:pathLst>
            </a:custGeom>
            <a:gradFill>
              <a:gsLst>
                <a:gs pos="8000">
                  <a:srgbClr val="B78EBD">
                    <a:lumMod val="88000"/>
                  </a:srgbClr>
                </a:gs>
                <a:gs pos="36000">
                  <a:srgbClr val="B78EBD">
                    <a:lumMod val="76085"/>
                    <a:lumOff val="23915"/>
                  </a:srgbClr>
                </a:gs>
                <a:gs pos="72000">
                  <a:srgbClr val="B78EBD">
                    <a:lumMod val="68807"/>
                  </a:srgbClr>
                </a:gs>
              </a:gsLst>
              <a:lin ang="5400000" scaled="1"/>
            </a:gradFill>
            <a:ln w="3175" cap="flat">
              <a:solidFill>
                <a:srgbClr val="9B83B3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1" name="Freeform 365">
              <a:extLst>
                <a:ext uri="{FF2B5EF4-FFF2-40B4-BE49-F238E27FC236}">
                  <a16:creationId xmlns:a16="http://schemas.microsoft.com/office/drawing/2014/main" id="{44387CE1-FFD8-4E83-B6A4-8AD33D6CB62D}"/>
                </a:ext>
              </a:extLst>
            </p:cNvPr>
            <p:cNvSpPr/>
            <p:nvPr/>
          </p:nvSpPr>
          <p:spPr>
            <a:xfrm>
              <a:off x="5686626" y="3615468"/>
              <a:ext cx="156350" cy="395821"/>
            </a:xfrm>
            <a:custGeom>
              <a:avLst/>
              <a:gdLst>
                <a:gd name="connsiteX0" fmla="*/ 98000 w 98114"/>
                <a:gd name="connsiteY0" fmla="*/ 199158 h 234658"/>
                <a:gd name="connsiteX1" fmla="*/ 98000 w 98114"/>
                <a:gd name="connsiteY1" fmla="*/ 196537 h 234658"/>
                <a:gd name="connsiteX2" fmla="*/ 85418 w 98114"/>
                <a:gd name="connsiteY2" fmla="*/ 177929 h 234658"/>
                <a:gd name="connsiteX3" fmla="*/ 83711 w 98114"/>
                <a:gd name="connsiteY3" fmla="*/ 177314 h 234658"/>
                <a:gd name="connsiteX4" fmla="*/ 81655 w 98114"/>
                <a:gd name="connsiteY4" fmla="*/ 176741 h 234658"/>
                <a:gd name="connsiteX5" fmla="*/ 78242 w 98114"/>
                <a:gd name="connsiteY5" fmla="*/ 176332 h 234658"/>
                <a:gd name="connsiteX6" fmla="*/ 77420 w 98114"/>
                <a:gd name="connsiteY6" fmla="*/ 176332 h 234658"/>
                <a:gd name="connsiteX7" fmla="*/ 76721 w 98114"/>
                <a:gd name="connsiteY7" fmla="*/ 176332 h 234658"/>
                <a:gd name="connsiteX8" fmla="*/ 69895 w 98114"/>
                <a:gd name="connsiteY8" fmla="*/ 177785 h 234658"/>
                <a:gd name="connsiteX9" fmla="*/ 69134 w 98114"/>
                <a:gd name="connsiteY9" fmla="*/ 178051 h 234658"/>
                <a:gd name="connsiteX10" fmla="*/ 67078 w 98114"/>
                <a:gd name="connsiteY10" fmla="*/ 179034 h 234658"/>
                <a:gd name="connsiteX11" fmla="*/ 65516 w 98114"/>
                <a:gd name="connsiteY11" fmla="*/ 179996 h 234658"/>
                <a:gd name="connsiteX12" fmla="*/ 61404 w 98114"/>
                <a:gd name="connsiteY12" fmla="*/ 183743 h 234658"/>
                <a:gd name="connsiteX13" fmla="*/ 59039 w 98114"/>
                <a:gd name="connsiteY13" fmla="*/ 186527 h 234658"/>
                <a:gd name="connsiteX14" fmla="*/ 58299 w 98114"/>
                <a:gd name="connsiteY14" fmla="*/ 177642 h 234658"/>
                <a:gd name="connsiteX15" fmla="*/ 58854 w 98114"/>
                <a:gd name="connsiteY15" fmla="*/ 177130 h 234658"/>
                <a:gd name="connsiteX16" fmla="*/ 61897 w 98114"/>
                <a:gd name="connsiteY16" fmla="*/ 174694 h 234658"/>
                <a:gd name="connsiteX17" fmla="*/ 62185 w 98114"/>
                <a:gd name="connsiteY17" fmla="*/ 174510 h 234658"/>
                <a:gd name="connsiteX18" fmla="*/ 63953 w 98114"/>
                <a:gd name="connsiteY18" fmla="*/ 173425 h 234658"/>
                <a:gd name="connsiteX19" fmla="*/ 66461 w 98114"/>
                <a:gd name="connsiteY19" fmla="*/ 172197 h 234658"/>
                <a:gd name="connsiteX20" fmla="*/ 76310 w 98114"/>
                <a:gd name="connsiteY20" fmla="*/ 170027 h 234658"/>
                <a:gd name="connsiteX21" fmla="*/ 77214 w 98114"/>
                <a:gd name="connsiteY21" fmla="*/ 170027 h 234658"/>
                <a:gd name="connsiteX22" fmla="*/ 82765 w 98114"/>
                <a:gd name="connsiteY22" fmla="*/ 170600 h 234658"/>
                <a:gd name="connsiteX23" fmla="*/ 85582 w 98114"/>
                <a:gd name="connsiteY23" fmla="*/ 171337 h 234658"/>
                <a:gd name="connsiteX24" fmla="*/ 87844 w 98114"/>
                <a:gd name="connsiteY24" fmla="*/ 172176 h 234658"/>
                <a:gd name="connsiteX25" fmla="*/ 89900 w 98114"/>
                <a:gd name="connsiteY25" fmla="*/ 173220 h 234658"/>
                <a:gd name="connsiteX26" fmla="*/ 90795 w 98114"/>
                <a:gd name="connsiteY26" fmla="*/ 145383 h 234658"/>
                <a:gd name="connsiteX27" fmla="*/ 90455 w 98114"/>
                <a:gd name="connsiteY27" fmla="*/ 145031 h 234658"/>
                <a:gd name="connsiteX28" fmla="*/ 86343 w 98114"/>
                <a:gd name="connsiteY28" fmla="*/ 141714 h 234658"/>
                <a:gd name="connsiteX29" fmla="*/ 84863 w 98114"/>
                <a:gd name="connsiteY29" fmla="*/ 140936 h 234658"/>
                <a:gd name="connsiteX30" fmla="*/ 83362 w 98114"/>
                <a:gd name="connsiteY30" fmla="*/ 140302 h 234658"/>
                <a:gd name="connsiteX31" fmla="*/ 76536 w 98114"/>
                <a:gd name="connsiteY31" fmla="*/ 139012 h 234658"/>
                <a:gd name="connsiteX32" fmla="*/ 65495 w 98114"/>
                <a:gd name="connsiteY32" fmla="*/ 142267 h 234658"/>
                <a:gd name="connsiteX33" fmla="*/ 63295 w 98114"/>
                <a:gd name="connsiteY33" fmla="*/ 143700 h 234658"/>
                <a:gd name="connsiteX34" fmla="*/ 62966 w 98114"/>
                <a:gd name="connsiteY34" fmla="*/ 141223 h 234658"/>
                <a:gd name="connsiteX35" fmla="*/ 62658 w 98114"/>
                <a:gd name="connsiteY35" fmla="*/ 136842 h 234658"/>
                <a:gd name="connsiteX36" fmla="*/ 63480 w 98114"/>
                <a:gd name="connsiteY36" fmla="*/ 136392 h 234658"/>
                <a:gd name="connsiteX37" fmla="*/ 76248 w 98114"/>
                <a:gd name="connsiteY37" fmla="*/ 132973 h 234658"/>
                <a:gd name="connsiteX38" fmla="*/ 86281 w 98114"/>
                <a:gd name="connsiteY38" fmla="*/ 135020 h 234658"/>
                <a:gd name="connsiteX39" fmla="*/ 86028 w 98114"/>
                <a:gd name="connsiteY39" fmla="*/ 106996 h 234658"/>
                <a:gd name="connsiteX40" fmla="*/ 79106 w 98114"/>
                <a:gd name="connsiteY40" fmla="*/ 102593 h 234658"/>
                <a:gd name="connsiteX41" fmla="*/ 77050 w 98114"/>
                <a:gd name="connsiteY41" fmla="*/ 101958 h 234658"/>
                <a:gd name="connsiteX42" fmla="*/ 74398 w 98114"/>
                <a:gd name="connsiteY42" fmla="*/ 101467 h 234658"/>
                <a:gd name="connsiteX43" fmla="*/ 74089 w 98114"/>
                <a:gd name="connsiteY43" fmla="*/ 101467 h 234658"/>
                <a:gd name="connsiteX44" fmla="*/ 72033 w 98114"/>
                <a:gd name="connsiteY44" fmla="*/ 101467 h 234658"/>
                <a:gd name="connsiteX45" fmla="*/ 66893 w 98114"/>
                <a:gd name="connsiteY45" fmla="*/ 102142 h 234658"/>
                <a:gd name="connsiteX46" fmla="*/ 64241 w 98114"/>
                <a:gd name="connsiteY46" fmla="*/ 103043 h 234658"/>
                <a:gd name="connsiteX47" fmla="*/ 63624 w 98114"/>
                <a:gd name="connsiteY47" fmla="*/ 103330 h 234658"/>
                <a:gd name="connsiteX48" fmla="*/ 61157 w 98114"/>
                <a:gd name="connsiteY48" fmla="*/ 104538 h 234658"/>
                <a:gd name="connsiteX49" fmla="*/ 60910 w 98114"/>
                <a:gd name="connsiteY49" fmla="*/ 97843 h 234658"/>
                <a:gd name="connsiteX50" fmla="*/ 61877 w 98114"/>
                <a:gd name="connsiteY50" fmla="*/ 97454 h 234658"/>
                <a:gd name="connsiteX51" fmla="*/ 74480 w 98114"/>
                <a:gd name="connsiteY51" fmla="*/ 95407 h 234658"/>
                <a:gd name="connsiteX52" fmla="*/ 79044 w 98114"/>
                <a:gd name="connsiteY52" fmla="*/ 96246 h 234658"/>
                <a:gd name="connsiteX53" fmla="*/ 83472 w 98114"/>
                <a:gd name="connsiteY53" fmla="*/ 72625 h 234658"/>
                <a:gd name="connsiteX54" fmla="*/ 78119 w 98114"/>
                <a:gd name="connsiteY54" fmla="*/ 67627 h 234658"/>
                <a:gd name="connsiteX55" fmla="*/ 76618 w 98114"/>
                <a:gd name="connsiteY55" fmla="*/ 66829 h 234658"/>
                <a:gd name="connsiteX56" fmla="*/ 74726 w 98114"/>
                <a:gd name="connsiteY56" fmla="*/ 66051 h 234658"/>
                <a:gd name="connsiteX57" fmla="*/ 62185 w 98114"/>
                <a:gd name="connsiteY57" fmla="*/ 66747 h 234658"/>
                <a:gd name="connsiteX58" fmla="*/ 60129 w 98114"/>
                <a:gd name="connsiteY58" fmla="*/ 67709 h 234658"/>
                <a:gd name="connsiteX59" fmla="*/ 59841 w 98114"/>
                <a:gd name="connsiteY59" fmla="*/ 61097 h 234658"/>
                <a:gd name="connsiteX60" fmla="*/ 60828 w 98114"/>
                <a:gd name="connsiteY60" fmla="*/ 60708 h 234658"/>
                <a:gd name="connsiteX61" fmla="*/ 78653 w 98114"/>
                <a:gd name="connsiteY61" fmla="*/ 61117 h 234658"/>
                <a:gd name="connsiteX62" fmla="*/ 82231 w 98114"/>
                <a:gd name="connsiteY62" fmla="*/ 39335 h 234658"/>
                <a:gd name="connsiteX63" fmla="*/ 80175 w 98114"/>
                <a:gd name="connsiteY63" fmla="*/ 36960 h 234658"/>
                <a:gd name="connsiteX64" fmla="*/ 79496 w 98114"/>
                <a:gd name="connsiteY64" fmla="*/ 36408 h 234658"/>
                <a:gd name="connsiteX65" fmla="*/ 78571 w 98114"/>
                <a:gd name="connsiteY65" fmla="*/ 35691 h 234658"/>
                <a:gd name="connsiteX66" fmla="*/ 77852 w 98114"/>
                <a:gd name="connsiteY66" fmla="*/ 35159 h 234658"/>
                <a:gd name="connsiteX67" fmla="*/ 71951 w 98114"/>
                <a:gd name="connsiteY67" fmla="*/ 32927 h 234658"/>
                <a:gd name="connsiteX68" fmla="*/ 60067 w 98114"/>
                <a:gd name="connsiteY68" fmla="*/ 35773 h 234658"/>
                <a:gd name="connsiteX69" fmla="*/ 58011 w 98114"/>
                <a:gd name="connsiteY69" fmla="*/ 37267 h 234658"/>
                <a:gd name="connsiteX70" fmla="*/ 57086 w 98114"/>
                <a:gd name="connsiteY70" fmla="*/ 30389 h 234658"/>
                <a:gd name="connsiteX71" fmla="*/ 57950 w 98114"/>
                <a:gd name="connsiteY71" fmla="*/ 29857 h 234658"/>
                <a:gd name="connsiteX72" fmla="*/ 80422 w 98114"/>
                <a:gd name="connsiteY72" fmla="*/ 29570 h 234658"/>
                <a:gd name="connsiteX73" fmla="*/ 83156 w 98114"/>
                <a:gd name="connsiteY73" fmla="*/ 22712 h 234658"/>
                <a:gd name="connsiteX74" fmla="*/ 82992 w 98114"/>
                <a:gd name="connsiteY74" fmla="*/ 16693 h 234658"/>
                <a:gd name="connsiteX75" fmla="*/ 74768 w 98114"/>
                <a:gd name="connsiteY75" fmla="*/ 16693 h 234658"/>
                <a:gd name="connsiteX76" fmla="*/ 66934 w 98114"/>
                <a:gd name="connsiteY76" fmla="*/ 14278 h 234658"/>
                <a:gd name="connsiteX77" fmla="*/ 65475 w 98114"/>
                <a:gd name="connsiteY77" fmla="*/ 13500 h 234658"/>
                <a:gd name="connsiteX78" fmla="*/ 63871 w 98114"/>
                <a:gd name="connsiteY78" fmla="*/ 12558 h 234658"/>
                <a:gd name="connsiteX79" fmla="*/ 57292 w 98114"/>
                <a:gd name="connsiteY79" fmla="*/ 6662 h 234658"/>
                <a:gd name="connsiteX80" fmla="*/ 54064 w 98114"/>
                <a:gd name="connsiteY80" fmla="*/ 8218 h 234658"/>
                <a:gd name="connsiteX81" fmla="*/ 53467 w 98114"/>
                <a:gd name="connsiteY81" fmla="*/ 8648 h 234658"/>
                <a:gd name="connsiteX82" fmla="*/ 43455 w 98114"/>
                <a:gd name="connsiteY82" fmla="*/ 10429 h 234658"/>
                <a:gd name="connsiteX83" fmla="*/ 36320 w 98114"/>
                <a:gd name="connsiteY83" fmla="*/ 9549 h 234658"/>
                <a:gd name="connsiteX84" fmla="*/ 35478 w 98114"/>
                <a:gd name="connsiteY84" fmla="*/ 9385 h 234658"/>
                <a:gd name="connsiteX85" fmla="*/ 20551 w 98114"/>
                <a:gd name="connsiteY85" fmla="*/ 29 h 234658"/>
                <a:gd name="connsiteX86" fmla="*/ 13643 w 98114"/>
                <a:gd name="connsiteY86" fmla="*/ 1299 h 234658"/>
                <a:gd name="connsiteX87" fmla="*/ 12615 w 98114"/>
                <a:gd name="connsiteY87" fmla="*/ 1790 h 234658"/>
                <a:gd name="connsiteX88" fmla="*/ 11834 w 98114"/>
                <a:gd name="connsiteY88" fmla="*/ 2158 h 234658"/>
                <a:gd name="connsiteX89" fmla="*/ 11114 w 98114"/>
                <a:gd name="connsiteY89" fmla="*/ 2547 h 234658"/>
                <a:gd name="connsiteX90" fmla="*/ 4268 w 98114"/>
                <a:gd name="connsiteY90" fmla="*/ 25291 h 234658"/>
                <a:gd name="connsiteX91" fmla="*/ 30235 w 98114"/>
                <a:gd name="connsiteY91" fmla="*/ 22773 h 234658"/>
                <a:gd name="connsiteX92" fmla="*/ 31078 w 98114"/>
                <a:gd name="connsiteY92" fmla="*/ 23183 h 234658"/>
                <a:gd name="connsiteX93" fmla="*/ 31078 w 98114"/>
                <a:gd name="connsiteY93" fmla="*/ 30307 h 234658"/>
                <a:gd name="connsiteX94" fmla="*/ 28775 w 98114"/>
                <a:gd name="connsiteY94" fmla="*/ 28935 h 234658"/>
                <a:gd name="connsiteX95" fmla="*/ 6755 w 98114"/>
                <a:gd name="connsiteY95" fmla="*/ 31249 h 234658"/>
                <a:gd name="connsiteX96" fmla="*/ 5748 w 98114"/>
                <a:gd name="connsiteY96" fmla="*/ 32272 h 234658"/>
                <a:gd name="connsiteX97" fmla="*/ 4802 w 98114"/>
                <a:gd name="connsiteY97" fmla="*/ 33357 h 234658"/>
                <a:gd name="connsiteX98" fmla="*/ 4268 w 98114"/>
                <a:gd name="connsiteY98" fmla="*/ 55262 h 234658"/>
                <a:gd name="connsiteX99" fmla="*/ 8708 w 98114"/>
                <a:gd name="connsiteY99" fmla="*/ 59664 h 234658"/>
                <a:gd name="connsiteX100" fmla="*/ 29515 w 98114"/>
                <a:gd name="connsiteY100" fmla="*/ 57412 h 234658"/>
                <a:gd name="connsiteX101" fmla="*/ 30584 w 98114"/>
                <a:gd name="connsiteY101" fmla="*/ 57760 h 234658"/>
                <a:gd name="connsiteX102" fmla="*/ 30584 w 98114"/>
                <a:gd name="connsiteY102" fmla="*/ 64085 h 234658"/>
                <a:gd name="connsiteX103" fmla="*/ 28528 w 98114"/>
                <a:gd name="connsiteY103" fmla="*/ 63512 h 234658"/>
                <a:gd name="connsiteX104" fmla="*/ 23614 w 98114"/>
                <a:gd name="connsiteY104" fmla="*/ 62386 h 234658"/>
                <a:gd name="connsiteX105" fmla="*/ 12677 w 98114"/>
                <a:gd name="connsiteY105" fmla="*/ 64433 h 234658"/>
                <a:gd name="connsiteX106" fmla="*/ 11135 w 98114"/>
                <a:gd name="connsiteY106" fmla="*/ 65314 h 234658"/>
                <a:gd name="connsiteX107" fmla="*/ 9736 w 98114"/>
                <a:gd name="connsiteY107" fmla="*/ 66255 h 234658"/>
                <a:gd name="connsiteX108" fmla="*/ 5855 w 98114"/>
                <a:gd name="connsiteY108" fmla="*/ 94100 h 234658"/>
                <a:gd name="connsiteX109" fmla="*/ 6406 w 98114"/>
                <a:gd name="connsiteY109" fmla="*/ 94793 h 234658"/>
                <a:gd name="connsiteX110" fmla="*/ 9695 w 98114"/>
                <a:gd name="connsiteY110" fmla="*/ 97946 h 234658"/>
                <a:gd name="connsiteX111" fmla="*/ 22319 w 98114"/>
                <a:gd name="connsiteY111" fmla="*/ 95898 h 234658"/>
                <a:gd name="connsiteX112" fmla="*/ 29371 w 98114"/>
                <a:gd name="connsiteY112" fmla="*/ 97598 h 234658"/>
                <a:gd name="connsiteX113" fmla="*/ 30317 w 98114"/>
                <a:gd name="connsiteY113" fmla="*/ 97966 h 234658"/>
                <a:gd name="connsiteX114" fmla="*/ 30317 w 98114"/>
                <a:gd name="connsiteY114" fmla="*/ 104701 h 234658"/>
                <a:gd name="connsiteX115" fmla="*/ 28261 w 98114"/>
                <a:gd name="connsiteY115" fmla="*/ 103719 h 234658"/>
                <a:gd name="connsiteX116" fmla="*/ 13478 w 98114"/>
                <a:gd name="connsiteY116" fmla="*/ 102941 h 234658"/>
                <a:gd name="connsiteX117" fmla="*/ 11649 w 98114"/>
                <a:gd name="connsiteY117" fmla="*/ 103657 h 234658"/>
                <a:gd name="connsiteX118" fmla="*/ 10127 w 98114"/>
                <a:gd name="connsiteY118" fmla="*/ 104435 h 234658"/>
                <a:gd name="connsiteX119" fmla="*/ 2580 w 98114"/>
                <a:gd name="connsiteY119" fmla="*/ 131464 h 234658"/>
                <a:gd name="connsiteX120" fmla="*/ 11690 w 98114"/>
                <a:gd name="connsiteY120" fmla="*/ 139769 h 234658"/>
                <a:gd name="connsiteX121" fmla="*/ 22751 w 98114"/>
                <a:gd name="connsiteY121" fmla="*/ 137395 h 234658"/>
                <a:gd name="connsiteX122" fmla="*/ 29659 w 98114"/>
                <a:gd name="connsiteY122" fmla="*/ 138295 h 234658"/>
                <a:gd name="connsiteX123" fmla="*/ 33524 w 98114"/>
                <a:gd name="connsiteY123" fmla="*/ 140076 h 234658"/>
                <a:gd name="connsiteX124" fmla="*/ 34121 w 98114"/>
                <a:gd name="connsiteY124" fmla="*/ 140384 h 234658"/>
                <a:gd name="connsiteX125" fmla="*/ 34285 w 98114"/>
                <a:gd name="connsiteY125" fmla="*/ 141039 h 234658"/>
                <a:gd name="connsiteX126" fmla="*/ 35005 w 98114"/>
                <a:gd name="connsiteY126" fmla="*/ 144478 h 234658"/>
                <a:gd name="connsiteX127" fmla="*/ 35457 w 98114"/>
                <a:gd name="connsiteY127" fmla="*/ 147446 h 234658"/>
                <a:gd name="connsiteX128" fmla="*/ 32887 w 98114"/>
                <a:gd name="connsiteY128" fmla="*/ 146116 h 234658"/>
                <a:gd name="connsiteX129" fmla="*/ 30543 w 98114"/>
                <a:gd name="connsiteY129" fmla="*/ 145031 h 234658"/>
                <a:gd name="connsiteX130" fmla="*/ 28487 w 98114"/>
                <a:gd name="connsiteY130" fmla="*/ 144355 h 234658"/>
                <a:gd name="connsiteX131" fmla="*/ 25753 w 98114"/>
                <a:gd name="connsiteY131" fmla="*/ 143802 h 234658"/>
                <a:gd name="connsiteX132" fmla="*/ 23080 w 98114"/>
                <a:gd name="connsiteY132" fmla="*/ 143598 h 234658"/>
                <a:gd name="connsiteX133" fmla="*/ 17426 w 98114"/>
                <a:gd name="connsiteY133" fmla="*/ 144355 h 234658"/>
                <a:gd name="connsiteX134" fmla="*/ 14671 w 98114"/>
                <a:gd name="connsiteY134" fmla="*/ 145276 h 234658"/>
                <a:gd name="connsiteX135" fmla="*/ 12759 w 98114"/>
                <a:gd name="connsiteY135" fmla="*/ 146197 h 234658"/>
                <a:gd name="connsiteX136" fmla="*/ 4029 w 98114"/>
                <a:gd name="connsiteY136" fmla="*/ 174783 h 234658"/>
                <a:gd name="connsiteX137" fmla="*/ 7619 w 98114"/>
                <a:gd name="connsiteY137" fmla="*/ 179648 h 234658"/>
                <a:gd name="connsiteX138" fmla="*/ 12820 w 98114"/>
                <a:gd name="connsiteY138" fmla="*/ 183497 h 234658"/>
                <a:gd name="connsiteX139" fmla="*/ 14136 w 98114"/>
                <a:gd name="connsiteY139" fmla="*/ 182371 h 234658"/>
                <a:gd name="connsiteX140" fmla="*/ 15946 w 98114"/>
                <a:gd name="connsiteY140" fmla="*/ 181040 h 234658"/>
                <a:gd name="connsiteX141" fmla="*/ 18145 w 98114"/>
                <a:gd name="connsiteY141" fmla="*/ 179710 h 234658"/>
                <a:gd name="connsiteX142" fmla="*/ 27295 w 98114"/>
                <a:gd name="connsiteY142" fmla="*/ 176762 h 234658"/>
                <a:gd name="connsiteX143" fmla="*/ 37698 w 98114"/>
                <a:gd name="connsiteY143" fmla="*/ 177396 h 234658"/>
                <a:gd name="connsiteX144" fmla="*/ 40165 w 98114"/>
                <a:gd name="connsiteY144" fmla="*/ 178174 h 234658"/>
                <a:gd name="connsiteX145" fmla="*/ 41419 w 98114"/>
                <a:gd name="connsiteY145" fmla="*/ 178707 h 234658"/>
                <a:gd name="connsiteX146" fmla="*/ 41872 w 98114"/>
                <a:gd name="connsiteY146" fmla="*/ 183108 h 234658"/>
                <a:gd name="connsiteX147" fmla="*/ 42118 w 98114"/>
                <a:gd name="connsiteY147" fmla="*/ 185667 h 234658"/>
                <a:gd name="connsiteX148" fmla="*/ 39754 w 98114"/>
                <a:gd name="connsiteY148" fmla="*/ 184623 h 234658"/>
                <a:gd name="connsiteX149" fmla="*/ 38048 w 98114"/>
                <a:gd name="connsiteY149" fmla="*/ 183906 h 234658"/>
                <a:gd name="connsiteX150" fmla="*/ 37390 w 98114"/>
                <a:gd name="connsiteY150" fmla="*/ 183702 h 234658"/>
                <a:gd name="connsiteX151" fmla="*/ 36691 w 98114"/>
                <a:gd name="connsiteY151" fmla="*/ 183476 h 234658"/>
                <a:gd name="connsiteX152" fmla="*/ 36156 w 98114"/>
                <a:gd name="connsiteY152" fmla="*/ 183313 h 234658"/>
                <a:gd name="connsiteX153" fmla="*/ 30153 w 98114"/>
                <a:gd name="connsiteY153" fmla="*/ 182658 h 234658"/>
                <a:gd name="connsiteX154" fmla="*/ 29166 w 98114"/>
                <a:gd name="connsiteY154" fmla="*/ 182658 h 234658"/>
                <a:gd name="connsiteX155" fmla="*/ 28323 w 98114"/>
                <a:gd name="connsiteY155" fmla="*/ 182658 h 234658"/>
                <a:gd name="connsiteX156" fmla="*/ 21065 w 98114"/>
                <a:gd name="connsiteY156" fmla="*/ 184971 h 234658"/>
                <a:gd name="connsiteX157" fmla="*/ 19359 w 98114"/>
                <a:gd name="connsiteY157" fmla="*/ 185994 h 234658"/>
                <a:gd name="connsiteX158" fmla="*/ 17981 w 98114"/>
                <a:gd name="connsiteY158" fmla="*/ 187018 h 234658"/>
                <a:gd name="connsiteX159" fmla="*/ 14480 w 98114"/>
                <a:gd name="connsiteY159" fmla="*/ 215759 h 234658"/>
                <a:gd name="connsiteX160" fmla="*/ 18351 w 98114"/>
                <a:gd name="connsiteY160" fmla="*/ 219527 h 234658"/>
                <a:gd name="connsiteX161" fmla="*/ 19359 w 98114"/>
                <a:gd name="connsiteY161" fmla="*/ 220305 h 234658"/>
                <a:gd name="connsiteX162" fmla="*/ 19359 w 98114"/>
                <a:gd name="connsiteY162" fmla="*/ 220428 h 234658"/>
                <a:gd name="connsiteX163" fmla="*/ 28590 w 98114"/>
                <a:gd name="connsiteY163" fmla="*/ 225136 h 234658"/>
                <a:gd name="connsiteX164" fmla="*/ 27541 w 98114"/>
                <a:gd name="connsiteY164" fmla="*/ 220510 h 234658"/>
                <a:gd name="connsiteX165" fmla="*/ 32455 w 98114"/>
                <a:gd name="connsiteY165" fmla="*/ 205013 h 234658"/>
                <a:gd name="connsiteX166" fmla="*/ 33545 w 98114"/>
                <a:gd name="connsiteY166" fmla="*/ 203948 h 234658"/>
                <a:gd name="connsiteX167" fmla="*/ 37616 w 98114"/>
                <a:gd name="connsiteY167" fmla="*/ 208493 h 234658"/>
                <a:gd name="connsiteX168" fmla="*/ 36156 w 98114"/>
                <a:gd name="connsiteY168" fmla="*/ 209946 h 234658"/>
                <a:gd name="connsiteX169" fmla="*/ 33463 w 98114"/>
                <a:gd name="connsiteY169" fmla="*/ 219978 h 234658"/>
                <a:gd name="connsiteX170" fmla="*/ 34737 w 98114"/>
                <a:gd name="connsiteY170" fmla="*/ 224625 h 234658"/>
                <a:gd name="connsiteX171" fmla="*/ 35416 w 98114"/>
                <a:gd name="connsiteY171" fmla="*/ 225935 h 234658"/>
                <a:gd name="connsiteX172" fmla="*/ 36259 w 98114"/>
                <a:gd name="connsiteY172" fmla="*/ 227204 h 234658"/>
                <a:gd name="connsiteX173" fmla="*/ 40371 w 98114"/>
                <a:gd name="connsiteY173" fmla="*/ 231053 h 234658"/>
                <a:gd name="connsiteX174" fmla="*/ 41193 w 98114"/>
                <a:gd name="connsiteY174" fmla="*/ 231565 h 234658"/>
                <a:gd name="connsiteX175" fmla="*/ 56510 w 98114"/>
                <a:gd name="connsiteY175" fmla="*/ 234615 h 234658"/>
                <a:gd name="connsiteX176" fmla="*/ 78468 w 98114"/>
                <a:gd name="connsiteY176" fmla="*/ 229354 h 234658"/>
                <a:gd name="connsiteX177" fmla="*/ 95533 w 98114"/>
                <a:gd name="connsiteY177" fmla="*/ 212587 h 234658"/>
                <a:gd name="connsiteX178" fmla="*/ 97589 w 98114"/>
                <a:gd name="connsiteY178" fmla="*/ 206323 h 234658"/>
                <a:gd name="connsiteX179" fmla="*/ 98083 w 98114"/>
                <a:gd name="connsiteY179" fmla="*/ 199117 h 234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98114" h="234658">
                  <a:moveTo>
                    <a:pt x="98000" y="199158"/>
                  </a:moveTo>
                  <a:lnTo>
                    <a:pt x="98000" y="196537"/>
                  </a:lnTo>
                  <a:cubicBezTo>
                    <a:pt x="97849" y="188410"/>
                    <a:pt x="92924" y="181126"/>
                    <a:pt x="85418" y="177929"/>
                  </a:cubicBezTo>
                  <a:cubicBezTo>
                    <a:pt x="84863" y="177703"/>
                    <a:pt x="84287" y="177499"/>
                    <a:pt x="83711" y="177314"/>
                  </a:cubicBezTo>
                  <a:cubicBezTo>
                    <a:pt x="83038" y="177084"/>
                    <a:pt x="82351" y="176893"/>
                    <a:pt x="81655" y="176741"/>
                  </a:cubicBezTo>
                  <a:cubicBezTo>
                    <a:pt x="80532" y="176507"/>
                    <a:pt x="79390" y="176370"/>
                    <a:pt x="78242" y="176332"/>
                  </a:cubicBezTo>
                  <a:lnTo>
                    <a:pt x="77420" y="176332"/>
                  </a:lnTo>
                  <a:lnTo>
                    <a:pt x="76721" y="176332"/>
                  </a:lnTo>
                  <a:cubicBezTo>
                    <a:pt x="74380" y="176432"/>
                    <a:pt x="72072" y="176924"/>
                    <a:pt x="69895" y="177785"/>
                  </a:cubicBezTo>
                  <a:lnTo>
                    <a:pt x="69134" y="178051"/>
                  </a:lnTo>
                  <a:cubicBezTo>
                    <a:pt x="68430" y="178338"/>
                    <a:pt x="67743" y="178667"/>
                    <a:pt x="67078" y="179034"/>
                  </a:cubicBezTo>
                  <a:cubicBezTo>
                    <a:pt x="66541" y="179327"/>
                    <a:pt x="66019" y="179648"/>
                    <a:pt x="65516" y="179996"/>
                  </a:cubicBezTo>
                  <a:cubicBezTo>
                    <a:pt x="63983" y="181056"/>
                    <a:pt x="62600" y="182316"/>
                    <a:pt x="61404" y="183743"/>
                  </a:cubicBezTo>
                  <a:lnTo>
                    <a:pt x="59039" y="186527"/>
                  </a:lnTo>
                  <a:lnTo>
                    <a:pt x="58299" y="177642"/>
                  </a:lnTo>
                  <a:lnTo>
                    <a:pt x="58854" y="177130"/>
                  </a:lnTo>
                  <a:cubicBezTo>
                    <a:pt x="59813" y="176252"/>
                    <a:pt x="60830" y="175438"/>
                    <a:pt x="61897" y="174694"/>
                  </a:cubicBezTo>
                  <a:lnTo>
                    <a:pt x="62185" y="174510"/>
                  </a:lnTo>
                  <a:cubicBezTo>
                    <a:pt x="62843" y="174100"/>
                    <a:pt x="63377" y="173752"/>
                    <a:pt x="63953" y="173425"/>
                  </a:cubicBezTo>
                  <a:cubicBezTo>
                    <a:pt x="64529" y="173097"/>
                    <a:pt x="65639" y="172545"/>
                    <a:pt x="66461" y="172197"/>
                  </a:cubicBezTo>
                  <a:cubicBezTo>
                    <a:pt x="69574" y="170852"/>
                    <a:pt x="72918" y="170115"/>
                    <a:pt x="76310" y="170027"/>
                  </a:cubicBezTo>
                  <a:cubicBezTo>
                    <a:pt x="76611" y="170009"/>
                    <a:pt x="76913" y="170009"/>
                    <a:pt x="77214" y="170027"/>
                  </a:cubicBezTo>
                  <a:cubicBezTo>
                    <a:pt x="79080" y="170021"/>
                    <a:pt x="80941" y="170214"/>
                    <a:pt x="82765" y="170600"/>
                  </a:cubicBezTo>
                  <a:cubicBezTo>
                    <a:pt x="83717" y="170795"/>
                    <a:pt x="84657" y="171041"/>
                    <a:pt x="85582" y="171337"/>
                  </a:cubicBezTo>
                  <a:cubicBezTo>
                    <a:pt x="86343" y="171582"/>
                    <a:pt x="87104" y="171869"/>
                    <a:pt x="87844" y="172176"/>
                  </a:cubicBezTo>
                  <a:cubicBezTo>
                    <a:pt x="88547" y="172489"/>
                    <a:pt x="89233" y="172837"/>
                    <a:pt x="89900" y="173220"/>
                  </a:cubicBezTo>
                  <a:cubicBezTo>
                    <a:pt x="97867" y="165779"/>
                    <a:pt x="98268" y="153316"/>
                    <a:pt x="90795" y="145383"/>
                  </a:cubicBezTo>
                  <a:cubicBezTo>
                    <a:pt x="90683" y="145264"/>
                    <a:pt x="90570" y="145147"/>
                    <a:pt x="90455" y="145031"/>
                  </a:cubicBezTo>
                  <a:cubicBezTo>
                    <a:pt x="89233" y="143753"/>
                    <a:pt x="87851" y="142639"/>
                    <a:pt x="86343" y="141714"/>
                  </a:cubicBezTo>
                  <a:cubicBezTo>
                    <a:pt x="85849" y="141428"/>
                    <a:pt x="85356" y="141182"/>
                    <a:pt x="84863" y="140936"/>
                  </a:cubicBezTo>
                  <a:cubicBezTo>
                    <a:pt x="84369" y="140691"/>
                    <a:pt x="83876" y="140486"/>
                    <a:pt x="83362" y="140302"/>
                  </a:cubicBezTo>
                  <a:cubicBezTo>
                    <a:pt x="81181" y="139472"/>
                    <a:pt x="78870" y="139036"/>
                    <a:pt x="76536" y="139012"/>
                  </a:cubicBezTo>
                  <a:cubicBezTo>
                    <a:pt x="72617" y="139009"/>
                    <a:pt x="68781" y="140140"/>
                    <a:pt x="65495" y="142267"/>
                  </a:cubicBezTo>
                  <a:lnTo>
                    <a:pt x="63295" y="143700"/>
                  </a:lnTo>
                  <a:lnTo>
                    <a:pt x="62966" y="141223"/>
                  </a:lnTo>
                  <a:lnTo>
                    <a:pt x="62658" y="136842"/>
                  </a:lnTo>
                  <a:lnTo>
                    <a:pt x="63480" y="136392"/>
                  </a:lnTo>
                  <a:cubicBezTo>
                    <a:pt x="67365" y="134165"/>
                    <a:pt x="71766" y="132986"/>
                    <a:pt x="76248" y="132973"/>
                  </a:cubicBezTo>
                  <a:cubicBezTo>
                    <a:pt x="79694" y="133005"/>
                    <a:pt x="83101" y="133700"/>
                    <a:pt x="86281" y="135020"/>
                  </a:cubicBezTo>
                  <a:cubicBezTo>
                    <a:pt x="93983" y="127212"/>
                    <a:pt x="93870" y="114665"/>
                    <a:pt x="86028" y="106996"/>
                  </a:cubicBezTo>
                  <a:cubicBezTo>
                    <a:pt x="84053" y="105065"/>
                    <a:pt x="81695" y="103565"/>
                    <a:pt x="79106" y="102593"/>
                  </a:cubicBezTo>
                  <a:cubicBezTo>
                    <a:pt x="78448" y="102347"/>
                    <a:pt x="77769" y="102142"/>
                    <a:pt x="77050" y="101958"/>
                  </a:cubicBezTo>
                  <a:cubicBezTo>
                    <a:pt x="76179" y="101731"/>
                    <a:pt x="75292" y="101567"/>
                    <a:pt x="74398" y="101467"/>
                  </a:cubicBezTo>
                  <a:lnTo>
                    <a:pt x="74089" y="101467"/>
                  </a:lnTo>
                  <a:cubicBezTo>
                    <a:pt x="73404" y="101433"/>
                    <a:pt x="72718" y="101433"/>
                    <a:pt x="72033" y="101467"/>
                  </a:cubicBezTo>
                  <a:cubicBezTo>
                    <a:pt x="70298" y="101470"/>
                    <a:pt x="68570" y="101697"/>
                    <a:pt x="66893" y="102142"/>
                  </a:cubicBezTo>
                  <a:cubicBezTo>
                    <a:pt x="65986" y="102372"/>
                    <a:pt x="65099" y="102673"/>
                    <a:pt x="64241" y="103043"/>
                  </a:cubicBezTo>
                  <a:cubicBezTo>
                    <a:pt x="64030" y="103126"/>
                    <a:pt x="63824" y="103222"/>
                    <a:pt x="63624" y="103330"/>
                  </a:cubicBezTo>
                  <a:lnTo>
                    <a:pt x="61157" y="104538"/>
                  </a:lnTo>
                  <a:lnTo>
                    <a:pt x="60910" y="97843"/>
                  </a:lnTo>
                  <a:lnTo>
                    <a:pt x="61877" y="97454"/>
                  </a:lnTo>
                  <a:cubicBezTo>
                    <a:pt x="65835" y="95718"/>
                    <a:pt x="70172" y="95014"/>
                    <a:pt x="74480" y="95407"/>
                  </a:cubicBezTo>
                  <a:cubicBezTo>
                    <a:pt x="76023" y="95556"/>
                    <a:pt x="77550" y="95837"/>
                    <a:pt x="79044" y="96246"/>
                  </a:cubicBezTo>
                  <a:cubicBezTo>
                    <a:pt x="86818" y="90941"/>
                    <a:pt x="88800" y="80365"/>
                    <a:pt x="83472" y="72625"/>
                  </a:cubicBezTo>
                  <a:cubicBezTo>
                    <a:pt x="82073" y="70592"/>
                    <a:pt x="80246" y="68887"/>
                    <a:pt x="78119" y="67627"/>
                  </a:cubicBezTo>
                  <a:cubicBezTo>
                    <a:pt x="77634" y="67332"/>
                    <a:pt x="77133" y="67066"/>
                    <a:pt x="76618" y="66829"/>
                  </a:cubicBezTo>
                  <a:cubicBezTo>
                    <a:pt x="76007" y="66524"/>
                    <a:pt x="75375" y="66264"/>
                    <a:pt x="74726" y="66051"/>
                  </a:cubicBezTo>
                  <a:cubicBezTo>
                    <a:pt x="70609" y="64687"/>
                    <a:pt x="66125" y="64935"/>
                    <a:pt x="62185" y="66747"/>
                  </a:cubicBezTo>
                  <a:lnTo>
                    <a:pt x="60129" y="67709"/>
                  </a:lnTo>
                  <a:lnTo>
                    <a:pt x="59841" y="61097"/>
                  </a:lnTo>
                  <a:lnTo>
                    <a:pt x="60828" y="60708"/>
                  </a:lnTo>
                  <a:cubicBezTo>
                    <a:pt x="66578" y="58422"/>
                    <a:pt x="73015" y="58570"/>
                    <a:pt x="78653" y="61117"/>
                  </a:cubicBezTo>
                  <a:cubicBezTo>
                    <a:pt x="85665" y="56075"/>
                    <a:pt x="87264" y="46338"/>
                    <a:pt x="82231" y="39335"/>
                  </a:cubicBezTo>
                  <a:cubicBezTo>
                    <a:pt x="81629" y="38476"/>
                    <a:pt x="80940" y="37680"/>
                    <a:pt x="80175" y="36960"/>
                  </a:cubicBezTo>
                  <a:cubicBezTo>
                    <a:pt x="79969" y="36756"/>
                    <a:pt x="79723" y="36592"/>
                    <a:pt x="79496" y="36408"/>
                  </a:cubicBezTo>
                  <a:lnTo>
                    <a:pt x="78571" y="35691"/>
                  </a:lnTo>
                  <a:cubicBezTo>
                    <a:pt x="78349" y="35491"/>
                    <a:pt x="78108" y="35313"/>
                    <a:pt x="77852" y="35159"/>
                  </a:cubicBezTo>
                  <a:cubicBezTo>
                    <a:pt x="76055" y="34029"/>
                    <a:pt x="74048" y="33270"/>
                    <a:pt x="71951" y="32927"/>
                  </a:cubicBezTo>
                  <a:cubicBezTo>
                    <a:pt x="67766" y="32225"/>
                    <a:pt x="63474" y="33253"/>
                    <a:pt x="60067" y="35773"/>
                  </a:cubicBezTo>
                  <a:lnTo>
                    <a:pt x="58011" y="37267"/>
                  </a:lnTo>
                  <a:lnTo>
                    <a:pt x="57086" y="30389"/>
                  </a:lnTo>
                  <a:lnTo>
                    <a:pt x="57950" y="29857"/>
                  </a:lnTo>
                  <a:cubicBezTo>
                    <a:pt x="64800" y="25594"/>
                    <a:pt x="73464" y="25484"/>
                    <a:pt x="80422" y="29570"/>
                  </a:cubicBezTo>
                  <a:cubicBezTo>
                    <a:pt x="81822" y="27509"/>
                    <a:pt x="82756" y="25169"/>
                    <a:pt x="83156" y="22712"/>
                  </a:cubicBezTo>
                  <a:cubicBezTo>
                    <a:pt x="83472" y="20713"/>
                    <a:pt x="83416" y="18673"/>
                    <a:pt x="82992" y="16693"/>
                  </a:cubicBezTo>
                  <a:cubicBezTo>
                    <a:pt x="80267" y="17116"/>
                    <a:pt x="77493" y="17116"/>
                    <a:pt x="74768" y="16693"/>
                  </a:cubicBezTo>
                  <a:cubicBezTo>
                    <a:pt x="72051" y="16279"/>
                    <a:pt x="69411" y="15465"/>
                    <a:pt x="66934" y="14278"/>
                  </a:cubicBezTo>
                  <a:cubicBezTo>
                    <a:pt x="66431" y="14051"/>
                    <a:pt x="65943" y="13791"/>
                    <a:pt x="65475" y="13500"/>
                  </a:cubicBezTo>
                  <a:cubicBezTo>
                    <a:pt x="64858" y="13152"/>
                    <a:pt x="64344" y="12865"/>
                    <a:pt x="63871" y="12558"/>
                  </a:cubicBezTo>
                  <a:cubicBezTo>
                    <a:pt x="61372" y="10960"/>
                    <a:pt x="59150" y="8969"/>
                    <a:pt x="57292" y="6662"/>
                  </a:cubicBezTo>
                  <a:cubicBezTo>
                    <a:pt x="56249" y="7246"/>
                    <a:pt x="55171" y="7766"/>
                    <a:pt x="54064" y="8218"/>
                  </a:cubicBezTo>
                  <a:lnTo>
                    <a:pt x="53467" y="8648"/>
                  </a:lnTo>
                  <a:cubicBezTo>
                    <a:pt x="50266" y="9842"/>
                    <a:pt x="46873" y="10446"/>
                    <a:pt x="43455" y="10429"/>
                  </a:cubicBezTo>
                  <a:cubicBezTo>
                    <a:pt x="41048" y="10451"/>
                    <a:pt x="38649" y="10155"/>
                    <a:pt x="36320" y="9549"/>
                  </a:cubicBezTo>
                  <a:lnTo>
                    <a:pt x="35478" y="9385"/>
                  </a:lnTo>
                  <a:cubicBezTo>
                    <a:pt x="29653" y="7871"/>
                    <a:pt x="24441" y="4604"/>
                    <a:pt x="20551" y="29"/>
                  </a:cubicBezTo>
                  <a:cubicBezTo>
                    <a:pt x="18178" y="-122"/>
                    <a:pt x="15805" y="314"/>
                    <a:pt x="13643" y="1299"/>
                  </a:cubicBezTo>
                  <a:cubicBezTo>
                    <a:pt x="13293" y="1442"/>
                    <a:pt x="12964" y="1606"/>
                    <a:pt x="12615" y="1790"/>
                  </a:cubicBezTo>
                  <a:lnTo>
                    <a:pt x="11834" y="2158"/>
                  </a:lnTo>
                  <a:cubicBezTo>
                    <a:pt x="11587" y="2276"/>
                    <a:pt x="11347" y="2406"/>
                    <a:pt x="11114" y="2547"/>
                  </a:cubicBezTo>
                  <a:cubicBezTo>
                    <a:pt x="3193" y="7167"/>
                    <a:pt x="204" y="17096"/>
                    <a:pt x="4268" y="25291"/>
                  </a:cubicBezTo>
                  <a:cubicBezTo>
                    <a:pt x="11703" y="19515"/>
                    <a:pt x="21820" y="18533"/>
                    <a:pt x="30235" y="22773"/>
                  </a:cubicBezTo>
                  <a:lnTo>
                    <a:pt x="31078" y="23183"/>
                  </a:lnTo>
                  <a:lnTo>
                    <a:pt x="31078" y="30307"/>
                  </a:lnTo>
                  <a:lnTo>
                    <a:pt x="28775" y="28935"/>
                  </a:lnTo>
                  <a:cubicBezTo>
                    <a:pt x="21754" y="24659"/>
                    <a:pt x="12725" y="25608"/>
                    <a:pt x="6755" y="31249"/>
                  </a:cubicBezTo>
                  <a:cubicBezTo>
                    <a:pt x="6406" y="31576"/>
                    <a:pt x="6077" y="31924"/>
                    <a:pt x="5748" y="32272"/>
                  </a:cubicBezTo>
                  <a:cubicBezTo>
                    <a:pt x="5419" y="32620"/>
                    <a:pt x="5110" y="32989"/>
                    <a:pt x="4802" y="33357"/>
                  </a:cubicBezTo>
                  <a:cubicBezTo>
                    <a:pt x="-224" y="39737"/>
                    <a:pt x="-442" y="48647"/>
                    <a:pt x="4268" y="55262"/>
                  </a:cubicBezTo>
                  <a:cubicBezTo>
                    <a:pt x="5491" y="56965"/>
                    <a:pt x="6992" y="58453"/>
                    <a:pt x="8708" y="59664"/>
                  </a:cubicBezTo>
                  <a:cubicBezTo>
                    <a:pt x="15009" y="56008"/>
                    <a:pt x="22573" y="55189"/>
                    <a:pt x="29515" y="57412"/>
                  </a:cubicBezTo>
                  <a:lnTo>
                    <a:pt x="30584" y="57760"/>
                  </a:lnTo>
                  <a:lnTo>
                    <a:pt x="30584" y="64085"/>
                  </a:lnTo>
                  <a:lnTo>
                    <a:pt x="28528" y="63512"/>
                  </a:lnTo>
                  <a:cubicBezTo>
                    <a:pt x="26942" y="62940"/>
                    <a:pt x="25292" y="62562"/>
                    <a:pt x="23614" y="62386"/>
                  </a:cubicBezTo>
                  <a:cubicBezTo>
                    <a:pt x="19847" y="62022"/>
                    <a:pt x="16054" y="62732"/>
                    <a:pt x="12677" y="64433"/>
                  </a:cubicBezTo>
                  <a:cubicBezTo>
                    <a:pt x="12145" y="64695"/>
                    <a:pt x="11630" y="64989"/>
                    <a:pt x="11135" y="65314"/>
                  </a:cubicBezTo>
                  <a:cubicBezTo>
                    <a:pt x="10653" y="65604"/>
                    <a:pt x="10186" y="65918"/>
                    <a:pt x="9736" y="66255"/>
                  </a:cubicBezTo>
                  <a:cubicBezTo>
                    <a:pt x="942" y="72877"/>
                    <a:pt x="-796" y="85344"/>
                    <a:pt x="5855" y="94100"/>
                  </a:cubicBezTo>
                  <a:cubicBezTo>
                    <a:pt x="6033" y="94335"/>
                    <a:pt x="6217" y="94566"/>
                    <a:pt x="6406" y="94793"/>
                  </a:cubicBezTo>
                  <a:cubicBezTo>
                    <a:pt x="7376" y="95967"/>
                    <a:pt x="8480" y="97025"/>
                    <a:pt x="9695" y="97946"/>
                  </a:cubicBezTo>
                  <a:cubicBezTo>
                    <a:pt x="13661" y="96209"/>
                    <a:pt x="18005" y="95504"/>
                    <a:pt x="22319" y="95898"/>
                  </a:cubicBezTo>
                  <a:cubicBezTo>
                    <a:pt x="24740" y="96123"/>
                    <a:pt x="27115" y="96696"/>
                    <a:pt x="29371" y="97598"/>
                  </a:cubicBezTo>
                  <a:lnTo>
                    <a:pt x="30317" y="97966"/>
                  </a:lnTo>
                  <a:lnTo>
                    <a:pt x="30317" y="104701"/>
                  </a:lnTo>
                  <a:lnTo>
                    <a:pt x="28261" y="103719"/>
                  </a:lnTo>
                  <a:cubicBezTo>
                    <a:pt x="23615" y="101585"/>
                    <a:pt x="18324" y="101306"/>
                    <a:pt x="13478" y="102941"/>
                  </a:cubicBezTo>
                  <a:cubicBezTo>
                    <a:pt x="12862" y="103166"/>
                    <a:pt x="12245" y="103391"/>
                    <a:pt x="11649" y="103657"/>
                  </a:cubicBezTo>
                  <a:cubicBezTo>
                    <a:pt x="11052" y="103923"/>
                    <a:pt x="10621" y="104149"/>
                    <a:pt x="10127" y="104435"/>
                  </a:cubicBezTo>
                  <a:cubicBezTo>
                    <a:pt x="547" y="109824"/>
                    <a:pt x="-2832" y="121925"/>
                    <a:pt x="2580" y="131464"/>
                  </a:cubicBezTo>
                  <a:cubicBezTo>
                    <a:pt x="4656" y="135123"/>
                    <a:pt x="7846" y="138032"/>
                    <a:pt x="11690" y="139769"/>
                  </a:cubicBezTo>
                  <a:cubicBezTo>
                    <a:pt x="15165" y="138204"/>
                    <a:pt x="18936" y="137394"/>
                    <a:pt x="22751" y="137395"/>
                  </a:cubicBezTo>
                  <a:cubicBezTo>
                    <a:pt x="25087" y="137331"/>
                    <a:pt x="27418" y="137635"/>
                    <a:pt x="29659" y="138295"/>
                  </a:cubicBezTo>
                  <a:cubicBezTo>
                    <a:pt x="30992" y="138789"/>
                    <a:pt x="32284" y="139384"/>
                    <a:pt x="33524" y="140076"/>
                  </a:cubicBezTo>
                  <a:lnTo>
                    <a:pt x="34121" y="140384"/>
                  </a:lnTo>
                  <a:lnTo>
                    <a:pt x="34285" y="141039"/>
                  </a:lnTo>
                  <a:cubicBezTo>
                    <a:pt x="34594" y="142170"/>
                    <a:pt x="34834" y="143318"/>
                    <a:pt x="35005" y="144478"/>
                  </a:cubicBezTo>
                  <a:lnTo>
                    <a:pt x="35457" y="147446"/>
                  </a:lnTo>
                  <a:lnTo>
                    <a:pt x="32887" y="146116"/>
                  </a:lnTo>
                  <a:cubicBezTo>
                    <a:pt x="32130" y="145704"/>
                    <a:pt x="31347" y="145342"/>
                    <a:pt x="30543" y="145031"/>
                  </a:cubicBezTo>
                  <a:cubicBezTo>
                    <a:pt x="29865" y="144764"/>
                    <a:pt x="29166" y="144560"/>
                    <a:pt x="28487" y="144355"/>
                  </a:cubicBezTo>
                  <a:cubicBezTo>
                    <a:pt x="27590" y="144106"/>
                    <a:pt x="26676" y="143921"/>
                    <a:pt x="25753" y="143802"/>
                  </a:cubicBezTo>
                  <a:cubicBezTo>
                    <a:pt x="24868" y="143672"/>
                    <a:pt x="23975" y="143603"/>
                    <a:pt x="23080" y="143598"/>
                  </a:cubicBezTo>
                  <a:cubicBezTo>
                    <a:pt x="21170" y="143602"/>
                    <a:pt x="19269" y="143856"/>
                    <a:pt x="17426" y="144355"/>
                  </a:cubicBezTo>
                  <a:cubicBezTo>
                    <a:pt x="16487" y="144597"/>
                    <a:pt x="15566" y="144905"/>
                    <a:pt x="14671" y="145276"/>
                  </a:cubicBezTo>
                  <a:cubicBezTo>
                    <a:pt x="14014" y="145542"/>
                    <a:pt x="13376" y="145850"/>
                    <a:pt x="12759" y="146197"/>
                  </a:cubicBezTo>
                  <a:cubicBezTo>
                    <a:pt x="2421" y="151691"/>
                    <a:pt x="-1488" y="164489"/>
                    <a:pt x="4029" y="174783"/>
                  </a:cubicBezTo>
                  <a:cubicBezTo>
                    <a:pt x="4986" y="176567"/>
                    <a:pt x="6195" y="178206"/>
                    <a:pt x="7619" y="179648"/>
                  </a:cubicBezTo>
                  <a:cubicBezTo>
                    <a:pt x="9141" y="181193"/>
                    <a:pt x="10896" y="182491"/>
                    <a:pt x="12820" y="183497"/>
                  </a:cubicBezTo>
                  <a:lnTo>
                    <a:pt x="14136" y="182371"/>
                  </a:lnTo>
                  <a:cubicBezTo>
                    <a:pt x="14733" y="181900"/>
                    <a:pt x="15329" y="181450"/>
                    <a:pt x="15946" y="181040"/>
                  </a:cubicBezTo>
                  <a:cubicBezTo>
                    <a:pt x="16562" y="180631"/>
                    <a:pt x="17385" y="180119"/>
                    <a:pt x="18145" y="179710"/>
                  </a:cubicBezTo>
                  <a:cubicBezTo>
                    <a:pt x="20994" y="178190"/>
                    <a:pt x="24092" y="177192"/>
                    <a:pt x="27295" y="176762"/>
                  </a:cubicBezTo>
                  <a:cubicBezTo>
                    <a:pt x="30770" y="176266"/>
                    <a:pt x="34310" y="176482"/>
                    <a:pt x="37698" y="177396"/>
                  </a:cubicBezTo>
                  <a:cubicBezTo>
                    <a:pt x="38541" y="177622"/>
                    <a:pt x="39384" y="177888"/>
                    <a:pt x="40165" y="178174"/>
                  </a:cubicBezTo>
                  <a:lnTo>
                    <a:pt x="41419" y="178707"/>
                  </a:lnTo>
                  <a:lnTo>
                    <a:pt x="41872" y="183108"/>
                  </a:lnTo>
                  <a:lnTo>
                    <a:pt x="42118" y="185667"/>
                  </a:lnTo>
                  <a:lnTo>
                    <a:pt x="39754" y="184623"/>
                  </a:lnTo>
                  <a:cubicBezTo>
                    <a:pt x="39137" y="184336"/>
                    <a:pt x="38603" y="184111"/>
                    <a:pt x="38048" y="183906"/>
                  </a:cubicBezTo>
                  <a:lnTo>
                    <a:pt x="37390" y="183702"/>
                  </a:lnTo>
                  <a:lnTo>
                    <a:pt x="36691" y="183476"/>
                  </a:lnTo>
                  <a:lnTo>
                    <a:pt x="36156" y="183313"/>
                  </a:lnTo>
                  <a:cubicBezTo>
                    <a:pt x="34207" y="182757"/>
                    <a:pt x="32176" y="182536"/>
                    <a:pt x="30153" y="182658"/>
                  </a:cubicBezTo>
                  <a:lnTo>
                    <a:pt x="29166" y="182658"/>
                  </a:lnTo>
                  <a:lnTo>
                    <a:pt x="28323" y="182658"/>
                  </a:lnTo>
                  <a:cubicBezTo>
                    <a:pt x="25778" y="182963"/>
                    <a:pt x="23315" y="183748"/>
                    <a:pt x="21065" y="184971"/>
                  </a:cubicBezTo>
                  <a:cubicBezTo>
                    <a:pt x="20489" y="185278"/>
                    <a:pt x="19914" y="185626"/>
                    <a:pt x="19359" y="185994"/>
                  </a:cubicBezTo>
                  <a:cubicBezTo>
                    <a:pt x="18881" y="186311"/>
                    <a:pt x="18421" y="186652"/>
                    <a:pt x="17981" y="187018"/>
                  </a:cubicBezTo>
                  <a:cubicBezTo>
                    <a:pt x="9043" y="193992"/>
                    <a:pt x="7476" y="206860"/>
                    <a:pt x="14480" y="215759"/>
                  </a:cubicBezTo>
                  <a:cubicBezTo>
                    <a:pt x="15598" y="217179"/>
                    <a:pt x="16899" y="218446"/>
                    <a:pt x="18351" y="219527"/>
                  </a:cubicBezTo>
                  <a:lnTo>
                    <a:pt x="19359" y="220305"/>
                  </a:lnTo>
                  <a:lnTo>
                    <a:pt x="19359" y="220428"/>
                  </a:lnTo>
                  <a:cubicBezTo>
                    <a:pt x="22136" y="222522"/>
                    <a:pt x="25260" y="224116"/>
                    <a:pt x="28590" y="225136"/>
                  </a:cubicBezTo>
                  <a:cubicBezTo>
                    <a:pt x="28062" y="223640"/>
                    <a:pt x="27710" y="222087"/>
                    <a:pt x="27541" y="220510"/>
                  </a:cubicBezTo>
                  <a:cubicBezTo>
                    <a:pt x="26792" y="214874"/>
                    <a:pt x="28592" y="209198"/>
                    <a:pt x="32455" y="205013"/>
                  </a:cubicBezTo>
                  <a:lnTo>
                    <a:pt x="33545" y="203948"/>
                  </a:lnTo>
                  <a:lnTo>
                    <a:pt x="37616" y="208493"/>
                  </a:lnTo>
                  <a:lnTo>
                    <a:pt x="36156" y="209946"/>
                  </a:lnTo>
                  <a:cubicBezTo>
                    <a:pt x="33946" y="212796"/>
                    <a:pt x="32976" y="216410"/>
                    <a:pt x="33463" y="219978"/>
                  </a:cubicBezTo>
                  <a:cubicBezTo>
                    <a:pt x="33655" y="221581"/>
                    <a:pt x="34085" y="223147"/>
                    <a:pt x="34737" y="224625"/>
                  </a:cubicBezTo>
                  <a:cubicBezTo>
                    <a:pt x="34943" y="225055"/>
                    <a:pt x="35169" y="225484"/>
                    <a:pt x="35416" y="225935"/>
                  </a:cubicBezTo>
                  <a:cubicBezTo>
                    <a:pt x="35670" y="226375"/>
                    <a:pt x="35952" y="226799"/>
                    <a:pt x="36259" y="227204"/>
                  </a:cubicBezTo>
                  <a:cubicBezTo>
                    <a:pt x="37361" y="228745"/>
                    <a:pt x="38758" y="230053"/>
                    <a:pt x="40371" y="231053"/>
                  </a:cubicBezTo>
                  <a:lnTo>
                    <a:pt x="41193" y="231565"/>
                  </a:lnTo>
                  <a:cubicBezTo>
                    <a:pt x="45962" y="233843"/>
                    <a:pt x="51229" y="234892"/>
                    <a:pt x="56510" y="234615"/>
                  </a:cubicBezTo>
                  <a:cubicBezTo>
                    <a:pt x="64136" y="234541"/>
                    <a:pt x="71644" y="232742"/>
                    <a:pt x="78468" y="229354"/>
                  </a:cubicBezTo>
                  <a:cubicBezTo>
                    <a:pt x="86692" y="224788"/>
                    <a:pt x="92531" y="219118"/>
                    <a:pt x="95533" y="212587"/>
                  </a:cubicBezTo>
                  <a:cubicBezTo>
                    <a:pt x="96465" y="210588"/>
                    <a:pt x="97155" y="208485"/>
                    <a:pt x="97589" y="206323"/>
                  </a:cubicBezTo>
                  <a:cubicBezTo>
                    <a:pt x="98024" y="203947"/>
                    <a:pt x="98190" y="201530"/>
                    <a:pt x="98083" y="199117"/>
                  </a:cubicBezTo>
                  <a:close/>
                </a:path>
              </a:pathLst>
            </a:custGeom>
            <a:gradFill>
              <a:gsLst>
                <a:gs pos="0">
                  <a:srgbClr val="B78EBD">
                    <a:lumMod val="86000"/>
                  </a:srgbClr>
                </a:gs>
                <a:gs pos="49000">
                  <a:srgbClr val="B78EBD">
                    <a:lumMod val="90000"/>
                    <a:lumOff val="10000"/>
                  </a:srgbClr>
                </a:gs>
                <a:gs pos="97000">
                  <a:srgbClr val="B78EBD">
                    <a:lumMod val="92000"/>
                  </a:srgbClr>
                </a:gs>
              </a:gsLst>
              <a:lin ang="5400000" scaled="1"/>
            </a:gradFill>
            <a:ln w="3175" cap="flat">
              <a:solidFill>
                <a:srgbClr val="9B83B3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42" name="Group Vagina">
            <a:extLst>
              <a:ext uri="{FF2B5EF4-FFF2-40B4-BE49-F238E27FC236}">
                <a16:creationId xmlns:a16="http://schemas.microsoft.com/office/drawing/2014/main" id="{DD7BA17F-A3F2-4269-9A59-E6430D3E2DFA}"/>
              </a:ext>
            </a:extLst>
          </p:cNvPr>
          <p:cNvGrpSpPr/>
          <p:nvPr/>
        </p:nvGrpSpPr>
        <p:grpSpPr>
          <a:xfrm>
            <a:off x="5757348" y="3739320"/>
            <a:ext cx="650723" cy="505837"/>
            <a:chOff x="6385165" y="4627289"/>
            <a:chExt cx="1850546" cy="1438514"/>
          </a:xfrm>
        </p:grpSpPr>
        <p:sp>
          <p:nvSpPr>
            <p:cNvPr id="243" name="Graphic 119">
              <a:extLst>
                <a:ext uri="{FF2B5EF4-FFF2-40B4-BE49-F238E27FC236}">
                  <a16:creationId xmlns:a16="http://schemas.microsoft.com/office/drawing/2014/main" id="{A03F74D6-F134-484E-9CF0-4ADE4C07D414}"/>
                </a:ext>
              </a:extLst>
            </p:cNvPr>
            <p:cNvSpPr/>
            <p:nvPr/>
          </p:nvSpPr>
          <p:spPr>
            <a:xfrm>
              <a:off x="6407361" y="4630238"/>
              <a:ext cx="1808048" cy="1435565"/>
            </a:xfrm>
            <a:custGeom>
              <a:avLst/>
              <a:gdLst>
                <a:gd name="connsiteX0" fmla="*/ 345791 w 347673"/>
                <a:gd name="connsiteY0" fmla="*/ 64300 h 255208"/>
                <a:gd name="connsiteX1" fmla="*/ 302886 w 347673"/>
                <a:gd name="connsiteY1" fmla="*/ 41081 h 255208"/>
                <a:gd name="connsiteX2" fmla="*/ 241175 w 347673"/>
                <a:gd name="connsiteY2" fmla="*/ 19669 h 255208"/>
                <a:gd name="connsiteX3" fmla="*/ 173847 w 347673"/>
                <a:gd name="connsiteY3" fmla="*/ 0 h 255208"/>
                <a:gd name="connsiteX4" fmla="*/ 106519 w 347673"/>
                <a:gd name="connsiteY4" fmla="*/ 19669 h 255208"/>
                <a:gd name="connsiteX5" fmla="*/ 44787 w 347673"/>
                <a:gd name="connsiteY5" fmla="*/ 41081 h 255208"/>
                <a:gd name="connsiteX6" fmla="*/ 1882 w 347673"/>
                <a:gd name="connsiteY6" fmla="*/ 64300 h 255208"/>
                <a:gd name="connsiteX7" fmla="*/ 12497 w 347673"/>
                <a:gd name="connsiteY7" fmla="*/ 103519 h 255208"/>
                <a:gd name="connsiteX8" fmla="*/ 25458 w 347673"/>
                <a:gd name="connsiteY8" fmla="*/ 114871 h 255208"/>
                <a:gd name="connsiteX9" fmla="*/ 25415 w 347673"/>
                <a:gd name="connsiteY9" fmla="*/ 115290 h 255208"/>
                <a:gd name="connsiteX10" fmla="*/ 60171 w 347673"/>
                <a:gd name="connsiteY10" fmla="*/ 135465 h 255208"/>
                <a:gd name="connsiteX11" fmla="*/ 90733 w 347673"/>
                <a:gd name="connsiteY11" fmla="*/ 117657 h 255208"/>
                <a:gd name="connsiteX12" fmla="*/ 111376 w 347673"/>
                <a:gd name="connsiteY12" fmla="*/ 112977 h 255208"/>
                <a:gd name="connsiteX13" fmla="*/ 111604 w 347673"/>
                <a:gd name="connsiteY13" fmla="*/ 113310 h 255208"/>
                <a:gd name="connsiteX14" fmla="*/ 141590 w 347673"/>
                <a:gd name="connsiteY14" fmla="*/ 255188 h 255208"/>
                <a:gd name="connsiteX15" fmla="*/ 161157 w 347673"/>
                <a:gd name="connsiteY15" fmla="*/ 195084 h 255208"/>
                <a:gd name="connsiteX16" fmla="*/ 143057 w 347673"/>
                <a:gd name="connsiteY16" fmla="*/ 119788 h 255208"/>
                <a:gd name="connsiteX17" fmla="*/ 126608 w 347673"/>
                <a:gd name="connsiteY17" fmla="*/ 60082 h 255208"/>
                <a:gd name="connsiteX18" fmla="*/ 173847 w 347673"/>
                <a:gd name="connsiteY18" fmla="*/ 40672 h 255208"/>
                <a:gd name="connsiteX19" fmla="*/ 221087 w 347673"/>
                <a:gd name="connsiteY19" fmla="*/ 60082 h 255208"/>
                <a:gd name="connsiteX20" fmla="*/ 204616 w 347673"/>
                <a:gd name="connsiteY20" fmla="*/ 119788 h 255208"/>
                <a:gd name="connsiteX21" fmla="*/ 186515 w 347673"/>
                <a:gd name="connsiteY21" fmla="*/ 195084 h 255208"/>
                <a:gd name="connsiteX22" fmla="*/ 206104 w 347673"/>
                <a:gd name="connsiteY22" fmla="*/ 255188 h 255208"/>
                <a:gd name="connsiteX23" fmla="*/ 236069 w 347673"/>
                <a:gd name="connsiteY23" fmla="*/ 113310 h 255208"/>
                <a:gd name="connsiteX24" fmla="*/ 236297 w 347673"/>
                <a:gd name="connsiteY24" fmla="*/ 112977 h 255208"/>
                <a:gd name="connsiteX25" fmla="*/ 256940 w 347673"/>
                <a:gd name="connsiteY25" fmla="*/ 117657 h 255208"/>
                <a:gd name="connsiteX26" fmla="*/ 287513 w 347673"/>
                <a:gd name="connsiteY26" fmla="*/ 135465 h 255208"/>
                <a:gd name="connsiteX27" fmla="*/ 322247 w 347673"/>
                <a:gd name="connsiteY27" fmla="*/ 115290 h 255208"/>
                <a:gd name="connsiteX28" fmla="*/ 322225 w 347673"/>
                <a:gd name="connsiteY28" fmla="*/ 114935 h 255208"/>
                <a:gd name="connsiteX29" fmla="*/ 335187 w 347673"/>
                <a:gd name="connsiteY29" fmla="*/ 103519 h 255208"/>
                <a:gd name="connsiteX30" fmla="*/ 345791 w 347673"/>
                <a:gd name="connsiteY30" fmla="*/ 64300 h 255208"/>
                <a:gd name="connsiteX31" fmla="*/ 89581 w 347673"/>
                <a:gd name="connsiteY31" fmla="*/ 103960 h 255208"/>
                <a:gd name="connsiteX32" fmla="*/ 57183 w 347673"/>
                <a:gd name="connsiteY32" fmla="*/ 90747 h 255208"/>
                <a:gd name="connsiteX33" fmla="*/ 30804 w 347673"/>
                <a:gd name="connsiteY33" fmla="*/ 101894 h 255208"/>
                <a:gd name="connsiteX34" fmla="*/ 22992 w 347673"/>
                <a:gd name="connsiteY34" fmla="*/ 94621 h 255208"/>
                <a:gd name="connsiteX35" fmla="*/ 14735 w 347673"/>
                <a:gd name="connsiteY35" fmla="*/ 69336 h 255208"/>
                <a:gd name="connsiteX36" fmla="*/ 46286 w 347673"/>
                <a:gd name="connsiteY36" fmla="*/ 54681 h 255208"/>
                <a:gd name="connsiteX37" fmla="*/ 93395 w 347673"/>
                <a:gd name="connsiteY37" fmla="*/ 65828 h 255208"/>
                <a:gd name="connsiteX38" fmla="*/ 104792 w 347673"/>
                <a:gd name="connsiteY38" fmla="*/ 100560 h 255208"/>
                <a:gd name="connsiteX39" fmla="*/ 89581 w 347673"/>
                <a:gd name="connsiteY39" fmla="*/ 103960 h 255208"/>
                <a:gd name="connsiteX40" fmla="*/ 324681 w 347673"/>
                <a:gd name="connsiteY40" fmla="*/ 94632 h 255208"/>
                <a:gd name="connsiteX41" fmla="*/ 316891 w 347673"/>
                <a:gd name="connsiteY41" fmla="*/ 101916 h 255208"/>
                <a:gd name="connsiteX42" fmla="*/ 290490 w 347673"/>
                <a:gd name="connsiteY42" fmla="*/ 90758 h 255208"/>
                <a:gd name="connsiteX43" fmla="*/ 258091 w 347673"/>
                <a:gd name="connsiteY43" fmla="*/ 103971 h 255208"/>
                <a:gd name="connsiteX44" fmla="*/ 242881 w 347673"/>
                <a:gd name="connsiteY44" fmla="*/ 100582 h 255208"/>
                <a:gd name="connsiteX45" fmla="*/ 254278 w 347673"/>
                <a:gd name="connsiteY45" fmla="*/ 65849 h 255208"/>
                <a:gd name="connsiteX46" fmla="*/ 301387 w 347673"/>
                <a:gd name="connsiteY46" fmla="*/ 54702 h 255208"/>
                <a:gd name="connsiteX47" fmla="*/ 332938 w 347673"/>
                <a:gd name="connsiteY47" fmla="*/ 69357 h 255208"/>
                <a:gd name="connsiteX48" fmla="*/ 324681 w 347673"/>
                <a:gd name="connsiteY48" fmla="*/ 94632 h 255208"/>
                <a:gd name="connsiteX0" fmla="*/ 345791 w 347673"/>
                <a:gd name="connsiteY0" fmla="*/ 64300 h 255208"/>
                <a:gd name="connsiteX1" fmla="*/ 302886 w 347673"/>
                <a:gd name="connsiteY1" fmla="*/ 41081 h 255208"/>
                <a:gd name="connsiteX2" fmla="*/ 241175 w 347673"/>
                <a:gd name="connsiteY2" fmla="*/ 19669 h 255208"/>
                <a:gd name="connsiteX3" fmla="*/ 173847 w 347673"/>
                <a:gd name="connsiteY3" fmla="*/ 0 h 255208"/>
                <a:gd name="connsiteX4" fmla="*/ 106519 w 347673"/>
                <a:gd name="connsiteY4" fmla="*/ 19669 h 255208"/>
                <a:gd name="connsiteX5" fmla="*/ 44787 w 347673"/>
                <a:gd name="connsiteY5" fmla="*/ 41081 h 255208"/>
                <a:gd name="connsiteX6" fmla="*/ 1882 w 347673"/>
                <a:gd name="connsiteY6" fmla="*/ 64300 h 255208"/>
                <a:gd name="connsiteX7" fmla="*/ 12497 w 347673"/>
                <a:gd name="connsiteY7" fmla="*/ 103519 h 255208"/>
                <a:gd name="connsiteX8" fmla="*/ 25458 w 347673"/>
                <a:gd name="connsiteY8" fmla="*/ 114871 h 255208"/>
                <a:gd name="connsiteX9" fmla="*/ 25415 w 347673"/>
                <a:gd name="connsiteY9" fmla="*/ 115290 h 255208"/>
                <a:gd name="connsiteX10" fmla="*/ 60171 w 347673"/>
                <a:gd name="connsiteY10" fmla="*/ 135465 h 255208"/>
                <a:gd name="connsiteX11" fmla="*/ 90733 w 347673"/>
                <a:gd name="connsiteY11" fmla="*/ 117657 h 255208"/>
                <a:gd name="connsiteX12" fmla="*/ 111376 w 347673"/>
                <a:gd name="connsiteY12" fmla="*/ 112977 h 255208"/>
                <a:gd name="connsiteX13" fmla="*/ 111604 w 347673"/>
                <a:gd name="connsiteY13" fmla="*/ 113310 h 255208"/>
                <a:gd name="connsiteX14" fmla="*/ 141590 w 347673"/>
                <a:gd name="connsiteY14" fmla="*/ 255188 h 255208"/>
                <a:gd name="connsiteX15" fmla="*/ 161157 w 347673"/>
                <a:gd name="connsiteY15" fmla="*/ 195084 h 255208"/>
                <a:gd name="connsiteX16" fmla="*/ 143057 w 347673"/>
                <a:gd name="connsiteY16" fmla="*/ 119788 h 255208"/>
                <a:gd name="connsiteX17" fmla="*/ 126608 w 347673"/>
                <a:gd name="connsiteY17" fmla="*/ 60082 h 255208"/>
                <a:gd name="connsiteX18" fmla="*/ 221087 w 347673"/>
                <a:gd name="connsiteY18" fmla="*/ 60082 h 255208"/>
                <a:gd name="connsiteX19" fmla="*/ 204616 w 347673"/>
                <a:gd name="connsiteY19" fmla="*/ 119788 h 255208"/>
                <a:gd name="connsiteX20" fmla="*/ 186515 w 347673"/>
                <a:gd name="connsiteY20" fmla="*/ 195084 h 255208"/>
                <a:gd name="connsiteX21" fmla="*/ 206104 w 347673"/>
                <a:gd name="connsiteY21" fmla="*/ 255188 h 255208"/>
                <a:gd name="connsiteX22" fmla="*/ 236069 w 347673"/>
                <a:gd name="connsiteY22" fmla="*/ 113310 h 255208"/>
                <a:gd name="connsiteX23" fmla="*/ 236297 w 347673"/>
                <a:gd name="connsiteY23" fmla="*/ 112977 h 255208"/>
                <a:gd name="connsiteX24" fmla="*/ 256940 w 347673"/>
                <a:gd name="connsiteY24" fmla="*/ 117657 h 255208"/>
                <a:gd name="connsiteX25" fmla="*/ 287513 w 347673"/>
                <a:gd name="connsiteY25" fmla="*/ 135465 h 255208"/>
                <a:gd name="connsiteX26" fmla="*/ 322247 w 347673"/>
                <a:gd name="connsiteY26" fmla="*/ 115290 h 255208"/>
                <a:gd name="connsiteX27" fmla="*/ 322225 w 347673"/>
                <a:gd name="connsiteY27" fmla="*/ 114935 h 255208"/>
                <a:gd name="connsiteX28" fmla="*/ 335187 w 347673"/>
                <a:gd name="connsiteY28" fmla="*/ 103519 h 255208"/>
                <a:gd name="connsiteX29" fmla="*/ 345791 w 347673"/>
                <a:gd name="connsiteY29" fmla="*/ 64300 h 255208"/>
                <a:gd name="connsiteX30" fmla="*/ 89581 w 347673"/>
                <a:gd name="connsiteY30" fmla="*/ 103960 h 255208"/>
                <a:gd name="connsiteX31" fmla="*/ 57183 w 347673"/>
                <a:gd name="connsiteY31" fmla="*/ 90747 h 255208"/>
                <a:gd name="connsiteX32" fmla="*/ 30804 w 347673"/>
                <a:gd name="connsiteY32" fmla="*/ 101894 h 255208"/>
                <a:gd name="connsiteX33" fmla="*/ 22992 w 347673"/>
                <a:gd name="connsiteY33" fmla="*/ 94621 h 255208"/>
                <a:gd name="connsiteX34" fmla="*/ 14735 w 347673"/>
                <a:gd name="connsiteY34" fmla="*/ 69336 h 255208"/>
                <a:gd name="connsiteX35" fmla="*/ 46286 w 347673"/>
                <a:gd name="connsiteY35" fmla="*/ 54681 h 255208"/>
                <a:gd name="connsiteX36" fmla="*/ 93395 w 347673"/>
                <a:gd name="connsiteY36" fmla="*/ 65828 h 255208"/>
                <a:gd name="connsiteX37" fmla="*/ 104792 w 347673"/>
                <a:gd name="connsiteY37" fmla="*/ 100560 h 255208"/>
                <a:gd name="connsiteX38" fmla="*/ 89581 w 347673"/>
                <a:gd name="connsiteY38" fmla="*/ 103960 h 255208"/>
                <a:gd name="connsiteX39" fmla="*/ 324681 w 347673"/>
                <a:gd name="connsiteY39" fmla="*/ 94632 h 255208"/>
                <a:gd name="connsiteX40" fmla="*/ 316891 w 347673"/>
                <a:gd name="connsiteY40" fmla="*/ 101916 h 255208"/>
                <a:gd name="connsiteX41" fmla="*/ 290490 w 347673"/>
                <a:gd name="connsiteY41" fmla="*/ 90758 h 255208"/>
                <a:gd name="connsiteX42" fmla="*/ 258091 w 347673"/>
                <a:gd name="connsiteY42" fmla="*/ 103971 h 255208"/>
                <a:gd name="connsiteX43" fmla="*/ 242881 w 347673"/>
                <a:gd name="connsiteY43" fmla="*/ 100582 h 255208"/>
                <a:gd name="connsiteX44" fmla="*/ 254278 w 347673"/>
                <a:gd name="connsiteY44" fmla="*/ 65849 h 255208"/>
                <a:gd name="connsiteX45" fmla="*/ 301387 w 347673"/>
                <a:gd name="connsiteY45" fmla="*/ 54702 h 255208"/>
                <a:gd name="connsiteX46" fmla="*/ 332938 w 347673"/>
                <a:gd name="connsiteY46" fmla="*/ 69357 h 255208"/>
                <a:gd name="connsiteX47" fmla="*/ 324681 w 347673"/>
                <a:gd name="connsiteY47" fmla="*/ 94632 h 255208"/>
                <a:gd name="connsiteX0" fmla="*/ 345791 w 347673"/>
                <a:gd name="connsiteY0" fmla="*/ 64300 h 255208"/>
                <a:gd name="connsiteX1" fmla="*/ 302886 w 347673"/>
                <a:gd name="connsiteY1" fmla="*/ 41081 h 255208"/>
                <a:gd name="connsiteX2" fmla="*/ 241175 w 347673"/>
                <a:gd name="connsiteY2" fmla="*/ 19669 h 255208"/>
                <a:gd name="connsiteX3" fmla="*/ 173847 w 347673"/>
                <a:gd name="connsiteY3" fmla="*/ 0 h 255208"/>
                <a:gd name="connsiteX4" fmla="*/ 106519 w 347673"/>
                <a:gd name="connsiteY4" fmla="*/ 19669 h 255208"/>
                <a:gd name="connsiteX5" fmla="*/ 44787 w 347673"/>
                <a:gd name="connsiteY5" fmla="*/ 41081 h 255208"/>
                <a:gd name="connsiteX6" fmla="*/ 1882 w 347673"/>
                <a:gd name="connsiteY6" fmla="*/ 64300 h 255208"/>
                <a:gd name="connsiteX7" fmla="*/ 12497 w 347673"/>
                <a:gd name="connsiteY7" fmla="*/ 103519 h 255208"/>
                <a:gd name="connsiteX8" fmla="*/ 25458 w 347673"/>
                <a:gd name="connsiteY8" fmla="*/ 114871 h 255208"/>
                <a:gd name="connsiteX9" fmla="*/ 25415 w 347673"/>
                <a:gd name="connsiteY9" fmla="*/ 115290 h 255208"/>
                <a:gd name="connsiteX10" fmla="*/ 60171 w 347673"/>
                <a:gd name="connsiteY10" fmla="*/ 135465 h 255208"/>
                <a:gd name="connsiteX11" fmla="*/ 90733 w 347673"/>
                <a:gd name="connsiteY11" fmla="*/ 117657 h 255208"/>
                <a:gd name="connsiteX12" fmla="*/ 111376 w 347673"/>
                <a:gd name="connsiteY12" fmla="*/ 112977 h 255208"/>
                <a:gd name="connsiteX13" fmla="*/ 111604 w 347673"/>
                <a:gd name="connsiteY13" fmla="*/ 113310 h 255208"/>
                <a:gd name="connsiteX14" fmla="*/ 141590 w 347673"/>
                <a:gd name="connsiteY14" fmla="*/ 255188 h 255208"/>
                <a:gd name="connsiteX15" fmla="*/ 161157 w 347673"/>
                <a:gd name="connsiteY15" fmla="*/ 195084 h 255208"/>
                <a:gd name="connsiteX16" fmla="*/ 143057 w 347673"/>
                <a:gd name="connsiteY16" fmla="*/ 119788 h 255208"/>
                <a:gd name="connsiteX17" fmla="*/ 221087 w 347673"/>
                <a:gd name="connsiteY17" fmla="*/ 60082 h 255208"/>
                <a:gd name="connsiteX18" fmla="*/ 204616 w 347673"/>
                <a:gd name="connsiteY18" fmla="*/ 119788 h 255208"/>
                <a:gd name="connsiteX19" fmla="*/ 186515 w 347673"/>
                <a:gd name="connsiteY19" fmla="*/ 195084 h 255208"/>
                <a:gd name="connsiteX20" fmla="*/ 206104 w 347673"/>
                <a:gd name="connsiteY20" fmla="*/ 255188 h 255208"/>
                <a:gd name="connsiteX21" fmla="*/ 236069 w 347673"/>
                <a:gd name="connsiteY21" fmla="*/ 113310 h 255208"/>
                <a:gd name="connsiteX22" fmla="*/ 236297 w 347673"/>
                <a:gd name="connsiteY22" fmla="*/ 112977 h 255208"/>
                <a:gd name="connsiteX23" fmla="*/ 256940 w 347673"/>
                <a:gd name="connsiteY23" fmla="*/ 117657 h 255208"/>
                <a:gd name="connsiteX24" fmla="*/ 287513 w 347673"/>
                <a:gd name="connsiteY24" fmla="*/ 135465 h 255208"/>
                <a:gd name="connsiteX25" fmla="*/ 322247 w 347673"/>
                <a:gd name="connsiteY25" fmla="*/ 115290 h 255208"/>
                <a:gd name="connsiteX26" fmla="*/ 322225 w 347673"/>
                <a:gd name="connsiteY26" fmla="*/ 114935 h 255208"/>
                <a:gd name="connsiteX27" fmla="*/ 335187 w 347673"/>
                <a:gd name="connsiteY27" fmla="*/ 103519 h 255208"/>
                <a:gd name="connsiteX28" fmla="*/ 345791 w 347673"/>
                <a:gd name="connsiteY28" fmla="*/ 64300 h 255208"/>
                <a:gd name="connsiteX29" fmla="*/ 89581 w 347673"/>
                <a:gd name="connsiteY29" fmla="*/ 103960 h 255208"/>
                <a:gd name="connsiteX30" fmla="*/ 57183 w 347673"/>
                <a:gd name="connsiteY30" fmla="*/ 90747 h 255208"/>
                <a:gd name="connsiteX31" fmla="*/ 30804 w 347673"/>
                <a:gd name="connsiteY31" fmla="*/ 101894 h 255208"/>
                <a:gd name="connsiteX32" fmla="*/ 22992 w 347673"/>
                <a:gd name="connsiteY32" fmla="*/ 94621 h 255208"/>
                <a:gd name="connsiteX33" fmla="*/ 14735 w 347673"/>
                <a:gd name="connsiteY33" fmla="*/ 69336 h 255208"/>
                <a:gd name="connsiteX34" fmla="*/ 46286 w 347673"/>
                <a:gd name="connsiteY34" fmla="*/ 54681 h 255208"/>
                <a:gd name="connsiteX35" fmla="*/ 93395 w 347673"/>
                <a:gd name="connsiteY35" fmla="*/ 65828 h 255208"/>
                <a:gd name="connsiteX36" fmla="*/ 104792 w 347673"/>
                <a:gd name="connsiteY36" fmla="*/ 100560 h 255208"/>
                <a:gd name="connsiteX37" fmla="*/ 89581 w 347673"/>
                <a:gd name="connsiteY37" fmla="*/ 103960 h 255208"/>
                <a:gd name="connsiteX38" fmla="*/ 324681 w 347673"/>
                <a:gd name="connsiteY38" fmla="*/ 94632 h 255208"/>
                <a:gd name="connsiteX39" fmla="*/ 316891 w 347673"/>
                <a:gd name="connsiteY39" fmla="*/ 101916 h 255208"/>
                <a:gd name="connsiteX40" fmla="*/ 290490 w 347673"/>
                <a:gd name="connsiteY40" fmla="*/ 90758 h 255208"/>
                <a:gd name="connsiteX41" fmla="*/ 258091 w 347673"/>
                <a:gd name="connsiteY41" fmla="*/ 103971 h 255208"/>
                <a:gd name="connsiteX42" fmla="*/ 242881 w 347673"/>
                <a:gd name="connsiteY42" fmla="*/ 100582 h 255208"/>
                <a:gd name="connsiteX43" fmla="*/ 254278 w 347673"/>
                <a:gd name="connsiteY43" fmla="*/ 65849 h 255208"/>
                <a:gd name="connsiteX44" fmla="*/ 301387 w 347673"/>
                <a:gd name="connsiteY44" fmla="*/ 54702 h 255208"/>
                <a:gd name="connsiteX45" fmla="*/ 332938 w 347673"/>
                <a:gd name="connsiteY45" fmla="*/ 69357 h 255208"/>
                <a:gd name="connsiteX46" fmla="*/ 324681 w 347673"/>
                <a:gd name="connsiteY46" fmla="*/ 94632 h 255208"/>
                <a:gd name="connsiteX0" fmla="*/ 345791 w 347673"/>
                <a:gd name="connsiteY0" fmla="*/ 64300 h 255208"/>
                <a:gd name="connsiteX1" fmla="*/ 302886 w 347673"/>
                <a:gd name="connsiteY1" fmla="*/ 41081 h 255208"/>
                <a:gd name="connsiteX2" fmla="*/ 241175 w 347673"/>
                <a:gd name="connsiteY2" fmla="*/ 19669 h 255208"/>
                <a:gd name="connsiteX3" fmla="*/ 173847 w 347673"/>
                <a:gd name="connsiteY3" fmla="*/ 0 h 255208"/>
                <a:gd name="connsiteX4" fmla="*/ 106519 w 347673"/>
                <a:gd name="connsiteY4" fmla="*/ 19669 h 255208"/>
                <a:gd name="connsiteX5" fmla="*/ 44787 w 347673"/>
                <a:gd name="connsiteY5" fmla="*/ 41081 h 255208"/>
                <a:gd name="connsiteX6" fmla="*/ 1882 w 347673"/>
                <a:gd name="connsiteY6" fmla="*/ 64300 h 255208"/>
                <a:gd name="connsiteX7" fmla="*/ 12497 w 347673"/>
                <a:gd name="connsiteY7" fmla="*/ 103519 h 255208"/>
                <a:gd name="connsiteX8" fmla="*/ 25458 w 347673"/>
                <a:gd name="connsiteY8" fmla="*/ 114871 h 255208"/>
                <a:gd name="connsiteX9" fmla="*/ 25415 w 347673"/>
                <a:gd name="connsiteY9" fmla="*/ 115290 h 255208"/>
                <a:gd name="connsiteX10" fmla="*/ 60171 w 347673"/>
                <a:gd name="connsiteY10" fmla="*/ 135465 h 255208"/>
                <a:gd name="connsiteX11" fmla="*/ 90733 w 347673"/>
                <a:gd name="connsiteY11" fmla="*/ 117657 h 255208"/>
                <a:gd name="connsiteX12" fmla="*/ 111376 w 347673"/>
                <a:gd name="connsiteY12" fmla="*/ 112977 h 255208"/>
                <a:gd name="connsiteX13" fmla="*/ 111604 w 347673"/>
                <a:gd name="connsiteY13" fmla="*/ 113310 h 255208"/>
                <a:gd name="connsiteX14" fmla="*/ 141590 w 347673"/>
                <a:gd name="connsiteY14" fmla="*/ 255188 h 255208"/>
                <a:gd name="connsiteX15" fmla="*/ 161157 w 347673"/>
                <a:gd name="connsiteY15" fmla="*/ 195084 h 255208"/>
                <a:gd name="connsiteX16" fmla="*/ 143057 w 347673"/>
                <a:gd name="connsiteY16" fmla="*/ 119788 h 255208"/>
                <a:gd name="connsiteX17" fmla="*/ 204616 w 347673"/>
                <a:gd name="connsiteY17" fmla="*/ 119788 h 255208"/>
                <a:gd name="connsiteX18" fmla="*/ 186515 w 347673"/>
                <a:gd name="connsiteY18" fmla="*/ 195084 h 255208"/>
                <a:gd name="connsiteX19" fmla="*/ 206104 w 347673"/>
                <a:gd name="connsiteY19" fmla="*/ 255188 h 255208"/>
                <a:gd name="connsiteX20" fmla="*/ 236069 w 347673"/>
                <a:gd name="connsiteY20" fmla="*/ 113310 h 255208"/>
                <a:gd name="connsiteX21" fmla="*/ 236297 w 347673"/>
                <a:gd name="connsiteY21" fmla="*/ 112977 h 255208"/>
                <a:gd name="connsiteX22" fmla="*/ 256940 w 347673"/>
                <a:gd name="connsiteY22" fmla="*/ 117657 h 255208"/>
                <a:gd name="connsiteX23" fmla="*/ 287513 w 347673"/>
                <a:gd name="connsiteY23" fmla="*/ 135465 h 255208"/>
                <a:gd name="connsiteX24" fmla="*/ 322247 w 347673"/>
                <a:gd name="connsiteY24" fmla="*/ 115290 h 255208"/>
                <a:gd name="connsiteX25" fmla="*/ 322225 w 347673"/>
                <a:gd name="connsiteY25" fmla="*/ 114935 h 255208"/>
                <a:gd name="connsiteX26" fmla="*/ 335187 w 347673"/>
                <a:gd name="connsiteY26" fmla="*/ 103519 h 255208"/>
                <a:gd name="connsiteX27" fmla="*/ 345791 w 347673"/>
                <a:gd name="connsiteY27" fmla="*/ 64300 h 255208"/>
                <a:gd name="connsiteX28" fmla="*/ 89581 w 347673"/>
                <a:gd name="connsiteY28" fmla="*/ 103960 h 255208"/>
                <a:gd name="connsiteX29" fmla="*/ 57183 w 347673"/>
                <a:gd name="connsiteY29" fmla="*/ 90747 h 255208"/>
                <a:gd name="connsiteX30" fmla="*/ 30804 w 347673"/>
                <a:gd name="connsiteY30" fmla="*/ 101894 h 255208"/>
                <a:gd name="connsiteX31" fmla="*/ 22992 w 347673"/>
                <a:gd name="connsiteY31" fmla="*/ 94621 h 255208"/>
                <a:gd name="connsiteX32" fmla="*/ 14735 w 347673"/>
                <a:gd name="connsiteY32" fmla="*/ 69336 h 255208"/>
                <a:gd name="connsiteX33" fmla="*/ 46286 w 347673"/>
                <a:gd name="connsiteY33" fmla="*/ 54681 h 255208"/>
                <a:gd name="connsiteX34" fmla="*/ 93395 w 347673"/>
                <a:gd name="connsiteY34" fmla="*/ 65828 h 255208"/>
                <a:gd name="connsiteX35" fmla="*/ 104792 w 347673"/>
                <a:gd name="connsiteY35" fmla="*/ 100560 h 255208"/>
                <a:gd name="connsiteX36" fmla="*/ 89581 w 347673"/>
                <a:gd name="connsiteY36" fmla="*/ 103960 h 255208"/>
                <a:gd name="connsiteX37" fmla="*/ 324681 w 347673"/>
                <a:gd name="connsiteY37" fmla="*/ 94632 h 255208"/>
                <a:gd name="connsiteX38" fmla="*/ 316891 w 347673"/>
                <a:gd name="connsiteY38" fmla="*/ 101916 h 255208"/>
                <a:gd name="connsiteX39" fmla="*/ 290490 w 347673"/>
                <a:gd name="connsiteY39" fmla="*/ 90758 h 255208"/>
                <a:gd name="connsiteX40" fmla="*/ 258091 w 347673"/>
                <a:gd name="connsiteY40" fmla="*/ 103971 h 255208"/>
                <a:gd name="connsiteX41" fmla="*/ 242881 w 347673"/>
                <a:gd name="connsiteY41" fmla="*/ 100582 h 255208"/>
                <a:gd name="connsiteX42" fmla="*/ 254278 w 347673"/>
                <a:gd name="connsiteY42" fmla="*/ 65849 h 255208"/>
                <a:gd name="connsiteX43" fmla="*/ 301387 w 347673"/>
                <a:gd name="connsiteY43" fmla="*/ 54702 h 255208"/>
                <a:gd name="connsiteX44" fmla="*/ 332938 w 347673"/>
                <a:gd name="connsiteY44" fmla="*/ 69357 h 255208"/>
                <a:gd name="connsiteX45" fmla="*/ 324681 w 347673"/>
                <a:gd name="connsiteY45" fmla="*/ 94632 h 255208"/>
                <a:gd name="connsiteX0" fmla="*/ 345791 w 347673"/>
                <a:gd name="connsiteY0" fmla="*/ 64300 h 255208"/>
                <a:gd name="connsiteX1" fmla="*/ 302886 w 347673"/>
                <a:gd name="connsiteY1" fmla="*/ 41081 h 255208"/>
                <a:gd name="connsiteX2" fmla="*/ 241175 w 347673"/>
                <a:gd name="connsiteY2" fmla="*/ 19669 h 255208"/>
                <a:gd name="connsiteX3" fmla="*/ 173847 w 347673"/>
                <a:gd name="connsiteY3" fmla="*/ 0 h 255208"/>
                <a:gd name="connsiteX4" fmla="*/ 106519 w 347673"/>
                <a:gd name="connsiteY4" fmla="*/ 19669 h 255208"/>
                <a:gd name="connsiteX5" fmla="*/ 44787 w 347673"/>
                <a:gd name="connsiteY5" fmla="*/ 41081 h 255208"/>
                <a:gd name="connsiteX6" fmla="*/ 1882 w 347673"/>
                <a:gd name="connsiteY6" fmla="*/ 64300 h 255208"/>
                <a:gd name="connsiteX7" fmla="*/ 12497 w 347673"/>
                <a:gd name="connsiteY7" fmla="*/ 103519 h 255208"/>
                <a:gd name="connsiteX8" fmla="*/ 25458 w 347673"/>
                <a:gd name="connsiteY8" fmla="*/ 114871 h 255208"/>
                <a:gd name="connsiteX9" fmla="*/ 25415 w 347673"/>
                <a:gd name="connsiteY9" fmla="*/ 115290 h 255208"/>
                <a:gd name="connsiteX10" fmla="*/ 60171 w 347673"/>
                <a:gd name="connsiteY10" fmla="*/ 135465 h 255208"/>
                <a:gd name="connsiteX11" fmla="*/ 90733 w 347673"/>
                <a:gd name="connsiteY11" fmla="*/ 117657 h 255208"/>
                <a:gd name="connsiteX12" fmla="*/ 111376 w 347673"/>
                <a:gd name="connsiteY12" fmla="*/ 112977 h 255208"/>
                <a:gd name="connsiteX13" fmla="*/ 111604 w 347673"/>
                <a:gd name="connsiteY13" fmla="*/ 113310 h 255208"/>
                <a:gd name="connsiteX14" fmla="*/ 141590 w 347673"/>
                <a:gd name="connsiteY14" fmla="*/ 255188 h 255208"/>
                <a:gd name="connsiteX15" fmla="*/ 161157 w 347673"/>
                <a:gd name="connsiteY15" fmla="*/ 195084 h 255208"/>
                <a:gd name="connsiteX16" fmla="*/ 143057 w 347673"/>
                <a:gd name="connsiteY16" fmla="*/ 119788 h 255208"/>
                <a:gd name="connsiteX17" fmla="*/ 186515 w 347673"/>
                <a:gd name="connsiteY17" fmla="*/ 195084 h 255208"/>
                <a:gd name="connsiteX18" fmla="*/ 206104 w 347673"/>
                <a:gd name="connsiteY18" fmla="*/ 255188 h 255208"/>
                <a:gd name="connsiteX19" fmla="*/ 236069 w 347673"/>
                <a:gd name="connsiteY19" fmla="*/ 113310 h 255208"/>
                <a:gd name="connsiteX20" fmla="*/ 236297 w 347673"/>
                <a:gd name="connsiteY20" fmla="*/ 112977 h 255208"/>
                <a:gd name="connsiteX21" fmla="*/ 256940 w 347673"/>
                <a:gd name="connsiteY21" fmla="*/ 117657 h 255208"/>
                <a:gd name="connsiteX22" fmla="*/ 287513 w 347673"/>
                <a:gd name="connsiteY22" fmla="*/ 135465 h 255208"/>
                <a:gd name="connsiteX23" fmla="*/ 322247 w 347673"/>
                <a:gd name="connsiteY23" fmla="*/ 115290 h 255208"/>
                <a:gd name="connsiteX24" fmla="*/ 322225 w 347673"/>
                <a:gd name="connsiteY24" fmla="*/ 114935 h 255208"/>
                <a:gd name="connsiteX25" fmla="*/ 335187 w 347673"/>
                <a:gd name="connsiteY25" fmla="*/ 103519 h 255208"/>
                <a:gd name="connsiteX26" fmla="*/ 345791 w 347673"/>
                <a:gd name="connsiteY26" fmla="*/ 64300 h 255208"/>
                <a:gd name="connsiteX27" fmla="*/ 89581 w 347673"/>
                <a:gd name="connsiteY27" fmla="*/ 103960 h 255208"/>
                <a:gd name="connsiteX28" fmla="*/ 57183 w 347673"/>
                <a:gd name="connsiteY28" fmla="*/ 90747 h 255208"/>
                <a:gd name="connsiteX29" fmla="*/ 30804 w 347673"/>
                <a:gd name="connsiteY29" fmla="*/ 101894 h 255208"/>
                <a:gd name="connsiteX30" fmla="*/ 22992 w 347673"/>
                <a:gd name="connsiteY30" fmla="*/ 94621 h 255208"/>
                <a:gd name="connsiteX31" fmla="*/ 14735 w 347673"/>
                <a:gd name="connsiteY31" fmla="*/ 69336 h 255208"/>
                <a:gd name="connsiteX32" fmla="*/ 46286 w 347673"/>
                <a:gd name="connsiteY32" fmla="*/ 54681 h 255208"/>
                <a:gd name="connsiteX33" fmla="*/ 93395 w 347673"/>
                <a:gd name="connsiteY33" fmla="*/ 65828 h 255208"/>
                <a:gd name="connsiteX34" fmla="*/ 104792 w 347673"/>
                <a:gd name="connsiteY34" fmla="*/ 100560 h 255208"/>
                <a:gd name="connsiteX35" fmla="*/ 89581 w 347673"/>
                <a:gd name="connsiteY35" fmla="*/ 103960 h 255208"/>
                <a:gd name="connsiteX36" fmla="*/ 324681 w 347673"/>
                <a:gd name="connsiteY36" fmla="*/ 94632 h 255208"/>
                <a:gd name="connsiteX37" fmla="*/ 316891 w 347673"/>
                <a:gd name="connsiteY37" fmla="*/ 101916 h 255208"/>
                <a:gd name="connsiteX38" fmla="*/ 290490 w 347673"/>
                <a:gd name="connsiteY38" fmla="*/ 90758 h 255208"/>
                <a:gd name="connsiteX39" fmla="*/ 258091 w 347673"/>
                <a:gd name="connsiteY39" fmla="*/ 103971 h 255208"/>
                <a:gd name="connsiteX40" fmla="*/ 242881 w 347673"/>
                <a:gd name="connsiteY40" fmla="*/ 100582 h 255208"/>
                <a:gd name="connsiteX41" fmla="*/ 254278 w 347673"/>
                <a:gd name="connsiteY41" fmla="*/ 65849 h 255208"/>
                <a:gd name="connsiteX42" fmla="*/ 301387 w 347673"/>
                <a:gd name="connsiteY42" fmla="*/ 54702 h 255208"/>
                <a:gd name="connsiteX43" fmla="*/ 332938 w 347673"/>
                <a:gd name="connsiteY43" fmla="*/ 69357 h 255208"/>
                <a:gd name="connsiteX44" fmla="*/ 324681 w 347673"/>
                <a:gd name="connsiteY44" fmla="*/ 94632 h 255208"/>
                <a:gd name="connsiteX0" fmla="*/ 345791 w 347673"/>
                <a:gd name="connsiteY0" fmla="*/ 64300 h 255208"/>
                <a:gd name="connsiteX1" fmla="*/ 302886 w 347673"/>
                <a:gd name="connsiteY1" fmla="*/ 41081 h 255208"/>
                <a:gd name="connsiteX2" fmla="*/ 241175 w 347673"/>
                <a:gd name="connsiteY2" fmla="*/ 19669 h 255208"/>
                <a:gd name="connsiteX3" fmla="*/ 173847 w 347673"/>
                <a:gd name="connsiteY3" fmla="*/ 0 h 255208"/>
                <a:gd name="connsiteX4" fmla="*/ 106519 w 347673"/>
                <a:gd name="connsiteY4" fmla="*/ 19669 h 255208"/>
                <a:gd name="connsiteX5" fmla="*/ 44787 w 347673"/>
                <a:gd name="connsiteY5" fmla="*/ 41081 h 255208"/>
                <a:gd name="connsiteX6" fmla="*/ 1882 w 347673"/>
                <a:gd name="connsiteY6" fmla="*/ 64300 h 255208"/>
                <a:gd name="connsiteX7" fmla="*/ 12497 w 347673"/>
                <a:gd name="connsiteY7" fmla="*/ 103519 h 255208"/>
                <a:gd name="connsiteX8" fmla="*/ 25458 w 347673"/>
                <a:gd name="connsiteY8" fmla="*/ 114871 h 255208"/>
                <a:gd name="connsiteX9" fmla="*/ 25415 w 347673"/>
                <a:gd name="connsiteY9" fmla="*/ 115290 h 255208"/>
                <a:gd name="connsiteX10" fmla="*/ 60171 w 347673"/>
                <a:gd name="connsiteY10" fmla="*/ 135465 h 255208"/>
                <a:gd name="connsiteX11" fmla="*/ 90733 w 347673"/>
                <a:gd name="connsiteY11" fmla="*/ 117657 h 255208"/>
                <a:gd name="connsiteX12" fmla="*/ 111376 w 347673"/>
                <a:gd name="connsiteY12" fmla="*/ 112977 h 255208"/>
                <a:gd name="connsiteX13" fmla="*/ 111604 w 347673"/>
                <a:gd name="connsiteY13" fmla="*/ 113310 h 255208"/>
                <a:gd name="connsiteX14" fmla="*/ 141590 w 347673"/>
                <a:gd name="connsiteY14" fmla="*/ 255188 h 255208"/>
                <a:gd name="connsiteX15" fmla="*/ 161157 w 347673"/>
                <a:gd name="connsiteY15" fmla="*/ 195084 h 255208"/>
                <a:gd name="connsiteX16" fmla="*/ 186515 w 347673"/>
                <a:gd name="connsiteY16" fmla="*/ 195084 h 255208"/>
                <a:gd name="connsiteX17" fmla="*/ 206104 w 347673"/>
                <a:gd name="connsiteY17" fmla="*/ 255188 h 255208"/>
                <a:gd name="connsiteX18" fmla="*/ 236069 w 347673"/>
                <a:gd name="connsiteY18" fmla="*/ 113310 h 255208"/>
                <a:gd name="connsiteX19" fmla="*/ 236297 w 347673"/>
                <a:gd name="connsiteY19" fmla="*/ 112977 h 255208"/>
                <a:gd name="connsiteX20" fmla="*/ 256940 w 347673"/>
                <a:gd name="connsiteY20" fmla="*/ 117657 h 255208"/>
                <a:gd name="connsiteX21" fmla="*/ 287513 w 347673"/>
                <a:gd name="connsiteY21" fmla="*/ 135465 h 255208"/>
                <a:gd name="connsiteX22" fmla="*/ 322247 w 347673"/>
                <a:gd name="connsiteY22" fmla="*/ 115290 h 255208"/>
                <a:gd name="connsiteX23" fmla="*/ 322225 w 347673"/>
                <a:gd name="connsiteY23" fmla="*/ 114935 h 255208"/>
                <a:gd name="connsiteX24" fmla="*/ 335187 w 347673"/>
                <a:gd name="connsiteY24" fmla="*/ 103519 h 255208"/>
                <a:gd name="connsiteX25" fmla="*/ 345791 w 347673"/>
                <a:gd name="connsiteY25" fmla="*/ 64300 h 255208"/>
                <a:gd name="connsiteX26" fmla="*/ 89581 w 347673"/>
                <a:gd name="connsiteY26" fmla="*/ 103960 h 255208"/>
                <a:gd name="connsiteX27" fmla="*/ 57183 w 347673"/>
                <a:gd name="connsiteY27" fmla="*/ 90747 h 255208"/>
                <a:gd name="connsiteX28" fmla="*/ 30804 w 347673"/>
                <a:gd name="connsiteY28" fmla="*/ 101894 h 255208"/>
                <a:gd name="connsiteX29" fmla="*/ 22992 w 347673"/>
                <a:gd name="connsiteY29" fmla="*/ 94621 h 255208"/>
                <a:gd name="connsiteX30" fmla="*/ 14735 w 347673"/>
                <a:gd name="connsiteY30" fmla="*/ 69336 h 255208"/>
                <a:gd name="connsiteX31" fmla="*/ 46286 w 347673"/>
                <a:gd name="connsiteY31" fmla="*/ 54681 h 255208"/>
                <a:gd name="connsiteX32" fmla="*/ 93395 w 347673"/>
                <a:gd name="connsiteY32" fmla="*/ 65828 h 255208"/>
                <a:gd name="connsiteX33" fmla="*/ 104792 w 347673"/>
                <a:gd name="connsiteY33" fmla="*/ 100560 h 255208"/>
                <a:gd name="connsiteX34" fmla="*/ 89581 w 347673"/>
                <a:gd name="connsiteY34" fmla="*/ 103960 h 255208"/>
                <a:gd name="connsiteX35" fmla="*/ 324681 w 347673"/>
                <a:gd name="connsiteY35" fmla="*/ 94632 h 255208"/>
                <a:gd name="connsiteX36" fmla="*/ 316891 w 347673"/>
                <a:gd name="connsiteY36" fmla="*/ 101916 h 255208"/>
                <a:gd name="connsiteX37" fmla="*/ 290490 w 347673"/>
                <a:gd name="connsiteY37" fmla="*/ 90758 h 255208"/>
                <a:gd name="connsiteX38" fmla="*/ 258091 w 347673"/>
                <a:gd name="connsiteY38" fmla="*/ 103971 h 255208"/>
                <a:gd name="connsiteX39" fmla="*/ 242881 w 347673"/>
                <a:gd name="connsiteY39" fmla="*/ 100582 h 255208"/>
                <a:gd name="connsiteX40" fmla="*/ 254278 w 347673"/>
                <a:gd name="connsiteY40" fmla="*/ 65849 h 255208"/>
                <a:gd name="connsiteX41" fmla="*/ 301387 w 347673"/>
                <a:gd name="connsiteY41" fmla="*/ 54702 h 255208"/>
                <a:gd name="connsiteX42" fmla="*/ 332938 w 347673"/>
                <a:gd name="connsiteY42" fmla="*/ 69357 h 255208"/>
                <a:gd name="connsiteX43" fmla="*/ 324681 w 347673"/>
                <a:gd name="connsiteY43" fmla="*/ 94632 h 255208"/>
                <a:gd name="connsiteX0" fmla="*/ 345791 w 347673"/>
                <a:gd name="connsiteY0" fmla="*/ 64300 h 256868"/>
                <a:gd name="connsiteX1" fmla="*/ 302886 w 347673"/>
                <a:gd name="connsiteY1" fmla="*/ 41081 h 256868"/>
                <a:gd name="connsiteX2" fmla="*/ 241175 w 347673"/>
                <a:gd name="connsiteY2" fmla="*/ 19669 h 256868"/>
                <a:gd name="connsiteX3" fmla="*/ 173847 w 347673"/>
                <a:gd name="connsiteY3" fmla="*/ 0 h 256868"/>
                <a:gd name="connsiteX4" fmla="*/ 106519 w 347673"/>
                <a:gd name="connsiteY4" fmla="*/ 19669 h 256868"/>
                <a:gd name="connsiteX5" fmla="*/ 44787 w 347673"/>
                <a:gd name="connsiteY5" fmla="*/ 41081 h 256868"/>
                <a:gd name="connsiteX6" fmla="*/ 1882 w 347673"/>
                <a:gd name="connsiteY6" fmla="*/ 64300 h 256868"/>
                <a:gd name="connsiteX7" fmla="*/ 12497 w 347673"/>
                <a:gd name="connsiteY7" fmla="*/ 103519 h 256868"/>
                <a:gd name="connsiteX8" fmla="*/ 25458 w 347673"/>
                <a:gd name="connsiteY8" fmla="*/ 114871 h 256868"/>
                <a:gd name="connsiteX9" fmla="*/ 25415 w 347673"/>
                <a:gd name="connsiteY9" fmla="*/ 115290 h 256868"/>
                <a:gd name="connsiteX10" fmla="*/ 60171 w 347673"/>
                <a:gd name="connsiteY10" fmla="*/ 135465 h 256868"/>
                <a:gd name="connsiteX11" fmla="*/ 90733 w 347673"/>
                <a:gd name="connsiteY11" fmla="*/ 117657 h 256868"/>
                <a:gd name="connsiteX12" fmla="*/ 111376 w 347673"/>
                <a:gd name="connsiteY12" fmla="*/ 112977 h 256868"/>
                <a:gd name="connsiteX13" fmla="*/ 111604 w 347673"/>
                <a:gd name="connsiteY13" fmla="*/ 113310 h 256868"/>
                <a:gd name="connsiteX14" fmla="*/ 141590 w 347673"/>
                <a:gd name="connsiteY14" fmla="*/ 255188 h 256868"/>
                <a:gd name="connsiteX15" fmla="*/ 161157 w 347673"/>
                <a:gd name="connsiteY15" fmla="*/ 195084 h 256868"/>
                <a:gd name="connsiteX16" fmla="*/ 206104 w 347673"/>
                <a:gd name="connsiteY16" fmla="*/ 255188 h 256868"/>
                <a:gd name="connsiteX17" fmla="*/ 236069 w 347673"/>
                <a:gd name="connsiteY17" fmla="*/ 113310 h 256868"/>
                <a:gd name="connsiteX18" fmla="*/ 236297 w 347673"/>
                <a:gd name="connsiteY18" fmla="*/ 112977 h 256868"/>
                <a:gd name="connsiteX19" fmla="*/ 256940 w 347673"/>
                <a:gd name="connsiteY19" fmla="*/ 117657 h 256868"/>
                <a:gd name="connsiteX20" fmla="*/ 287513 w 347673"/>
                <a:gd name="connsiteY20" fmla="*/ 135465 h 256868"/>
                <a:gd name="connsiteX21" fmla="*/ 322247 w 347673"/>
                <a:gd name="connsiteY21" fmla="*/ 115290 h 256868"/>
                <a:gd name="connsiteX22" fmla="*/ 322225 w 347673"/>
                <a:gd name="connsiteY22" fmla="*/ 114935 h 256868"/>
                <a:gd name="connsiteX23" fmla="*/ 335187 w 347673"/>
                <a:gd name="connsiteY23" fmla="*/ 103519 h 256868"/>
                <a:gd name="connsiteX24" fmla="*/ 345791 w 347673"/>
                <a:gd name="connsiteY24" fmla="*/ 64300 h 256868"/>
                <a:gd name="connsiteX25" fmla="*/ 89581 w 347673"/>
                <a:gd name="connsiteY25" fmla="*/ 103960 h 256868"/>
                <a:gd name="connsiteX26" fmla="*/ 57183 w 347673"/>
                <a:gd name="connsiteY26" fmla="*/ 90747 h 256868"/>
                <a:gd name="connsiteX27" fmla="*/ 30804 w 347673"/>
                <a:gd name="connsiteY27" fmla="*/ 101894 h 256868"/>
                <a:gd name="connsiteX28" fmla="*/ 22992 w 347673"/>
                <a:gd name="connsiteY28" fmla="*/ 94621 h 256868"/>
                <a:gd name="connsiteX29" fmla="*/ 14735 w 347673"/>
                <a:gd name="connsiteY29" fmla="*/ 69336 h 256868"/>
                <a:gd name="connsiteX30" fmla="*/ 46286 w 347673"/>
                <a:gd name="connsiteY30" fmla="*/ 54681 h 256868"/>
                <a:gd name="connsiteX31" fmla="*/ 93395 w 347673"/>
                <a:gd name="connsiteY31" fmla="*/ 65828 h 256868"/>
                <a:gd name="connsiteX32" fmla="*/ 104792 w 347673"/>
                <a:gd name="connsiteY32" fmla="*/ 100560 h 256868"/>
                <a:gd name="connsiteX33" fmla="*/ 89581 w 347673"/>
                <a:gd name="connsiteY33" fmla="*/ 103960 h 256868"/>
                <a:gd name="connsiteX34" fmla="*/ 324681 w 347673"/>
                <a:gd name="connsiteY34" fmla="*/ 94632 h 256868"/>
                <a:gd name="connsiteX35" fmla="*/ 316891 w 347673"/>
                <a:gd name="connsiteY35" fmla="*/ 101916 h 256868"/>
                <a:gd name="connsiteX36" fmla="*/ 290490 w 347673"/>
                <a:gd name="connsiteY36" fmla="*/ 90758 h 256868"/>
                <a:gd name="connsiteX37" fmla="*/ 258091 w 347673"/>
                <a:gd name="connsiteY37" fmla="*/ 103971 h 256868"/>
                <a:gd name="connsiteX38" fmla="*/ 242881 w 347673"/>
                <a:gd name="connsiteY38" fmla="*/ 100582 h 256868"/>
                <a:gd name="connsiteX39" fmla="*/ 254278 w 347673"/>
                <a:gd name="connsiteY39" fmla="*/ 65849 h 256868"/>
                <a:gd name="connsiteX40" fmla="*/ 301387 w 347673"/>
                <a:gd name="connsiteY40" fmla="*/ 54702 h 256868"/>
                <a:gd name="connsiteX41" fmla="*/ 332938 w 347673"/>
                <a:gd name="connsiteY41" fmla="*/ 69357 h 256868"/>
                <a:gd name="connsiteX42" fmla="*/ 324681 w 347673"/>
                <a:gd name="connsiteY42" fmla="*/ 94632 h 256868"/>
                <a:gd name="connsiteX0" fmla="*/ 345791 w 347673"/>
                <a:gd name="connsiteY0" fmla="*/ 64300 h 272922"/>
                <a:gd name="connsiteX1" fmla="*/ 302886 w 347673"/>
                <a:gd name="connsiteY1" fmla="*/ 41081 h 272922"/>
                <a:gd name="connsiteX2" fmla="*/ 241175 w 347673"/>
                <a:gd name="connsiteY2" fmla="*/ 19669 h 272922"/>
                <a:gd name="connsiteX3" fmla="*/ 173847 w 347673"/>
                <a:gd name="connsiteY3" fmla="*/ 0 h 272922"/>
                <a:gd name="connsiteX4" fmla="*/ 106519 w 347673"/>
                <a:gd name="connsiteY4" fmla="*/ 19669 h 272922"/>
                <a:gd name="connsiteX5" fmla="*/ 44787 w 347673"/>
                <a:gd name="connsiteY5" fmla="*/ 41081 h 272922"/>
                <a:gd name="connsiteX6" fmla="*/ 1882 w 347673"/>
                <a:gd name="connsiteY6" fmla="*/ 64300 h 272922"/>
                <a:gd name="connsiteX7" fmla="*/ 12497 w 347673"/>
                <a:gd name="connsiteY7" fmla="*/ 103519 h 272922"/>
                <a:gd name="connsiteX8" fmla="*/ 25458 w 347673"/>
                <a:gd name="connsiteY8" fmla="*/ 114871 h 272922"/>
                <a:gd name="connsiteX9" fmla="*/ 25415 w 347673"/>
                <a:gd name="connsiteY9" fmla="*/ 115290 h 272922"/>
                <a:gd name="connsiteX10" fmla="*/ 60171 w 347673"/>
                <a:gd name="connsiteY10" fmla="*/ 135465 h 272922"/>
                <a:gd name="connsiteX11" fmla="*/ 90733 w 347673"/>
                <a:gd name="connsiteY11" fmla="*/ 117657 h 272922"/>
                <a:gd name="connsiteX12" fmla="*/ 111376 w 347673"/>
                <a:gd name="connsiteY12" fmla="*/ 112977 h 272922"/>
                <a:gd name="connsiteX13" fmla="*/ 111604 w 347673"/>
                <a:gd name="connsiteY13" fmla="*/ 113310 h 272922"/>
                <a:gd name="connsiteX14" fmla="*/ 141590 w 347673"/>
                <a:gd name="connsiteY14" fmla="*/ 255188 h 272922"/>
                <a:gd name="connsiteX15" fmla="*/ 206104 w 347673"/>
                <a:gd name="connsiteY15" fmla="*/ 255188 h 272922"/>
                <a:gd name="connsiteX16" fmla="*/ 236069 w 347673"/>
                <a:gd name="connsiteY16" fmla="*/ 113310 h 272922"/>
                <a:gd name="connsiteX17" fmla="*/ 236297 w 347673"/>
                <a:gd name="connsiteY17" fmla="*/ 112977 h 272922"/>
                <a:gd name="connsiteX18" fmla="*/ 256940 w 347673"/>
                <a:gd name="connsiteY18" fmla="*/ 117657 h 272922"/>
                <a:gd name="connsiteX19" fmla="*/ 287513 w 347673"/>
                <a:gd name="connsiteY19" fmla="*/ 135465 h 272922"/>
                <a:gd name="connsiteX20" fmla="*/ 322247 w 347673"/>
                <a:gd name="connsiteY20" fmla="*/ 115290 h 272922"/>
                <a:gd name="connsiteX21" fmla="*/ 322225 w 347673"/>
                <a:gd name="connsiteY21" fmla="*/ 114935 h 272922"/>
                <a:gd name="connsiteX22" fmla="*/ 335187 w 347673"/>
                <a:gd name="connsiteY22" fmla="*/ 103519 h 272922"/>
                <a:gd name="connsiteX23" fmla="*/ 345791 w 347673"/>
                <a:gd name="connsiteY23" fmla="*/ 64300 h 272922"/>
                <a:gd name="connsiteX24" fmla="*/ 89581 w 347673"/>
                <a:gd name="connsiteY24" fmla="*/ 103960 h 272922"/>
                <a:gd name="connsiteX25" fmla="*/ 57183 w 347673"/>
                <a:gd name="connsiteY25" fmla="*/ 90747 h 272922"/>
                <a:gd name="connsiteX26" fmla="*/ 30804 w 347673"/>
                <a:gd name="connsiteY26" fmla="*/ 101894 h 272922"/>
                <a:gd name="connsiteX27" fmla="*/ 22992 w 347673"/>
                <a:gd name="connsiteY27" fmla="*/ 94621 h 272922"/>
                <a:gd name="connsiteX28" fmla="*/ 14735 w 347673"/>
                <a:gd name="connsiteY28" fmla="*/ 69336 h 272922"/>
                <a:gd name="connsiteX29" fmla="*/ 46286 w 347673"/>
                <a:gd name="connsiteY29" fmla="*/ 54681 h 272922"/>
                <a:gd name="connsiteX30" fmla="*/ 93395 w 347673"/>
                <a:gd name="connsiteY30" fmla="*/ 65828 h 272922"/>
                <a:gd name="connsiteX31" fmla="*/ 104792 w 347673"/>
                <a:gd name="connsiteY31" fmla="*/ 100560 h 272922"/>
                <a:gd name="connsiteX32" fmla="*/ 89581 w 347673"/>
                <a:gd name="connsiteY32" fmla="*/ 103960 h 272922"/>
                <a:gd name="connsiteX33" fmla="*/ 324681 w 347673"/>
                <a:gd name="connsiteY33" fmla="*/ 94632 h 272922"/>
                <a:gd name="connsiteX34" fmla="*/ 316891 w 347673"/>
                <a:gd name="connsiteY34" fmla="*/ 101916 h 272922"/>
                <a:gd name="connsiteX35" fmla="*/ 290490 w 347673"/>
                <a:gd name="connsiteY35" fmla="*/ 90758 h 272922"/>
                <a:gd name="connsiteX36" fmla="*/ 258091 w 347673"/>
                <a:gd name="connsiteY36" fmla="*/ 103971 h 272922"/>
                <a:gd name="connsiteX37" fmla="*/ 242881 w 347673"/>
                <a:gd name="connsiteY37" fmla="*/ 100582 h 272922"/>
                <a:gd name="connsiteX38" fmla="*/ 254278 w 347673"/>
                <a:gd name="connsiteY38" fmla="*/ 65849 h 272922"/>
                <a:gd name="connsiteX39" fmla="*/ 301387 w 347673"/>
                <a:gd name="connsiteY39" fmla="*/ 54702 h 272922"/>
                <a:gd name="connsiteX40" fmla="*/ 332938 w 347673"/>
                <a:gd name="connsiteY40" fmla="*/ 69357 h 272922"/>
                <a:gd name="connsiteX41" fmla="*/ 324681 w 347673"/>
                <a:gd name="connsiteY41" fmla="*/ 94632 h 272922"/>
                <a:gd name="connsiteX0" fmla="*/ 345791 w 347673"/>
                <a:gd name="connsiteY0" fmla="*/ 64300 h 274558"/>
                <a:gd name="connsiteX1" fmla="*/ 302886 w 347673"/>
                <a:gd name="connsiteY1" fmla="*/ 41081 h 274558"/>
                <a:gd name="connsiteX2" fmla="*/ 241175 w 347673"/>
                <a:gd name="connsiteY2" fmla="*/ 19669 h 274558"/>
                <a:gd name="connsiteX3" fmla="*/ 173847 w 347673"/>
                <a:gd name="connsiteY3" fmla="*/ 0 h 274558"/>
                <a:gd name="connsiteX4" fmla="*/ 106519 w 347673"/>
                <a:gd name="connsiteY4" fmla="*/ 19669 h 274558"/>
                <a:gd name="connsiteX5" fmla="*/ 44787 w 347673"/>
                <a:gd name="connsiteY5" fmla="*/ 41081 h 274558"/>
                <a:gd name="connsiteX6" fmla="*/ 1882 w 347673"/>
                <a:gd name="connsiteY6" fmla="*/ 64300 h 274558"/>
                <a:gd name="connsiteX7" fmla="*/ 12497 w 347673"/>
                <a:gd name="connsiteY7" fmla="*/ 103519 h 274558"/>
                <a:gd name="connsiteX8" fmla="*/ 25458 w 347673"/>
                <a:gd name="connsiteY8" fmla="*/ 114871 h 274558"/>
                <a:gd name="connsiteX9" fmla="*/ 25415 w 347673"/>
                <a:gd name="connsiteY9" fmla="*/ 115290 h 274558"/>
                <a:gd name="connsiteX10" fmla="*/ 60171 w 347673"/>
                <a:gd name="connsiteY10" fmla="*/ 135465 h 274558"/>
                <a:gd name="connsiteX11" fmla="*/ 90733 w 347673"/>
                <a:gd name="connsiteY11" fmla="*/ 117657 h 274558"/>
                <a:gd name="connsiteX12" fmla="*/ 111376 w 347673"/>
                <a:gd name="connsiteY12" fmla="*/ 112977 h 274558"/>
                <a:gd name="connsiteX13" fmla="*/ 111604 w 347673"/>
                <a:gd name="connsiteY13" fmla="*/ 113310 h 274558"/>
                <a:gd name="connsiteX14" fmla="*/ 141590 w 347673"/>
                <a:gd name="connsiteY14" fmla="*/ 255188 h 274558"/>
                <a:gd name="connsiteX15" fmla="*/ 206104 w 347673"/>
                <a:gd name="connsiteY15" fmla="*/ 255188 h 274558"/>
                <a:gd name="connsiteX16" fmla="*/ 236069 w 347673"/>
                <a:gd name="connsiteY16" fmla="*/ 113310 h 274558"/>
                <a:gd name="connsiteX17" fmla="*/ 236297 w 347673"/>
                <a:gd name="connsiteY17" fmla="*/ 112977 h 274558"/>
                <a:gd name="connsiteX18" fmla="*/ 256940 w 347673"/>
                <a:gd name="connsiteY18" fmla="*/ 117657 h 274558"/>
                <a:gd name="connsiteX19" fmla="*/ 287513 w 347673"/>
                <a:gd name="connsiteY19" fmla="*/ 135465 h 274558"/>
                <a:gd name="connsiteX20" fmla="*/ 322247 w 347673"/>
                <a:gd name="connsiteY20" fmla="*/ 115290 h 274558"/>
                <a:gd name="connsiteX21" fmla="*/ 322225 w 347673"/>
                <a:gd name="connsiteY21" fmla="*/ 114935 h 274558"/>
                <a:gd name="connsiteX22" fmla="*/ 335187 w 347673"/>
                <a:gd name="connsiteY22" fmla="*/ 103519 h 274558"/>
                <a:gd name="connsiteX23" fmla="*/ 345791 w 347673"/>
                <a:gd name="connsiteY23" fmla="*/ 64300 h 274558"/>
                <a:gd name="connsiteX24" fmla="*/ 89581 w 347673"/>
                <a:gd name="connsiteY24" fmla="*/ 103960 h 274558"/>
                <a:gd name="connsiteX25" fmla="*/ 57183 w 347673"/>
                <a:gd name="connsiteY25" fmla="*/ 90747 h 274558"/>
                <a:gd name="connsiteX26" fmla="*/ 30804 w 347673"/>
                <a:gd name="connsiteY26" fmla="*/ 101894 h 274558"/>
                <a:gd name="connsiteX27" fmla="*/ 22992 w 347673"/>
                <a:gd name="connsiteY27" fmla="*/ 94621 h 274558"/>
                <a:gd name="connsiteX28" fmla="*/ 14735 w 347673"/>
                <a:gd name="connsiteY28" fmla="*/ 69336 h 274558"/>
                <a:gd name="connsiteX29" fmla="*/ 46286 w 347673"/>
                <a:gd name="connsiteY29" fmla="*/ 54681 h 274558"/>
                <a:gd name="connsiteX30" fmla="*/ 93395 w 347673"/>
                <a:gd name="connsiteY30" fmla="*/ 65828 h 274558"/>
                <a:gd name="connsiteX31" fmla="*/ 104792 w 347673"/>
                <a:gd name="connsiteY31" fmla="*/ 100560 h 274558"/>
                <a:gd name="connsiteX32" fmla="*/ 89581 w 347673"/>
                <a:gd name="connsiteY32" fmla="*/ 103960 h 274558"/>
                <a:gd name="connsiteX33" fmla="*/ 324681 w 347673"/>
                <a:gd name="connsiteY33" fmla="*/ 94632 h 274558"/>
                <a:gd name="connsiteX34" fmla="*/ 316891 w 347673"/>
                <a:gd name="connsiteY34" fmla="*/ 101916 h 274558"/>
                <a:gd name="connsiteX35" fmla="*/ 290490 w 347673"/>
                <a:gd name="connsiteY35" fmla="*/ 90758 h 274558"/>
                <a:gd name="connsiteX36" fmla="*/ 258091 w 347673"/>
                <a:gd name="connsiteY36" fmla="*/ 103971 h 274558"/>
                <a:gd name="connsiteX37" fmla="*/ 242881 w 347673"/>
                <a:gd name="connsiteY37" fmla="*/ 100582 h 274558"/>
                <a:gd name="connsiteX38" fmla="*/ 254278 w 347673"/>
                <a:gd name="connsiteY38" fmla="*/ 65849 h 274558"/>
                <a:gd name="connsiteX39" fmla="*/ 301387 w 347673"/>
                <a:gd name="connsiteY39" fmla="*/ 54702 h 274558"/>
                <a:gd name="connsiteX40" fmla="*/ 332938 w 347673"/>
                <a:gd name="connsiteY40" fmla="*/ 69357 h 274558"/>
                <a:gd name="connsiteX41" fmla="*/ 324681 w 347673"/>
                <a:gd name="connsiteY41" fmla="*/ 94632 h 274558"/>
                <a:gd name="connsiteX0" fmla="*/ 345791 w 347673"/>
                <a:gd name="connsiteY0" fmla="*/ 64300 h 272355"/>
                <a:gd name="connsiteX1" fmla="*/ 302886 w 347673"/>
                <a:gd name="connsiteY1" fmla="*/ 41081 h 272355"/>
                <a:gd name="connsiteX2" fmla="*/ 241175 w 347673"/>
                <a:gd name="connsiteY2" fmla="*/ 19669 h 272355"/>
                <a:gd name="connsiteX3" fmla="*/ 173847 w 347673"/>
                <a:gd name="connsiteY3" fmla="*/ 0 h 272355"/>
                <a:gd name="connsiteX4" fmla="*/ 106519 w 347673"/>
                <a:gd name="connsiteY4" fmla="*/ 19669 h 272355"/>
                <a:gd name="connsiteX5" fmla="*/ 44787 w 347673"/>
                <a:gd name="connsiteY5" fmla="*/ 41081 h 272355"/>
                <a:gd name="connsiteX6" fmla="*/ 1882 w 347673"/>
                <a:gd name="connsiteY6" fmla="*/ 64300 h 272355"/>
                <a:gd name="connsiteX7" fmla="*/ 12497 w 347673"/>
                <a:gd name="connsiteY7" fmla="*/ 103519 h 272355"/>
                <a:gd name="connsiteX8" fmla="*/ 25458 w 347673"/>
                <a:gd name="connsiteY8" fmla="*/ 114871 h 272355"/>
                <a:gd name="connsiteX9" fmla="*/ 25415 w 347673"/>
                <a:gd name="connsiteY9" fmla="*/ 115290 h 272355"/>
                <a:gd name="connsiteX10" fmla="*/ 60171 w 347673"/>
                <a:gd name="connsiteY10" fmla="*/ 135465 h 272355"/>
                <a:gd name="connsiteX11" fmla="*/ 90733 w 347673"/>
                <a:gd name="connsiteY11" fmla="*/ 117657 h 272355"/>
                <a:gd name="connsiteX12" fmla="*/ 111376 w 347673"/>
                <a:gd name="connsiteY12" fmla="*/ 112977 h 272355"/>
                <a:gd name="connsiteX13" fmla="*/ 111604 w 347673"/>
                <a:gd name="connsiteY13" fmla="*/ 113310 h 272355"/>
                <a:gd name="connsiteX14" fmla="*/ 141590 w 347673"/>
                <a:gd name="connsiteY14" fmla="*/ 255188 h 272355"/>
                <a:gd name="connsiteX15" fmla="*/ 206104 w 347673"/>
                <a:gd name="connsiteY15" fmla="*/ 255188 h 272355"/>
                <a:gd name="connsiteX16" fmla="*/ 236069 w 347673"/>
                <a:gd name="connsiteY16" fmla="*/ 113310 h 272355"/>
                <a:gd name="connsiteX17" fmla="*/ 236297 w 347673"/>
                <a:gd name="connsiteY17" fmla="*/ 112977 h 272355"/>
                <a:gd name="connsiteX18" fmla="*/ 256940 w 347673"/>
                <a:gd name="connsiteY18" fmla="*/ 117657 h 272355"/>
                <a:gd name="connsiteX19" fmla="*/ 287513 w 347673"/>
                <a:gd name="connsiteY19" fmla="*/ 135465 h 272355"/>
                <a:gd name="connsiteX20" fmla="*/ 322247 w 347673"/>
                <a:gd name="connsiteY20" fmla="*/ 115290 h 272355"/>
                <a:gd name="connsiteX21" fmla="*/ 322225 w 347673"/>
                <a:gd name="connsiteY21" fmla="*/ 114935 h 272355"/>
                <a:gd name="connsiteX22" fmla="*/ 335187 w 347673"/>
                <a:gd name="connsiteY22" fmla="*/ 103519 h 272355"/>
                <a:gd name="connsiteX23" fmla="*/ 345791 w 347673"/>
                <a:gd name="connsiteY23" fmla="*/ 64300 h 272355"/>
                <a:gd name="connsiteX24" fmla="*/ 89581 w 347673"/>
                <a:gd name="connsiteY24" fmla="*/ 103960 h 272355"/>
                <a:gd name="connsiteX25" fmla="*/ 57183 w 347673"/>
                <a:gd name="connsiteY25" fmla="*/ 90747 h 272355"/>
                <a:gd name="connsiteX26" fmla="*/ 30804 w 347673"/>
                <a:gd name="connsiteY26" fmla="*/ 101894 h 272355"/>
                <a:gd name="connsiteX27" fmla="*/ 22992 w 347673"/>
                <a:gd name="connsiteY27" fmla="*/ 94621 h 272355"/>
                <a:gd name="connsiteX28" fmla="*/ 14735 w 347673"/>
                <a:gd name="connsiteY28" fmla="*/ 69336 h 272355"/>
                <a:gd name="connsiteX29" fmla="*/ 46286 w 347673"/>
                <a:gd name="connsiteY29" fmla="*/ 54681 h 272355"/>
                <a:gd name="connsiteX30" fmla="*/ 93395 w 347673"/>
                <a:gd name="connsiteY30" fmla="*/ 65828 h 272355"/>
                <a:gd name="connsiteX31" fmla="*/ 104792 w 347673"/>
                <a:gd name="connsiteY31" fmla="*/ 100560 h 272355"/>
                <a:gd name="connsiteX32" fmla="*/ 89581 w 347673"/>
                <a:gd name="connsiteY32" fmla="*/ 103960 h 272355"/>
                <a:gd name="connsiteX33" fmla="*/ 324681 w 347673"/>
                <a:gd name="connsiteY33" fmla="*/ 94632 h 272355"/>
                <a:gd name="connsiteX34" fmla="*/ 316891 w 347673"/>
                <a:gd name="connsiteY34" fmla="*/ 101916 h 272355"/>
                <a:gd name="connsiteX35" fmla="*/ 290490 w 347673"/>
                <a:gd name="connsiteY35" fmla="*/ 90758 h 272355"/>
                <a:gd name="connsiteX36" fmla="*/ 258091 w 347673"/>
                <a:gd name="connsiteY36" fmla="*/ 103971 h 272355"/>
                <a:gd name="connsiteX37" fmla="*/ 242881 w 347673"/>
                <a:gd name="connsiteY37" fmla="*/ 100582 h 272355"/>
                <a:gd name="connsiteX38" fmla="*/ 254278 w 347673"/>
                <a:gd name="connsiteY38" fmla="*/ 65849 h 272355"/>
                <a:gd name="connsiteX39" fmla="*/ 301387 w 347673"/>
                <a:gd name="connsiteY39" fmla="*/ 54702 h 272355"/>
                <a:gd name="connsiteX40" fmla="*/ 332938 w 347673"/>
                <a:gd name="connsiteY40" fmla="*/ 69357 h 272355"/>
                <a:gd name="connsiteX41" fmla="*/ 324681 w 347673"/>
                <a:gd name="connsiteY41" fmla="*/ 94632 h 272355"/>
                <a:gd name="connsiteX0" fmla="*/ 345791 w 347673"/>
                <a:gd name="connsiteY0" fmla="*/ 64300 h 275785"/>
                <a:gd name="connsiteX1" fmla="*/ 302886 w 347673"/>
                <a:gd name="connsiteY1" fmla="*/ 41081 h 275785"/>
                <a:gd name="connsiteX2" fmla="*/ 241175 w 347673"/>
                <a:gd name="connsiteY2" fmla="*/ 19669 h 275785"/>
                <a:gd name="connsiteX3" fmla="*/ 173847 w 347673"/>
                <a:gd name="connsiteY3" fmla="*/ 0 h 275785"/>
                <a:gd name="connsiteX4" fmla="*/ 106519 w 347673"/>
                <a:gd name="connsiteY4" fmla="*/ 19669 h 275785"/>
                <a:gd name="connsiteX5" fmla="*/ 44787 w 347673"/>
                <a:gd name="connsiteY5" fmla="*/ 41081 h 275785"/>
                <a:gd name="connsiteX6" fmla="*/ 1882 w 347673"/>
                <a:gd name="connsiteY6" fmla="*/ 64300 h 275785"/>
                <a:gd name="connsiteX7" fmla="*/ 12497 w 347673"/>
                <a:gd name="connsiteY7" fmla="*/ 103519 h 275785"/>
                <a:gd name="connsiteX8" fmla="*/ 25458 w 347673"/>
                <a:gd name="connsiteY8" fmla="*/ 114871 h 275785"/>
                <a:gd name="connsiteX9" fmla="*/ 25415 w 347673"/>
                <a:gd name="connsiteY9" fmla="*/ 115290 h 275785"/>
                <a:gd name="connsiteX10" fmla="*/ 60171 w 347673"/>
                <a:gd name="connsiteY10" fmla="*/ 135465 h 275785"/>
                <a:gd name="connsiteX11" fmla="*/ 90733 w 347673"/>
                <a:gd name="connsiteY11" fmla="*/ 117657 h 275785"/>
                <a:gd name="connsiteX12" fmla="*/ 111376 w 347673"/>
                <a:gd name="connsiteY12" fmla="*/ 112977 h 275785"/>
                <a:gd name="connsiteX13" fmla="*/ 111604 w 347673"/>
                <a:gd name="connsiteY13" fmla="*/ 113310 h 275785"/>
                <a:gd name="connsiteX14" fmla="*/ 141590 w 347673"/>
                <a:gd name="connsiteY14" fmla="*/ 255188 h 275785"/>
                <a:gd name="connsiteX15" fmla="*/ 206104 w 347673"/>
                <a:gd name="connsiteY15" fmla="*/ 255188 h 275785"/>
                <a:gd name="connsiteX16" fmla="*/ 236069 w 347673"/>
                <a:gd name="connsiteY16" fmla="*/ 113310 h 275785"/>
                <a:gd name="connsiteX17" fmla="*/ 236297 w 347673"/>
                <a:gd name="connsiteY17" fmla="*/ 112977 h 275785"/>
                <a:gd name="connsiteX18" fmla="*/ 256940 w 347673"/>
                <a:gd name="connsiteY18" fmla="*/ 117657 h 275785"/>
                <a:gd name="connsiteX19" fmla="*/ 287513 w 347673"/>
                <a:gd name="connsiteY19" fmla="*/ 135465 h 275785"/>
                <a:gd name="connsiteX20" fmla="*/ 322247 w 347673"/>
                <a:gd name="connsiteY20" fmla="*/ 115290 h 275785"/>
                <a:gd name="connsiteX21" fmla="*/ 322225 w 347673"/>
                <a:gd name="connsiteY21" fmla="*/ 114935 h 275785"/>
                <a:gd name="connsiteX22" fmla="*/ 335187 w 347673"/>
                <a:gd name="connsiteY22" fmla="*/ 103519 h 275785"/>
                <a:gd name="connsiteX23" fmla="*/ 345791 w 347673"/>
                <a:gd name="connsiteY23" fmla="*/ 64300 h 275785"/>
                <a:gd name="connsiteX24" fmla="*/ 89581 w 347673"/>
                <a:gd name="connsiteY24" fmla="*/ 103960 h 275785"/>
                <a:gd name="connsiteX25" fmla="*/ 57183 w 347673"/>
                <a:gd name="connsiteY25" fmla="*/ 90747 h 275785"/>
                <a:gd name="connsiteX26" fmla="*/ 30804 w 347673"/>
                <a:gd name="connsiteY26" fmla="*/ 101894 h 275785"/>
                <a:gd name="connsiteX27" fmla="*/ 22992 w 347673"/>
                <a:gd name="connsiteY27" fmla="*/ 94621 h 275785"/>
                <a:gd name="connsiteX28" fmla="*/ 14735 w 347673"/>
                <a:gd name="connsiteY28" fmla="*/ 69336 h 275785"/>
                <a:gd name="connsiteX29" fmla="*/ 46286 w 347673"/>
                <a:gd name="connsiteY29" fmla="*/ 54681 h 275785"/>
                <a:gd name="connsiteX30" fmla="*/ 93395 w 347673"/>
                <a:gd name="connsiteY30" fmla="*/ 65828 h 275785"/>
                <a:gd name="connsiteX31" fmla="*/ 104792 w 347673"/>
                <a:gd name="connsiteY31" fmla="*/ 100560 h 275785"/>
                <a:gd name="connsiteX32" fmla="*/ 89581 w 347673"/>
                <a:gd name="connsiteY32" fmla="*/ 103960 h 275785"/>
                <a:gd name="connsiteX33" fmla="*/ 324681 w 347673"/>
                <a:gd name="connsiteY33" fmla="*/ 94632 h 275785"/>
                <a:gd name="connsiteX34" fmla="*/ 316891 w 347673"/>
                <a:gd name="connsiteY34" fmla="*/ 101916 h 275785"/>
                <a:gd name="connsiteX35" fmla="*/ 290490 w 347673"/>
                <a:gd name="connsiteY35" fmla="*/ 90758 h 275785"/>
                <a:gd name="connsiteX36" fmla="*/ 258091 w 347673"/>
                <a:gd name="connsiteY36" fmla="*/ 103971 h 275785"/>
                <a:gd name="connsiteX37" fmla="*/ 242881 w 347673"/>
                <a:gd name="connsiteY37" fmla="*/ 100582 h 275785"/>
                <a:gd name="connsiteX38" fmla="*/ 254278 w 347673"/>
                <a:gd name="connsiteY38" fmla="*/ 65849 h 275785"/>
                <a:gd name="connsiteX39" fmla="*/ 301387 w 347673"/>
                <a:gd name="connsiteY39" fmla="*/ 54702 h 275785"/>
                <a:gd name="connsiteX40" fmla="*/ 332938 w 347673"/>
                <a:gd name="connsiteY40" fmla="*/ 69357 h 275785"/>
                <a:gd name="connsiteX41" fmla="*/ 324681 w 347673"/>
                <a:gd name="connsiteY41" fmla="*/ 94632 h 275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47673" h="275785">
                  <a:moveTo>
                    <a:pt x="345791" y="64300"/>
                  </a:moveTo>
                  <a:cubicBezTo>
                    <a:pt x="340630" y="51431"/>
                    <a:pt x="326202" y="43620"/>
                    <a:pt x="302886" y="41081"/>
                  </a:cubicBezTo>
                  <a:cubicBezTo>
                    <a:pt x="272389" y="37745"/>
                    <a:pt x="256516" y="28556"/>
                    <a:pt x="241175" y="19669"/>
                  </a:cubicBezTo>
                  <a:cubicBezTo>
                    <a:pt x="223716" y="9544"/>
                    <a:pt x="207223" y="0"/>
                    <a:pt x="173847" y="0"/>
                  </a:cubicBezTo>
                  <a:cubicBezTo>
                    <a:pt x="140449" y="0"/>
                    <a:pt x="123957" y="9544"/>
                    <a:pt x="106519" y="19669"/>
                  </a:cubicBezTo>
                  <a:cubicBezTo>
                    <a:pt x="91157" y="28556"/>
                    <a:pt x="75284" y="37745"/>
                    <a:pt x="44787" y="41081"/>
                  </a:cubicBezTo>
                  <a:cubicBezTo>
                    <a:pt x="21471" y="43620"/>
                    <a:pt x="7032" y="51431"/>
                    <a:pt x="1882" y="64300"/>
                  </a:cubicBezTo>
                  <a:cubicBezTo>
                    <a:pt x="-2724" y="75802"/>
                    <a:pt x="1241" y="90468"/>
                    <a:pt x="12497" y="103519"/>
                  </a:cubicBezTo>
                  <a:cubicBezTo>
                    <a:pt x="15974" y="107565"/>
                    <a:pt x="20537" y="111697"/>
                    <a:pt x="25458" y="114871"/>
                  </a:cubicBezTo>
                  <a:cubicBezTo>
                    <a:pt x="25458" y="115011"/>
                    <a:pt x="25415" y="115140"/>
                    <a:pt x="25415" y="115290"/>
                  </a:cubicBezTo>
                  <a:cubicBezTo>
                    <a:pt x="26241" y="127621"/>
                    <a:pt x="41799" y="136670"/>
                    <a:pt x="60171" y="135465"/>
                  </a:cubicBezTo>
                  <a:cubicBezTo>
                    <a:pt x="75088" y="134496"/>
                    <a:pt x="87115" y="127040"/>
                    <a:pt x="90733" y="117657"/>
                  </a:cubicBezTo>
                  <a:cubicBezTo>
                    <a:pt x="96057" y="116850"/>
                    <a:pt x="102825" y="115398"/>
                    <a:pt x="111376" y="112977"/>
                  </a:cubicBezTo>
                  <a:cubicBezTo>
                    <a:pt x="111463" y="113085"/>
                    <a:pt x="111550" y="113224"/>
                    <a:pt x="111604" y="113310"/>
                  </a:cubicBezTo>
                  <a:cubicBezTo>
                    <a:pt x="153085" y="161998"/>
                    <a:pt x="136219" y="226662"/>
                    <a:pt x="141590" y="255188"/>
                  </a:cubicBezTo>
                  <a:cubicBezTo>
                    <a:pt x="146847" y="283109"/>
                    <a:pt x="201095" y="282191"/>
                    <a:pt x="206104" y="255188"/>
                  </a:cubicBezTo>
                  <a:cubicBezTo>
                    <a:pt x="211113" y="228185"/>
                    <a:pt x="194577" y="162009"/>
                    <a:pt x="236069" y="113310"/>
                  </a:cubicBezTo>
                  <a:cubicBezTo>
                    <a:pt x="236156" y="113224"/>
                    <a:pt x="236221" y="113085"/>
                    <a:pt x="236297" y="112977"/>
                  </a:cubicBezTo>
                  <a:cubicBezTo>
                    <a:pt x="244847" y="115398"/>
                    <a:pt x="251616" y="116840"/>
                    <a:pt x="256940" y="117657"/>
                  </a:cubicBezTo>
                  <a:cubicBezTo>
                    <a:pt x="260547" y="127040"/>
                    <a:pt x="272574" y="134496"/>
                    <a:pt x="287513" y="135465"/>
                  </a:cubicBezTo>
                  <a:cubicBezTo>
                    <a:pt x="305863" y="136670"/>
                    <a:pt x="321421" y="127621"/>
                    <a:pt x="322247" y="115290"/>
                  </a:cubicBezTo>
                  <a:cubicBezTo>
                    <a:pt x="322247" y="115161"/>
                    <a:pt x="322225" y="115054"/>
                    <a:pt x="322225" y="114935"/>
                  </a:cubicBezTo>
                  <a:cubicBezTo>
                    <a:pt x="327147" y="111761"/>
                    <a:pt x="331688" y="107576"/>
                    <a:pt x="335187" y="103519"/>
                  </a:cubicBezTo>
                  <a:cubicBezTo>
                    <a:pt x="346432" y="90468"/>
                    <a:pt x="350397" y="75813"/>
                    <a:pt x="345791" y="64300"/>
                  </a:cubicBezTo>
                  <a:close/>
                  <a:moveTo>
                    <a:pt x="89581" y="103960"/>
                  </a:moveTo>
                  <a:cubicBezTo>
                    <a:pt x="84551" y="95406"/>
                    <a:pt x="71840" y="89801"/>
                    <a:pt x="57183" y="90747"/>
                  </a:cubicBezTo>
                  <a:cubicBezTo>
                    <a:pt x="46047" y="91468"/>
                    <a:pt x="36475" y="95847"/>
                    <a:pt x="30804" y="101894"/>
                  </a:cubicBezTo>
                  <a:cubicBezTo>
                    <a:pt x="28316" y="100065"/>
                    <a:pt x="25643" y="97687"/>
                    <a:pt x="22992" y="94621"/>
                  </a:cubicBezTo>
                  <a:cubicBezTo>
                    <a:pt x="16919" y="87584"/>
                    <a:pt x="11574" y="77244"/>
                    <a:pt x="14735" y="69336"/>
                  </a:cubicBezTo>
                  <a:cubicBezTo>
                    <a:pt x="17810" y="61664"/>
                    <a:pt x="28718" y="56585"/>
                    <a:pt x="46286" y="54681"/>
                  </a:cubicBezTo>
                  <a:cubicBezTo>
                    <a:pt x="68526" y="52357"/>
                    <a:pt x="84399" y="59738"/>
                    <a:pt x="93395" y="65828"/>
                  </a:cubicBezTo>
                  <a:cubicBezTo>
                    <a:pt x="96687" y="77577"/>
                    <a:pt x="100718" y="90704"/>
                    <a:pt x="104792" y="100560"/>
                  </a:cubicBezTo>
                  <a:cubicBezTo>
                    <a:pt x="98556" y="102228"/>
                    <a:pt x="93482" y="103325"/>
                    <a:pt x="89581" y="103960"/>
                  </a:cubicBezTo>
                  <a:close/>
                  <a:moveTo>
                    <a:pt x="324681" y="94632"/>
                  </a:moveTo>
                  <a:cubicBezTo>
                    <a:pt x="322051" y="97698"/>
                    <a:pt x="319379" y="100076"/>
                    <a:pt x="316891" y="101916"/>
                  </a:cubicBezTo>
                  <a:cubicBezTo>
                    <a:pt x="311230" y="95858"/>
                    <a:pt x="301659" y="91479"/>
                    <a:pt x="290490" y="90758"/>
                  </a:cubicBezTo>
                  <a:cubicBezTo>
                    <a:pt x="275844" y="89801"/>
                    <a:pt x="263111" y="95417"/>
                    <a:pt x="258091" y="103971"/>
                  </a:cubicBezTo>
                  <a:cubicBezTo>
                    <a:pt x="254191" y="103336"/>
                    <a:pt x="249117" y="102239"/>
                    <a:pt x="242881" y="100582"/>
                  </a:cubicBezTo>
                  <a:cubicBezTo>
                    <a:pt x="246955" y="90726"/>
                    <a:pt x="250986" y="77599"/>
                    <a:pt x="254278" y="65849"/>
                  </a:cubicBezTo>
                  <a:cubicBezTo>
                    <a:pt x="263296" y="59759"/>
                    <a:pt x="279147" y="52378"/>
                    <a:pt x="301387" y="54702"/>
                  </a:cubicBezTo>
                  <a:cubicBezTo>
                    <a:pt x="318955" y="56618"/>
                    <a:pt x="329863" y="61685"/>
                    <a:pt x="332938" y="69357"/>
                  </a:cubicBezTo>
                  <a:cubicBezTo>
                    <a:pt x="336099" y="77244"/>
                    <a:pt x="330743" y="87584"/>
                    <a:pt x="324681" y="94632"/>
                  </a:cubicBezTo>
                  <a:close/>
                </a:path>
              </a:pathLst>
            </a:custGeom>
            <a:gradFill>
              <a:gsLst>
                <a:gs pos="100000">
                  <a:srgbClr val="C00000">
                    <a:lumMod val="76000"/>
                    <a:lumOff val="24000"/>
                    <a:alpha val="70230"/>
                  </a:srgbClr>
                </a:gs>
                <a:gs pos="0">
                  <a:srgbClr val="FF9A96">
                    <a:lumMod val="49695"/>
                  </a:srgbClr>
                </a:gs>
                <a:gs pos="42000">
                  <a:srgbClr val="EF7975"/>
                </a:gs>
                <a:gs pos="78000">
                  <a:srgbClr val="FF9A96">
                    <a:lumMod val="94688"/>
                  </a:srgbClr>
                </a:gs>
              </a:gsLst>
              <a:lin ang="5400000" scaled="1"/>
            </a:gra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GB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244" name="Group Vagina">
              <a:extLst>
                <a:ext uri="{FF2B5EF4-FFF2-40B4-BE49-F238E27FC236}">
                  <a16:creationId xmlns:a16="http://schemas.microsoft.com/office/drawing/2014/main" id="{6A95539D-632E-49C4-90D1-60733CFAAC4B}"/>
                </a:ext>
              </a:extLst>
            </p:cNvPr>
            <p:cNvGrpSpPr/>
            <p:nvPr/>
          </p:nvGrpSpPr>
          <p:grpSpPr>
            <a:xfrm>
              <a:off x="6385165" y="4627289"/>
              <a:ext cx="1850546" cy="1358386"/>
              <a:chOff x="5855270" y="3421925"/>
              <a:chExt cx="347673" cy="255208"/>
            </a:xfrm>
            <a:gradFill>
              <a:gsLst>
                <a:gs pos="1000">
                  <a:srgbClr val="FC808B">
                    <a:alpha val="94695"/>
                    <a:lumMod val="25000"/>
                    <a:lumOff val="75000"/>
                  </a:srgbClr>
                </a:gs>
                <a:gs pos="100000">
                  <a:srgbClr val="FC808B">
                    <a:lumMod val="60328"/>
                    <a:lumOff val="39672"/>
                  </a:srgbClr>
                </a:gs>
                <a:gs pos="70000">
                  <a:srgbClr val="FD8FA0">
                    <a:alpha val="50000"/>
                    <a:lumMod val="76000"/>
                    <a:lumOff val="24000"/>
                  </a:srgbClr>
                </a:gs>
                <a:gs pos="6000">
                  <a:srgbClr val="FDE1E4">
                    <a:lumMod val="86000"/>
                  </a:srgbClr>
                </a:gs>
                <a:gs pos="38000">
                  <a:srgbClr val="FF66B4"/>
                </a:gs>
              </a:gsLst>
              <a:lin ang="5400000" scaled="1"/>
            </a:gradFill>
          </p:grpSpPr>
          <p:sp>
            <p:nvSpPr>
              <p:cNvPr id="248" name="Graphic 119">
                <a:extLst>
                  <a:ext uri="{FF2B5EF4-FFF2-40B4-BE49-F238E27FC236}">
                    <a16:creationId xmlns:a16="http://schemas.microsoft.com/office/drawing/2014/main" id="{5CF7E05E-03DC-4725-8948-8BE77BA69F73}"/>
                  </a:ext>
                </a:extLst>
              </p:cNvPr>
              <p:cNvSpPr/>
              <p:nvPr/>
            </p:nvSpPr>
            <p:spPr>
              <a:xfrm>
                <a:off x="5855270" y="3421925"/>
                <a:ext cx="347673" cy="255208"/>
              </a:xfrm>
              <a:custGeom>
                <a:avLst/>
                <a:gdLst>
                  <a:gd name="connsiteX0" fmla="*/ 345791 w 347673"/>
                  <a:gd name="connsiteY0" fmla="*/ 64300 h 255208"/>
                  <a:gd name="connsiteX1" fmla="*/ 302886 w 347673"/>
                  <a:gd name="connsiteY1" fmla="*/ 41081 h 255208"/>
                  <a:gd name="connsiteX2" fmla="*/ 241175 w 347673"/>
                  <a:gd name="connsiteY2" fmla="*/ 19669 h 255208"/>
                  <a:gd name="connsiteX3" fmla="*/ 173847 w 347673"/>
                  <a:gd name="connsiteY3" fmla="*/ 0 h 255208"/>
                  <a:gd name="connsiteX4" fmla="*/ 106519 w 347673"/>
                  <a:gd name="connsiteY4" fmla="*/ 19669 h 255208"/>
                  <a:gd name="connsiteX5" fmla="*/ 44787 w 347673"/>
                  <a:gd name="connsiteY5" fmla="*/ 41081 h 255208"/>
                  <a:gd name="connsiteX6" fmla="*/ 1882 w 347673"/>
                  <a:gd name="connsiteY6" fmla="*/ 64300 h 255208"/>
                  <a:gd name="connsiteX7" fmla="*/ 12497 w 347673"/>
                  <a:gd name="connsiteY7" fmla="*/ 103519 h 255208"/>
                  <a:gd name="connsiteX8" fmla="*/ 25458 w 347673"/>
                  <a:gd name="connsiteY8" fmla="*/ 114871 h 255208"/>
                  <a:gd name="connsiteX9" fmla="*/ 25415 w 347673"/>
                  <a:gd name="connsiteY9" fmla="*/ 115290 h 255208"/>
                  <a:gd name="connsiteX10" fmla="*/ 60171 w 347673"/>
                  <a:gd name="connsiteY10" fmla="*/ 135465 h 255208"/>
                  <a:gd name="connsiteX11" fmla="*/ 90733 w 347673"/>
                  <a:gd name="connsiteY11" fmla="*/ 117657 h 255208"/>
                  <a:gd name="connsiteX12" fmla="*/ 111376 w 347673"/>
                  <a:gd name="connsiteY12" fmla="*/ 112977 h 255208"/>
                  <a:gd name="connsiteX13" fmla="*/ 111604 w 347673"/>
                  <a:gd name="connsiteY13" fmla="*/ 113310 h 255208"/>
                  <a:gd name="connsiteX14" fmla="*/ 141590 w 347673"/>
                  <a:gd name="connsiteY14" fmla="*/ 255188 h 255208"/>
                  <a:gd name="connsiteX15" fmla="*/ 161157 w 347673"/>
                  <a:gd name="connsiteY15" fmla="*/ 195084 h 255208"/>
                  <a:gd name="connsiteX16" fmla="*/ 143057 w 347673"/>
                  <a:gd name="connsiteY16" fmla="*/ 119788 h 255208"/>
                  <a:gd name="connsiteX17" fmla="*/ 126608 w 347673"/>
                  <a:gd name="connsiteY17" fmla="*/ 60082 h 255208"/>
                  <a:gd name="connsiteX18" fmla="*/ 173847 w 347673"/>
                  <a:gd name="connsiteY18" fmla="*/ 40672 h 255208"/>
                  <a:gd name="connsiteX19" fmla="*/ 221087 w 347673"/>
                  <a:gd name="connsiteY19" fmla="*/ 60082 h 255208"/>
                  <a:gd name="connsiteX20" fmla="*/ 204616 w 347673"/>
                  <a:gd name="connsiteY20" fmla="*/ 119788 h 255208"/>
                  <a:gd name="connsiteX21" fmla="*/ 186515 w 347673"/>
                  <a:gd name="connsiteY21" fmla="*/ 195084 h 255208"/>
                  <a:gd name="connsiteX22" fmla="*/ 206104 w 347673"/>
                  <a:gd name="connsiteY22" fmla="*/ 255188 h 255208"/>
                  <a:gd name="connsiteX23" fmla="*/ 236069 w 347673"/>
                  <a:gd name="connsiteY23" fmla="*/ 113310 h 255208"/>
                  <a:gd name="connsiteX24" fmla="*/ 236297 w 347673"/>
                  <a:gd name="connsiteY24" fmla="*/ 112977 h 255208"/>
                  <a:gd name="connsiteX25" fmla="*/ 256940 w 347673"/>
                  <a:gd name="connsiteY25" fmla="*/ 117657 h 255208"/>
                  <a:gd name="connsiteX26" fmla="*/ 287513 w 347673"/>
                  <a:gd name="connsiteY26" fmla="*/ 135465 h 255208"/>
                  <a:gd name="connsiteX27" fmla="*/ 322247 w 347673"/>
                  <a:gd name="connsiteY27" fmla="*/ 115290 h 255208"/>
                  <a:gd name="connsiteX28" fmla="*/ 322225 w 347673"/>
                  <a:gd name="connsiteY28" fmla="*/ 114935 h 255208"/>
                  <a:gd name="connsiteX29" fmla="*/ 335187 w 347673"/>
                  <a:gd name="connsiteY29" fmla="*/ 103519 h 255208"/>
                  <a:gd name="connsiteX30" fmla="*/ 345791 w 347673"/>
                  <a:gd name="connsiteY30" fmla="*/ 64300 h 255208"/>
                  <a:gd name="connsiteX31" fmla="*/ 89581 w 347673"/>
                  <a:gd name="connsiteY31" fmla="*/ 103960 h 255208"/>
                  <a:gd name="connsiteX32" fmla="*/ 57183 w 347673"/>
                  <a:gd name="connsiteY32" fmla="*/ 90747 h 255208"/>
                  <a:gd name="connsiteX33" fmla="*/ 30804 w 347673"/>
                  <a:gd name="connsiteY33" fmla="*/ 101894 h 255208"/>
                  <a:gd name="connsiteX34" fmla="*/ 22992 w 347673"/>
                  <a:gd name="connsiteY34" fmla="*/ 94621 h 255208"/>
                  <a:gd name="connsiteX35" fmla="*/ 14735 w 347673"/>
                  <a:gd name="connsiteY35" fmla="*/ 69336 h 255208"/>
                  <a:gd name="connsiteX36" fmla="*/ 46286 w 347673"/>
                  <a:gd name="connsiteY36" fmla="*/ 54681 h 255208"/>
                  <a:gd name="connsiteX37" fmla="*/ 93395 w 347673"/>
                  <a:gd name="connsiteY37" fmla="*/ 65828 h 255208"/>
                  <a:gd name="connsiteX38" fmla="*/ 104792 w 347673"/>
                  <a:gd name="connsiteY38" fmla="*/ 100560 h 255208"/>
                  <a:gd name="connsiteX39" fmla="*/ 89581 w 347673"/>
                  <a:gd name="connsiteY39" fmla="*/ 103960 h 255208"/>
                  <a:gd name="connsiteX40" fmla="*/ 324681 w 347673"/>
                  <a:gd name="connsiteY40" fmla="*/ 94632 h 255208"/>
                  <a:gd name="connsiteX41" fmla="*/ 316891 w 347673"/>
                  <a:gd name="connsiteY41" fmla="*/ 101916 h 255208"/>
                  <a:gd name="connsiteX42" fmla="*/ 290490 w 347673"/>
                  <a:gd name="connsiteY42" fmla="*/ 90758 h 255208"/>
                  <a:gd name="connsiteX43" fmla="*/ 258091 w 347673"/>
                  <a:gd name="connsiteY43" fmla="*/ 103971 h 255208"/>
                  <a:gd name="connsiteX44" fmla="*/ 242881 w 347673"/>
                  <a:gd name="connsiteY44" fmla="*/ 100582 h 255208"/>
                  <a:gd name="connsiteX45" fmla="*/ 254278 w 347673"/>
                  <a:gd name="connsiteY45" fmla="*/ 65849 h 255208"/>
                  <a:gd name="connsiteX46" fmla="*/ 301387 w 347673"/>
                  <a:gd name="connsiteY46" fmla="*/ 54702 h 255208"/>
                  <a:gd name="connsiteX47" fmla="*/ 332938 w 347673"/>
                  <a:gd name="connsiteY47" fmla="*/ 69357 h 255208"/>
                  <a:gd name="connsiteX48" fmla="*/ 324681 w 347673"/>
                  <a:gd name="connsiteY48" fmla="*/ 94632 h 255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47673" h="255208">
                    <a:moveTo>
                      <a:pt x="345791" y="64300"/>
                    </a:moveTo>
                    <a:cubicBezTo>
                      <a:pt x="340630" y="51431"/>
                      <a:pt x="326202" y="43620"/>
                      <a:pt x="302886" y="41081"/>
                    </a:cubicBezTo>
                    <a:cubicBezTo>
                      <a:pt x="272389" y="37745"/>
                      <a:pt x="256516" y="28556"/>
                      <a:pt x="241175" y="19669"/>
                    </a:cubicBezTo>
                    <a:cubicBezTo>
                      <a:pt x="223716" y="9544"/>
                      <a:pt x="207223" y="0"/>
                      <a:pt x="173847" y="0"/>
                    </a:cubicBezTo>
                    <a:cubicBezTo>
                      <a:pt x="140449" y="0"/>
                      <a:pt x="123957" y="9544"/>
                      <a:pt x="106519" y="19669"/>
                    </a:cubicBezTo>
                    <a:cubicBezTo>
                      <a:pt x="91157" y="28556"/>
                      <a:pt x="75284" y="37745"/>
                      <a:pt x="44787" y="41081"/>
                    </a:cubicBezTo>
                    <a:cubicBezTo>
                      <a:pt x="21471" y="43620"/>
                      <a:pt x="7032" y="51431"/>
                      <a:pt x="1882" y="64300"/>
                    </a:cubicBezTo>
                    <a:cubicBezTo>
                      <a:pt x="-2724" y="75802"/>
                      <a:pt x="1241" y="90468"/>
                      <a:pt x="12497" y="103519"/>
                    </a:cubicBezTo>
                    <a:cubicBezTo>
                      <a:pt x="15974" y="107565"/>
                      <a:pt x="20537" y="111697"/>
                      <a:pt x="25458" y="114871"/>
                    </a:cubicBezTo>
                    <a:cubicBezTo>
                      <a:pt x="25458" y="115011"/>
                      <a:pt x="25415" y="115140"/>
                      <a:pt x="25415" y="115290"/>
                    </a:cubicBezTo>
                    <a:cubicBezTo>
                      <a:pt x="26241" y="127621"/>
                      <a:pt x="41799" y="136670"/>
                      <a:pt x="60171" y="135465"/>
                    </a:cubicBezTo>
                    <a:cubicBezTo>
                      <a:pt x="75088" y="134496"/>
                      <a:pt x="87115" y="127040"/>
                      <a:pt x="90733" y="117657"/>
                    </a:cubicBezTo>
                    <a:cubicBezTo>
                      <a:pt x="96057" y="116850"/>
                      <a:pt x="102825" y="115398"/>
                      <a:pt x="111376" y="112977"/>
                    </a:cubicBezTo>
                    <a:cubicBezTo>
                      <a:pt x="111463" y="113085"/>
                      <a:pt x="111550" y="113224"/>
                      <a:pt x="111604" y="113310"/>
                    </a:cubicBezTo>
                    <a:cubicBezTo>
                      <a:pt x="153085" y="161998"/>
                      <a:pt x="133507" y="254403"/>
                      <a:pt x="141590" y="255188"/>
                    </a:cubicBezTo>
                    <a:cubicBezTo>
                      <a:pt x="149652" y="255963"/>
                      <a:pt x="158865" y="235014"/>
                      <a:pt x="161157" y="195084"/>
                    </a:cubicBezTo>
                    <a:cubicBezTo>
                      <a:pt x="163472" y="155155"/>
                      <a:pt x="154258" y="141469"/>
                      <a:pt x="143057" y="119788"/>
                    </a:cubicBezTo>
                    <a:cubicBezTo>
                      <a:pt x="131856" y="98118"/>
                      <a:pt x="125467" y="75296"/>
                      <a:pt x="126608" y="60082"/>
                    </a:cubicBezTo>
                    <a:cubicBezTo>
                      <a:pt x="127749" y="44857"/>
                      <a:pt x="163048" y="40672"/>
                      <a:pt x="173847" y="40672"/>
                    </a:cubicBezTo>
                    <a:cubicBezTo>
                      <a:pt x="184647" y="40672"/>
                      <a:pt x="219913" y="44857"/>
                      <a:pt x="221087" y="60082"/>
                    </a:cubicBezTo>
                    <a:cubicBezTo>
                      <a:pt x="222227" y="75296"/>
                      <a:pt x="215828" y="98118"/>
                      <a:pt x="204616" y="119788"/>
                    </a:cubicBezTo>
                    <a:cubicBezTo>
                      <a:pt x="193436" y="141469"/>
                      <a:pt x="184201" y="155155"/>
                      <a:pt x="186515" y="195084"/>
                    </a:cubicBezTo>
                    <a:cubicBezTo>
                      <a:pt x="188808" y="235014"/>
                      <a:pt x="198043" y="255963"/>
                      <a:pt x="206104" y="255188"/>
                    </a:cubicBezTo>
                    <a:cubicBezTo>
                      <a:pt x="214166" y="254413"/>
                      <a:pt x="194577" y="162009"/>
                      <a:pt x="236069" y="113310"/>
                    </a:cubicBezTo>
                    <a:cubicBezTo>
                      <a:pt x="236156" y="113224"/>
                      <a:pt x="236221" y="113085"/>
                      <a:pt x="236297" y="112977"/>
                    </a:cubicBezTo>
                    <a:cubicBezTo>
                      <a:pt x="244847" y="115398"/>
                      <a:pt x="251616" y="116840"/>
                      <a:pt x="256940" y="117657"/>
                    </a:cubicBezTo>
                    <a:cubicBezTo>
                      <a:pt x="260547" y="127040"/>
                      <a:pt x="272574" y="134496"/>
                      <a:pt x="287513" y="135465"/>
                    </a:cubicBezTo>
                    <a:cubicBezTo>
                      <a:pt x="305863" y="136670"/>
                      <a:pt x="321421" y="127621"/>
                      <a:pt x="322247" y="115290"/>
                    </a:cubicBezTo>
                    <a:cubicBezTo>
                      <a:pt x="322247" y="115161"/>
                      <a:pt x="322225" y="115054"/>
                      <a:pt x="322225" y="114935"/>
                    </a:cubicBezTo>
                    <a:cubicBezTo>
                      <a:pt x="327147" y="111761"/>
                      <a:pt x="331688" y="107576"/>
                      <a:pt x="335187" y="103519"/>
                    </a:cubicBezTo>
                    <a:cubicBezTo>
                      <a:pt x="346432" y="90468"/>
                      <a:pt x="350397" y="75813"/>
                      <a:pt x="345791" y="64300"/>
                    </a:cubicBezTo>
                    <a:close/>
                    <a:moveTo>
                      <a:pt x="89581" y="103960"/>
                    </a:moveTo>
                    <a:cubicBezTo>
                      <a:pt x="84551" y="95406"/>
                      <a:pt x="71840" y="89801"/>
                      <a:pt x="57183" y="90747"/>
                    </a:cubicBezTo>
                    <a:cubicBezTo>
                      <a:pt x="46047" y="91468"/>
                      <a:pt x="36475" y="95847"/>
                      <a:pt x="30804" y="101894"/>
                    </a:cubicBezTo>
                    <a:cubicBezTo>
                      <a:pt x="28316" y="100065"/>
                      <a:pt x="25643" y="97687"/>
                      <a:pt x="22992" y="94621"/>
                    </a:cubicBezTo>
                    <a:cubicBezTo>
                      <a:pt x="16919" y="87584"/>
                      <a:pt x="11574" y="77244"/>
                      <a:pt x="14735" y="69336"/>
                    </a:cubicBezTo>
                    <a:cubicBezTo>
                      <a:pt x="17810" y="61664"/>
                      <a:pt x="28718" y="56585"/>
                      <a:pt x="46286" y="54681"/>
                    </a:cubicBezTo>
                    <a:cubicBezTo>
                      <a:pt x="68526" y="52357"/>
                      <a:pt x="84399" y="59738"/>
                      <a:pt x="93395" y="65828"/>
                    </a:cubicBezTo>
                    <a:cubicBezTo>
                      <a:pt x="96687" y="77577"/>
                      <a:pt x="100718" y="90704"/>
                      <a:pt x="104792" y="100560"/>
                    </a:cubicBezTo>
                    <a:cubicBezTo>
                      <a:pt x="98556" y="102228"/>
                      <a:pt x="93482" y="103325"/>
                      <a:pt x="89581" y="103960"/>
                    </a:cubicBezTo>
                    <a:close/>
                    <a:moveTo>
                      <a:pt x="324681" y="94632"/>
                    </a:moveTo>
                    <a:cubicBezTo>
                      <a:pt x="322051" y="97698"/>
                      <a:pt x="319379" y="100076"/>
                      <a:pt x="316891" y="101916"/>
                    </a:cubicBezTo>
                    <a:cubicBezTo>
                      <a:pt x="311230" y="95858"/>
                      <a:pt x="301659" y="91479"/>
                      <a:pt x="290490" y="90758"/>
                    </a:cubicBezTo>
                    <a:cubicBezTo>
                      <a:pt x="275844" y="89801"/>
                      <a:pt x="263111" y="95417"/>
                      <a:pt x="258091" y="103971"/>
                    </a:cubicBezTo>
                    <a:cubicBezTo>
                      <a:pt x="254191" y="103336"/>
                      <a:pt x="249117" y="102239"/>
                      <a:pt x="242881" y="100582"/>
                    </a:cubicBezTo>
                    <a:cubicBezTo>
                      <a:pt x="246955" y="90726"/>
                      <a:pt x="250986" y="77599"/>
                      <a:pt x="254278" y="65849"/>
                    </a:cubicBezTo>
                    <a:cubicBezTo>
                      <a:pt x="263296" y="59759"/>
                      <a:pt x="279147" y="52378"/>
                      <a:pt x="301387" y="54702"/>
                    </a:cubicBezTo>
                    <a:cubicBezTo>
                      <a:pt x="318955" y="56618"/>
                      <a:pt x="329863" y="61685"/>
                      <a:pt x="332938" y="69357"/>
                    </a:cubicBezTo>
                    <a:cubicBezTo>
                      <a:pt x="336099" y="77244"/>
                      <a:pt x="330743" y="87584"/>
                      <a:pt x="324681" y="94632"/>
                    </a:cubicBezTo>
                    <a:close/>
                  </a:path>
                </a:pathLst>
              </a:custGeom>
              <a:grpFill/>
              <a:ln w="3175" cap="flat">
                <a:gradFill>
                  <a:gsLst>
                    <a:gs pos="0">
                      <a:schemeClr val="accent1">
                        <a:lumMod val="70000"/>
                        <a:lumOff val="30000"/>
                      </a:schemeClr>
                    </a:gs>
                    <a:gs pos="81000">
                      <a:srgbClr val="FF8AC6">
                        <a:lumMod val="79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GB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49" name="Graphic 119">
                <a:extLst>
                  <a:ext uri="{FF2B5EF4-FFF2-40B4-BE49-F238E27FC236}">
                    <a16:creationId xmlns:a16="http://schemas.microsoft.com/office/drawing/2014/main" id="{3B55DBE8-36AE-4A7D-818D-66AEAFF902B3}"/>
                  </a:ext>
                </a:extLst>
              </p:cNvPr>
              <p:cNvSpPr/>
              <p:nvPr/>
            </p:nvSpPr>
            <p:spPr>
              <a:xfrm>
                <a:off x="5994843" y="3471068"/>
                <a:ext cx="70029" cy="84687"/>
              </a:xfrm>
              <a:custGeom>
                <a:avLst/>
                <a:gdLst>
                  <a:gd name="connsiteX0" fmla="*/ 71912 w 72203"/>
                  <a:gd name="connsiteY0" fmla="*/ 15675 h 84687"/>
                  <a:gd name="connsiteX1" fmla="*/ 36113 w 72203"/>
                  <a:gd name="connsiteY1" fmla="*/ 9 h 84687"/>
                  <a:gd name="connsiteX2" fmla="*/ 292 w 72203"/>
                  <a:gd name="connsiteY2" fmla="*/ 15675 h 84687"/>
                  <a:gd name="connsiteX3" fmla="*/ 26813 w 72203"/>
                  <a:gd name="connsiteY3" fmla="*/ 84688 h 84687"/>
                  <a:gd name="connsiteX4" fmla="*/ 36102 w 72203"/>
                  <a:gd name="connsiteY4" fmla="*/ 84688 h 84687"/>
                  <a:gd name="connsiteX5" fmla="*/ 45380 w 72203"/>
                  <a:gd name="connsiteY5" fmla="*/ 84688 h 84687"/>
                  <a:gd name="connsiteX6" fmla="*/ 71912 w 72203"/>
                  <a:gd name="connsiteY6" fmla="*/ 15675 h 84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203" h="84687">
                    <a:moveTo>
                      <a:pt x="71912" y="15675"/>
                    </a:moveTo>
                    <a:cubicBezTo>
                      <a:pt x="69261" y="-906"/>
                      <a:pt x="36113" y="9"/>
                      <a:pt x="36113" y="9"/>
                    </a:cubicBezTo>
                    <a:cubicBezTo>
                      <a:pt x="36113" y="9"/>
                      <a:pt x="2943" y="-906"/>
                      <a:pt x="292" y="15675"/>
                    </a:cubicBezTo>
                    <a:cubicBezTo>
                      <a:pt x="-2359" y="32245"/>
                      <a:pt x="13558" y="68053"/>
                      <a:pt x="26813" y="84688"/>
                    </a:cubicBezTo>
                    <a:lnTo>
                      <a:pt x="36102" y="84688"/>
                    </a:lnTo>
                    <a:lnTo>
                      <a:pt x="45380" y="84688"/>
                    </a:lnTo>
                    <a:cubicBezTo>
                      <a:pt x="58646" y="68053"/>
                      <a:pt x="74563" y="32245"/>
                      <a:pt x="71912" y="15675"/>
                    </a:cubicBezTo>
                    <a:close/>
                  </a:path>
                </a:pathLst>
              </a:custGeom>
              <a:grpFill/>
              <a:ln w="3175" cap="flat">
                <a:gradFill>
                  <a:gsLst>
                    <a:gs pos="0">
                      <a:schemeClr val="accent1">
                        <a:lumMod val="70000"/>
                        <a:lumOff val="30000"/>
                      </a:schemeClr>
                    </a:gs>
                    <a:gs pos="81000">
                      <a:srgbClr val="FF8AC6">
                        <a:lumMod val="79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tlCol="0" anchor="ctr"/>
              <a:lstStyle/>
              <a:p>
                <a:pPr defTabSz="914377"/>
                <a:endParaRPr lang="en-GB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68995998-EA85-422F-90C2-3DF08BA2F989}"/>
                </a:ext>
              </a:extLst>
            </p:cNvPr>
            <p:cNvSpPr/>
            <p:nvPr/>
          </p:nvSpPr>
          <p:spPr>
            <a:xfrm rot="341747">
              <a:off x="7754717" y="5114060"/>
              <a:ext cx="362569" cy="256614"/>
            </a:xfrm>
            <a:prstGeom prst="ellipse">
              <a:avLst/>
            </a:prstGeom>
            <a:solidFill>
              <a:srgbClr val="C00000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5F614DDA-8D49-4F5C-86E9-2CE1B9D84B6C}"/>
                </a:ext>
              </a:extLst>
            </p:cNvPr>
            <p:cNvSpPr/>
            <p:nvPr/>
          </p:nvSpPr>
          <p:spPr>
            <a:xfrm>
              <a:off x="6510260" y="5113714"/>
              <a:ext cx="362569" cy="256614"/>
            </a:xfrm>
            <a:prstGeom prst="ellipse">
              <a:avLst/>
            </a:prstGeom>
            <a:solidFill>
              <a:srgbClr val="C00000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7" name="Graphic 119">
              <a:extLst>
                <a:ext uri="{FF2B5EF4-FFF2-40B4-BE49-F238E27FC236}">
                  <a16:creationId xmlns:a16="http://schemas.microsoft.com/office/drawing/2014/main" id="{41BE4B57-BEF4-4E25-90B7-2C5E74700B08}"/>
                </a:ext>
              </a:extLst>
            </p:cNvPr>
            <p:cNvSpPr/>
            <p:nvPr/>
          </p:nvSpPr>
          <p:spPr>
            <a:xfrm>
              <a:off x="7121629" y="4886387"/>
              <a:ext cx="372741" cy="450761"/>
            </a:xfrm>
            <a:custGeom>
              <a:avLst/>
              <a:gdLst>
                <a:gd name="connsiteX0" fmla="*/ 71912 w 72203"/>
                <a:gd name="connsiteY0" fmla="*/ 15675 h 84687"/>
                <a:gd name="connsiteX1" fmla="*/ 36113 w 72203"/>
                <a:gd name="connsiteY1" fmla="*/ 9 h 84687"/>
                <a:gd name="connsiteX2" fmla="*/ 292 w 72203"/>
                <a:gd name="connsiteY2" fmla="*/ 15675 h 84687"/>
                <a:gd name="connsiteX3" fmla="*/ 26813 w 72203"/>
                <a:gd name="connsiteY3" fmla="*/ 84688 h 84687"/>
                <a:gd name="connsiteX4" fmla="*/ 36102 w 72203"/>
                <a:gd name="connsiteY4" fmla="*/ 84688 h 84687"/>
                <a:gd name="connsiteX5" fmla="*/ 45380 w 72203"/>
                <a:gd name="connsiteY5" fmla="*/ 84688 h 84687"/>
                <a:gd name="connsiteX6" fmla="*/ 71912 w 72203"/>
                <a:gd name="connsiteY6" fmla="*/ 15675 h 8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203" h="84687">
                  <a:moveTo>
                    <a:pt x="71912" y="15675"/>
                  </a:moveTo>
                  <a:cubicBezTo>
                    <a:pt x="69261" y="-906"/>
                    <a:pt x="36113" y="9"/>
                    <a:pt x="36113" y="9"/>
                  </a:cubicBezTo>
                  <a:cubicBezTo>
                    <a:pt x="36113" y="9"/>
                    <a:pt x="2943" y="-906"/>
                    <a:pt x="292" y="15675"/>
                  </a:cubicBezTo>
                  <a:cubicBezTo>
                    <a:pt x="-2359" y="32245"/>
                    <a:pt x="13558" y="68053"/>
                    <a:pt x="26813" y="84688"/>
                  </a:cubicBezTo>
                  <a:lnTo>
                    <a:pt x="36102" y="84688"/>
                  </a:lnTo>
                  <a:lnTo>
                    <a:pt x="45380" y="84688"/>
                  </a:lnTo>
                  <a:cubicBezTo>
                    <a:pt x="58646" y="68053"/>
                    <a:pt x="74563" y="32245"/>
                    <a:pt x="71912" y="15675"/>
                  </a:cubicBezTo>
                  <a:close/>
                </a:path>
              </a:pathLst>
            </a:custGeom>
            <a:gradFill>
              <a:gsLst>
                <a:gs pos="0">
                  <a:srgbClr val="C00000">
                    <a:alpha val="58281"/>
                    <a:lumMod val="92000"/>
                    <a:lumOff val="8000"/>
                  </a:srgbClr>
                </a:gs>
                <a:gs pos="65000">
                  <a:srgbClr val="FF8AC6">
                    <a:lumMod val="95101"/>
                    <a:lumOff val="4899"/>
                  </a:srgbClr>
                </a:gs>
              </a:gsLst>
              <a:lin ang="5400000" scaled="1"/>
            </a:gradFill>
            <a:ln w="3175" cap="flat">
              <a:gradFill>
                <a:gsLst>
                  <a:gs pos="0">
                    <a:schemeClr val="accent1">
                      <a:lumMod val="70000"/>
                      <a:lumOff val="30000"/>
                    </a:schemeClr>
                  </a:gs>
                  <a:gs pos="81000">
                    <a:srgbClr val="FF8AC6">
                      <a:lumMod val="79000"/>
                    </a:srgb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en-GB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71DDE7A-08EA-40B4-9D42-AB5B77837560}"/>
              </a:ext>
            </a:extLst>
          </p:cNvPr>
          <p:cNvCxnSpPr>
            <a:cxnSpLocks/>
          </p:cNvCxnSpPr>
          <p:nvPr/>
        </p:nvCxnSpPr>
        <p:spPr>
          <a:xfrm flipH="1">
            <a:off x="6113904" y="3258785"/>
            <a:ext cx="4091899" cy="34673"/>
          </a:xfrm>
          <a:prstGeom prst="line">
            <a:avLst/>
          </a:prstGeom>
          <a:ln w="19050" cap="rnd">
            <a:solidFill>
              <a:srgbClr val="002060"/>
            </a:solidFill>
            <a:prstDash val="sysDot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1DF29D48-ECBD-4C34-B936-791C13CA267A}"/>
              </a:ext>
            </a:extLst>
          </p:cNvPr>
          <p:cNvCxnSpPr>
            <a:cxnSpLocks/>
          </p:cNvCxnSpPr>
          <p:nvPr/>
        </p:nvCxnSpPr>
        <p:spPr>
          <a:xfrm>
            <a:off x="6076624" y="3864492"/>
            <a:ext cx="0" cy="450819"/>
          </a:xfrm>
          <a:prstGeom prst="line">
            <a:avLst/>
          </a:prstGeom>
          <a:ln w="19050" cap="rnd">
            <a:solidFill>
              <a:srgbClr val="002060"/>
            </a:solidFill>
            <a:prstDash val="sysDot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id="{3C8E32A5-F91E-4193-A332-7E9AD09B77CC}"/>
              </a:ext>
            </a:extLst>
          </p:cNvPr>
          <p:cNvCxnSpPr>
            <a:cxnSpLocks/>
          </p:cNvCxnSpPr>
          <p:nvPr/>
        </p:nvCxnSpPr>
        <p:spPr>
          <a:xfrm>
            <a:off x="6414349" y="3746397"/>
            <a:ext cx="936833" cy="652435"/>
          </a:xfrm>
          <a:prstGeom prst="line">
            <a:avLst/>
          </a:prstGeom>
          <a:ln w="19050" cap="rnd">
            <a:solidFill>
              <a:srgbClr val="002060"/>
            </a:solidFill>
            <a:prstDash val="sysDot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Rounded Rectangle 61">
            <a:extLst>
              <a:ext uri="{FF2B5EF4-FFF2-40B4-BE49-F238E27FC236}">
                <a16:creationId xmlns:a16="http://schemas.microsoft.com/office/drawing/2014/main" id="{113F8728-CA69-4D0D-BD57-93BB7ED6B1D2}"/>
              </a:ext>
            </a:extLst>
          </p:cNvPr>
          <p:cNvSpPr/>
          <p:nvPr/>
        </p:nvSpPr>
        <p:spPr>
          <a:xfrm flipH="1">
            <a:off x="9334678" y="3159680"/>
            <a:ext cx="780695" cy="25967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txBody>
          <a:bodyPr wrap="square" lIns="0" tIns="0" rIns="0" bIns="0" anchor="ctr" anchorCtr="0">
            <a:spAutoFit/>
          </a:bodyPr>
          <a:lstStyle/>
          <a:p>
            <a:pPr algn="ctr" defTabSz="914377"/>
            <a:r>
              <a:rPr lang="en-GB" sz="1200" dirty="0">
                <a:solidFill>
                  <a:prstClr val="white"/>
                </a:solidFill>
                <a:latin typeface="Calibri" panose="020F0502020204030204"/>
              </a:rPr>
              <a:t>9-30%</a:t>
            </a:r>
            <a:r>
              <a:rPr lang="cs-CZ" sz="12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1200" baseline="30000" dirty="0">
                <a:solidFill>
                  <a:prstClr val="white"/>
                </a:solidFill>
                <a:latin typeface="Calibri" panose="020F0502020204030204"/>
              </a:rPr>
              <a:t>3,8</a:t>
            </a:r>
          </a:p>
        </p:txBody>
      </p:sp>
      <p:sp>
        <p:nvSpPr>
          <p:cNvPr id="200" name="Rounded Rectangle 64">
            <a:extLst>
              <a:ext uri="{FF2B5EF4-FFF2-40B4-BE49-F238E27FC236}">
                <a16:creationId xmlns:a16="http://schemas.microsoft.com/office/drawing/2014/main" id="{6063B58E-0945-461F-B19F-941499AD7242}"/>
              </a:ext>
            </a:extLst>
          </p:cNvPr>
          <p:cNvSpPr/>
          <p:nvPr/>
        </p:nvSpPr>
        <p:spPr>
          <a:xfrm flipH="1">
            <a:off x="7207803" y="4267368"/>
            <a:ext cx="1045288" cy="25967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txBody>
          <a:bodyPr wrap="square" lIns="0" tIns="0" rIns="0" bIns="0" anchor="ctr" anchorCtr="0">
            <a:spAutoFit/>
          </a:bodyPr>
          <a:lstStyle/>
          <a:p>
            <a:pPr algn="ctr" defTabSz="914377"/>
            <a:r>
              <a:rPr lang="en-GB" sz="1200" dirty="0">
                <a:solidFill>
                  <a:prstClr val="white"/>
                </a:solidFill>
                <a:latin typeface="Calibri" panose="020F0502020204030204"/>
              </a:rPr>
              <a:t>1-13%</a:t>
            </a:r>
            <a:r>
              <a:rPr lang="cs-CZ" sz="12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1200" baseline="30000" dirty="0">
                <a:solidFill>
                  <a:prstClr val="white"/>
                </a:solidFill>
                <a:latin typeface="Calibri" panose="020F0502020204030204"/>
              </a:rPr>
              <a:t>1,10,11</a:t>
            </a:r>
          </a:p>
        </p:txBody>
      </p:sp>
      <p:sp>
        <p:nvSpPr>
          <p:cNvPr id="201" name="Slide Number Placeholder 4">
            <a:extLst>
              <a:ext uri="{FF2B5EF4-FFF2-40B4-BE49-F238E27FC236}">
                <a16:creationId xmlns:a16="http://schemas.microsoft.com/office/drawing/2014/main" id="{8859E36A-78B0-485B-A8C2-C184A23C50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68910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75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75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75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75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75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750"/>
                                        <p:tgtEl>
                                          <p:spTgt spid="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75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75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750"/>
                                        <p:tgtEl>
                                          <p:spTgt spid="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75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75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75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75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750"/>
                                        <p:tgtEl>
                                          <p:spTgt spid="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0" dur="750"/>
                                        <p:tgtEl>
                                          <p:spTgt spid="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750"/>
                                        <p:tgtEl>
                                          <p:spTgt spid="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4" grpId="0" animBg="1"/>
      <p:bldP spid="265" grpId="0" animBg="1"/>
      <p:bldP spid="266" grpId="0" animBg="1"/>
      <p:bldP spid="267" grpId="0" animBg="1"/>
      <p:bldP spid="268" grpId="0" animBg="1"/>
      <p:bldP spid="269" grpId="0" animBg="1"/>
      <p:bldP spid="270" grpId="0" animBg="1"/>
      <p:bldP spid="272" grpId="0" animBg="1"/>
      <p:bldP spid="273" grpId="0" animBg="1"/>
      <p:bldP spid="274" grpId="0" animBg="1"/>
      <p:bldP spid="275" grpId="0" animBg="1"/>
      <p:bldP spid="276" grpId="0" animBg="1"/>
      <p:bldP spid="278" grpId="0" animBg="1"/>
      <p:bldP spid="279" grpId="0" animBg="1"/>
      <p:bldP spid="280" grpId="0" animBg="1"/>
      <p:bldP spid="281" grpId="0" animBg="1"/>
      <p:bldP spid="282" grpId="0" animBg="1"/>
      <p:bldP spid="289" grpId="0" animBg="1"/>
      <p:bldP spid="290" grpId="0" animBg="1"/>
      <p:bldP spid="295" grpId="0" animBg="1"/>
      <p:bldP spid="296" grpId="0" animBg="1"/>
      <p:bldP spid="297" grpId="0" animBg="1"/>
      <p:bldP spid="298" grpId="0" animBg="1"/>
      <p:bldP spid="299" grpId="0" animBg="1"/>
      <p:bldP spid="199" grpId="0" animBg="1"/>
      <p:bldP spid="20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95"/>
          <p:cNvSpPr/>
          <p:nvPr/>
        </p:nvSpPr>
        <p:spPr>
          <a:xfrm>
            <a:off x="779243" y="1657100"/>
            <a:ext cx="10599957" cy="553998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tIns="121920" rIns="121920" bIns="121920">
            <a:spAutoFit/>
          </a:bodyPr>
          <a:lstStyle/>
          <a:p>
            <a:pPr algn="ctr"/>
            <a:r>
              <a:rPr lang="en-US" sz="2000" b="1" dirty="0">
                <a:solidFill>
                  <a:srgbClr val="0460A9"/>
                </a:solidFill>
              </a:rPr>
              <a:t>Prevalence metabolického syndromu je u </a:t>
            </a:r>
            <a:r>
              <a:rPr lang="en-US" sz="2000" b="1" dirty="0">
                <a:solidFill>
                  <a:srgbClr val="2568B9"/>
                </a:solidFill>
              </a:rPr>
              <a:t>pacientů s HS </a:t>
            </a:r>
            <a:r>
              <a:rPr lang="en-US" sz="2000" b="1" dirty="0">
                <a:solidFill>
                  <a:srgbClr val="0460A9"/>
                </a:solidFill>
              </a:rPr>
              <a:t>o 50,6 % vyšší </a:t>
            </a:r>
            <a:r>
              <a:rPr lang="en-US" sz="2000" b="1" dirty="0">
                <a:solidFill>
                  <a:srgbClr val="2568B9"/>
                </a:solidFill>
              </a:rPr>
              <a:t>než v běžné </a:t>
            </a:r>
            <a:r>
              <a:rPr lang="en-US" sz="2000" b="1" dirty="0">
                <a:solidFill>
                  <a:srgbClr val="0460A9"/>
                </a:solidFill>
              </a:rPr>
              <a:t>populaci.</a:t>
            </a:r>
            <a:r>
              <a:rPr lang="en-US" sz="2000" b="1" baseline="30000" dirty="0">
                <a:solidFill>
                  <a:srgbClr val="0460A9"/>
                </a:solidFill>
              </a:rPr>
              <a:t>1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74847" y="88366"/>
            <a:ext cx="667725" cy="595836"/>
            <a:chOff x="2942087" y="1851188"/>
            <a:chExt cx="1066800" cy="990600"/>
          </a:xfrm>
        </p:grpSpPr>
        <p:sp>
          <p:nvSpPr>
            <p:cNvPr id="50" name="Oval 49"/>
            <p:cNvSpPr/>
            <p:nvPr/>
          </p:nvSpPr>
          <p:spPr>
            <a:xfrm>
              <a:off x="2942087" y="1851188"/>
              <a:ext cx="1066800" cy="9906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  <a:reflection stA="45000" endPos="0" dist="508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51" name="Oval 50"/>
            <p:cNvSpPr/>
            <p:nvPr/>
          </p:nvSpPr>
          <p:spPr>
            <a:xfrm>
              <a:off x="3431488" y="2333535"/>
              <a:ext cx="27432" cy="274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13536" y="2334422"/>
              <a:ext cx="8313" cy="8313"/>
            </a:xfrm>
            <a:prstGeom prst="ellipse">
              <a:avLst/>
            </a:prstGeom>
            <a:solidFill>
              <a:schemeClr val="bg1"/>
            </a:solidFill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07959" y="2275246"/>
              <a:ext cx="54864" cy="54864"/>
            </a:xfrm>
            <a:prstGeom prst="ellipse">
              <a:avLst/>
            </a:prstGeom>
            <a:solidFill>
              <a:schemeClr val="bg1"/>
            </a:solidFill>
          </p:spPr>
        </p:pic>
      </p:grpSp>
      <p:grpSp>
        <p:nvGrpSpPr>
          <p:cNvPr id="54" name="Group 53"/>
          <p:cNvGrpSpPr/>
          <p:nvPr/>
        </p:nvGrpSpPr>
        <p:grpSpPr>
          <a:xfrm>
            <a:off x="285953" y="170926"/>
            <a:ext cx="423483" cy="434485"/>
            <a:chOff x="3059641" y="1714790"/>
            <a:chExt cx="842159" cy="838631"/>
          </a:xfrm>
        </p:grpSpPr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3367176" y="2144320"/>
              <a:ext cx="225423" cy="409101"/>
            </a:xfrm>
            <a:custGeom>
              <a:avLst/>
              <a:gdLst>
                <a:gd name="T0" fmla="*/ 31 w 135"/>
                <a:gd name="T1" fmla="*/ 136 h 245"/>
                <a:gd name="T2" fmla="*/ 31 w 135"/>
                <a:gd name="T3" fmla="*/ 43 h 245"/>
                <a:gd name="T4" fmla="*/ 31 w 135"/>
                <a:gd name="T5" fmla="*/ 40 h 245"/>
                <a:gd name="T6" fmla="*/ 28 w 135"/>
                <a:gd name="T7" fmla="*/ 37 h 245"/>
                <a:gd name="T8" fmla="*/ 25 w 135"/>
                <a:gd name="T9" fmla="*/ 40 h 245"/>
                <a:gd name="T10" fmla="*/ 25 w 135"/>
                <a:gd name="T11" fmla="*/ 45 h 245"/>
                <a:gd name="T12" fmla="*/ 25 w 135"/>
                <a:gd name="T13" fmla="*/ 116 h 245"/>
                <a:gd name="T14" fmla="*/ 21 w 135"/>
                <a:gd name="T15" fmla="*/ 126 h 245"/>
                <a:gd name="T16" fmla="*/ 8 w 135"/>
                <a:gd name="T17" fmla="*/ 129 h 245"/>
                <a:gd name="T18" fmla="*/ 0 w 135"/>
                <a:gd name="T19" fmla="*/ 118 h 245"/>
                <a:gd name="T20" fmla="*/ 0 w 135"/>
                <a:gd name="T21" fmla="*/ 33 h 245"/>
                <a:gd name="T22" fmla="*/ 33 w 135"/>
                <a:gd name="T23" fmla="*/ 0 h 245"/>
                <a:gd name="T24" fmla="*/ 102 w 135"/>
                <a:gd name="T25" fmla="*/ 0 h 245"/>
                <a:gd name="T26" fmla="*/ 134 w 135"/>
                <a:gd name="T27" fmla="*/ 34 h 245"/>
                <a:gd name="T28" fmla="*/ 134 w 135"/>
                <a:gd name="T29" fmla="*/ 117 h 245"/>
                <a:gd name="T30" fmla="*/ 122 w 135"/>
                <a:gd name="T31" fmla="*/ 129 h 245"/>
                <a:gd name="T32" fmla="*/ 110 w 135"/>
                <a:gd name="T33" fmla="*/ 117 h 245"/>
                <a:gd name="T34" fmla="*/ 110 w 135"/>
                <a:gd name="T35" fmla="*/ 53 h 245"/>
                <a:gd name="T36" fmla="*/ 110 w 135"/>
                <a:gd name="T37" fmla="*/ 41 h 245"/>
                <a:gd name="T38" fmla="*/ 107 w 135"/>
                <a:gd name="T39" fmla="*/ 37 h 245"/>
                <a:gd name="T40" fmla="*/ 104 w 135"/>
                <a:gd name="T41" fmla="*/ 41 h 245"/>
                <a:gd name="T42" fmla="*/ 104 w 135"/>
                <a:gd name="T43" fmla="*/ 143 h 245"/>
                <a:gd name="T44" fmla="*/ 104 w 135"/>
                <a:gd name="T45" fmla="*/ 230 h 245"/>
                <a:gd name="T46" fmla="*/ 89 w 135"/>
                <a:gd name="T47" fmla="*/ 245 h 245"/>
                <a:gd name="T48" fmla="*/ 73 w 135"/>
                <a:gd name="T49" fmla="*/ 230 h 245"/>
                <a:gd name="T50" fmla="*/ 73 w 135"/>
                <a:gd name="T51" fmla="*/ 139 h 245"/>
                <a:gd name="T52" fmla="*/ 73 w 135"/>
                <a:gd name="T53" fmla="*/ 135 h 245"/>
                <a:gd name="T54" fmla="*/ 67 w 135"/>
                <a:gd name="T55" fmla="*/ 128 h 245"/>
                <a:gd name="T56" fmla="*/ 61 w 135"/>
                <a:gd name="T57" fmla="*/ 135 h 245"/>
                <a:gd name="T58" fmla="*/ 61 w 135"/>
                <a:gd name="T59" fmla="*/ 168 h 245"/>
                <a:gd name="T60" fmla="*/ 61 w 135"/>
                <a:gd name="T61" fmla="*/ 229 h 245"/>
                <a:gd name="T62" fmla="*/ 46 w 135"/>
                <a:gd name="T63" fmla="*/ 245 h 245"/>
                <a:gd name="T64" fmla="*/ 31 w 135"/>
                <a:gd name="T65" fmla="*/ 229 h 245"/>
                <a:gd name="T66" fmla="*/ 31 w 135"/>
                <a:gd name="T67" fmla="*/ 13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5" h="245">
                  <a:moveTo>
                    <a:pt x="31" y="136"/>
                  </a:moveTo>
                  <a:cubicBezTo>
                    <a:pt x="31" y="105"/>
                    <a:pt x="31" y="74"/>
                    <a:pt x="31" y="43"/>
                  </a:cubicBezTo>
                  <a:cubicBezTo>
                    <a:pt x="31" y="42"/>
                    <a:pt x="31" y="41"/>
                    <a:pt x="31" y="40"/>
                  </a:cubicBezTo>
                  <a:cubicBezTo>
                    <a:pt x="30" y="39"/>
                    <a:pt x="29" y="37"/>
                    <a:pt x="28" y="37"/>
                  </a:cubicBezTo>
                  <a:cubicBezTo>
                    <a:pt x="27" y="37"/>
                    <a:pt x="25" y="39"/>
                    <a:pt x="25" y="40"/>
                  </a:cubicBezTo>
                  <a:cubicBezTo>
                    <a:pt x="24" y="42"/>
                    <a:pt x="25" y="43"/>
                    <a:pt x="25" y="45"/>
                  </a:cubicBezTo>
                  <a:cubicBezTo>
                    <a:pt x="25" y="69"/>
                    <a:pt x="24" y="92"/>
                    <a:pt x="25" y="116"/>
                  </a:cubicBezTo>
                  <a:cubicBezTo>
                    <a:pt x="25" y="120"/>
                    <a:pt x="24" y="123"/>
                    <a:pt x="21" y="126"/>
                  </a:cubicBezTo>
                  <a:cubicBezTo>
                    <a:pt x="17" y="130"/>
                    <a:pt x="13" y="130"/>
                    <a:pt x="8" y="129"/>
                  </a:cubicBezTo>
                  <a:cubicBezTo>
                    <a:pt x="3" y="127"/>
                    <a:pt x="0" y="123"/>
                    <a:pt x="0" y="118"/>
                  </a:cubicBezTo>
                  <a:cubicBezTo>
                    <a:pt x="0" y="89"/>
                    <a:pt x="0" y="61"/>
                    <a:pt x="0" y="33"/>
                  </a:cubicBezTo>
                  <a:cubicBezTo>
                    <a:pt x="0" y="16"/>
                    <a:pt x="16" y="1"/>
                    <a:pt x="33" y="0"/>
                  </a:cubicBezTo>
                  <a:cubicBezTo>
                    <a:pt x="56" y="0"/>
                    <a:pt x="79" y="0"/>
                    <a:pt x="102" y="0"/>
                  </a:cubicBezTo>
                  <a:cubicBezTo>
                    <a:pt x="119" y="1"/>
                    <a:pt x="134" y="16"/>
                    <a:pt x="134" y="34"/>
                  </a:cubicBezTo>
                  <a:cubicBezTo>
                    <a:pt x="135" y="62"/>
                    <a:pt x="135" y="89"/>
                    <a:pt x="134" y="117"/>
                  </a:cubicBezTo>
                  <a:cubicBezTo>
                    <a:pt x="134" y="124"/>
                    <a:pt x="129" y="129"/>
                    <a:pt x="122" y="129"/>
                  </a:cubicBezTo>
                  <a:cubicBezTo>
                    <a:pt x="116" y="129"/>
                    <a:pt x="110" y="124"/>
                    <a:pt x="110" y="117"/>
                  </a:cubicBezTo>
                  <a:cubicBezTo>
                    <a:pt x="110" y="96"/>
                    <a:pt x="110" y="74"/>
                    <a:pt x="110" y="53"/>
                  </a:cubicBezTo>
                  <a:cubicBezTo>
                    <a:pt x="110" y="49"/>
                    <a:pt x="110" y="45"/>
                    <a:pt x="110" y="41"/>
                  </a:cubicBezTo>
                  <a:cubicBezTo>
                    <a:pt x="110" y="39"/>
                    <a:pt x="110" y="37"/>
                    <a:pt x="107" y="37"/>
                  </a:cubicBezTo>
                  <a:cubicBezTo>
                    <a:pt x="104" y="37"/>
                    <a:pt x="104" y="39"/>
                    <a:pt x="104" y="41"/>
                  </a:cubicBezTo>
                  <a:cubicBezTo>
                    <a:pt x="104" y="75"/>
                    <a:pt x="104" y="109"/>
                    <a:pt x="104" y="143"/>
                  </a:cubicBezTo>
                  <a:cubicBezTo>
                    <a:pt x="104" y="172"/>
                    <a:pt x="104" y="201"/>
                    <a:pt x="104" y="230"/>
                  </a:cubicBezTo>
                  <a:cubicBezTo>
                    <a:pt x="104" y="238"/>
                    <a:pt x="97" y="245"/>
                    <a:pt x="89" y="245"/>
                  </a:cubicBezTo>
                  <a:cubicBezTo>
                    <a:pt x="80" y="245"/>
                    <a:pt x="73" y="238"/>
                    <a:pt x="73" y="230"/>
                  </a:cubicBezTo>
                  <a:cubicBezTo>
                    <a:pt x="73" y="199"/>
                    <a:pt x="73" y="169"/>
                    <a:pt x="73" y="139"/>
                  </a:cubicBezTo>
                  <a:cubicBezTo>
                    <a:pt x="73" y="137"/>
                    <a:pt x="73" y="136"/>
                    <a:pt x="73" y="135"/>
                  </a:cubicBezTo>
                  <a:cubicBezTo>
                    <a:pt x="73" y="131"/>
                    <a:pt x="71" y="128"/>
                    <a:pt x="67" y="128"/>
                  </a:cubicBezTo>
                  <a:cubicBezTo>
                    <a:pt x="64" y="128"/>
                    <a:pt x="61" y="131"/>
                    <a:pt x="61" y="135"/>
                  </a:cubicBezTo>
                  <a:cubicBezTo>
                    <a:pt x="61" y="146"/>
                    <a:pt x="61" y="157"/>
                    <a:pt x="61" y="168"/>
                  </a:cubicBezTo>
                  <a:cubicBezTo>
                    <a:pt x="61" y="188"/>
                    <a:pt x="61" y="209"/>
                    <a:pt x="61" y="229"/>
                  </a:cubicBezTo>
                  <a:cubicBezTo>
                    <a:pt x="61" y="238"/>
                    <a:pt x="55" y="245"/>
                    <a:pt x="46" y="245"/>
                  </a:cubicBezTo>
                  <a:cubicBezTo>
                    <a:pt x="37" y="245"/>
                    <a:pt x="31" y="238"/>
                    <a:pt x="31" y="229"/>
                  </a:cubicBezTo>
                  <a:cubicBezTo>
                    <a:pt x="31" y="198"/>
                    <a:pt x="31" y="167"/>
                    <a:pt x="31" y="136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3438094" y="2038350"/>
              <a:ext cx="81105" cy="82297"/>
            </a:xfrm>
            <a:custGeom>
              <a:avLst/>
              <a:gdLst>
                <a:gd name="T0" fmla="*/ 49 w 49"/>
                <a:gd name="T1" fmla="*/ 25 h 49"/>
                <a:gd name="T2" fmla="*/ 24 w 49"/>
                <a:gd name="T3" fmla="*/ 49 h 49"/>
                <a:gd name="T4" fmla="*/ 0 w 49"/>
                <a:gd name="T5" fmla="*/ 24 h 49"/>
                <a:gd name="T6" fmla="*/ 25 w 49"/>
                <a:gd name="T7" fmla="*/ 0 h 49"/>
                <a:gd name="T8" fmla="*/ 49 w 49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25"/>
                  </a:moveTo>
                  <a:cubicBezTo>
                    <a:pt x="49" y="38"/>
                    <a:pt x="38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57" name="Graphic 62" descr="Network">
              <a:extLst>
                <a:ext uri="{FF2B5EF4-FFF2-40B4-BE49-F238E27FC236}">
                  <a16:creationId xmlns:a16="http://schemas.microsoft.com/office/drawing/2014/main" id="{2B168095-83EF-417A-AA54-9CC537B5F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7130" y="2167078"/>
              <a:ext cx="134346" cy="134346"/>
            </a:xfrm>
            <a:prstGeom prst="rect">
              <a:avLst/>
            </a:prstGeom>
          </p:spPr>
        </p:pic>
        <p:grpSp>
          <p:nvGrpSpPr>
            <p:cNvPr id="58" name="Group 57"/>
            <p:cNvGrpSpPr/>
            <p:nvPr/>
          </p:nvGrpSpPr>
          <p:grpSpPr>
            <a:xfrm>
              <a:off x="3080859" y="1849909"/>
              <a:ext cx="240001" cy="251310"/>
              <a:chOff x="3037091" y="1854615"/>
              <a:chExt cx="240001" cy="251310"/>
            </a:xfrm>
          </p:grpSpPr>
          <p:grpSp>
            <p:nvGrpSpPr>
              <p:cNvPr id="72" name="Graphic 226">
                <a:extLst>
                  <a:ext uri="{FF2B5EF4-FFF2-40B4-BE49-F238E27FC236}">
                    <a16:creationId xmlns:a16="http://schemas.microsoft.com/office/drawing/2014/main" id="{526FC5E6-4062-BF4C-8C4B-E04DFD843677}"/>
                  </a:ext>
                </a:extLst>
              </p:cNvPr>
              <p:cNvGrpSpPr/>
              <p:nvPr/>
            </p:nvGrpSpPr>
            <p:grpSpPr>
              <a:xfrm>
                <a:off x="3083626" y="1867585"/>
                <a:ext cx="136569" cy="212600"/>
                <a:chOff x="5912639" y="3117055"/>
                <a:chExt cx="361950" cy="614162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81" name="Freeform: Shape 228">
                  <a:extLst>
                    <a:ext uri="{FF2B5EF4-FFF2-40B4-BE49-F238E27FC236}">
                      <a16:creationId xmlns:a16="http://schemas.microsoft.com/office/drawing/2014/main" id="{AD78A312-3E01-E046-A249-F6F83622510A}"/>
                    </a:ext>
                  </a:extLst>
                </p:cNvPr>
                <p:cNvSpPr/>
                <p:nvPr/>
              </p:nvSpPr>
              <p:spPr>
                <a:xfrm>
                  <a:off x="5912639" y="3245442"/>
                  <a:ext cx="361950" cy="485775"/>
                </a:xfrm>
                <a:custGeom>
                  <a:avLst/>
                  <a:gdLst>
                    <a:gd name="connsiteX0" fmla="*/ 196124 w 361950"/>
                    <a:gd name="connsiteY0" fmla="*/ 270616 h 485775"/>
                    <a:gd name="connsiteX1" fmla="*/ 185170 w 361950"/>
                    <a:gd name="connsiteY1" fmla="*/ 270616 h 485775"/>
                    <a:gd name="connsiteX2" fmla="*/ 184599 w 361950"/>
                    <a:gd name="connsiteY2" fmla="*/ 277569 h 485775"/>
                    <a:gd name="connsiteX3" fmla="*/ 184504 w 361950"/>
                    <a:gd name="connsiteY3" fmla="*/ 453496 h 485775"/>
                    <a:gd name="connsiteX4" fmla="*/ 157929 w 361950"/>
                    <a:gd name="connsiteY4" fmla="*/ 485310 h 485775"/>
                    <a:gd name="connsiteX5" fmla="*/ 131354 w 361950"/>
                    <a:gd name="connsiteY5" fmla="*/ 462259 h 485775"/>
                    <a:gd name="connsiteX6" fmla="*/ 111637 w 361950"/>
                    <a:gd name="connsiteY6" fmla="*/ 345387 h 485775"/>
                    <a:gd name="connsiteX7" fmla="*/ 87730 w 361950"/>
                    <a:gd name="connsiteY7" fmla="*/ 203751 h 485775"/>
                    <a:gd name="connsiteX8" fmla="*/ 74395 w 361950"/>
                    <a:gd name="connsiteY8" fmla="*/ 162793 h 485775"/>
                    <a:gd name="connsiteX9" fmla="*/ 57726 w 361950"/>
                    <a:gd name="connsiteY9" fmla="*/ 195654 h 485775"/>
                    <a:gd name="connsiteX10" fmla="*/ 21531 w 361950"/>
                    <a:gd name="connsiteY10" fmla="*/ 207084 h 485775"/>
                    <a:gd name="connsiteX11" fmla="*/ 10768 w 361950"/>
                    <a:gd name="connsiteY11" fmla="*/ 171461 h 485775"/>
                    <a:gd name="connsiteX12" fmla="*/ 74299 w 361950"/>
                    <a:gd name="connsiteY12" fmla="*/ 49065 h 485775"/>
                    <a:gd name="connsiteX13" fmla="*/ 142022 w 361950"/>
                    <a:gd name="connsiteY13" fmla="*/ 7250 h 485775"/>
                    <a:gd name="connsiteX14" fmla="*/ 234605 w 361950"/>
                    <a:gd name="connsiteY14" fmla="*/ 7155 h 485775"/>
                    <a:gd name="connsiteX15" fmla="*/ 292136 w 361950"/>
                    <a:gd name="connsiteY15" fmla="*/ 37730 h 485775"/>
                    <a:gd name="connsiteX16" fmla="*/ 333665 w 361950"/>
                    <a:gd name="connsiteY16" fmla="*/ 114978 h 485775"/>
                    <a:gd name="connsiteX17" fmla="*/ 358144 w 361950"/>
                    <a:gd name="connsiteY17" fmla="*/ 162603 h 485775"/>
                    <a:gd name="connsiteX18" fmla="*/ 362240 w 361950"/>
                    <a:gd name="connsiteY18" fmla="*/ 183367 h 485775"/>
                    <a:gd name="connsiteX19" fmla="*/ 342619 w 361950"/>
                    <a:gd name="connsiteY19" fmla="*/ 206799 h 485775"/>
                    <a:gd name="connsiteX20" fmla="*/ 316520 w 361950"/>
                    <a:gd name="connsiteY20" fmla="*/ 190892 h 485775"/>
                    <a:gd name="connsiteX21" fmla="*/ 301947 w 361950"/>
                    <a:gd name="connsiteY21" fmla="*/ 161269 h 485775"/>
                    <a:gd name="connsiteX22" fmla="*/ 301852 w 361950"/>
                    <a:gd name="connsiteY22" fmla="*/ 161174 h 485775"/>
                    <a:gd name="connsiteX23" fmla="*/ 287278 w 361950"/>
                    <a:gd name="connsiteY23" fmla="*/ 220896 h 485775"/>
                    <a:gd name="connsiteX24" fmla="*/ 248988 w 361950"/>
                    <a:gd name="connsiteY24" fmla="*/ 460640 h 485775"/>
                    <a:gd name="connsiteX25" fmla="*/ 221461 w 361950"/>
                    <a:gd name="connsiteY25" fmla="*/ 485214 h 485775"/>
                    <a:gd name="connsiteX26" fmla="*/ 196124 w 361950"/>
                    <a:gd name="connsiteY26" fmla="*/ 458449 h 485775"/>
                    <a:gd name="connsiteX27" fmla="*/ 196219 w 361950"/>
                    <a:gd name="connsiteY27" fmla="*/ 284808 h 485775"/>
                    <a:gd name="connsiteX28" fmla="*/ 196124 w 361950"/>
                    <a:gd name="connsiteY28" fmla="*/ 270616 h 485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61950" h="485775">
                      <a:moveTo>
                        <a:pt x="196124" y="270616"/>
                      </a:moveTo>
                      <a:cubicBezTo>
                        <a:pt x="191647" y="270616"/>
                        <a:pt x="188695" y="270616"/>
                        <a:pt x="185170" y="270616"/>
                      </a:cubicBezTo>
                      <a:cubicBezTo>
                        <a:pt x="184980" y="273188"/>
                        <a:pt x="184599" y="275379"/>
                        <a:pt x="184599" y="277569"/>
                      </a:cubicBezTo>
                      <a:cubicBezTo>
                        <a:pt x="184599" y="336243"/>
                        <a:pt x="184599" y="394917"/>
                        <a:pt x="184504" y="453496"/>
                      </a:cubicBezTo>
                      <a:cubicBezTo>
                        <a:pt x="184504" y="473308"/>
                        <a:pt x="174312" y="485119"/>
                        <a:pt x="157929" y="485310"/>
                      </a:cubicBezTo>
                      <a:cubicBezTo>
                        <a:pt x="143927" y="485405"/>
                        <a:pt x="133926" y="477309"/>
                        <a:pt x="131354" y="462259"/>
                      </a:cubicBezTo>
                      <a:cubicBezTo>
                        <a:pt x="124591" y="423302"/>
                        <a:pt x="118114" y="384345"/>
                        <a:pt x="111637" y="345387"/>
                      </a:cubicBezTo>
                      <a:cubicBezTo>
                        <a:pt x="103732" y="298143"/>
                        <a:pt x="96302" y="250804"/>
                        <a:pt x="87730" y="203751"/>
                      </a:cubicBezTo>
                      <a:cubicBezTo>
                        <a:pt x="85253" y="190035"/>
                        <a:pt x="79157" y="176890"/>
                        <a:pt x="74395" y="162793"/>
                      </a:cubicBezTo>
                      <a:cubicBezTo>
                        <a:pt x="68965" y="173652"/>
                        <a:pt x="63441" y="184701"/>
                        <a:pt x="57726" y="195654"/>
                      </a:cubicBezTo>
                      <a:cubicBezTo>
                        <a:pt x="49915" y="210704"/>
                        <a:pt x="36199" y="214990"/>
                        <a:pt x="21531" y="207084"/>
                      </a:cubicBezTo>
                      <a:cubicBezTo>
                        <a:pt x="7529" y="199560"/>
                        <a:pt x="3338" y="185748"/>
                        <a:pt x="10768" y="171461"/>
                      </a:cubicBezTo>
                      <a:cubicBezTo>
                        <a:pt x="31913" y="130694"/>
                        <a:pt x="53154" y="89927"/>
                        <a:pt x="74299" y="49065"/>
                      </a:cubicBezTo>
                      <a:cubicBezTo>
                        <a:pt x="88492" y="21537"/>
                        <a:pt x="110685" y="7155"/>
                        <a:pt x="142022" y="7250"/>
                      </a:cubicBezTo>
                      <a:cubicBezTo>
                        <a:pt x="172883" y="7440"/>
                        <a:pt x="203744" y="7631"/>
                        <a:pt x="234605" y="7155"/>
                      </a:cubicBezTo>
                      <a:cubicBezTo>
                        <a:pt x="259656" y="6774"/>
                        <a:pt x="279563" y="16489"/>
                        <a:pt x="292136" y="37730"/>
                      </a:cubicBezTo>
                      <a:cubicBezTo>
                        <a:pt x="306995" y="62876"/>
                        <a:pt x="319949" y="89165"/>
                        <a:pt x="333665" y="114978"/>
                      </a:cubicBezTo>
                      <a:cubicBezTo>
                        <a:pt x="342047" y="130789"/>
                        <a:pt x="350620" y="146410"/>
                        <a:pt x="358144" y="162603"/>
                      </a:cubicBezTo>
                      <a:cubicBezTo>
                        <a:pt x="361002" y="168889"/>
                        <a:pt x="362716" y="176509"/>
                        <a:pt x="362240" y="183367"/>
                      </a:cubicBezTo>
                      <a:cubicBezTo>
                        <a:pt x="361383" y="196702"/>
                        <a:pt x="353477" y="204989"/>
                        <a:pt x="342619" y="206799"/>
                      </a:cubicBezTo>
                      <a:cubicBezTo>
                        <a:pt x="331951" y="208704"/>
                        <a:pt x="322616" y="203084"/>
                        <a:pt x="316520" y="190892"/>
                      </a:cubicBezTo>
                      <a:cubicBezTo>
                        <a:pt x="311567" y="181081"/>
                        <a:pt x="306805" y="171175"/>
                        <a:pt x="301947" y="161269"/>
                      </a:cubicBezTo>
                      <a:cubicBezTo>
                        <a:pt x="301661" y="160793"/>
                        <a:pt x="300709" y="160602"/>
                        <a:pt x="301852" y="161174"/>
                      </a:cubicBezTo>
                      <a:cubicBezTo>
                        <a:pt x="296994" y="180795"/>
                        <a:pt x="290612" y="200607"/>
                        <a:pt x="287278" y="220896"/>
                      </a:cubicBezTo>
                      <a:cubicBezTo>
                        <a:pt x="274039" y="300715"/>
                        <a:pt x="261561" y="380725"/>
                        <a:pt x="248988" y="460640"/>
                      </a:cubicBezTo>
                      <a:cubicBezTo>
                        <a:pt x="246511" y="476451"/>
                        <a:pt x="236605" y="485691"/>
                        <a:pt x="221461" y="485214"/>
                      </a:cubicBezTo>
                      <a:cubicBezTo>
                        <a:pt x="206887" y="484833"/>
                        <a:pt x="196219" y="474356"/>
                        <a:pt x="196124" y="458449"/>
                      </a:cubicBezTo>
                      <a:cubicBezTo>
                        <a:pt x="195838" y="400537"/>
                        <a:pt x="196124" y="342720"/>
                        <a:pt x="196219" y="284808"/>
                      </a:cubicBezTo>
                      <a:cubicBezTo>
                        <a:pt x="196124" y="280427"/>
                        <a:pt x="196124" y="275950"/>
                        <a:pt x="196124" y="27061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82" name="Freeform: Shape 229">
                  <a:extLst>
                    <a:ext uri="{FF2B5EF4-FFF2-40B4-BE49-F238E27FC236}">
                      <a16:creationId xmlns:a16="http://schemas.microsoft.com/office/drawing/2014/main" id="{D75B5440-CA8A-2840-84C0-87C787CE1148}"/>
                    </a:ext>
                  </a:extLst>
                </p:cNvPr>
                <p:cNvSpPr/>
                <p:nvPr/>
              </p:nvSpPr>
              <p:spPr>
                <a:xfrm>
                  <a:off x="6047795" y="3117055"/>
                  <a:ext cx="104775" cy="104775"/>
                </a:xfrm>
                <a:custGeom>
                  <a:avLst/>
                  <a:gdLst>
                    <a:gd name="connsiteX0" fmla="*/ 54396 w 104775"/>
                    <a:gd name="connsiteY0" fmla="*/ 102300 h 104775"/>
                    <a:gd name="connsiteX1" fmla="*/ 7152 w 104775"/>
                    <a:gd name="connsiteY1" fmla="*/ 53913 h 104775"/>
                    <a:gd name="connsiteX2" fmla="*/ 54872 w 104775"/>
                    <a:gd name="connsiteY2" fmla="*/ 7145 h 104775"/>
                    <a:gd name="connsiteX3" fmla="*/ 102116 w 104775"/>
                    <a:gd name="connsiteY3" fmla="*/ 54389 h 104775"/>
                    <a:gd name="connsiteX4" fmla="*/ 54396 w 104775"/>
                    <a:gd name="connsiteY4" fmla="*/ 102300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775" h="104775">
                      <a:moveTo>
                        <a:pt x="54396" y="102300"/>
                      </a:moveTo>
                      <a:cubicBezTo>
                        <a:pt x="28011" y="102109"/>
                        <a:pt x="6675" y="80297"/>
                        <a:pt x="7152" y="53913"/>
                      </a:cubicBezTo>
                      <a:cubicBezTo>
                        <a:pt x="7723" y="27910"/>
                        <a:pt x="29059" y="6955"/>
                        <a:pt x="54872" y="7145"/>
                      </a:cubicBezTo>
                      <a:cubicBezTo>
                        <a:pt x="80780" y="7240"/>
                        <a:pt x="102021" y="28481"/>
                        <a:pt x="102116" y="54389"/>
                      </a:cubicBezTo>
                      <a:cubicBezTo>
                        <a:pt x="102211" y="80773"/>
                        <a:pt x="80685" y="102395"/>
                        <a:pt x="54396" y="102300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78" name="Oval 77"/>
              <p:cNvSpPr/>
              <p:nvPr/>
            </p:nvSpPr>
            <p:spPr>
              <a:xfrm>
                <a:off x="3037091" y="1854615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59" name="Freeform: Shape 158">
              <a:extLst>
                <a:ext uri="{FF2B5EF4-FFF2-40B4-BE49-F238E27FC236}">
                  <a16:creationId xmlns:a16="http://schemas.microsoft.com/office/drawing/2014/main" id="{8F6C0738-72C5-6A42-9776-24C72905AA14}"/>
                </a:ext>
              </a:extLst>
            </p:cNvPr>
            <p:cNvSpPr/>
            <p:nvPr/>
          </p:nvSpPr>
          <p:spPr>
            <a:xfrm>
              <a:off x="3672568" y="1891169"/>
              <a:ext cx="164805" cy="185143"/>
            </a:xfrm>
            <a:custGeom>
              <a:avLst/>
              <a:gdLst>
                <a:gd name="connsiteX0" fmla="*/ 441960 w 447675"/>
                <a:gd name="connsiteY0" fmla="*/ 233023 h 457200"/>
                <a:gd name="connsiteX1" fmla="*/ 433959 w 447675"/>
                <a:gd name="connsiteY1" fmla="*/ 201400 h 457200"/>
                <a:gd name="connsiteX2" fmla="*/ 445199 w 447675"/>
                <a:gd name="connsiteY2" fmla="*/ 171016 h 457200"/>
                <a:gd name="connsiteX3" fmla="*/ 445199 w 447675"/>
                <a:gd name="connsiteY3" fmla="*/ 170730 h 457200"/>
                <a:gd name="connsiteX4" fmla="*/ 434626 w 447675"/>
                <a:gd name="connsiteY4" fmla="*/ 140059 h 457200"/>
                <a:gd name="connsiteX5" fmla="*/ 443008 w 447675"/>
                <a:gd name="connsiteY5" fmla="*/ 108532 h 457200"/>
                <a:gd name="connsiteX6" fmla="*/ 442913 w 447675"/>
                <a:gd name="connsiteY6" fmla="*/ 107579 h 457200"/>
                <a:gd name="connsiteX7" fmla="*/ 427196 w 447675"/>
                <a:gd name="connsiteY7" fmla="*/ 76432 h 457200"/>
                <a:gd name="connsiteX8" fmla="*/ 428149 w 447675"/>
                <a:gd name="connsiteY8" fmla="*/ 37189 h 457200"/>
                <a:gd name="connsiteX9" fmla="*/ 427577 w 447675"/>
                <a:gd name="connsiteY9" fmla="*/ 35856 h 457200"/>
                <a:gd name="connsiteX10" fmla="*/ 365379 w 447675"/>
                <a:gd name="connsiteY10" fmla="*/ 11567 h 457200"/>
                <a:gd name="connsiteX11" fmla="*/ 361474 w 447675"/>
                <a:gd name="connsiteY11" fmla="*/ 13472 h 457200"/>
                <a:gd name="connsiteX12" fmla="*/ 306991 w 447675"/>
                <a:gd name="connsiteY12" fmla="*/ 18425 h 457200"/>
                <a:gd name="connsiteX13" fmla="*/ 306610 w 447675"/>
                <a:gd name="connsiteY13" fmla="*/ 18806 h 457200"/>
                <a:gd name="connsiteX14" fmla="*/ 290322 w 447675"/>
                <a:gd name="connsiteY14" fmla="*/ 45952 h 457200"/>
                <a:gd name="connsiteX15" fmla="*/ 266033 w 447675"/>
                <a:gd name="connsiteY15" fmla="*/ 54906 h 457200"/>
                <a:gd name="connsiteX16" fmla="*/ 265176 w 447675"/>
                <a:gd name="connsiteY16" fmla="*/ 55573 h 457200"/>
                <a:gd name="connsiteX17" fmla="*/ 251651 w 447675"/>
                <a:gd name="connsiteY17" fmla="*/ 70813 h 457200"/>
                <a:gd name="connsiteX18" fmla="*/ 234506 w 447675"/>
                <a:gd name="connsiteY18" fmla="*/ 70241 h 457200"/>
                <a:gd name="connsiteX19" fmla="*/ 232410 w 447675"/>
                <a:gd name="connsiteY19" fmla="*/ 70622 h 457200"/>
                <a:gd name="connsiteX20" fmla="*/ 232315 w 447675"/>
                <a:gd name="connsiteY20" fmla="*/ 70622 h 457200"/>
                <a:gd name="connsiteX21" fmla="*/ 213931 w 447675"/>
                <a:gd name="connsiteY21" fmla="*/ 78052 h 457200"/>
                <a:gd name="connsiteX22" fmla="*/ 194786 w 447675"/>
                <a:gd name="connsiteY22" fmla="*/ 68622 h 457200"/>
                <a:gd name="connsiteX23" fmla="*/ 194024 w 447675"/>
                <a:gd name="connsiteY23" fmla="*/ 68431 h 457200"/>
                <a:gd name="connsiteX24" fmla="*/ 172879 w 447675"/>
                <a:gd name="connsiteY24" fmla="*/ 68146 h 457200"/>
                <a:gd name="connsiteX25" fmla="*/ 156591 w 447675"/>
                <a:gd name="connsiteY25" fmla="*/ 51191 h 457200"/>
                <a:gd name="connsiteX26" fmla="*/ 156686 w 447675"/>
                <a:gd name="connsiteY26" fmla="*/ 50905 h 457200"/>
                <a:gd name="connsiteX27" fmla="*/ 121253 w 447675"/>
                <a:gd name="connsiteY27" fmla="*/ 43762 h 457200"/>
                <a:gd name="connsiteX28" fmla="*/ 74009 w 447675"/>
                <a:gd name="connsiteY28" fmla="*/ 19473 h 457200"/>
                <a:gd name="connsiteX29" fmla="*/ 71533 w 447675"/>
                <a:gd name="connsiteY29" fmla="*/ 19759 h 457200"/>
                <a:gd name="connsiteX30" fmla="*/ 30861 w 447675"/>
                <a:gd name="connsiteY30" fmla="*/ 71575 h 457200"/>
                <a:gd name="connsiteX31" fmla="*/ 7144 w 447675"/>
                <a:gd name="connsiteY31" fmla="*/ 112818 h 457200"/>
                <a:gd name="connsiteX32" fmla="*/ 7144 w 447675"/>
                <a:gd name="connsiteY32" fmla="*/ 113770 h 457200"/>
                <a:gd name="connsiteX33" fmla="*/ 16764 w 447675"/>
                <a:gd name="connsiteY33" fmla="*/ 142345 h 457200"/>
                <a:gd name="connsiteX34" fmla="*/ 7144 w 447675"/>
                <a:gd name="connsiteY34" fmla="*/ 171016 h 457200"/>
                <a:gd name="connsiteX35" fmla="*/ 7144 w 447675"/>
                <a:gd name="connsiteY35" fmla="*/ 171968 h 457200"/>
                <a:gd name="connsiteX36" fmla="*/ 16764 w 447675"/>
                <a:gd name="connsiteY36" fmla="*/ 200543 h 457200"/>
                <a:gd name="connsiteX37" fmla="*/ 7144 w 447675"/>
                <a:gd name="connsiteY37" fmla="*/ 229309 h 457200"/>
                <a:gd name="connsiteX38" fmla="*/ 7144 w 447675"/>
                <a:gd name="connsiteY38" fmla="*/ 230261 h 457200"/>
                <a:gd name="connsiteX39" fmla="*/ 16955 w 447675"/>
                <a:gd name="connsiteY39" fmla="*/ 258931 h 457200"/>
                <a:gd name="connsiteX40" fmla="*/ 7144 w 447675"/>
                <a:gd name="connsiteY40" fmla="*/ 287506 h 457200"/>
                <a:gd name="connsiteX41" fmla="*/ 7144 w 447675"/>
                <a:gd name="connsiteY41" fmla="*/ 287983 h 457200"/>
                <a:gd name="connsiteX42" fmla="*/ 54769 w 447675"/>
                <a:gd name="connsiteY42" fmla="*/ 335417 h 457200"/>
                <a:gd name="connsiteX43" fmla="*/ 102394 w 447675"/>
                <a:gd name="connsiteY43" fmla="*/ 287506 h 457200"/>
                <a:gd name="connsiteX44" fmla="*/ 92583 w 447675"/>
                <a:gd name="connsiteY44" fmla="*/ 258836 h 457200"/>
                <a:gd name="connsiteX45" fmla="*/ 102394 w 447675"/>
                <a:gd name="connsiteY45" fmla="*/ 230261 h 457200"/>
                <a:gd name="connsiteX46" fmla="*/ 102394 w 447675"/>
                <a:gd name="connsiteY46" fmla="*/ 229309 h 457200"/>
                <a:gd name="connsiteX47" fmla="*/ 92488 w 447675"/>
                <a:gd name="connsiteY47" fmla="*/ 200257 h 457200"/>
                <a:gd name="connsiteX48" fmla="*/ 102394 w 447675"/>
                <a:gd name="connsiteY48" fmla="*/ 171016 h 457200"/>
                <a:gd name="connsiteX49" fmla="*/ 92488 w 447675"/>
                <a:gd name="connsiteY49" fmla="*/ 141964 h 457200"/>
                <a:gd name="connsiteX50" fmla="*/ 100108 w 447675"/>
                <a:gd name="connsiteY50" fmla="*/ 127391 h 457200"/>
                <a:gd name="connsiteX51" fmla="*/ 103823 w 447675"/>
                <a:gd name="connsiteY51" fmla="*/ 130153 h 457200"/>
                <a:gd name="connsiteX52" fmla="*/ 105918 w 447675"/>
                <a:gd name="connsiteY52" fmla="*/ 131487 h 457200"/>
                <a:gd name="connsiteX53" fmla="*/ 141351 w 447675"/>
                <a:gd name="connsiteY53" fmla="*/ 137678 h 457200"/>
                <a:gd name="connsiteX54" fmla="*/ 171736 w 447675"/>
                <a:gd name="connsiteY54" fmla="*/ 160824 h 457200"/>
                <a:gd name="connsiteX55" fmla="*/ 172784 w 447675"/>
                <a:gd name="connsiteY55" fmla="*/ 161110 h 457200"/>
                <a:gd name="connsiteX56" fmla="*/ 210312 w 447675"/>
                <a:gd name="connsiteY56" fmla="*/ 154347 h 457200"/>
                <a:gd name="connsiteX57" fmla="*/ 248603 w 447675"/>
                <a:gd name="connsiteY57" fmla="*/ 164348 h 457200"/>
                <a:gd name="connsiteX58" fmla="*/ 283178 w 447675"/>
                <a:gd name="connsiteY58" fmla="*/ 140440 h 457200"/>
                <a:gd name="connsiteX59" fmla="*/ 321278 w 447675"/>
                <a:gd name="connsiteY59" fmla="*/ 132439 h 457200"/>
                <a:gd name="connsiteX60" fmla="*/ 322040 w 447675"/>
                <a:gd name="connsiteY60" fmla="*/ 131868 h 457200"/>
                <a:gd name="connsiteX61" fmla="*/ 340709 w 447675"/>
                <a:gd name="connsiteY61" fmla="*/ 102817 h 457200"/>
                <a:gd name="connsiteX62" fmla="*/ 349282 w 447675"/>
                <a:gd name="connsiteY62" fmla="*/ 101293 h 457200"/>
                <a:gd name="connsiteX63" fmla="*/ 348139 w 447675"/>
                <a:gd name="connsiteY63" fmla="*/ 116818 h 457200"/>
                <a:gd name="connsiteX64" fmla="*/ 358521 w 447675"/>
                <a:gd name="connsiteY64" fmla="*/ 142536 h 457200"/>
                <a:gd name="connsiteX65" fmla="*/ 349949 w 447675"/>
                <a:gd name="connsiteY65" fmla="*/ 169111 h 457200"/>
                <a:gd name="connsiteX66" fmla="*/ 349949 w 447675"/>
                <a:gd name="connsiteY66" fmla="*/ 170730 h 457200"/>
                <a:gd name="connsiteX67" fmla="*/ 358045 w 447675"/>
                <a:gd name="connsiteY67" fmla="*/ 197305 h 457200"/>
                <a:gd name="connsiteX68" fmla="*/ 347091 w 447675"/>
                <a:gd name="connsiteY68" fmla="*/ 223117 h 457200"/>
                <a:gd name="connsiteX69" fmla="*/ 346900 w 447675"/>
                <a:gd name="connsiteY69" fmla="*/ 224737 h 457200"/>
                <a:gd name="connsiteX70" fmla="*/ 352425 w 447675"/>
                <a:gd name="connsiteY70" fmla="*/ 251502 h 457200"/>
                <a:gd name="connsiteX71" fmla="*/ 338900 w 447675"/>
                <a:gd name="connsiteY71" fmla="*/ 274933 h 457200"/>
                <a:gd name="connsiteX72" fmla="*/ 337471 w 447675"/>
                <a:gd name="connsiteY72" fmla="*/ 287316 h 457200"/>
                <a:gd name="connsiteX73" fmla="*/ 330422 w 447675"/>
                <a:gd name="connsiteY73" fmla="*/ 290650 h 457200"/>
                <a:gd name="connsiteX74" fmla="*/ 311753 w 447675"/>
                <a:gd name="connsiteY74" fmla="*/ 279791 h 457200"/>
                <a:gd name="connsiteX75" fmla="*/ 310610 w 447675"/>
                <a:gd name="connsiteY75" fmla="*/ 279410 h 457200"/>
                <a:gd name="connsiteX76" fmla="*/ 281464 w 447675"/>
                <a:gd name="connsiteY76" fmla="*/ 279886 h 457200"/>
                <a:gd name="connsiteX77" fmla="*/ 255175 w 447675"/>
                <a:gd name="connsiteY77" fmla="*/ 261408 h 457200"/>
                <a:gd name="connsiteX78" fmla="*/ 213074 w 447675"/>
                <a:gd name="connsiteY78" fmla="*/ 268742 h 457200"/>
                <a:gd name="connsiteX79" fmla="*/ 158306 w 447675"/>
                <a:gd name="connsiteY79" fmla="*/ 269123 h 457200"/>
                <a:gd name="connsiteX80" fmla="*/ 154781 w 447675"/>
                <a:gd name="connsiteY80" fmla="*/ 271790 h 457200"/>
                <a:gd name="connsiteX81" fmla="*/ 148590 w 447675"/>
                <a:gd name="connsiteY81" fmla="*/ 338846 h 457200"/>
                <a:gd name="connsiteX82" fmla="*/ 149924 w 447675"/>
                <a:gd name="connsiteY82" fmla="*/ 340370 h 457200"/>
                <a:gd name="connsiteX83" fmla="*/ 151257 w 447675"/>
                <a:gd name="connsiteY83" fmla="*/ 382566 h 457200"/>
                <a:gd name="connsiteX84" fmla="*/ 152019 w 447675"/>
                <a:gd name="connsiteY84" fmla="*/ 383900 h 457200"/>
                <a:gd name="connsiteX85" fmla="*/ 174498 w 447675"/>
                <a:gd name="connsiteY85" fmla="*/ 404474 h 457200"/>
                <a:gd name="connsiteX86" fmla="*/ 203930 w 447675"/>
                <a:gd name="connsiteY86" fmla="*/ 427619 h 457200"/>
                <a:gd name="connsiteX87" fmla="*/ 207931 w 447675"/>
                <a:gd name="connsiteY87" fmla="*/ 453813 h 457200"/>
                <a:gd name="connsiteX88" fmla="*/ 223171 w 447675"/>
                <a:gd name="connsiteY88" fmla="*/ 398282 h 457200"/>
                <a:gd name="connsiteX89" fmla="*/ 240983 w 447675"/>
                <a:gd name="connsiteY89" fmla="*/ 354848 h 457200"/>
                <a:gd name="connsiteX90" fmla="*/ 258032 w 447675"/>
                <a:gd name="connsiteY90" fmla="*/ 352277 h 457200"/>
                <a:gd name="connsiteX91" fmla="*/ 283274 w 447675"/>
                <a:gd name="connsiteY91" fmla="*/ 370564 h 457200"/>
                <a:gd name="connsiteX92" fmla="*/ 284036 w 447675"/>
                <a:gd name="connsiteY92" fmla="*/ 370755 h 457200"/>
                <a:gd name="connsiteX93" fmla="*/ 321564 w 447675"/>
                <a:gd name="connsiteY93" fmla="*/ 366659 h 457200"/>
                <a:gd name="connsiteX94" fmla="*/ 366808 w 447675"/>
                <a:gd name="connsiteY94" fmla="*/ 377994 h 457200"/>
                <a:gd name="connsiteX95" fmla="*/ 367760 w 447675"/>
                <a:gd name="connsiteY95" fmla="*/ 377708 h 457200"/>
                <a:gd name="connsiteX96" fmla="*/ 402908 w 447675"/>
                <a:gd name="connsiteY96" fmla="*/ 330845 h 457200"/>
                <a:gd name="connsiteX97" fmla="*/ 431673 w 447675"/>
                <a:gd name="connsiteY97" fmla="*/ 298079 h 457200"/>
                <a:gd name="connsiteX98" fmla="*/ 431959 w 447675"/>
                <a:gd name="connsiteY98" fmla="*/ 296841 h 457200"/>
                <a:gd name="connsiteX99" fmla="*/ 427577 w 447675"/>
                <a:gd name="connsiteY99" fmla="*/ 263218 h 457200"/>
                <a:gd name="connsiteX100" fmla="*/ 442055 w 447675"/>
                <a:gd name="connsiteY100" fmla="*/ 233309 h 457200"/>
                <a:gd name="connsiteX101" fmla="*/ 441960 w 447675"/>
                <a:gd name="connsiteY101" fmla="*/ 23302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47675" h="457200">
                  <a:moveTo>
                    <a:pt x="441960" y="233023"/>
                  </a:moveTo>
                  <a:cubicBezTo>
                    <a:pt x="443198" y="221403"/>
                    <a:pt x="440055" y="210354"/>
                    <a:pt x="433959" y="201400"/>
                  </a:cubicBezTo>
                  <a:cubicBezTo>
                    <a:pt x="440912" y="193209"/>
                    <a:pt x="445103" y="182541"/>
                    <a:pt x="445199" y="171016"/>
                  </a:cubicBezTo>
                  <a:lnTo>
                    <a:pt x="445199" y="170730"/>
                  </a:lnTo>
                  <a:cubicBezTo>
                    <a:pt x="445389" y="159109"/>
                    <a:pt x="441389" y="148441"/>
                    <a:pt x="434626" y="140059"/>
                  </a:cubicBezTo>
                  <a:cubicBezTo>
                    <a:pt x="440817" y="131201"/>
                    <a:pt x="444056" y="120152"/>
                    <a:pt x="443008" y="108532"/>
                  </a:cubicBezTo>
                  <a:lnTo>
                    <a:pt x="442913" y="107579"/>
                  </a:lnTo>
                  <a:cubicBezTo>
                    <a:pt x="441770" y="95006"/>
                    <a:pt x="435864" y="84052"/>
                    <a:pt x="427196" y="76432"/>
                  </a:cubicBezTo>
                  <a:cubicBezTo>
                    <a:pt x="432911" y="64526"/>
                    <a:pt x="433673" y="50334"/>
                    <a:pt x="428149" y="37189"/>
                  </a:cubicBezTo>
                  <a:cubicBezTo>
                    <a:pt x="428054" y="36999"/>
                    <a:pt x="427673" y="35951"/>
                    <a:pt x="427577" y="35856"/>
                  </a:cubicBezTo>
                  <a:cubicBezTo>
                    <a:pt x="417100" y="11853"/>
                    <a:pt x="389382" y="1185"/>
                    <a:pt x="365379" y="11567"/>
                  </a:cubicBezTo>
                  <a:cubicBezTo>
                    <a:pt x="364046" y="12139"/>
                    <a:pt x="362712" y="12805"/>
                    <a:pt x="361474" y="13472"/>
                  </a:cubicBezTo>
                  <a:cubicBezTo>
                    <a:pt x="344615" y="3757"/>
                    <a:pt x="322707" y="5090"/>
                    <a:pt x="306991" y="18425"/>
                  </a:cubicBezTo>
                  <a:lnTo>
                    <a:pt x="306610" y="18806"/>
                  </a:lnTo>
                  <a:cubicBezTo>
                    <a:pt x="297942" y="26045"/>
                    <a:pt x="292418" y="35665"/>
                    <a:pt x="290322" y="45952"/>
                  </a:cubicBezTo>
                  <a:cubicBezTo>
                    <a:pt x="281845" y="46619"/>
                    <a:pt x="273463" y="49572"/>
                    <a:pt x="266033" y="54906"/>
                  </a:cubicBezTo>
                  <a:cubicBezTo>
                    <a:pt x="265938" y="55001"/>
                    <a:pt x="265367" y="55382"/>
                    <a:pt x="265176" y="55573"/>
                  </a:cubicBezTo>
                  <a:cubicBezTo>
                    <a:pt x="259461" y="59764"/>
                    <a:pt x="254889" y="65002"/>
                    <a:pt x="251651" y="70813"/>
                  </a:cubicBezTo>
                  <a:cubicBezTo>
                    <a:pt x="246221" y="69574"/>
                    <a:pt x="240411" y="69384"/>
                    <a:pt x="234506" y="70241"/>
                  </a:cubicBezTo>
                  <a:cubicBezTo>
                    <a:pt x="234125" y="70336"/>
                    <a:pt x="232791" y="70527"/>
                    <a:pt x="232410" y="70622"/>
                  </a:cubicBezTo>
                  <a:lnTo>
                    <a:pt x="232315" y="70622"/>
                  </a:lnTo>
                  <a:cubicBezTo>
                    <a:pt x="225552" y="71860"/>
                    <a:pt x="219361" y="74432"/>
                    <a:pt x="213931" y="78052"/>
                  </a:cubicBezTo>
                  <a:cubicBezTo>
                    <a:pt x="208502" y="73670"/>
                    <a:pt x="202025" y="70336"/>
                    <a:pt x="194786" y="68622"/>
                  </a:cubicBezTo>
                  <a:lnTo>
                    <a:pt x="194024" y="68431"/>
                  </a:lnTo>
                  <a:cubicBezTo>
                    <a:pt x="186881" y="66717"/>
                    <a:pt x="179642" y="66717"/>
                    <a:pt x="172879" y="68146"/>
                  </a:cubicBezTo>
                  <a:cubicBezTo>
                    <a:pt x="169069" y="61478"/>
                    <a:pt x="163640" y="55573"/>
                    <a:pt x="156591" y="51191"/>
                  </a:cubicBezTo>
                  <a:lnTo>
                    <a:pt x="156686" y="50905"/>
                  </a:lnTo>
                  <a:cubicBezTo>
                    <a:pt x="145828" y="43666"/>
                    <a:pt x="133160" y="41476"/>
                    <a:pt x="121253" y="43762"/>
                  </a:cubicBezTo>
                  <a:cubicBezTo>
                    <a:pt x="112205" y="27283"/>
                    <a:pt x="93821" y="17282"/>
                    <a:pt x="74009" y="19473"/>
                  </a:cubicBezTo>
                  <a:lnTo>
                    <a:pt x="71533" y="19759"/>
                  </a:lnTo>
                  <a:cubicBezTo>
                    <a:pt x="46292" y="23569"/>
                    <a:pt x="28385" y="46429"/>
                    <a:pt x="30861" y="71575"/>
                  </a:cubicBezTo>
                  <a:cubicBezTo>
                    <a:pt x="16669" y="79861"/>
                    <a:pt x="7144" y="95197"/>
                    <a:pt x="7144" y="112818"/>
                  </a:cubicBezTo>
                  <a:lnTo>
                    <a:pt x="7144" y="113770"/>
                  </a:lnTo>
                  <a:cubicBezTo>
                    <a:pt x="7144" y="124534"/>
                    <a:pt x="10763" y="134440"/>
                    <a:pt x="16764" y="142345"/>
                  </a:cubicBezTo>
                  <a:cubicBezTo>
                    <a:pt x="10763" y="150251"/>
                    <a:pt x="7144" y="160252"/>
                    <a:pt x="7144" y="171016"/>
                  </a:cubicBezTo>
                  <a:lnTo>
                    <a:pt x="7144" y="171968"/>
                  </a:lnTo>
                  <a:cubicBezTo>
                    <a:pt x="7144" y="182731"/>
                    <a:pt x="10763" y="192637"/>
                    <a:pt x="16764" y="200543"/>
                  </a:cubicBezTo>
                  <a:cubicBezTo>
                    <a:pt x="10763" y="208544"/>
                    <a:pt x="7144" y="218450"/>
                    <a:pt x="7144" y="229309"/>
                  </a:cubicBezTo>
                  <a:lnTo>
                    <a:pt x="7144" y="230261"/>
                  </a:lnTo>
                  <a:cubicBezTo>
                    <a:pt x="7144" y="241024"/>
                    <a:pt x="10859" y="250930"/>
                    <a:pt x="16955" y="258931"/>
                  </a:cubicBezTo>
                  <a:cubicBezTo>
                    <a:pt x="10859" y="266837"/>
                    <a:pt x="7144" y="276743"/>
                    <a:pt x="7144" y="287506"/>
                  </a:cubicBezTo>
                  <a:lnTo>
                    <a:pt x="7144" y="287983"/>
                  </a:lnTo>
                  <a:cubicBezTo>
                    <a:pt x="7144" y="314272"/>
                    <a:pt x="28480" y="335417"/>
                    <a:pt x="54769" y="335417"/>
                  </a:cubicBezTo>
                  <a:cubicBezTo>
                    <a:pt x="81058" y="335417"/>
                    <a:pt x="102394" y="313891"/>
                    <a:pt x="102394" y="287506"/>
                  </a:cubicBezTo>
                  <a:cubicBezTo>
                    <a:pt x="102394" y="276743"/>
                    <a:pt x="98679" y="266837"/>
                    <a:pt x="92583" y="258836"/>
                  </a:cubicBezTo>
                  <a:cubicBezTo>
                    <a:pt x="98679" y="250930"/>
                    <a:pt x="102394" y="241024"/>
                    <a:pt x="102394" y="230261"/>
                  </a:cubicBezTo>
                  <a:lnTo>
                    <a:pt x="102394" y="229309"/>
                  </a:lnTo>
                  <a:cubicBezTo>
                    <a:pt x="102394" y="218355"/>
                    <a:pt x="98679" y="208354"/>
                    <a:pt x="92488" y="200257"/>
                  </a:cubicBezTo>
                  <a:cubicBezTo>
                    <a:pt x="98679" y="192066"/>
                    <a:pt x="102394" y="181969"/>
                    <a:pt x="102394" y="171016"/>
                  </a:cubicBezTo>
                  <a:cubicBezTo>
                    <a:pt x="102394" y="160062"/>
                    <a:pt x="98679" y="149965"/>
                    <a:pt x="92488" y="141964"/>
                  </a:cubicBezTo>
                  <a:cubicBezTo>
                    <a:pt x="95822" y="137583"/>
                    <a:pt x="98393" y="132725"/>
                    <a:pt x="100108" y="127391"/>
                  </a:cubicBezTo>
                  <a:cubicBezTo>
                    <a:pt x="101251" y="128344"/>
                    <a:pt x="102489" y="129296"/>
                    <a:pt x="103823" y="130153"/>
                  </a:cubicBezTo>
                  <a:lnTo>
                    <a:pt x="105918" y="131487"/>
                  </a:lnTo>
                  <a:cubicBezTo>
                    <a:pt x="116872" y="138250"/>
                    <a:pt x="129635" y="140155"/>
                    <a:pt x="141351" y="137678"/>
                  </a:cubicBezTo>
                  <a:cubicBezTo>
                    <a:pt x="147542" y="148918"/>
                    <a:pt x="158306" y="157585"/>
                    <a:pt x="171736" y="160824"/>
                  </a:cubicBezTo>
                  <a:lnTo>
                    <a:pt x="172784" y="161110"/>
                  </a:lnTo>
                  <a:cubicBezTo>
                    <a:pt x="186214" y="164348"/>
                    <a:pt x="199739" y="161491"/>
                    <a:pt x="210312" y="154347"/>
                  </a:cubicBezTo>
                  <a:cubicBezTo>
                    <a:pt x="220599" y="162824"/>
                    <a:pt x="234410" y="166825"/>
                    <a:pt x="248603" y="164348"/>
                  </a:cubicBezTo>
                  <a:cubicBezTo>
                    <a:pt x="263747" y="162062"/>
                    <a:pt x="276225" y="152918"/>
                    <a:pt x="283178" y="140440"/>
                  </a:cubicBezTo>
                  <a:cubicBezTo>
                    <a:pt x="295942" y="143203"/>
                    <a:pt x="309848" y="140726"/>
                    <a:pt x="321278" y="132439"/>
                  </a:cubicBezTo>
                  <a:lnTo>
                    <a:pt x="322040" y="131868"/>
                  </a:lnTo>
                  <a:cubicBezTo>
                    <a:pt x="332042" y="124534"/>
                    <a:pt x="338423" y="114056"/>
                    <a:pt x="340709" y="102817"/>
                  </a:cubicBezTo>
                  <a:cubicBezTo>
                    <a:pt x="343567" y="102626"/>
                    <a:pt x="346520" y="102055"/>
                    <a:pt x="349282" y="101293"/>
                  </a:cubicBezTo>
                  <a:cubicBezTo>
                    <a:pt x="348044" y="106246"/>
                    <a:pt x="347663" y="111484"/>
                    <a:pt x="348139" y="116818"/>
                  </a:cubicBezTo>
                  <a:cubicBezTo>
                    <a:pt x="348996" y="126629"/>
                    <a:pt x="352806" y="135487"/>
                    <a:pt x="358521" y="142536"/>
                  </a:cubicBezTo>
                  <a:cubicBezTo>
                    <a:pt x="353187" y="150061"/>
                    <a:pt x="350044" y="159205"/>
                    <a:pt x="349949" y="169111"/>
                  </a:cubicBezTo>
                  <a:cubicBezTo>
                    <a:pt x="349949" y="169301"/>
                    <a:pt x="349949" y="170539"/>
                    <a:pt x="349949" y="170730"/>
                  </a:cubicBezTo>
                  <a:cubicBezTo>
                    <a:pt x="349949" y="180636"/>
                    <a:pt x="352901" y="189780"/>
                    <a:pt x="358045" y="197305"/>
                  </a:cubicBezTo>
                  <a:cubicBezTo>
                    <a:pt x="352139" y="204353"/>
                    <a:pt x="348139" y="213211"/>
                    <a:pt x="347091" y="223117"/>
                  </a:cubicBezTo>
                  <a:lnTo>
                    <a:pt x="346900" y="224737"/>
                  </a:lnTo>
                  <a:cubicBezTo>
                    <a:pt x="346043" y="234357"/>
                    <a:pt x="348139" y="243596"/>
                    <a:pt x="352425" y="251502"/>
                  </a:cubicBezTo>
                  <a:cubicBezTo>
                    <a:pt x="345948" y="257693"/>
                    <a:pt x="341186" y="265694"/>
                    <a:pt x="338900" y="274933"/>
                  </a:cubicBezTo>
                  <a:cubicBezTo>
                    <a:pt x="337852" y="279029"/>
                    <a:pt x="337375" y="283220"/>
                    <a:pt x="337471" y="287316"/>
                  </a:cubicBezTo>
                  <a:cubicBezTo>
                    <a:pt x="334994" y="288268"/>
                    <a:pt x="332613" y="289316"/>
                    <a:pt x="330422" y="290650"/>
                  </a:cubicBezTo>
                  <a:cubicBezTo>
                    <a:pt x="325279" y="285792"/>
                    <a:pt x="318992" y="281982"/>
                    <a:pt x="311753" y="279791"/>
                  </a:cubicBezTo>
                  <a:lnTo>
                    <a:pt x="310610" y="279410"/>
                  </a:lnTo>
                  <a:cubicBezTo>
                    <a:pt x="300704" y="276457"/>
                    <a:pt x="290608" y="276743"/>
                    <a:pt x="281464" y="279886"/>
                  </a:cubicBezTo>
                  <a:cubicBezTo>
                    <a:pt x="275368" y="271123"/>
                    <a:pt x="266224" y="264456"/>
                    <a:pt x="255175" y="261408"/>
                  </a:cubicBezTo>
                  <a:cubicBezTo>
                    <a:pt x="240221" y="256836"/>
                    <a:pt x="224695" y="260074"/>
                    <a:pt x="213074" y="268742"/>
                  </a:cubicBezTo>
                  <a:cubicBezTo>
                    <a:pt x="196977" y="257598"/>
                    <a:pt x="175069" y="257122"/>
                    <a:pt x="158306" y="269123"/>
                  </a:cubicBezTo>
                  <a:cubicBezTo>
                    <a:pt x="157067" y="269980"/>
                    <a:pt x="155924" y="270838"/>
                    <a:pt x="154781" y="271790"/>
                  </a:cubicBezTo>
                  <a:cubicBezTo>
                    <a:pt x="134588" y="288554"/>
                    <a:pt x="131731" y="318653"/>
                    <a:pt x="148590" y="338846"/>
                  </a:cubicBezTo>
                  <a:cubicBezTo>
                    <a:pt x="149066" y="339323"/>
                    <a:pt x="149447" y="339894"/>
                    <a:pt x="149924" y="340370"/>
                  </a:cubicBezTo>
                  <a:cubicBezTo>
                    <a:pt x="144018" y="353419"/>
                    <a:pt x="143923" y="368945"/>
                    <a:pt x="151257" y="382566"/>
                  </a:cubicBezTo>
                  <a:cubicBezTo>
                    <a:pt x="151352" y="382756"/>
                    <a:pt x="151924" y="383804"/>
                    <a:pt x="152019" y="383900"/>
                  </a:cubicBezTo>
                  <a:cubicBezTo>
                    <a:pt x="157258" y="393425"/>
                    <a:pt x="165259" y="400378"/>
                    <a:pt x="174498" y="404474"/>
                  </a:cubicBezTo>
                  <a:cubicBezTo>
                    <a:pt x="177165" y="417237"/>
                    <a:pt x="195167" y="420761"/>
                    <a:pt x="203930" y="427619"/>
                  </a:cubicBezTo>
                  <a:cubicBezTo>
                    <a:pt x="215075" y="436382"/>
                    <a:pt x="207931" y="453813"/>
                    <a:pt x="207931" y="453813"/>
                  </a:cubicBezTo>
                  <a:cubicBezTo>
                    <a:pt x="228981" y="436478"/>
                    <a:pt x="227838" y="414094"/>
                    <a:pt x="223171" y="398282"/>
                  </a:cubicBezTo>
                  <a:cubicBezTo>
                    <a:pt x="236411" y="387805"/>
                    <a:pt x="242983" y="371231"/>
                    <a:pt x="240983" y="354848"/>
                  </a:cubicBezTo>
                  <a:cubicBezTo>
                    <a:pt x="246793" y="355039"/>
                    <a:pt x="252603" y="354181"/>
                    <a:pt x="258032" y="352277"/>
                  </a:cubicBezTo>
                  <a:cubicBezTo>
                    <a:pt x="263938" y="360754"/>
                    <a:pt x="272606" y="367326"/>
                    <a:pt x="283274" y="370564"/>
                  </a:cubicBezTo>
                  <a:lnTo>
                    <a:pt x="284036" y="370755"/>
                  </a:lnTo>
                  <a:cubicBezTo>
                    <a:pt x="297085" y="374755"/>
                    <a:pt x="310610" y="372851"/>
                    <a:pt x="321564" y="366659"/>
                  </a:cubicBezTo>
                  <a:cubicBezTo>
                    <a:pt x="333280" y="377613"/>
                    <a:pt x="350234" y="382471"/>
                    <a:pt x="366808" y="377994"/>
                  </a:cubicBezTo>
                  <a:lnTo>
                    <a:pt x="367760" y="377708"/>
                  </a:lnTo>
                  <a:cubicBezTo>
                    <a:pt x="389287" y="371803"/>
                    <a:pt x="403289" y="352181"/>
                    <a:pt x="402908" y="330845"/>
                  </a:cubicBezTo>
                  <a:cubicBezTo>
                    <a:pt x="416719" y="325416"/>
                    <a:pt x="427863" y="313605"/>
                    <a:pt x="431673" y="298079"/>
                  </a:cubicBezTo>
                  <a:lnTo>
                    <a:pt x="431959" y="296841"/>
                  </a:lnTo>
                  <a:cubicBezTo>
                    <a:pt x="434816" y="284935"/>
                    <a:pt x="433007" y="273124"/>
                    <a:pt x="427577" y="263218"/>
                  </a:cubicBezTo>
                  <a:cubicBezTo>
                    <a:pt x="435578" y="255598"/>
                    <a:pt x="440912" y="245120"/>
                    <a:pt x="442055" y="233309"/>
                  </a:cubicBezTo>
                  <a:lnTo>
                    <a:pt x="441960" y="233023"/>
                  </a:lnTo>
                  <a:close/>
                </a:path>
              </a:pathLst>
            </a:custGeom>
            <a:solidFill>
              <a:srgbClr val="1E70B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sz="1467" dirty="0">
                <a:latin typeface="Arial" panose="020B0604020202020204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3635956" y="1852813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3661799" y="2198513"/>
              <a:ext cx="240001" cy="251310"/>
              <a:chOff x="3656928" y="2244240"/>
              <a:chExt cx="240001" cy="251310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AB1F0595-EDB1-E140-8678-83C6ACDF320C}"/>
                  </a:ext>
                </a:extLst>
              </p:cNvPr>
              <p:cNvGrpSpPr/>
              <p:nvPr/>
            </p:nvGrpSpPr>
            <p:grpSpPr>
              <a:xfrm>
                <a:off x="3724599" y="2281411"/>
                <a:ext cx="105751" cy="168566"/>
                <a:chOff x="7356475" y="1863725"/>
                <a:chExt cx="842977" cy="1290635"/>
              </a:xfrm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63500" sx="102000" sy="102000" algn="ctr" rotWithShape="0">
                  <a:schemeClr val="tx2">
                    <a:alpha val="16000"/>
                  </a:schemeClr>
                </a:outerShdw>
              </a:effectLst>
            </p:grpSpPr>
            <p:sp>
              <p:nvSpPr>
                <p:cNvPr id="69" name="Freeform 84">
                  <a:extLst>
                    <a:ext uri="{FF2B5EF4-FFF2-40B4-BE49-F238E27FC236}">
                      <a16:creationId xmlns:a16="http://schemas.microsoft.com/office/drawing/2014/main" id="{24139977-DB1A-1847-AC7E-616EF836A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2841" y="2068516"/>
                  <a:ext cx="836611" cy="1085844"/>
                </a:xfrm>
                <a:custGeom>
                  <a:avLst/>
                  <a:gdLst>
                    <a:gd name="T0" fmla="*/ 798 w 1101"/>
                    <a:gd name="T1" fmla="*/ 286 h 1430"/>
                    <a:gd name="T2" fmla="*/ 907 w 1101"/>
                    <a:gd name="T3" fmla="*/ 196 h 1430"/>
                    <a:gd name="T4" fmla="*/ 980 w 1101"/>
                    <a:gd name="T5" fmla="*/ 84 h 1430"/>
                    <a:gd name="T6" fmla="*/ 892 w 1101"/>
                    <a:gd name="T7" fmla="*/ 14 h 1430"/>
                    <a:gd name="T8" fmla="*/ 444 w 1101"/>
                    <a:gd name="T9" fmla="*/ 465 h 1430"/>
                    <a:gd name="T10" fmla="*/ 128 w 1101"/>
                    <a:gd name="T11" fmla="*/ 733 h 1430"/>
                    <a:gd name="T12" fmla="*/ 85 w 1101"/>
                    <a:gd name="T13" fmla="*/ 911 h 1430"/>
                    <a:gd name="T14" fmla="*/ 858 w 1101"/>
                    <a:gd name="T15" fmla="*/ 1418 h 1430"/>
                    <a:gd name="T16" fmla="*/ 1086 w 1101"/>
                    <a:gd name="T17" fmla="*/ 974 h 1430"/>
                    <a:gd name="T18" fmla="*/ 798 w 1101"/>
                    <a:gd name="T19" fmla="*/ 286 h 1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01" h="1430">
                      <a:moveTo>
                        <a:pt x="798" y="286"/>
                      </a:moveTo>
                      <a:cubicBezTo>
                        <a:pt x="810" y="269"/>
                        <a:pt x="866" y="215"/>
                        <a:pt x="907" y="196"/>
                      </a:cubicBezTo>
                      <a:cubicBezTo>
                        <a:pt x="948" y="177"/>
                        <a:pt x="997" y="169"/>
                        <a:pt x="980" y="84"/>
                      </a:cubicBezTo>
                      <a:cubicBezTo>
                        <a:pt x="963" y="0"/>
                        <a:pt x="892" y="14"/>
                        <a:pt x="892" y="14"/>
                      </a:cubicBezTo>
                      <a:cubicBezTo>
                        <a:pt x="635" y="58"/>
                        <a:pt x="490" y="334"/>
                        <a:pt x="444" y="465"/>
                      </a:cubicBezTo>
                      <a:cubicBezTo>
                        <a:pt x="398" y="596"/>
                        <a:pt x="257" y="683"/>
                        <a:pt x="128" y="733"/>
                      </a:cubicBezTo>
                      <a:cubicBezTo>
                        <a:pt x="0" y="784"/>
                        <a:pt x="85" y="911"/>
                        <a:pt x="85" y="911"/>
                      </a:cubicBezTo>
                      <a:cubicBezTo>
                        <a:pt x="359" y="1345"/>
                        <a:pt x="708" y="1406"/>
                        <a:pt x="858" y="1418"/>
                      </a:cubicBezTo>
                      <a:cubicBezTo>
                        <a:pt x="1009" y="1430"/>
                        <a:pt x="1072" y="1376"/>
                        <a:pt x="1086" y="974"/>
                      </a:cubicBezTo>
                      <a:cubicBezTo>
                        <a:pt x="1101" y="572"/>
                        <a:pt x="798" y="286"/>
                        <a:pt x="798" y="28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70" name="Freeform 85">
                  <a:extLst>
                    <a:ext uri="{FF2B5EF4-FFF2-40B4-BE49-F238E27FC236}">
                      <a16:creationId xmlns:a16="http://schemas.microsoft.com/office/drawing/2014/main" id="{D1585969-832E-9045-8B44-66F08B70DF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475" y="2106613"/>
                  <a:ext cx="241300" cy="544513"/>
                </a:xfrm>
                <a:custGeom>
                  <a:avLst/>
                  <a:gdLst>
                    <a:gd name="T0" fmla="*/ 139 w 317"/>
                    <a:gd name="T1" fmla="*/ 632 h 716"/>
                    <a:gd name="T2" fmla="*/ 317 w 317"/>
                    <a:gd name="T3" fmla="*/ 529 h 716"/>
                    <a:gd name="T4" fmla="*/ 252 w 317"/>
                    <a:gd name="T5" fmla="*/ 238 h 716"/>
                    <a:gd name="T6" fmla="*/ 220 w 317"/>
                    <a:gd name="T7" fmla="*/ 10 h 716"/>
                    <a:gd name="T8" fmla="*/ 121 w 317"/>
                    <a:gd name="T9" fmla="*/ 78 h 716"/>
                    <a:gd name="T10" fmla="*/ 157 w 317"/>
                    <a:gd name="T11" fmla="*/ 182 h 716"/>
                    <a:gd name="T12" fmla="*/ 121 w 317"/>
                    <a:gd name="T13" fmla="*/ 361 h 716"/>
                    <a:gd name="T14" fmla="*/ 36 w 317"/>
                    <a:gd name="T15" fmla="*/ 716 h 716"/>
                    <a:gd name="T16" fmla="*/ 139 w 317"/>
                    <a:gd name="T17" fmla="*/ 632 h 7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7" h="716">
                      <a:moveTo>
                        <a:pt x="139" y="632"/>
                      </a:moveTo>
                      <a:cubicBezTo>
                        <a:pt x="237" y="593"/>
                        <a:pt x="317" y="529"/>
                        <a:pt x="317" y="529"/>
                      </a:cubicBezTo>
                      <a:cubicBezTo>
                        <a:pt x="317" y="529"/>
                        <a:pt x="232" y="350"/>
                        <a:pt x="252" y="238"/>
                      </a:cubicBezTo>
                      <a:cubicBezTo>
                        <a:pt x="271" y="127"/>
                        <a:pt x="261" y="20"/>
                        <a:pt x="220" y="10"/>
                      </a:cubicBezTo>
                      <a:cubicBezTo>
                        <a:pt x="179" y="0"/>
                        <a:pt x="111" y="5"/>
                        <a:pt x="121" y="78"/>
                      </a:cubicBezTo>
                      <a:cubicBezTo>
                        <a:pt x="121" y="78"/>
                        <a:pt x="184" y="97"/>
                        <a:pt x="157" y="182"/>
                      </a:cubicBezTo>
                      <a:cubicBezTo>
                        <a:pt x="130" y="267"/>
                        <a:pt x="111" y="331"/>
                        <a:pt x="121" y="361"/>
                      </a:cubicBezTo>
                      <a:cubicBezTo>
                        <a:pt x="121" y="361"/>
                        <a:pt x="0" y="541"/>
                        <a:pt x="36" y="716"/>
                      </a:cubicBezTo>
                      <a:cubicBezTo>
                        <a:pt x="36" y="716"/>
                        <a:pt x="49" y="668"/>
                        <a:pt x="139" y="632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  <p:sp>
              <p:nvSpPr>
                <p:cNvPr id="71" name="Freeform 86">
                  <a:extLst>
                    <a:ext uri="{FF2B5EF4-FFF2-40B4-BE49-F238E27FC236}">
                      <a16:creationId xmlns:a16="http://schemas.microsoft.com/office/drawing/2014/main" id="{33C54B1A-1670-4043-B393-8D0093E88D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7613" y="1863725"/>
                  <a:ext cx="420688" cy="611188"/>
                </a:xfrm>
                <a:custGeom>
                  <a:avLst/>
                  <a:gdLst>
                    <a:gd name="T0" fmla="*/ 143 w 555"/>
                    <a:gd name="T1" fmla="*/ 679 h 805"/>
                    <a:gd name="T2" fmla="*/ 272 w 555"/>
                    <a:gd name="T3" fmla="*/ 454 h 805"/>
                    <a:gd name="T4" fmla="*/ 332 w 555"/>
                    <a:gd name="T5" fmla="*/ 254 h 805"/>
                    <a:gd name="T6" fmla="*/ 463 w 555"/>
                    <a:gd name="T7" fmla="*/ 277 h 805"/>
                    <a:gd name="T8" fmla="*/ 555 w 555"/>
                    <a:gd name="T9" fmla="*/ 236 h 805"/>
                    <a:gd name="T10" fmla="*/ 400 w 555"/>
                    <a:gd name="T11" fmla="*/ 105 h 805"/>
                    <a:gd name="T12" fmla="*/ 386 w 555"/>
                    <a:gd name="T13" fmla="*/ 39 h 805"/>
                    <a:gd name="T14" fmla="*/ 349 w 555"/>
                    <a:gd name="T15" fmla="*/ 44 h 805"/>
                    <a:gd name="T16" fmla="*/ 306 w 555"/>
                    <a:gd name="T17" fmla="*/ 119 h 805"/>
                    <a:gd name="T18" fmla="*/ 272 w 555"/>
                    <a:gd name="T19" fmla="*/ 34 h 805"/>
                    <a:gd name="T20" fmla="*/ 231 w 555"/>
                    <a:gd name="T21" fmla="*/ 42 h 805"/>
                    <a:gd name="T22" fmla="*/ 209 w 555"/>
                    <a:gd name="T23" fmla="*/ 136 h 805"/>
                    <a:gd name="T24" fmla="*/ 146 w 555"/>
                    <a:gd name="T25" fmla="*/ 93 h 805"/>
                    <a:gd name="T26" fmla="*/ 80 w 555"/>
                    <a:gd name="T27" fmla="*/ 93 h 805"/>
                    <a:gd name="T28" fmla="*/ 88 w 555"/>
                    <a:gd name="T29" fmla="*/ 238 h 805"/>
                    <a:gd name="T30" fmla="*/ 15 w 555"/>
                    <a:gd name="T31" fmla="*/ 514 h 805"/>
                    <a:gd name="T32" fmla="*/ 85 w 555"/>
                    <a:gd name="T33" fmla="*/ 805 h 805"/>
                    <a:gd name="T34" fmla="*/ 143 w 555"/>
                    <a:gd name="T35" fmla="*/ 679 h 8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5" h="805">
                      <a:moveTo>
                        <a:pt x="143" y="679"/>
                      </a:moveTo>
                      <a:cubicBezTo>
                        <a:pt x="177" y="575"/>
                        <a:pt x="272" y="454"/>
                        <a:pt x="272" y="454"/>
                      </a:cubicBezTo>
                      <a:cubicBezTo>
                        <a:pt x="272" y="454"/>
                        <a:pt x="267" y="274"/>
                        <a:pt x="332" y="254"/>
                      </a:cubicBezTo>
                      <a:cubicBezTo>
                        <a:pt x="398" y="234"/>
                        <a:pt x="463" y="277"/>
                        <a:pt x="463" y="277"/>
                      </a:cubicBezTo>
                      <a:cubicBezTo>
                        <a:pt x="555" y="236"/>
                        <a:pt x="555" y="236"/>
                        <a:pt x="555" y="236"/>
                      </a:cubicBezTo>
                      <a:cubicBezTo>
                        <a:pt x="517" y="148"/>
                        <a:pt x="422" y="119"/>
                        <a:pt x="400" y="105"/>
                      </a:cubicBezTo>
                      <a:cubicBezTo>
                        <a:pt x="378" y="90"/>
                        <a:pt x="386" y="39"/>
                        <a:pt x="386" y="39"/>
                      </a:cubicBezTo>
                      <a:cubicBezTo>
                        <a:pt x="378" y="10"/>
                        <a:pt x="345" y="20"/>
                        <a:pt x="349" y="44"/>
                      </a:cubicBezTo>
                      <a:cubicBezTo>
                        <a:pt x="354" y="68"/>
                        <a:pt x="342" y="119"/>
                        <a:pt x="306" y="119"/>
                      </a:cubicBezTo>
                      <a:cubicBezTo>
                        <a:pt x="269" y="119"/>
                        <a:pt x="272" y="34"/>
                        <a:pt x="272" y="34"/>
                      </a:cubicBezTo>
                      <a:cubicBezTo>
                        <a:pt x="238" y="0"/>
                        <a:pt x="231" y="42"/>
                        <a:pt x="231" y="42"/>
                      </a:cubicBezTo>
                      <a:cubicBezTo>
                        <a:pt x="231" y="42"/>
                        <a:pt x="243" y="127"/>
                        <a:pt x="209" y="136"/>
                      </a:cubicBezTo>
                      <a:cubicBezTo>
                        <a:pt x="175" y="146"/>
                        <a:pt x="146" y="93"/>
                        <a:pt x="146" y="93"/>
                      </a:cubicBezTo>
                      <a:cubicBezTo>
                        <a:pt x="146" y="93"/>
                        <a:pt x="122" y="42"/>
                        <a:pt x="80" y="93"/>
                      </a:cubicBezTo>
                      <a:cubicBezTo>
                        <a:pt x="39" y="144"/>
                        <a:pt x="80" y="168"/>
                        <a:pt x="88" y="238"/>
                      </a:cubicBezTo>
                      <a:cubicBezTo>
                        <a:pt x="95" y="308"/>
                        <a:pt x="29" y="391"/>
                        <a:pt x="15" y="514"/>
                      </a:cubicBezTo>
                      <a:cubicBezTo>
                        <a:pt x="0" y="638"/>
                        <a:pt x="85" y="805"/>
                        <a:pt x="85" y="805"/>
                      </a:cubicBezTo>
                      <a:cubicBezTo>
                        <a:pt x="85" y="805"/>
                        <a:pt x="109" y="783"/>
                        <a:pt x="143" y="679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68" name="Oval 67"/>
              <p:cNvSpPr/>
              <p:nvPr/>
            </p:nvSpPr>
            <p:spPr>
              <a:xfrm>
                <a:off x="3656928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59641" y="2193111"/>
              <a:ext cx="240001" cy="251310"/>
              <a:chOff x="3037091" y="2244240"/>
              <a:chExt cx="240001" cy="251310"/>
            </a:xfrm>
          </p:grpSpPr>
          <p:pic>
            <p:nvPicPr>
              <p:cNvPr id="65" name="Graphic 64">
                <a:extLst>
                  <a:ext uri="{FF2B5EF4-FFF2-40B4-BE49-F238E27FC236}">
                    <a16:creationId xmlns:a16="http://schemas.microsoft.com/office/drawing/2014/main" id="{66551585-9E95-3745-8A00-10D3B69019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97559" y="2298538"/>
                <a:ext cx="112896" cy="161057"/>
              </a:xfrm>
              <a:prstGeom prst="rect">
                <a:avLst/>
              </a:prstGeom>
              <a:solidFill>
                <a:srgbClr val="1E70B2"/>
              </a:solidFill>
            </p:spPr>
          </p:pic>
          <p:sp>
            <p:nvSpPr>
              <p:cNvPr id="66" name="Oval 65"/>
              <p:cNvSpPr/>
              <p:nvPr/>
            </p:nvSpPr>
            <p:spPr>
              <a:xfrm>
                <a:off x="3037091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63" name="Oval 62"/>
            <p:cNvSpPr/>
            <p:nvPr/>
          </p:nvSpPr>
          <p:spPr>
            <a:xfrm>
              <a:off x="3365205" y="1714790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64" name="Graphic 55">
              <a:extLst>
                <a:ext uri="{FF2B5EF4-FFF2-40B4-BE49-F238E27FC236}">
                  <a16:creationId xmlns:a16="http://schemas.microsoft.com/office/drawing/2014/main" id="{69EC1B32-3E55-1F48-8A7A-2353834E1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27954" y="1766468"/>
              <a:ext cx="113860" cy="139958"/>
            </a:xfrm>
            <a:prstGeom prst="rect">
              <a:avLst/>
            </a:prstGeom>
            <a:solidFill>
              <a:srgbClr val="1E70B2"/>
            </a:solidFill>
          </p:spPr>
        </p:pic>
      </p:grpSp>
      <p:sp>
        <p:nvSpPr>
          <p:cNvPr id="83" name="Title 1"/>
          <p:cNvSpPr txBox="1">
            <a:spLocks/>
          </p:cNvSpPr>
          <p:nvPr/>
        </p:nvSpPr>
        <p:spPr>
          <a:xfrm>
            <a:off x="1232429" y="518452"/>
            <a:ext cx="9959566" cy="88900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sz="4000" b="1" spc="0" dirty="0"/>
              <a:t>Metabolické a srdeční komorbidity</a:t>
            </a:r>
            <a:endParaRPr lang="en-US" sz="4000" b="1" dirty="0"/>
          </a:p>
        </p:txBody>
      </p:sp>
      <p:sp>
        <p:nvSpPr>
          <p:cNvPr id="93" name="Rectangle 92">
            <a:hlinkClick r:id="" action="ppaction://noaction"/>
          </p:cNvPr>
          <p:cNvSpPr/>
          <p:nvPr/>
        </p:nvSpPr>
        <p:spPr>
          <a:xfrm>
            <a:off x="163690" y="0"/>
            <a:ext cx="854221" cy="889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/>
          </a:p>
        </p:txBody>
      </p:sp>
      <p:sp>
        <p:nvSpPr>
          <p:cNvPr id="95" name="Rectangle 94"/>
          <p:cNvSpPr/>
          <p:nvPr/>
        </p:nvSpPr>
        <p:spPr>
          <a:xfrm>
            <a:off x="1453134" y="2310951"/>
            <a:ext cx="10190679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Prevalence </a:t>
            </a:r>
            <a:r>
              <a:rPr lang="en-US" b="1" dirty="0">
                <a:solidFill>
                  <a:srgbClr val="0460A9"/>
                </a:solidFill>
              </a:rPr>
              <a:t>metabolického syndromu </a:t>
            </a:r>
            <a:r>
              <a:rPr lang="en-US" dirty="0"/>
              <a:t>a </a:t>
            </a:r>
            <a:r>
              <a:rPr lang="en-US" b="1" dirty="0">
                <a:solidFill>
                  <a:srgbClr val="0460A9"/>
                </a:solidFill>
              </a:rPr>
              <a:t>kardiovaskulárního (KV) </a:t>
            </a:r>
            <a:r>
              <a:rPr lang="en-US" b="1" dirty="0">
                <a:solidFill>
                  <a:srgbClr val="2568B9"/>
                </a:solidFill>
              </a:rPr>
              <a:t>rizika </a:t>
            </a:r>
            <a:r>
              <a:rPr lang="en-US" dirty="0">
                <a:solidFill>
                  <a:srgbClr val="2568B9"/>
                </a:solidFill>
              </a:rPr>
              <a:t>je </a:t>
            </a:r>
            <a:r>
              <a:rPr lang="en-US" dirty="0"/>
              <a:t>u</a:t>
            </a:r>
            <a:r>
              <a:rPr lang="en-US" b="1" dirty="0"/>
              <a:t> </a:t>
            </a:r>
            <a:r>
              <a:rPr lang="en-US" dirty="0"/>
              <a:t>pacientů s HS </a:t>
            </a:r>
            <a:r>
              <a:rPr lang="en-US" b="1" dirty="0">
                <a:solidFill>
                  <a:srgbClr val="2568B9"/>
                </a:solidFill>
              </a:rPr>
              <a:t>potenciálně </a:t>
            </a:r>
            <a:r>
              <a:rPr lang="en-US" b="1" dirty="0">
                <a:solidFill>
                  <a:schemeClr val="accent1"/>
                </a:solidFill>
              </a:rPr>
              <a:t>vyšší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/>
              <a:t>než u pacientů s psoriázou.</a:t>
            </a:r>
            <a:r>
              <a:rPr lang="en-US" baseline="30000" dirty="0"/>
              <a:t>2,7</a:t>
            </a:r>
          </a:p>
          <a:p>
            <a:pPr marL="228594" indent="-228594">
              <a:buFont typeface="Wingdings" panose="05000000000000000000" pitchFamily="2" charset="2"/>
              <a:buChar char="§"/>
            </a:pPr>
            <a:endParaRPr lang="en-US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U pacientů s HS je vyšší </a:t>
            </a:r>
            <a:r>
              <a:rPr lang="en-US" dirty="0" err="1"/>
              <a:t>výskyt</a:t>
            </a:r>
            <a:r>
              <a:rPr lang="en-US" dirty="0"/>
              <a:t> </a:t>
            </a:r>
            <a:r>
              <a:rPr lang="en-US" b="1" dirty="0" err="1">
                <a:solidFill>
                  <a:schemeClr val="accent1"/>
                </a:solidFill>
              </a:rPr>
              <a:t>diabet</a:t>
            </a:r>
            <a:r>
              <a:rPr lang="cs-CZ" b="1" dirty="0">
                <a:solidFill>
                  <a:schemeClr val="accent1"/>
                </a:solidFill>
              </a:rPr>
              <a:t>es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 err="1">
                <a:solidFill>
                  <a:schemeClr val="accent1"/>
                </a:solidFill>
              </a:rPr>
              <a:t>mellitu</a:t>
            </a:r>
            <a:r>
              <a:rPr lang="cs-CZ" b="1" dirty="0">
                <a:solidFill>
                  <a:schemeClr val="accent1"/>
                </a:solidFill>
              </a:rPr>
              <a:t>s</a:t>
            </a:r>
            <a:r>
              <a:rPr lang="en-US" dirty="0">
                <a:solidFill>
                  <a:schemeClr val="accent1"/>
                </a:solidFill>
              </a:rPr>
              <a:t>, </a:t>
            </a:r>
            <a:r>
              <a:rPr lang="en-US" b="1" dirty="0">
                <a:solidFill>
                  <a:srgbClr val="2568B9"/>
                </a:solidFill>
              </a:rPr>
              <a:t>dyslipidémie</a:t>
            </a:r>
            <a:r>
              <a:rPr lang="en-US" dirty="0">
                <a:solidFill>
                  <a:srgbClr val="2568B9"/>
                </a:solidFill>
              </a:rPr>
              <a:t>, </a:t>
            </a:r>
            <a:r>
              <a:rPr lang="en-US" b="1" dirty="0">
                <a:solidFill>
                  <a:srgbClr val="2568B9"/>
                </a:solidFill>
              </a:rPr>
              <a:t>obezity </a:t>
            </a:r>
            <a:r>
              <a:rPr lang="en-US" b="1" dirty="0">
                <a:solidFill>
                  <a:schemeClr val="accent1"/>
                </a:solidFill>
              </a:rPr>
              <a:t>a hypertenze.</a:t>
            </a:r>
            <a:r>
              <a:rPr lang="en-US" baseline="30000" dirty="0">
                <a:solidFill>
                  <a:schemeClr val="accent3">
                    <a:lumMod val="75000"/>
                  </a:schemeClr>
                </a:solidFill>
              </a:rPr>
              <a:t>1,3,4</a:t>
            </a:r>
          </a:p>
          <a:p>
            <a:endParaRPr lang="en-US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Pacienti s HS s </a:t>
            </a:r>
            <a:r>
              <a:rPr lang="en-US" b="1" dirty="0">
                <a:solidFill>
                  <a:schemeClr val="accent1"/>
                </a:solidFill>
              </a:rPr>
              <a:t>karotickými plaky </a:t>
            </a:r>
            <a:r>
              <a:rPr lang="en-US" dirty="0"/>
              <a:t>mají častěji </a:t>
            </a:r>
            <a:r>
              <a:rPr lang="en-US" b="1" dirty="0">
                <a:solidFill>
                  <a:schemeClr val="accent1"/>
                </a:solidFill>
              </a:rPr>
              <a:t>těžké formy HS (HS-PGA ≥ 3), </a:t>
            </a:r>
            <a:r>
              <a:rPr lang="en-US" dirty="0"/>
              <a:t>jsou </a:t>
            </a:r>
            <a:r>
              <a:rPr lang="en-US" b="1" dirty="0">
                <a:solidFill>
                  <a:schemeClr val="accent1"/>
                </a:solidFill>
              </a:rPr>
              <a:t>aktivní kuřáci </a:t>
            </a:r>
            <a:r>
              <a:rPr lang="en-US" dirty="0"/>
              <a:t>a mají </a:t>
            </a:r>
            <a:r>
              <a:rPr lang="en-US" b="1" dirty="0">
                <a:solidFill>
                  <a:schemeClr val="accent1"/>
                </a:solidFill>
              </a:rPr>
              <a:t>delší dobu trvání onemocnění </a:t>
            </a:r>
            <a:r>
              <a:rPr lang="en-US" dirty="0"/>
              <a:t>než pacienti s HS bez plaků.</a:t>
            </a:r>
            <a:r>
              <a:rPr lang="en-US" baseline="30000" dirty="0"/>
              <a:t>5</a:t>
            </a:r>
          </a:p>
          <a:p>
            <a:pPr marL="228594" indent="-228594">
              <a:buFont typeface="Wingdings" panose="05000000000000000000" pitchFamily="2" charset="2"/>
              <a:buChar char="§"/>
            </a:pPr>
            <a:endParaRPr lang="en-US" baseline="30000" dirty="0"/>
          </a:p>
          <a:p>
            <a:pPr marL="228594" indent="-228594">
              <a:buFont typeface="Wingdings" panose="05000000000000000000" pitchFamily="2" charset="2"/>
              <a:buChar char="§"/>
            </a:pPr>
            <a:endParaRPr lang="en-US" baseline="30000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Pacienti s HS mají </a:t>
            </a:r>
            <a:r>
              <a:rPr lang="en-US" b="1" dirty="0">
                <a:solidFill>
                  <a:schemeClr val="accent1"/>
                </a:solidFill>
              </a:rPr>
              <a:t>o 58 % vyšší riziko úmrtí na KV onemocnění </a:t>
            </a:r>
            <a:r>
              <a:rPr lang="en-US" dirty="0"/>
              <a:t>než pacienti s těžkou psoriázou.</a:t>
            </a:r>
            <a:r>
              <a:rPr lang="en-US" baseline="30000" dirty="0"/>
              <a:t>6</a:t>
            </a:r>
          </a:p>
          <a:p>
            <a:r>
              <a:rPr lang="en-US" dirty="0"/>
              <a:t> </a:t>
            </a:r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Zvýšené riziko vzniku </a:t>
            </a:r>
            <a:r>
              <a:rPr lang="en-US" b="1" dirty="0">
                <a:solidFill>
                  <a:schemeClr val="accent1"/>
                </a:solidFill>
              </a:rPr>
              <a:t>KV komorbidit u </a:t>
            </a:r>
            <a:r>
              <a:rPr lang="en-US" dirty="0"/>
              <a:t>pacientů s HS </a:t>
            </a:r>
            <a:r>
              <a:rPr lang="cs-CZ" dirty="0"/>
              <a:t>je</a:t>
            </a:r>
            <a:r>
              <a:rPr lang="en-US" dirty="0"/>
              <a:t> z velké části </a:t>
            </a:r>
            <a:r>
              <a:rPr lang="en-US" b="1" dirty="0">
                <a:solidFill>
                  <a:schemeClr val="accent1"/>
                </a:solidFill>
              </a:rPr>
              <a:t>přisuzováno kouření.</a:t>
            </a:r>
            <a:r>
              <a:rPr lang="en-US" baseline="30000" dirty="0"/>
              <a:t>7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07932876-B1A1-924D-87B6-D6B18C8A54F0}"/>
              </a:ext>
            </a:extLst>
          </p:cNvPr>
          <p:cNvGrpSpPr>
            <a:grpSpLocks noChangeAspect="1"/>
          </p:cNvGrpSpPr>
          <p:nvPr/>
        </p:nvGrpSpPr>
        <p:grpSpPr>
          <a:xfrm>
            <a:off x="812443" y="2571500"/>
            <a:ext cx="585528" cy="609600"/>
            <a:chOff x="9461318" y="2480669"/>
            <a:chExt cx="472570" cy="47257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6D847917-0115-8A4A-B479-A30D49D76E85}"/>
                </a:ext>
              </a:extLst>
            </p:cNvPr>
            <p:cNvSpPr/>
            <p:nvPr/>
          </p:nvSpPr>
          <p:spPr>
            <a:xfrm>
              <a:off x="9461318" y="2480669"/>
              <a:ext cx="472570" cy="472570"/>
            </a:xfrm>
            <a:prstGeom prst="ellipse">
              <a:avLst/>
            </a:prstGeom>
            <a:solidFill>
              <a:srgbClr val="0460A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467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AB1F0595-EDB1-E140-8678-83C6ACDF320C}"/>
                </a:ext>
              </a:extLst>
            </p:cNvPr>
            <p:cNvGrpSpPr/>
            <p:nvPr/>
          </p:nvGrpSpPr>
          <p:grpSpPr>
            <a:xfrm>
              <a:off x="9598928" y="2575928"/>
              <a:ext cx="183277" cy="280604"/>
              <a:chOff x="7356475" y="1863725"/>
              <a:chExt cx="842977" cy="1290635"/>
            </a:xfrm>
            <a:solidFill>
              <a:schemeClr val="bg1"/>
            </a:solidFill>
            <a:effectLst>
              <a:outerShdw blurRad="63500" sx="102000" sy="102000" algn="ctr" rotWithShape="0">
                <a:schemeClr val="tx2">
                  <a:alpha val="16000"/>
                </a:schemeClr>
              </a:outerShdw>
            </a:effectLst>
          </p:grpSpPr>
          <p:sp>
            <p:nvSpPr>
              <p:cNvPr id="101" name="Freeform 84">
                <a:extLst>
                  <a:ext uri="{FF2B5EF4-FFF2-40B4-BE49-F238E27FC236}">
                    <a16:creationId xmlns:a16="http://schemas.microsoft.com/office/drawing/2014/main" id="{24139977-DB1A-1847-AC7E-616EF836A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2841" y="2068516"/>
                <a:ext cx="836611" cy="1085844"/>
              </a:xfrm>
              <a:custGeom>
                <a:avLst/>
                <a:gdLst>
                  <a:gd name="T0" fmla="*/ 798 w 1101"/>
                  <a:gd name="T1" fmla="*/ 286 h 1430"/>
                  <a:gd name="T2" fmla="*/ 907 w 1101"/>
                  <a:gd name="T3" fmla="*/ 196 h 1430"/>
                  <a:gd name="T4" fmla="*/ 980 w 1101"/>
                  <a:gd name="T5" fmla="*/ 84 h 1430"/>
                  <a:gd name="T6" fmla="*/ 892 w 1101"/>
                  <a:gd name="T7" fmla="*/ 14 h 1430"/>
                  <a:gd name="T8" fmla="*/ 444 w 1101"/>
                  <a:gd name="T9" fmla="*/ 465 h 1430"/>
                  <a:gd name="T10" fmla="*/ 128 w 1101"/>
                  <a:gd name="T11" fmla="*/ 733 h 1430"/>
                  <a:gd name="T12" fmla="*/ 85 w 1101"/>
                  <a:gd name="T13" fmla="*/ 911 h 1430"/>
                  <a:gd name="T14" fmla="*/ 858 w 1101"/>
                  <a:gd name="T15" fmla="*/ 1418 h 1430"/>
                  <a:gd name="T16" fmla="*/ 1086 w 1101"/>
                  <a:gd name="T17" fmla="*/ 974 h 1430"/>
                  <a:gd name="T18" fmla="*/ 798 w 1101"/>
                  <a:gd name="T19" fmla="*/ 286 h 1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1" h="1430">
                    <a:moveTo>
                      <a:pt x="798" y="286"/>
                    </a:moveTo>
                    <a:cubicBezTo>
                      <a:pt x="810" y="269"/>
                      <a:pt x="866" y="215"/>
                      <a:pt x="907" y="196"/>
                    </a:cubicBezTo>
                    <a:cubicBezTo>
                      <a:pt x="948" y="177"/>
                      <a:pt x="997" y="169"/>
                      <a:pt x="980" y="84"/>
                    </a:cubicBezTo>
                    <a:cubicBezTo>
                      <a:pt x="963" y="0"/>
                      <a:pt x="892" y="14"/>
                      <a:pt x="892" y="14"/>
                    </a:cubicBezTo>
                    <a:cubicBezTo>
                      <a:pt x="635" y="58"/>
                      <a:pt x="490" y="334"/>
                      <a:pt x="444" y="465"/>
                    </a:cubicBezTo>
                    <a:cubicBezTo>
                      <a:pt x="398" y="596"/>
                      <a:pt x="257" y="683"/>
                      <a:pt x="128" y="733"/>
                    </a:cubicBezTo>
                    <a:cubicBezTo>
                      <a:pt x="0" y="784"/>
                      <a:pt x="85" y="911"/>
                      <a:pt x="85" y="911"/>
                    </a:cubicBezTo>
                    <a:cubicBezTo>
                      <a:pt x="359" y="1345"/>
                      <a:pt x="708" y="1406"/>
                      <a:pt x="858" y="1418"/>
                    </a:cubicBezTo>
                    <a:cubicBezTo>
                      <a:pt x="1009" y="1430"/>
                      <a:pt x="1072" y="1376"/>
                      <a:pt x="1086" y="974"/>
                    </a:cubicBezTo>
                    <a:cubicBezTo>
                      <a:pt x="1101" y="572"/>
                      <a:pt x="798" y="286"/>
                      <a:pt x="798" y="2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467" dirty="0">
                  <a:latin typeface="Arial" panose="020B0604020202020204"/>
                </a:endParaRPr>
              </a:p>
            </p:txBody>
          </p:sp>
          <p:sp>
            <p:nvSpPr>
              <p:cNvPr id="102" name="Freeform 85">
                <a:extLst>
                  <a:ext uri="{FF2B5EF4-FFF2-40B4-BE49-F238E27FC236}">
                    <a16:creationId xmlns:a16="http://schemas.microsoft.com/office/drawing/2014/main" id="{D1585969-832E-9045-8B44-66F08B70D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6475" y="2106613"/>
                <a:ext cx="241300" cy="544513"/>
              </a:xfrm>
              <a:custGeom>
                <a:avLst/>
                <a:gdLst>
                  <a:gd name="T0" fmla="*/ 139 w 317"/>
                  <a:gd name="T1" fmla="*/ 632 h 716"/>
                  <a:gd name="T2" fmla="*/ 317 w 317"/>
                  <a:gd name="T3" fmla="*/ 529 h 716"/>
                  <a:gd name="T4" fmla="*/ 252 w 317"/>
                  <a:gd name="T5" fmla="*/ 238 h 716"/>
                  <a:gd name="T6" fmla="*/ 220 w 317"/>
                  <a:gd name="T7" fmla="*/ 10 h 716"/>
                  <a:gd name="T8" fmla="*/ 121 w 317"/>
                  <a:gd name="T9" fmla="*/ 78 h 716"/>
                  <a:gd name="T10" fmla="*/ 157 w 317"/>
                  <a:gd name="T11" fmla="*/ 182 h 716"/>
                  <a:gd name="T12" fmla="*/ 121 w 317"/>
                  <a:gd name="T13" fmla="*/ 361 h 716"/>
                  <a:gd name="T14" fmla="*/ 36 w 317"/>
                  <a:gd name="T15" fmla="*/ 716 h 716"/>
                  <a:gd name="T16" fmla="*/ 139 w 317"/>
                  <a:gd name="T17" fmla="*/ 632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7" h="716">
                    <a:moveTo>
                      <a:pt x="139" y="632"/>
                    </a:moveTo>
                    <a:cubicBezTo>
                      <a:pt x="237" y="593"/>
                      <a:pt x="317" y="529"/>
                      <a:pt x="317" y="529"/>
                    </a:cubicBezTo>
                    <a:cubicBezTo>
                      <a:pt x="317" y="529"/>
                      <a:pt x="232" y="350"/>
                      <a:pt x="252" y="238"/>
                    </a:cubicBezTo>
                    <a:cubicBezTo>
                      <a:pt x="271" y="127"/>
                      <a:pt x="261" y="20"/>
                      <a:pt x="220" y="10"/>
                    </a:cubicBezTo>
                    <a:cubicBezTo>
                      <a:pt x="179" y="0"/>
                      <a:pt x="111" y="5"/>
                      <a:pt x="121" y="78"/>
                    </a:cubicBezTo>
                    <a:cubicBezTo>
                      <a:pt x="121" y="78"/>
                      <a:pt x="184" y="97"/>
                      <a:pt x="157" y="182"/>
                    </a:cubicBezTo>
                    <a:cubicBezTo>
                      <a:pt x="130" y="267"/>
                      <a:pt x="111" y="331"/>
                      <a:pt x="121" y="361"/>
                    </a:cubicBezTo>
                    <a:cubicBezTo>
                      <a:pt x="121" y="361"/>
                      <a:pt x="0" y="541"/>
                      <a:pt x="36" y="716"/>
                    </a:cubicBezTo>
                    <a:cubicBezTo>
                      <a:pt x="36" y="716"/>
                      <a:pt x="49" y="668"/>
                      <a:pt x="139" y="6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467" dirty="0">
                  <a:latin typeface="Arial" panose="020B0604020202020204"/>
                </a:endParaRPr>
              </a:p>
            </p:txBody>
          </p:sp>
          <p:sp>
            <p:nvSpPr>
              <p:cNvPr id="103" name="Freeform 86">
                <a:extLst>
                  <a:ext uri="{FF2B5EF4-FFF2-40B4-BE49-F238E27FC236}">
                    <a16:creationId xmlns:a16="http://schemas.microsoft.com/office/drawing/2014/main" id="{33C54B1A-1670-4043-B393-8D0093E88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7613" y="1863725"/>
                <a:ext cx="420688" cy="611188"/>
              </a:xfrm>
              <a:custGeom>
                <a:avLst/>
                <a:gdLst>
                  <a:gd name="T0" fmla="*/ 143 w 555"/>
                  <a:gd name="T1" fmla="*/ 679 h 805"/>
                  <a:gd name="T2" fmla="*/ 272 w 555"/>
                  <a:gd name="T3" fmla="*/ 454 h 805"/>
                  <a:gd name="T4" fmla="*/ 332 w 555"/>
                  <a:gd name="T5" fmla="*/ 254 h 805"/>
                  <a:gd name="T6" fmla="*/ 463 w 555"/>
                  <a:gd name="T7" fmla="*/ 277 h 805"/>
                  <a:gd name="T8" fmla="*/ 555 w 555"/>
                  <a:gd name="T9" fmla="*/ 236 h 805"/>
                  <a:gd name="T10" fmla="*/ 400 w 555"/>
                  <a:gd name="T11" fmla="*/ 105 h 805"/>
                  <a:gd name="T12" fmla="*/ 386 w 555"/>
                  <a:gd name="T13" fmla="*/ 39 h 805"/>
                  <a:gd name="T14" fmla="*/ 349 w 555"/>
                  <a:gd name="T15" fmla="*/ 44 h 805"/>
                  <a:gd name="T16" fmla="*/ 306 w 555"/>
                  <a:gd name="T17" fmla="*/ 119 h 805"/>
                  <a:gd name="T18" fmla="*/ 272 w 555"/>
                  <a:gd name="T19" fmla="*/ 34 h 805"/>
                  <a:gd name="T20" fmla="*/ 231 w 555"/>
                  <a:gd name="T21" fmla="*/ 42 h 805"/>
                  <a:gd name="T22" fmla="*/ 209 w 555"/>
                  <a:gd name="T23" fmla="*/ 136 h 805"/>
                  <a:gd name="T24" fmla="*/ 146 w 555"/>
                  <a:gd name="T25" fmla="*/ 93 h 805"/>
                  <a:gd name="T26" fmla="*/ 80 w 555"/>
                  <a:gd name="T27" fmla="*/ 93 h 805"/>
                  <a:gd name="T28" fmla="*/ 88 w 555"/>
                  <a:gd name="T29" fmla="*/ 238 h 805"/>
                  <a:gd name="T30" fmla="*/ 15 w 555"/>
                  <a:gd name="T31" fmla="*/ 514 h 805"/>
                  <a:gd name="T32" fmla="*/ 85 w 555"/>
                  <a:gd name="T33" fmla="*/ 805 h 805"/>
                  <a:gd name="T34" fmla="*/ 143 w 555"/>
                  <a:gd name="T35" fmla="*/ 679 h 8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55" h="805">
                    <a:moveTo>
                      <a:pt x="143" y="679"/>
                    </a:moveTo>
                    <a:cubicBezTo>
                      <a:pt x="177" y="575"/>
                      <a:pt x="272" y="454"/>
                      <a:pt x="272" y="454"/>
                    </a:cubicBezTo>
                    <a:cubicBezTo>
                      <a:pt x="272" y="454"/>
                      <a:pt x="267" y="274"/>
                      <a:pt x="332" y="254"/>
                    </a:cubicBezTo>
                    <a:cubicBezTo>
                      <a:pt x="398" y="234"/>
                      <a:pt x="463" y="277"/>
                      <a:pt x="463" y="277"/>
                    </a:cubicBezTo>
                    <a:cubicBezTo>
                      <a:pt x="555" y="236"/>
                      <a:pt x="555" y="236"/>
                      <a:pt x="555" y="236"/>
                    </a:cubicBezTo>
                    <a:cubicBezTo>
                      <a:pt x="517" y="148"/>
                      <a:pt x="422" y="119"/>
                      <a:pt x="400" y="105"/>
                    </a:cubicBezTo>
                    <a:cubicBezTo>
                      <a:pt x="378" y="90"/>
                      <a:pt x="386" y="39"/>
                      <a:pt x="386" y="39"/>
                    </a:cubicBezTo>
                    <a:cubicBezTo>
                      <a:pt x="378" y="10"/>
                      <a:pt x="345" y="20"/>
                      <a:pt x="349" y="44"/>
                    </a:cubicBezTo>
                    <a:cubicBezTo>
                      <a:pt x="354" y="68"/>
                      <a:pt x="342" y="119"/>
                      <a:pt x="306" y="119"/>
                    </a:cubicBezTo>
                    <a:cubicBezTo>
                      <a:pt x="269" y="119"/>
                      <a:pt x="272" y="34"/>
                      <a:pt x="272" y="34"/>
                    </a:cubicBezTo>
                    <a:cubicBezTo>
                      <a:pt x="238" y="0"/>
                      <a:pt x="231" y="42"/>
                      <a:pt x="231" y="42"/>
                    </a:cubicBezTo>
                    <a:cubicBezTo>
                      <a:pt x="231" y="42"/>
                      <a:pt x="243" y="127"/>
                      <a:pt x="209" y="136"/>
                    </a:cubicBezTo>
                    <a:cubicBezTo>
                      <a:pt x="175" y="146"/>
                      <a:pt x="146" y="93"/>
                      <a:pt x="146" y="93"/>
                    </a:cubicBezTo>
                    <a:cubicBezTo>
                      <a:pt x="146" y="93"/>
                      <a:pt x="122" y="42"/>
                      <a:pt x="80" y="93"/>
                    </a:cubicBezTo>
                    <a:cubicBezTo>
                      <a:pt x="39" y="144"/>
                      <a:pt x="80" y="168"/>
                      <a:pt x="88" y="238"/>
                    </a:cubicBezTo>
                    <a:cubicBezTo>
                      <a:pt x="95" y="308"/>
                      <a:pt x="29" y="391"/>
                      <a:pt x="15" y="514"/>
                    </a:cubicBezTo>
                    <a:cubicBezTo>
                      <a:pt x="0" y="638"/>
                      <a:pt x="85" y="805"/>
                      <a:pt x="85" y="805"/>
                    </a:cubicBezTo>
                    <a:cubicBezTo>
                      <a:pt x="85" y="805"/>
                      <a:pt x="109" y="783"/>
                      <a:pt x="143" y="6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467" dirty="0">
                  <a:latin typeface="Arial" panose="020B0604020202020204"/>
                </a:endParaRPr>
              </a:p>
            </p:txBody>
          </p:sp>
        </p:grp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346F60B6-3DF7-2541-92FD-96FC849B607A}"/>
              </a:ext>
            </a:extLst>
          </p:cNvPr>
          <p:cNvGrpSpPr>
            <a:grpSpLocks noChangeAspect="1"/>
          </p:cNvGrpSpPr>
          <p:nvPr/>
        </p:nvGrpSpPr>
        <p:grpSpPr>
          <a:xfrm>
            <a:off x="812443" y="3485900"/>
            <a:ext cx="609600" cy="609600"/>
            <a:chOff x="10585768" y="3488926"/>
            <a:chExt cx="472570" cy="472570"/>
          </a:xfrm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C97B7777-EB84-8345-A1B9-F62824D6A846}"/>
                </a:ext>
              </a:extLst>
            </p:cNvPr>
            <p:cNvSpPr/>
            <p:nvPr/>
          </p:nvSpPr>
          <p:spPr>
            <a:xfrm>
              <a:off x="10585768" y="3488926"/>
              <a:ext cx="472570" cy="472570"/>
            </a:xfrm>
            <a:prstGeom prst="ellipse">
              <a:avLst/>
            </a:prstGeom>
            <a:solidFill>
              <a:srgbClr val="0460A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467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grpSp>
          <p:nvGrpSpPr>
            <p:cNvPr id="104" name="Graphic 226">
              <a:extLst>
                <a:ext uri="{FF2B5EF4-FFF2-40B4-BE49-F238E27FC236}">
                  <a16:creationId xmlns:a16="http://schemas.microsoft.com/office/drawing/2014/main" id="{526FC5E6-4062-BF4C-8C4B-E04DFD843677}"/>
                </a:ext>
              </a:extLst>
            </p:cNvPr>
            <p:cNvGrpSpPr/>
            <p:nvPr/>
          </p:nvGrpSpPr>
          <p:grpSpPr>
            <a:xfrm>
              <a:off x="10733945" y="3570022"/>
              <a:ext cx="176213" cy="304801"/>
              <a:chOff x="5919787" y="3124200"/>
              <a:chExt cx="352425" cy="609600"/>
            </a:xfrm>
            <a:solidFill>
              <a:schemeClr val="bg1"/>
            </a:solidFill>
          </p:grpSpPr>
          <p:sp>
            <p:nvSpPr>
              <p:cNvPr id="105" name="Freeform: Shape 228">
                <a:extLst>
                  <a:ext uri="{FF2B5EF4-FFF2-40B4-BE49-F238E27FC236}">
                    <a16:creationId xmlns:a16="http://schemas.microsoft.com/office/drawing/2014/main" id="{AD78A312-3E01-E046-A249-F6F83622510A}"/>
                  </a:ext>
                </a:extLst>
              </p:cNvPr>
              <p:cNvSpPr/>
              <p:nvPr/>
            </p:nvSpPr>
            <p:spPr>
              <a:xfrm>
                <a:off x="5912639" y="3245442"/>
                <a:ext cx="361950" cy="485775"/>
              </a:xfrm>
              <a:custGeom>
                <a:avLst/>
                <a:gdLst>
                  <a:gd name="connsiteX0" fmla="*/ 196124 w 361950"/>
                  <a:gd name="connsiteY0" fmla="*/ 270616 h 485775"/>
                  <a:gd name="connsiteX1" fmla="*/ 185170 w 361950"/>
                  <a:gd name="connsiteY1" fmla="*/ 270616 h 485775"/>
                  <a:gd name="connsiteX2" fmla="*/ 184599 w 361950"/>
                  <a:gd name="connsiteY2" fmla="*/ 277569 h 485775"/>
                  <a:gd name="connsiteX3" fmla="*/ 184504 w 361950"/>
                  <a:gd name="connsiteY3" fmla="*/ 453496 h 485775"/>
                  <a:gd name="connsiteX4" fmla="*/ 157929 w 361950"/>
                  <a:gd name="connsiteY4" fmla="*/ 485310 h 485775"/>
                  <a:gd name="connsiteX5" fmla="*/ 131354 w 361950"/>
                  <a:gd name="connsiteY5" fmla="*/ 462259 h 485775"/>
                  <a:gd name="connsiteX6" fmla="*/ 111637 w 361950"/>
                  <a:gd name="connsiteY6" fmla="*/ 345387 h 485775"/>
                  <a:gd name="connsiteX7" fmla="*/ 87730 w 361950"/>
                  <a:gd name="connsiteY7" fmla="*/ 203751 h 485775"/>
                  <a:gd name="connsiteX8" fmla="*/ 74395 w 361950"/>
                  <a:gd name="connsiteY8" fmla="*/ 162793 h 485775"/>
                  <a:gd name="connsiteX9" fmla="*/ 57726 w 361950"/>
                  <a:gd name="connsiteY9" fmla="*/ 195654 h 485775"/>
                  <a:gd name="connsiteX10" fmla="*/ 21531 w 361950"/>
                  <a:gd name="connsiteY10" fmla="*/ 207084 h 485775"/>
                  <a:gd name="connsiteX11" fmla="*/ 10768 w 361950"/>
                  <a:gd name="connsiteY11" fmla="*/ 171461 h 485775"/>
                  <a:gd name="connsiteX12" fmla="*/ 74299 w 361950"/>
                  <a:gd name="connsiteY12" fmla="*/ 49065 h 485775"/>
                  <a:gd name="connsiteX13" fmla="*/ 142022 w 361950"/>
                  <a:gd name="connsiteY13" fmla="*/ 7250 h 485775"/>
                  <a:gd name="connsiteX14" fmla="*/ 234605 w 361950"/>
                  <a:gd name="connsiteY14" fmla="*/ 7155 h 485775"/>
                  <a:gd name="connsiteX15" fmla="*/ 292136 w 361950"/>
                  <a:gd name="connsiteY15" fmla="*/ 37730 h 485775"/>
                  <a:gd name="connsiteX16" fmla="*/ 333665 w 361950"/>
                  <a:gd name="connsiteY16" fmla="*/ 114978 h 485775"/>
                  <a:gd name="connsiteX17" fmla="*/ 358144 w 361950"/>
                  <a:gd name="connsiteY17" fmla="*/ 162603 h 485775"/>
                  <a:gd name="connsiteX18" fmla="*/ 362240 w 361950"/>
                  <a:gd name="connsiteY18" fmla="*/ 183367 h 485775"/>
                  <a:gd name="connsiteX19" fmla="*/ 342619 w 361950"/>
                  <a:gd name="connsiteY19" fmla="*/ 206799 h 485775"/>
                  <a:gd name="connsiteX20" fmla="*/ 316520 w 361950"/>
                  <a:gd name="connsiteY20" fmla="*/ 190892 h 485775"/>
                  <a:gd name="connsiteX21" fmla="*/ 301947 w 361950"/>
                  <a:gd name="connsiteY21" fmla="*/ 161269 h 485775"/>
                  <a:gd name="connsiteX22" fmla="*/ 301852 w 361950"/>
                  <a:gd name="connsiteY22" fmla="*/ 161174 h 485775"/>
                  <a:gd name="connsiteX23" fmla="*/ 287278 w 361950"/>
                  <a:gd name="connsiteY23" fmla="*/ 220896 h 485775"/>
                  <a:gd name="connsiteX24" fmla="*/ 248988 w 361950"/>
                  <a:gd name="connsiteY24" fmla="*/ 460640 h 485775"/>
                  <a:gd name="connsiteX25" fmla="*/ 221461 w 361950"/>
                  <a:gd name="connsiteY25" fmla="*/ 485214 h 485775"/>
                  <a:gd name="connsiteX26" fmla="*/ 196124 w 361950"/>
                  <a:gd name="connsiteY26" fmla="*/ 458449 h 485775"/>
                  <a:gd name="connsiteX27" fmla="*/ 196219 w 361950"/>
                  <a:gd name="connsiteY27" fmla="*/ 284808 h 485775"/>
                  <a:gd name="connsiteX28" fmla="*/ 196124 w 361950"/>
                  <a:gd name="connsiteY28" fmla="*/ 270616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61950" h="485775">
                    <a:moveTo>
                      <a:pt x="196124" y="270616"/>
                    </a:moveTo>
                    <a:cubicBezTo>
                      <a:pt x="191647" y="270616"/>
                      <a:pt x="188695" y="270616"/>
                      <a:pt x="185170" y="270616"/>
                    </a:cubicBezTo>
                    <a:cubicBezTo>
                      <a:pt x="184980" y="273188"/>
                      <a:pt x="184599" y="275379"/>
                      <a:pt x="184599" y="277569"/>
                    </a:cubicBezTo>
                    <a:cubicBezTo>
                      <a:pt x="184599" y="336243"/>
                      <a:pt x="184599" y="394917"/>
                      <a:pt x="184504" y="453496"/>
                    </a:cubicBezTo>
                    <a:cubicBezTo>
                      <a:pt x="184504" y="473308"/>
                      <a:pt x="174312" y="485119"/>
                      <a:pt x="157929" y="485310"/>
                    </a:cubicBezTo>
                    <a:cubicBezTo>
                      <a:pt x="143927" y="485405"/>
                      <a:pt x="133926" y="477309"/>
                      <a:pt x="131354" y="462259"/>
                    </a:cubicBezTo>
                    <a:cubicBezTo>
                      <a:pt x="124591" y="423302"/>
                      <a:pt x="118114" y="384345"/>
                      <a:pt x="111637" y="345387"/>
                    </a:cubicBezTo>
                    <a:cubicBezTo>
                      <a:pt x="103732" y="298143"/>
                      <a:pt x="96302" y="250804"/>
                      <a:pt x="87730" y="203751"/>
                    </a:cubicBezTo>
                    <a:cubicBezTo>
                      <a:pt x="85253" y="190035"/>
                      <a:pt x="79157" y="176890"/>
                      <a:pt x="74395" y="162793"/>
                    </a:cubicBezTo>
                    <a:cubicBezTo>
                      <a:pt x="68965" y="173652"/>
                      <a:pt x="63441" y="184701"/>
                      <a:pt x="57726" y="195654"/>
                    </a:cubicBezTo>
                    <a:cubicBezTo>
                      <a:pt x="49915" y="210704"/>
                      <a:pt x="36199" y="214990"/>
                      <a:pt x="21531" y="207084"/>
                    </a:cubicBezTo>
                    <a:cubicBezTo>
                      <a:pt x="7529" y="199560"/>
                      <a:pt x="3338" y="185748"/>
                      <a:pt x="10768" y="171461"/>
                    </a:cubicBezTo>
                    <a:cubicBezTo>
                      <a:pt x="31913" y="130694"/>
                      <a:pt x="53154" y="89927"/>
                      <a:pt x="74299" y="49065"/>
                    </a:cubicBezTo>
                    <a:cubicBezTo>
                      <a:pt x="88492" y="21537"/>
                      <a:pt x="110685" y="7155"/>
                      <a:pt x="142022" y="7250"/>
                    </a:cubicBezTo>
                    <a:cubicBezTo>
                      <a:pt x="172883" y="7440"/>
                      <a:pt x="203744" y="7631"/>
                      <a:pt x="234605" y="7155"/>
                    </a:cubicBezTo>
                    <a:cubicBezTo>
                      <a:pt x="259656" y="6774"/>
                      <a:pt x="279563" y="16489"/>
                      <a:pt x="292136" y="37730"/>
                    </a:cubicBezTo>
                    <a:cubicBezTo>
                      <a:pt x="306995" y="62876"/>
                      <a:pt x="319949" y="89165"/>
                      <a:pt x="333665" y="114978"/>
                    </a:cubicBezTo>
                    <a:cubicBezTo>
                      <a:pt x="342047" y="130789"/>
                      <a:pt x="350620" y="146410"/>
                      <a:pt x="358144" y="162603"/>
                    </a:cubicBezTo>
                    <a:cubicBezTo>
                      <a:pt x="361002" y="168889"/>
                      <a:pt x="362716" y="176509"/>
                      <a:pt x="362240" y="183367"/>
                    </a:cubicBezTo>
                    <a:cubicBezTo>
                      <a:pt x="361383" y="196702"/>
                      <a:pt x="353477" y="204989"/>
                      <a:pt x="342619" y="206799"/>
                    </a:cubicBezTo>
                    <a:cubicBezTo>
                      <a:pt x="331951" y="208704"/>
                      <a:pt x="322616" y="203084"/>
                      <a:pt x="316520" y="190892"/>
                    </a:cubicBezTo>
                    <a:cubicBezTo>
                      <a:pt x="311567" y="181081"/>
                      <a:pt x="306805" y="171175"/>
                      <a:pt x="301947" y="161269"/>
                    </a:cubicBezTo>
                    <a:cubicBezTo>
                      <a:pt x="301661" y="160793"/>
                      <a:pt x="300709" y="160602"/>
                      <a:pt x="301852" y="161174"/>
                    </a:cubicBezTo>
                    <a:cubicBezTo>
                      <a:pt x="296994" y="180795"/>
                      <a:pt x="290612" y="200607"/>
                      <a:pt x="287278" y="220896"/>
                    </a:cubicBezTo>
                    <a:cubicBezTo>
                      <a:pt x="274039" y="300715"/>
                      <a:pt x="261561" y="380725"/>
                      <a:pt x="248988" y="460640"/>
                    </a:cubicBezTo>
                    <a:cubicBezTo>
                      <a:pt x="246511" y="476451"/>
                      <a:pt x="236605" y="485691"/>
                      <a:pt x="221461" y="485214"/>
                    </a:cubicBezTo>
                    <a:cubicBezTo>
                      <a:pt x="206887" y="484833"/>
                      <a:pt x="196219" y="474356"/>
                      <a:pt x="196124" y="458449"/>
                    </a:cubicBezTo>
                    <a:cubicBezTo>
                      <a:pt x="195838" y="400537"/>
                      <a:pt x="196124" y="342720"/>
                      <a:pt x="196219" y="284808"/>
                    </a:cubicBezTo>
                    <a:cubicBezTo>
                      <a:pt x="196124" y="280427"/>
                      <a:pt x="196124" y="275950"/>
                      <a:pt x="196124" y="2706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GB" sz="1467" dirty="0">
                  <a:latin typeface="Arial" panose="020B0604020202020204"/>
                </a:endParaRPr>
              </a:p>
            </p:txBody>
          </p:sp>
          <p:sp>
            <p:nvSpPr>
              <p:cNvPr id="106" name="Freeform: Shape 229">
                <a:extLst>
                  <a:ext uri="{FF2B5EF4-FFF2-40B4-BE49-F238E27FC236}">
                    <a16:creationId xmlns:a16="http://schemas.microsoft.com/office/drawing/2014/main" id="{D75B5440-CA8A-2840-84C0-87C787CE1148}"/>
                  </a:ext>
                </a:extLst>
              </p:cNvPr>
              <p:cNvSpPr/>
              <p:nvPr/>
            </p:nvSpPr>
            <p:spPr>
              <a:xfrm>
                <a:off x="6047795" y="3117055"/>
                <a:ext cx="104775" cy="104775"/>
              </a:xfrm>
              <a:custGeom>
                <a:avLst/>
                <a:gdLst>
                  <a:gd name="connsiteX0" fmla="*/ 54396 w 104775"/>
                  <a:gd name="connsiteY0" fmla="*/ 102300 h 104775"/>
                  <a:gd name="connsiteX1" fmla="*/ 7152 w 104775"/>
                  <a:gd name="connsiteY1" fmla="*/ 53913 h 104775"/>
                  <a:gd name="connsiteX2" fmla="*/ 54872 w 104775"/>
                  <a:gd name="connsiteY2" fmla="*/ 7145 h 104775"/>
                  <a:gd name="connsiteX3" fmla="*/ 102116 w 104775"/>
                  <a:gd name="connsiteY3" fmla="*/ 54389 h 104775"/>
                  <a:gd name="connsiteX4" fmla="*/ 54396 w 104775"/>
                  <a:gd name="connsiteY4" fmla="*/ 10230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5" h="104775">
                    <a:moveTo>
                      <a:pt x="54396" y="102300"/>
                    </a:moveTo>
                    <a:cubicBezTo>
                      <a:pt x="28011" y="102109"/>
                      <a:pt x="6675" y="80297"/>
                      <a:pt x="7152" y="53913"/>
                    </a:cubicBezTo>
                    <a:cubicBezTo>
                      <a:pt x="7723" y="27910"/>
                      <a:pt x="29059" y="6955"/>
                      <a:pt x="54872" y="7145"/>
                    </a:cubicBezTo>
                    <a:cubicBezTo>
                      <a:pt x="80780" y="7240"/>
                      <a:pt x="102021" y="28481"/>
                      <a:pt x="102116" y="54389"/>
                    </a:cubicBezTo>
                    <a:cubicBezTo>
                      <a:pt x="102211" y="80773"/>
                      <a:pt x="80685" y="102395"/>
                      <a:pt x="54396" y="1023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GB" sz="1467" dirty="0">
                  <a:latin typeface="Arial" panose="020B0604020202020204"/>
                </a:endParaRPr>
              </a:p>
            </p:txBody>
          </p:sp>
        </p:grpSp>
      </p:grpSp>
      <p:sp>
        <p:nvSpPr>
          <p:cNvPr id="47" name="TextBox 46"/>
          <p:cNvSpPr txBox="1"/>
          <p:nvPr/>
        </p:nvSpPr>
        <p:spPr>
          <a:xfrm>
            <a:off x="609600" y="5969000"/>
            <a:ext cx="70902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CV, kardiovaskulární; HS, hidradenitis suppurativa</a:t>
            </a:r>
          </a:p>
          <a:p>
            <a:r>
              <a:rPr lang="fr-FR" sz="800" dirty="0"/>
              <a:t>1. </a:t>
            </a:r>
            <a:r>
              <a:rPr lang="da-DK" sz="800" dirty="0">
                <a:hlinkClick r:id="rId10"/>
              </a:rPr>
              <a:t>Gold DA, et al. </a:t>
            </a:r>
            <a:r>
              <a:rPr lang="da-DK" sz="800" i="1" dirty="0">
                <a:hlinkClick r:id="rId10"/>
              </a:rPr>
              <a:t>J Am Acad </a:t>
            </a:r>
            <a:r>
              <a:rPr lang="da-DK" sz="800" i="1" dirty="0" err="1">
                <a:hlinkClick r:id="rId10"/>
              </a:rPr>
              <a:t>Dermatol</a:t>
            </a:r>
            <a:r>
              <a:rPr lang="da-DK" sz="800" i="1" dirty="0">
                <a:hlinkClick r:id="rId10"/>
              </a:rPr>
              <a:t>. </a:t>
            </a:r>
            <a:r>
              <a:rPr lang="da-DK" sz="800" dirty="0">
                <a:hlinkClick r:id="rId10"/>
              </a:rPr>
              <a:t>2014;70(4):699-703</a:t>
            </a:r>
            <a:r>
              <a:rPr lang="da-DK" sz="800" dirty="0"/>
              <a:t>; </a:t>
            </a:r>
            <a:r>
              <a:rPr lang="en-US" sz="800" dirty="0"/>
              <a:t>2. </a:t>
            </a:r>
            <a:r>
              <a:rPr lang="en-US" sz="800" dirty="0">
                <a:hlinkClick r:id="rId11"/>
              </a:rPr>
              <a:t>Gisondi P, et al. </a:t>
            </a:r>
            <a:r>
              <a:rPr lang="en-US" sz="800" i="1" dirty="0">
                <a:hlinkClick r:id="rId11"/>
              </a:rPr>
              <a:t>Front Med. </a:t>
            </a:r>
            <a:r>
              <a:rPr lang="en-US" sz="800" dirty="0">
                <a:hlinkClick r:id="rId11"/>
              </a:rPr>
              <a:t>2015;2:1</a:t>
            </a:r>
            <a:r>
              <a:rPr lang="en-US" sz="800" dirty="0"/>
              <a:t>; 3. </a:t>
            </a:r>
            <a:r>
              <a:rPr lang="da-DK" sz="800" dirty="0" err="1">
                <a:hlinkClick r:id="rId12"/>
              </a:rPr>
              <a:t>Sabat </a:t>
            </a:r>
            <a:r>
              <a:rPr lang="da-DK" sz="800" dirty="0">
                <a:hlinkClick r:id="rId12"/>
              </a:rPr>
              <a:t>R, et al. </a:t>
            </a:r>
            <a:r>
              <a:rPr lang="da-DK" sz="800" i="1" dirty="0" err="1">
                <a:hlinkClick r:id="rId12"/>
              </a:rPr>
              <a:t>PLoS </a:t>
            </a:r>
            <a:r>
              <a:rPr lang="da-DK" sz="800" i="1" dirty="0">
                <a:hlinkClick r:id="rId12"/>
              </a:rPr>
              <a:t>One</a:t>
            </a:r>
            <a:r>
              <a:rPr lang="da-DK" sz="800" dirty="0">
                <a:hlinkClick r:id="rId12"/>
              </a:rPr>
              <a:t>. 2012;7:e31810</a:t>
            </a:r>
            <a:r>
              <a:rPr lang="da-DK" sz="800" dirty="0"/>
              <a:t>; 4. </a:t>
            </a:r>
            <a:r>
              <a:rPr lang="da-DK" sz="800" dirty="0">
                <a:hlinkClick r:id="rId13"/>
              </a:rPr>
              <a:t>Miller IM, et al. </a:t>
            </a:r>
            <a:r>
              <a:rPr lang="da-DK" sz="800" i="1" dirty="0">
                <a:hlinkClick r:id="rId13"/>
              </a:rPr>
              <a:t>JAMA Dermatol</a:t>
            </a:r>
            <a:r>
              <a:rPr lang="da-DK" sz="800" dirty="0">
                <a:hlinkClick r:id="rId13"/>
              </a:rPr>
              <a:t>. 2014;150:1273-1280</a:t>
            </a:r>
            <a:r>
              <a:rPr lang="da-DK" sz="800" dirty="0"/>
              <a:t>; 5. </a:t>
            </a:r>
            <a:r>
              <a:rPr lang="es-ES" sz="800" dirty="0">
                <a:hlinkClick r:id="rId14"/>
              </a:rPr>
              <a:t>González-López MA, et al. </a:t>
            </a:r>
            <a:r>
              <a:rPr lang="es-ES" sz="800" i="1" dirty="0">
                <a:hlinkClick r:id="rId14"/>
              </a:rPr>
              <a:t>PLoS One</a:t>
            </a:r>
            <a:r>
              <a:rPr lang="es-ES" sz="800" dirty="0">
                <a:hlinkClick r:id="rId14"/>
              </a:rPr>
              <a:t>. 2018;13(1):e0190568</a:t>
            </a:r>
            <a:r>
              <a:rPr lang="es-ES" sz="800" dirty="0"/>
              <a:t>; 6. </a:t>
            </a:r>
            <a:r>
              <a:rPr lang="da-DK" sz="800" dirty="0">
                <a:hlinkClick r:id="rId15"/>
              </a:rPr>
              <a:t>Egeberg A, et al. </a:t>
            </a:r>
            <a:r>
              <a:rPr lang="da-DK" sz="800" i="1" dirty="0">
                <a:hlinkClick r:id="rId15"/>
              </a:rPr>
              <a:t>JAMA </a:t>
            </a:r>
            <a:r>
              <a:rPr lang="da-DK" sz="800" i="1" dirty="0" err="1">
                <a:hlinkClick r:id="rId15"/>
              </a:rPr>
              <a:t>Dermatol</a:t>
            </a:r>
            <a:r>
              <a:rPr lang="da-DK" sz="800" dirty="0">
                <a:hlinkClick r:id="rId15"/>
              </a:rPr>
              <a:t>. 2016;152(4):429-434</a:t>
            </a:r>
            <a:r>
              <a:rPr lang="da-DK" sz="800" dirty="0"/>
              <a:t>; 7. </a:t>
            </a:r>
            <a:r>
              <a:rPr lang="da-DK" sz="800" dirty="0" err="1">
                <a:hlinkClick r:id="rId16"/>
              </a:rPr>
              <a:t>Pinter </a:t>
            </a:r>
            <a:r>
              <a:rPr lang="da-DK" sz="800" dirty="0">
                <a:hlinkClick r:id="rId16"/>
              </a:rPr>
              <a:t>A, et al. </a:t>
            </a:r>
            <a:r>
              <a:rPr lang="da-DK" sz="800" i="1" dirty="0" err="1">
                <a:hlinkClick r:id="rId16"/>
              </a:rPr>
              <a:t>Dermatol Ther </a:t>
            </a:r>
            <a:r>
              <a:rPr lang="da-DK" sz="800" i="1" dirty="0">
                <a:hlinkClick r:id="rId16"/>
              </a:rPr>
              <a:t>(</a:t>
            </a:r>
            <a:r>
              <a:rPr lang="da-DK" sz="800" i="1" dirty="0" err="1">
                <a:hlinkClick r:id="rId16"/>
              </a:rPr>
              <a:t>Heidelb</a:t>
            </a:r>
            <a:r>
              <a:rPr lang="da-DK" sz="800" i="1" dirty="0">
                <a:hlinkClick r:id="rId16"/>
              </a:rPr>
              <a:t>)</a:t>
            </a:r>
            <a:r>
              <a:rPr lang="da-DK" sz="800" dirty="0">
                <a:hlinkClick r:id="rId16"/>
              </a:rPr>
              <a:t>. 2020;10(4):721-734</a:t>
            </a:r>
            <a:r>
              <a:rPr lang="da-DK" sz="800" dirty="0"/>
              <a:t>.</a:t>
            </a:r>
            <a:endParaRPr lang="en-US" sz="800" dirty="0"/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27553" y="5259547"/>
            <a:ext cx="609600" cy="609600"/>
          </a:xfrm>
          <a:prstGeom prst="rect">
            <a:avLst/>
          </a:prstGeom>
        </p:spPr>
      </p:pic>
      <p:sp>
        <p:nvSpPr>
          <p:cNvPr id="74" name="Rectangle 73">
            <a:hlinkClick r:id="rId18" action="ppaction://hlinksldjump"/>
          </p:cNvPr>
          <p:cNvSpPr/>
          <p:nvPr/>
        </p:nvSpPr>
        <p:spPr>
          <a:xfrm>
            <a:off x="11593301" y="1"/>
            <a:ext cx="598699" cy="651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75" name="Slide Number Placeholder 4">
            <a:extLst>
              <a:ext uri="{FF2B5EF4-FFF2-40B4-BE49-F238E27FC236}">
                <a16:creationId xmlns:a16="http://schemas.microsoft.com/office/drawing/2014/main" id="{1E12417B-A4CB-4C68-8CB3-97BB2E00B3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5446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580C3C9-A649-F610-52B0-8599EF813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8919" y="340502"/>
            <a:ext cx="9417424" cy="1325563"/>
          </a:xfrm>
        </p:spPr>
        <p:txBody>
          <a:bodyPr>
            <a:normAutofit/>
          </a:bodyPr>
          <a:lstStyle/>
          <a:p>
            <a:r>
              <a:rPr lang="cs-CZ" sz="4000" b="1" dirty="0"/>
              <a:t>Spojení HS a metabolického syndromu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49C0C4E-B769-2EB3-68A8-5192D8C661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53" y="2980907"/>
            <a:ext cx="11989889" cy="2648929"/>
          </a:xfrm>
          <a:prstGeom prst="rect">
            <a:avLst/>
          </a:prstGeom>
        </p:spPr>
      </p:pic>
      <p:sp>
        <p:nvSpPr>
          <p:cNvPr id="6" name="Rectangle 95">
            <a:extLst>
              <a:ext uri="{FF2B5EF4-FFF2-40B4-BE49-F238E27FC236}">
                <a16:creationId xmlns:a16="http://schemas.microsoft.com/office/drawing/2014/main" id="{B0C761A7-3AC6-9416-2300-3E6232F3637F}"/>
              </a:ext>
            </a:extLst>
          </p:cNvPr>
          <p:cNvSpPr/>
          <p:nvPr/>
        </p:nvSpPr>
        <p:spPr>
          <a:xfrm>
            <a:off x="1678276" y="1591291"/>
            <a:ext cx="8086851" cy="984885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tIns="121920" rIns="121920" bIns="121920">
            <a:spAutoFit/>
          </a:bodyPr>
          <a:lstStyle/>
          <a:p>
            <a:pPr algn="ctr"/>
            <a:r>
              <a:rPr lang="cs-CZ" sz="2400" b="1" dirty="0">
                <a:solidFill>
                  <a:srgbClr val="0460A9"/>
                </a:solidFill>
              </a:rPr>
              <a:t>Míra rizika </a:t>
            </a:r>
            <a:r>
              <a:rPr lang="en-US" sz="2400" b="1" dirty="0" err="1">
                <a:solidFill>
                  <a:srgbClr val="0460A9"/>
                </a:solidFill>
              </a:rPr>
              <a:t>metabolického</a:t>
            </a:r>
            <a:r>
              <a:rPr lang="en-US" sz="2400" b="1" dirty="0">
                <a:solidFill>
                  <a:srgbClr val="0460A9"/>
                </a:solidFill>
              </a:rPr>
              <a:t> </a:t>
            </a:r>
            <a:r>
              <a:rPr lang="en-US" sz="2400" b="1" dirty="0" err="1">
                <a:solidFill>
                  <a:srgbClr val="0460A9"/>
                </a:solidFill>
              </a:rPr>
              <a:t>syndrom</a:t>
            </a:r>
            <a:r>
              <a:rPr lang="cs-CZ" sz="2400" b="1" dirty="0">
                <a:solidFill>
                  <a:srgbClr val="0460A9"/>
                </a:solidFill>
              </a:rPr>
              <a:t>u</a:t>
            </a:r>
            <a:r>
              <a:rPr lang="en-US" sz="2400" b="1" dirty="0">
                <a:solidFill>
                  <a:srgbClr val="0460A9"/>
                </a:solidFill>
              </a:rPr>
              <a:t> je u </a:t>
            </a:r>
            <a:r>
              <a:rPr lang="en-US" sz="2400" b="1" dirty="0">
                <a:solidFill>
                  <a:srgbClr val="2568B9"/>
                </a:solidFill>
              </a:rPr>
              <a:t>pacientů s HS </a:t>
            </a:r>
            <a:r>
              <a:rPr lang="en-US" sz="2400" b="1" dirty="0" err="1">
                <a:solidFill>
                  <a:srgbClr val="2568B9"/>
                </a:solidFill>
              </a:rPr>
              <a:t>vyšší</a:t>
            </a:r>
            <a:r>
              <a:rPr lang="en-US" sz="2400" b="1" dirty="0">
                <a:solidFill>
                  <a:srgbClr val="2568B9"/>
                </a:solidFill>
              </a:rPr>
              <a:t> </a:t>
            </a:r>
            <a:r>
              <a:rPr lang="cs-CZ" sz="2400" b="1" dirty="0">
                <a:solidFill>
                  <a:srgbClr val="2568B9"/>
                </a:solidFill>
              </a:rPr>
              <a:t>než</a:t>
            </a:r>
            <a:r>
              <a:rPr lang="en-US" sz="2400" b="1" dirty="0">
                <a:solidFill>
                  <a:srgbClr val="2568B9"/>
                </a:solidFill>
              </a:rPr>
              <a:t> u</a:t>
            </a:r>
            <a:r>
              <a:rPr lang="cs-CZ" sz="2400" b="1" dirty="0">
                <a:solidFill>
                  <a:srgbClr val="2568B9"/>
                </a:solidFill>
              </a:rPr>
              <a:t> zdravých pacientů </a:t>
            </a:r>
            <a:r>
              <a:rPr lang="en-US" sz="2400" b="1" dirty="0">
                <a:solidFill>
                  <a:srgbClr val="2568B9"/>
                </a:solidFill>
              </a:rPr>
              <a:t>v </a:t>
            </a:r>
            <a:r>
              <a:rPr lang="cs-CZ" sz="2400" b="1" dirty="0">
                <a:solidFill>
                  <a:srgbClr val="2568B9"/>
                </a:solidFill>
              </a:rPr>
              <a:t>kontrolní</a:t>
            </a:r>
            <a:r>
              <a:rPr lang="en-US" sz="2400" b="1" dirty="0">
                <a:solidFill>
                  <a:srgbClr val="2568B9"/>
                </a:solidFill>
              </a:rPr>
              <a:t> </a:t>
            </a:r>
            <a:r>
              <a:rPr lang="en-US" sz="2400" b="1" dirty="0" err="1">
                <a:solidFill>
                  <a:srgbClr val="2568B9"/>
                </a:solidFill>
              </a:rPr>
              <a:t>skupině</a:t>
            </a:r>
            <a:r>
              <a:rPr lang="cs-CZ" sz="2400" b="1" dirty="0">
                <a:solidFill>
                  <a:srgbClr val="2568B9"/>
                </a:solidFill>
              </a:rPr>
              <a:t> </a:t>
            </a:r>
            <a:endParaRPr lang="en-US" sz="2400" b="1" baseline="30000" dirty="0">
              <a:solidFill>
                <a:srgbClr val="0460A9"/>
              </a:solidFill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3F45473-2D59-7E4A-1B31-FB83368E44DB}"/>
              </a:ext>
            </a:extLst>
          </p:cNvPr>
          <p:cNvSpPr txBox="1"/>
          <p:nvPr/>
        </p:nvSpPr>
        <p:spPr>
          <a:xfrm>
            <a:off x="198852" y="6465454"/>
            <a:ext cx="3172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u="sng" dirty="0" err="1">
                <a:solidFill>
                  <a:schemeClr val="accent1"/>
                </a:solidFill>
              </a:rPr>
              <a:t>Phan</a:t>
            </a:r>
            <a:r>
              <a:rPr lang="cs-CZ" sz="900" u="sng" dirty="0">
                <a:solidFill>
                  <a:schemeClr val="accent1"/>
                </a:solidFill>
              </a:rPr>
              <a:t> K et al. </a:t>
            </a:r>
            <a:r>
              <a:rPr lang="cs-CZ" sz="900" u="sng" dirty="0" err="1">
                <a:solidFill>
                  <a:schemeClr val="accent1"/>
                </a:solidFill>
              </a:rPr>
              <a:t>Int</a:t>
            </a:r>
            <a:r>
              <a:rPr lang="cs-CZ" sz="900" u="sng" dirty="0">
                <a:solidFill>
                  <a:schemeClr val="accent1"/>
                </a:solidFill>
              </a:rPr>
              <a:t> J </a:t>
            </a:r>
            <a:r>
              <a:rPr lang="cs-CZ" sz="900" u="sng" dirty="0" err="1">
                <a:solidFill>
                  <a:schemeClr val="accent1"/>
                </a:solidFill>
              </a:rPr>
              <a:t>Dermatol</a:t>
            </a:r>
            <a:r>
              <a:rPr lang="cs-CZ" sz="900" u="sng" dirty="0">
                <a:solidFill>
                  <a:schemeClr val="accent1"/>
                </a:solidFill>
              </a:rPr>
              <a:t> 2019 </a:t>
            </a:r>
            <a:r>
              <a:rPr lang="cs-CZ" sz="900" u="sng" dirty="0" err="1">
                <a:solidFill>
                  <a:schemeClr val="accent1"/>
                </a:solidFill>
              </a:rPr>
              <a:t>Oct</a:t>
            </a:r>
            <a:r>
              <a:rPr lang="en-US" sz="900" u="sng" dirty="0">
                <a:solidFill>
                  <a:schemeClr val="accent1"/>
                </a:solidFill>
              </a:rPr>
              <a:t>;</a:t>
            </a:r>
            <a:r>
              <a:rPr lang="cs-CZ" sz="900" u="sng" dirty="0">
                <a:solidFill>
                  <a:schemeClr val="accent1"/>
                </a:solidFill>
              </a:rPr>
              <a:t> 58(10): 1112-117    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B4687313-CFA7-93DF-73C0-B74A335BFE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9545" y="5002306"/>
            <a:ext cx="7102455" cy="185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557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0DF40B2-80F7-4E71-B46C-284163F365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F45A9E9-271F-ACA1-039B-E9B89BE58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548464"/>
            <a:ext cx="3807187" cy="222807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b="1"/>
              <a:t>Kardiovaskulární komorbidity</a:t>
            </a:r>
          </a:p>
        </p:txBody>
      </p:sp>
      <p:sp>
        <p:nvSpPr>
          <p:cNvPr id="5" name="TextShape 2">
            <a:extLst>
              <a:ext uri="{FF2B5EF4-FFF2-40B4-BE49-F238E27FC236}">
                <a16:creationId xmlns:a16="http://schemas.microsoft.com/office/drawing/2014/main" id="{9E2F5AB2-7E1F-40B5-E782-6DB30472CEEB}"/>
              </a:ext>
            </a:extLst>
          </p:cNvPr>
          <p:cNvSpPr txBox="1"/>
          <p:nvPr/>
        </p:nvSpPr>
        <p:spPr>
          <a:xfrm>
            <a:off x="838201" y="2962279"/>
            <a:ext cx="3799425" cy="314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0" i="1" u="sng" strike="noStrike" spc="-1" dirty="0"/>
              <a:t>Bailey AMB :Journal of the American Academy of Dermatology</a:t>
            </a:r>
            <a:r>
              <a:rPr lang="en-US" sz="2000" b="0" u="sng" strike="noStrike" spc="-1" dirty="0"/>
              <a:t> 2021 84844-848DOI: (10.1016/j.jaad.2020.10.005) </a:t>
            </a:r>
          </a:p>
        </p:txBody>
      </p:sp>
      <p:pic>
        <p:nvPicPr>
          <p:cNvPr id="4" name="Main graphic" descr="A screenshot of a medical report&#10;&#10;Description automatically generated">
            <a:extLst>
              <a:ext uri="{FF2B5EF4-FFF2-40B4-BE49-F238E27FC236}">
                <a16:creationId xmlns:a16="http://schemas.microsoft.com/office/drawing/2014/main" id="{59C6434C-4D1C-1FD8-54EB-2F8018ADC245}"/>
              </a:ext>
            </a:extLst>
          </p:cNvPr>
          <p:cNvPicPr/>
          <p:nvPr/>
        </p:nvPicPr>
        <p:blipFill rotWithShape="1">
          <a:blip r:embed="rId2"/>
          <a:srcRect b="1553"/>
          <a:stretch/>
        </p:blipFill>
        <p:spPr>
          <a:xfrm>
            <a:off x="5010386" y="10"/>
            <a:ext cx="7181613" cy="6857990"/>
          </a:xfrm>
          <a:prstGeom prst="rect">
            <a:avLst/>
          </a:prstGeom>
          <a:effectLst/>
        </p:spPr>
      </p:pic>
      <p:sp>
        <p:nvSpPr>
          <p:cNvPr id="3" name="Obdélník: se zakulacenými rohy 2">
            <a:extLst>
              <a:ext uri="{FF2B5EF4-FFF2-40B4-BE49-F238E27FC236}">
                <a16:creationId xmlns:a16="http://schemas.microsoft.com/office/drawing/2014/main" id="{F01F0A07-5C79-D33E-B056-E70EEABA3F98}"/>
              </a:ext>
            </a:extLst>
          </p:cNvPr>
          <p:cNvSpPr/>
          <p:nvPr/>
        </p:nvSpPr>
        <p:spPr>
          <a:xfrm>
            <a:off x="5154705" y="2554941"/>
            <a:ext cx="2375648" cy="251012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E3D1BD33-9786-294E-561E-6FDA580B2E01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9551" y="4481565"/>
            <a:ext cx="1944000" cy="326082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C86A232E-29E8-4B0A-2153-003DDC9ECE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8419" y="5486400"/>
            <a:ext cx="1765794" cy="288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41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380B0D7-EA28-2B67-C10E-E708F54E2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3090" y="365125"/>
            <a:ext cx="10060709" cy="1325563"/>
          </a:xfrm>
        </p:spPr>
        <p:txBody>
          <a:bodyPr>
            <a:normAutofit/>
          </a:bodyPr>
          <a:lstStyle/>
          <a:p>
            <a:r>
              <a:rPr lang="cs-CZ" sz="3600" b="1" dirty="0"/>
              <a:t>Spojení HS a chronických zánětlivých onemocnění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7181F2E6-E9C1-175E-5C4D-1998964CE3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6072" y="1867179"/>
            <a:ext cx="8892279" cy="4642556"/>
          </a:xfrm>
          <a:prstGeom prst="rect">
            <a:avLst/>
          </a:prstGeom>
        </p:spPr>
      </p:pic>
      <p:sp>
        <p:nvSpPr>
          <p:cNvPr id="6" name="Obdélník: se zakulacenými rohy 5">
            <a:extLst>
              <a:ext uri="{FF2B5EF4-FFF2-40B4-BE49-F238E27FC236}">
                <a16:creationId xmlns:a16="http://schemas.microsoft.com/office/drawing/2014/main" id="{703DCF15-AD80-0999-CCBB-C415B4288272}"/>
              </a:ext>
            </a:extLst>
          </p:cNvPr>
          <p:cNvSpPr/>
          <p:nvPr/>
        </p:nvSpPr>
        <p:spPr>
          <a:xfrm>
            <a:off x="1694328" y="2554941"/>
            <a:ext cx="1685365" cy="42134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2DF5EB26-29FF-2C0E-28C8-6020E69437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6366" y="3199840"/>
            <a:ext cx="1818834" cy="48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220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95"/>
          <p:cNvSpPr/>
          <p:nvPr/>
        </p:nvSpPr>
        <p:spPr>
          <a:xfrm>
            <a:off x="1466537" y="1453776"/>
            <a:ext cx="9147675" cy="984885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tIns="121920" rIns="121920" bIns="121920">
            <a:spAutoFit/>
          </a:bodyPr>
          <a:lstStyle/>
          <a:p>
            <a:pPr algn="ctr"/>
            <a:r>
              <a:rPr lang="en-US" sz="2400" b="1" dirty="0">
                <a:solidFill>
                  <a:srgbClr val="0460A9"/>
                </a:solidFill>
              </a:rPr>
              <a:t>Pacienti s HS se zánětlivým střevním </a:t>
            </a:r>
            <a:r>
              <a:rPr lang="en-US" sz="2400" b="1" dirty="0" err="1">
                <a:solidFill>
                  <a:srgbClr val="0460A9"/>
                </a:solidFill>
              </a:rPr>
              <a:t>onemocněním</a:t>
            </a:r>
            <a:r>
              <a:rPr lang="en-US" sz="2400" b="1" dirty="0">
                <a:solidFill>
                  <a:srgbClr val="0460A9"/>
                </a:solidFill>
              </a:rPr>
              <a:t> </a:t>
            </a:r>
            <a:r>
              <a:rPr lang="cs-CZ" sz="2400" b="1" dirty="0">
                <a:solidFill>
                  <a:srgbClr val="0460A9"/>
                </a:solidFill>
              </a:rPr>
              <a:t>byli</a:t>
            </a:r>
            <a:r>
              <a:rPr lang="en-US" sz="2400" b="1" dirty="0">
                <a:solidFill>
                  <a:srgbClr val="0460A9"/>
                </a:solidFill>
              </a:rPr>
              <a:t> výrazně </a:t>
            </a:r>
            <a:r>
              <a:rPr lang="en-US" sz="2400" b="1" dirty="0">
                <a:solidFill>
                  <a:srgbClr val="2568B9"/>
                </a:solidFill>
              </a:rPr>
              <a:t>mladší a převážně afroamerické ženy.</a:t>
            </a:r>
            <a:r>
              <a:rPr lang="en-US" sz="2400" b="1" baseline="30000" dirty="0">
                <a:solidFill>
                  <a:srgbClr val="2568B9"/>
                </a:solidFill>
              </a:rPr>
              <a:t>1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74847" y="88366"/>
            <a:ext cx="667725" cy="595836"/>
            <a:chOff x="2942087" y="1851188"/>
            <a:chExt cx="1066800" cy="990600"/>
          </a:xfrm>
        </p:grpSpPr>
        <p:sp>
          <p:nvSpPr>
            <p:cNvPr id="50" name="Oval 49"/>
            <p:cNvSpPr/>
            <p:nvPr/>
          </p:nvSpPr>
          <p:spPr>
            <a:xfrm>
              <a:off x="2942087" y="1851188"/>
              <a:ext cx="1066800" cy="9906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  <a:reflection stA="45000" endPos="0" dist="508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51" name="Oval 50"/>
            <p:cNvSpPr/>
            <p:nvPr/>
          </p:nvSpPr>
          <p:spPr>
            <a:xfrm>
              <a:off x="3431488" y="2333535"/>
              <a:ext cx="27432" cy="274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13536" y="2334422"/>
              <a:ext cx="8313" cy="8313"/>
            </a:xfrm>
            <a:prstGeom prst="ellipse">
              <a:avLst/>
            </a:prstGeom>
            <a:solidFill>
              <a:schemeClr val="bg1"/>
            </a:solidFill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29" t="13443" r="82488" b="68632"/>
            <a:stretch/>
          </p:blipFill>
          <p:spPr>
            <a:xfrm>
              <a:off x="3407959" y="2275246"/>
              <a:ext cx="54864" cy="54864"/>
            </a:xfrm>
            <a:prstGeom prst="ellipse">
              <a:avLst/>
            </a:prstGeom>
            <a:solidFill>
              <a:schemeClr val="bg1"/>
            </a:solidFill>
          </p:spPr>
        </p:pic>
      </p:grpSp>
      <p:grpSp>
        <p:nvGrpSpPr>
          <p:cNvPr id="54" name="Group 53"/>
          <p:cNvGrpSpPr/>
          <p:nvPr/>
        </p:nvGrpSpPr>
        <p:grpSpPr>
          <a:xfrm>
            <a:off x="285953" y="170926"/>
            <a:ext cx="423483" cy="434485"/>
            <a:chOff x="3059641" y="1714790"/>
            <a:chExt cx="842159" cy="838631"/>
          </a:xfrm>
        </p:grpSpPr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3367176" y="2144320"/>
              <a:ext cx="225423" cy="409101"/>
            </a:xfrm>
            <a:custGeom>
              <a:avLst/>
              <a:gdLst>
                <a:gd name="T0" fmla="*/ 31 w 135"/>
                <a:gd name="T1" fmla="*/ 136 h 245"/>
                <a:gd name="T2" fmla="*/ 31 w 135"/>
                <a:gd name="T3" fmla="*/ 43 h 245"/>
                <a:gd name="T4" fmla="*/ 31 w 135"/>
                <a:gd name="T5" fmla="*/ 40 h 245"/>
                <a:gd name="T6" fmla="*/ 28 w 135"/>
                <a:gd name="T7" fmla="*/ 37 h 245"/>
                <a:gd name="T8" fmla="*/ 25 w 135"/>
                <a:gd name="T9" fmla="*/ 40 h 245"/>
                <a:gd name="T10" fmla="*/ 25 w 135"/>
                <a:gd name="T11" fmla="*/ 45 h 245"/>
                <a:gd name="T12" fmla="*/ 25 w 135"/>
                <a:gd name="T13" fmla="*/ 116 h 245"/>
                <a:gd name="T14" fmla="*/ 21 w 135"/>
                <a:gd name="T15" fmla="*/ 126 h 245"/>
                <a:gd name="T16" fmla="*/ 8 w 135"/>
                <a:gd name="T17" fmla="*/ 129 h 245"/>
                <a:gd name="T18" fmla="*/ 0 w 135"/>
                <a:gd name="T19" fmla="*/ 118 h 245"/>
                <a:gd name="T20" fmla="*/ 0 w 135"/>
                <a:gd name="T21" fmla="*/ 33 h 245"/>
                <a:gd name="T22" fmla="*/ 33 w 135"/>
                <a:gd name="T23" fmla="*/ 0 h 245"/>
                <a:gd name="T24" fmla="*/ 102 w 135"/>
                <a:gd name="T25" fmla="*/ 0 h 245"/>
                <a:gd name="T26" fmla="*/ 134 w 135"/>
                <a:gd name="T27" fmla="*/ 34 h 245"/>
                <a:gd name="T28" fmla="*/ 134 w 135"/>
                <a:gd name="T29" fmla="*/ 117 h 245"/>
                <a:gd name="T30" fmla="*/ 122 w 135"/>
                <a:gd name="T31" fmla="*/ 129 h 245"/>
                <a:gd name="T32" fmla="*/ 110 w 135"/>
                <a:gd name="T33" fmla="*/ 117 h 245"/>
                <a:gd name="T34" fmla="*/ 110 w 135"/>
                <a:gd name="T35" fmla="*/ 53 h 245"/>
                <a:gd name="T36" fmla="*/ 110 w 135"/>
                <a:gd name="T37" fmla="*/ 41 h 245"/>
                <a:gd name="T38" fmla="*/ 107 w 135"/>
                <a:gd name="T39" fmla="*/ 37 h 245"/>
                <a:gd name="T40" fmla="*/ 104 w 135"/>
                <a:gd name="T41" fmla="*/ 41 h 245"/>
                <a:gd name="T42" fmla="*/ 104 w 135"/>
                <a:gd name="T43" fmla="*/ 143 h 245"/>
                <a:gd name="T44" fmla="*/ 104 w 135"/>
                <a:gd name="T45" fmla="*/ 230 h 245"/>
                <a:gd name="T46" fmla="*/ 89 w 135"/>
                <a:gd name="T47" fmla="*/ 245 h 245"/>
                <a:gd name="T48" fmla="*/ 73 w 135"/>
                <a:gd name="T49" fmla="*/ 230 h 245"/>
                <a:gd name="T50" fmla="*/ 73 w 135"/>
                <a:gd name="T51" fmla="*/ 139 h 245"/>
                <a:gd name="T52" fmla="*/ 73 w 135"/>
                <a:gd name="T53" fmla="*/ 135 h 245"/>
                <a:gd name="T54" fmla="*/ 67 w 135"/>
                <a:gd name="T55" fmla="*/ 128 h 245"/>
                <a:gd name="T56" fmla="*/ 61 w 135"/>
                <a:gd name="T57" fmla="*/ 135 h 245"/>
                <a:gd name="T58" fmla="*/ 61 w 135"/>
                <a:gd name="T59" fmla="*/ 168 h 245"/>
                <a:gd name="T60" fmla="*/ 61 w 135"/>
                <a:gd name="T61" fmla="*/ 229 h 245"/>
                <a:gd name="T62" fmla="*/ 46 w 135"/>
                <a:gd name="T63" fmla="*/ 245 h 245"/>
                <a:gd name="T64" fmla="*/ 31 w 135"/>
                <a:gd name="T65" fmla="*/ 229 h 245"/>
                <a:gd name="T66" fmla="*/ 31 w 135"/>
                <a:gd name="T67" fmla="*/ 13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5" h="245">
                  <a:moveTo>
                    <a:pt x="31" y="136"/>
                  </a:moveTo>
                  <a:cubicBezTo>
                    <a:pt x="31" y="105"/>
                    <a:pt x="31" y="74"/>
                    <a:pt x="31" y="43"/>
                  </a:cubicBezTo>
                  <a:cubicBezTo>
                    <a:pt x="31" y="42"/>
                    <a:pt x="31" y="41"/>
                    <a:pt x="31" y="40"/>
                  </a:cubicBezTo>
                  <a:cubicBezTo>
                    <a:pt x="30" y="39"/>
                    <a:pt x="29" y="37"/>
                    <a:pt x="28" y="37"/>
                  </a:cubicBezTo>
                  <a:cubicBezTo>
                    <a:pt x="27" y="37"/>
                    <a:pt x="25" y="39"/>
                    <a:pt x="25" y="40"/>
                  </a:cubicBezTo>
                  <a:cubicBezTo>
                    <a:pt x="24" y="42"/>
                    <a:pt x="25" y="43"/>
                    <a:pt x="25" y="45"/>
                  </a:cubicBezTo>
                  <a:cubicBezTo>
                    <a:pt x="25" y="69"/>
                    <a:pt x="24" y="92"/>
                    <a:pt x="25" y="116"/>
                  </a:cubicBezTo>
                  <a:cubicBezTo>
                    <a:pt x="25" y="120"/>
                    <a:pt x="24" y="123"/>
                    <a:pt x="21" y="126"/>
                  </a:cubicBezTo>
                  <a:cubicBezTo>
                    <a:pt x="17" y="130"/>
                    <a:pt x="13" y="130"/>
                    <a:pt x="8" y="129"/>
                  </a:cubicBezTo>
                  <a:cubicBezTo>
                    <a:pt x="3" y="127"/>
                    <a:pt x="0" y="123"/>
                    <a:pt x="0" y="118"/>
                  </a:cubicBezTo>
                  <a:cubicBezTo>
                    <a:pt x="0" y="89"/>
                    <a:pt x="0" y="61"/>
                    <a:pt x="0" y="33"/>
                  </a:cubicBezTo>
                  <a:cubicBezTo>
                    <a:pt x="0" y="16"/>
                    <a:pt x="16" y="1"/>
                    <a:pt x="33" y="0"/>
                  </a:cubicBezTo>
                  <a:cubicBezTo>
                    <a:pt x="56" y="0"/>
                    <a:pt x="79" y="0"/>
                    <a:pt x="102" y="0"/>
                  </a:cubicBezTo>
                  <a:cubicBezTo>
                    <a:pt x="119" y="1"/>
                    <a:pt x="134" y="16"/>
                    <a:pt x="134" y="34"/>
                  </a:cubicBezTo>
                  <a:cubicBezTo>
                    <a:pt x="135" y="62"/>
                    <a:pt x="135" y="89"/>
                    <a:pt x="134" y="117"/>
                  </a:cubicBezTo>
                  <a:cubicBezTo>
                    <a:pt x="134" y="124"/>
                    <a:pt x="129" y="129"/>
                    <a:pt x="122" y="129"/>
                  </a:cubicBezTo>
                  <a:cubicBezTo>
                    <a:pt x="116" y="129"/>
                    <a:pt x="110" y="124"/>
                    <a:pt x="110" y="117"/>
                  </a:cubicBezTo>
                  <a:cubicBezTo>
                    <a:pt x="110" y="96"/>
                    <a:pt x="110" y="74"/>
                    <a:pt x="110" y="53"/>
                  </a:cubicBezTo>
                  <a:cubicBezTo>
                    <a:pt x="110" y="49"/>
                    <a:pt x="110" y="45"/>
                    <a:pt x="110" y="41"/>
                  </a:cubicBezTo>
                  <a:cubicBezTo>
                    <a:pt x="110" y="39"/>
                    <a:pt x="110" y="37"/>
                    <a:pt x="107" y="37"/>
                  </a:cubicBezTo>
                  <a:cubicBezTo>
                    <a:pt x="104" y="37"/>
                    <a:pt x="104" y="39"/>
                    <a:pt x="104" y="41"/>
                  </a:cubicBezTo>
                  <a:cubicBezTo>
                    <a:pt x="104" y="75"/>
                    <a:pt x="104" y="109"/>
                    <a:pt x="104" y="143"/>
                  </a:cubicBezTo>
                  <a:cubicBezTo>
                    <a:pt x="104" y="172"/>
                    <a:pt x="104" y="201"/>
                    <a:pt x="104" y="230"/>
                  </a:cubicBezTo>
                  <a:cubicBezTo>
                    <a:pt x="104" y="238"/>
                    <a:pt x="97" y="245"/>
                    <a:pt x="89" y="245"/>
                  </a:cubicBezTo>
                  <a:cubicBezTo>
                    <a:pt x="80" y="245"/>
                    <a:pt x="73" y="238"/>
                    <a:pt x="73" y="230"/>
                  </a:cubicBezTo>
                  <a:cubicBezTo>
                    <a:pt x="73" y="199"/>
                    <a:pt x="73" y="169"/>
                    <a:pt x="73" y="139"/>
                  </a:cubicBezTo>
                  <a:cubicBezTo>
                    <a:pt x="73" y="137"/>
                    <a:pt x="73" y="136"/>
                    <a:pt x="73" y="135"/>
                  </a:cubicBezTo>
                  <a:cubicBezTo>
                    <a:pt x="73" y="131"/>
                    <a:pt x="71" y="128"/>
                    <a:pt x="67" y="128"/>
                  </a:cubicBezTo>
                  <a:cubicBezTo>
                    <a:pt x="64" y="128"/>
                    <a:pt x="61" y="131"/>
                    <a:pt x="61" y="135"/>
                  </a:cubicBezTo>
                  <a:cubicBezTo>
                    <a:pt x="61" y="146"/>
                    <a:pt x="61" y="157"/>
                    <a:pt x="61" y="168"/>
                  </a:cubicBezTo>
                  <a:cubicBezTo>
                    <a:pt x="61" y="188"/>
                    <a:pt x="61" y="209"/>
                    <a:pt x="61" y="229"/>
                  </a:cubicBezTo>
                  <a:cubicBezTo>
                    <a:pt x="61" y="238"/>
                    <a:pt x="55" y="245"/>
                    <a:pt x="46" y="245"/>
                  </a:cubicBezTo>
                  <a:cubicBezTo>
                    <a:pt x="37" y="245"/>
                    <a:pt x="31" y="238"/>
                    <a:pt x="31" y="229"/>
                  </a:cubicBezTo>
                  <a:cubicBezTo>
                    <a:pt x="31" y="198"/>
                    <a:pt x="31" y="167"/>
                    <a:pt x="31" y="136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3438094" y="2038350"/>
              <a:ext cx="81105" cy="82297"/>
            </a:xfrm>
            <a:custGeom>
              <a:avLst/>
              <a:gdLst>
                <a:gd name="T0" fmla="*/ 49 w 49"/>
                <a:gd name="T1" fmla="*/ 25 h 49"/>
                <a:gd name="T2" fmla="*/ 24 w 49"/>
                <a:gd name="T3" fmla="*/ 49 h 49"/>
                <a:gd name="T4" fmla="*/ 0 w 49"/>
                <a:gd name="T5" fmla="*/ 24 h 49"/>
                <a:gd name="T6" fmla="*/ 25 w 49"/>
                <a:gd name="T7" fmla="*/ 0 h 49"/>
                <a:gd name="T8" fmla="*/ 49 w 49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25"/>
                  </a:moveTo>
                  <a:cubicBezTo>
                    <a:pt x="49" y="38"/>
                    <a:pt x="38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lose/>
                </a:path>
              </a:pathLst>
            </a:custGeom>
            <a:solidFill>
              <a:srgbClr val="0460A9"/>
            </a:solidFill>
            <a:ln w="9525">
              <a:solidFill>
                <a:srgbClr val="0460A9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57" name="Graphic 62" descr="Network">
              <a:extLst>
                <a:ext uri="{FF2B5EF4-FFF2-40B4-BE49-F238E27FC236}">
                  <a16:creationId xmlns:a16="http://schemas.microsoft.com/office/drawing/2014/main" id="{2B168095-83EF-417A-AA54-9CC537B5F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7130" y="2167078"/>
              <a:ext cx="134346" cy="134346"/>
            </a:xfrm>
            <a:prstGeom prst="rect">
              <a:avLst/>
            </a:prstGeom>
          </p:spPr>
        </p:pic>
        <p:grpSp>
          <p:nvGrpSpPr>
            <p:cNvPr id="58" name="Group 57"/>
            <p:cNvGrpSpPr/>
            <p:nvPr/>
          </p:nvGrpSpPr>
          <p:grpSpPr>
            <a:xfrm>
              <a:off x="3080859" y="1849909"/>
              <a:ext cx="240001" cy="251310"/>
              <a:chOff x="3037091" y="1854615"/>
              <a:chExt cx="240001" cy="251310"/>
            </a:xfrm>
          </p:grpSpPr>
          <p:grpSp>
            <p:nvGrpSpPr>
              <p:cNvPr id="72" name="Graphic 226">
                <a:extLst>
                  <a:ext uri="{FF2B5EF4-FFF2-40B4-BE49-F238E27FC236}">
                    <a16:creationId xmlns:a16="http://schemas.microsoft.com/office/drawing/2014/main" id="{526FC5E6-4062-BF4C-8C4B-E04DFD843677}"/>
                  </a:ext>
                </a:extLst>
              </p:cNvPr>
              <p:cNvGrpSpPr/>
              <p:nvPr/>
            </p:nvGrpSpPr>
            <p:grpSpPr>
              <a:xfrm>
                <a:off x="3083626" y="1867585"/>
                <a:ext cx="136569" cy="212600"/>
                <a:chOff x="5912639" y="3117055"/>
                <a:chExt cx="361950" cy="614162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81" name="Freeform: Shape 228">
                  <a:extLst>
                    <a:ext uri="{FF2B5EF4-FFF2-40B4-BE49-F238E27FC236}">
                      <a16:creationId xmlns:a16="http://schemas.microsoft.com/office/drawing/2014/main" id="{AD78A312-3E01-E046-A249-F6F83622510A}"/>
                    </a:ext>
                  </a:extLst>
                </p:cNvPr>
                <p:cNvSpPr/>
                <p:nvPr/>
              </p:nvSpPr>
              <p:spPr>
                <a:xfrm>
                  <a:off x="5912639" y="3245442"/>
                  <a:ext cx="361950" cy="485775"/>
                </a:xfrm>
                <a:custGeom>
                  <a:avLst/>
                  <a:gdLst>
                    <a:gd name="connsiteX0" fmla="*/ 196124 w 361950"/>
                    <a:gd name="connsiteY0" fmla="*/ 270616 h 485775"/>
                    <a:gd name="connsiteX1" fmla="*/ 185170 w 361950"/>
                    <a:gd name="connsiteY1" fmla="*/ 270616 h 485775"/>
                    <a:gd name="connsiteX2" fmla="*/ 184599 w 361950"/>
                    <a:gd name="connsiteY2" fmla="*/ 277569 h 485775"/>
                    <a:gd name="connsiteX3" fmla="*/ 184504 w 361950"/>
                    <a:gd name="connsiteY3" fmla="*/ 453496 h 485775"/>
                    <a:gd name="connsiteX4" fmla="*/ 157929 w 361950"/>
                    <a:gd name="connsiteY4" fmla="*/ 485310 h 485775"/>
                    <a:gd name="connsiteX5" fmla="*/ 131354 w 361950"/>
                    <a:gd name="connsiteY5" fmla="*/ 462259 h 485775"/>
                    <a:gd name="connsiteX6" fmla="*/ 111637 w 361950"/>
                    <a:gd name="connsiteY6" fmla="*/ 345387 h 485775"/>
                    <a:gd name="connsiteX7" fmla="*/ 87730 w 361950"/>
                    <a:gd name="connsiteY7" fmla="*/ 203751 h 485775"/>
                    <a:gd name="connsiteX8" fmla="*/ 74395 w 361950"/>
                    <a:gd name="connsiteY8" fmla="*/ 162793 h 485775"/>
                    <a:gd name="connsiteX9" fmla="*/ 57726 w 361950"/>
                    <a:gd name="connsiteY9" fmla="*/ 195654 h 485775"/>
                    <a:gd name="connsiteX10" fmla="*/ 21531 w 361950"/>
                    <a:gd name="connsiteY10" fmla="*/ 207084 h 485775"/>
                    <a:gd name="connsiteX11" fmla="*/ 10768 w 361950"/>
                    <a:gd name="connsiteY11" fmla="*/ 171461 h 485775"/>
                    <a:gd name="connsiteX12" fmla="*/ 74299 w 361950"/>
                    <a:gd name="connsiteY12" fmla="*/ 49065 h 485775"/>
                    <a:gd name="connsiteX13" fmla="*/ 142022 w 361950"/>
                    <a:gd name="connsiteY13" fmla="*/ 7250 h 485775"/>
                    <a:gd name="connsiteX14" fmla="*/ 234605 w 361950"/>
                    <a:gd name="connsiteY14" fmla="*/ 7155 h 485775"/>
                    <a:gd name="connsiteX15" fmla="*/ 292136 w 361950"/>
                    <a:gd name="connsiteY15" fmla="*/ 37730 h 485775"/>
                    <a:gd name="connsiteX16" fmla="*/ 333665 w 361950"/>
                    <a:gd name="connsiteY16" fmla="*/ 114978 h 485775"/>
                    <a:gd name="connsiteX17" fmla="*/ 358144 w 361950"/>
                    <a:gd name="connsiteY17" fmla="*/ 162603 h 485775"/>
                    <a:gd name="connsiteX18" fmla="*/ 362240 w 361950"/>
                    <a:gd name="connsiteY18" fmla="*/ 183367 h 485775"/>
                    <a:gd name="connsiteX19" fmla="*/ 342619 w 361950"/>
                    <a:gd name="connsiteY19" fmla="*/ 206799 h 485775"/>
                    <a:gd name="connsiteX20" fmla="*/ 316520 w 361950"/>
                    <a:gd name="connsiteY20" fmla="*/ 190892 h 485775"/>
                    <a:gd name="connsiteX21" fmla="*/ 301947 w 361950"/>
                    <a:gd name="connsiteY21" fmla="*/ 161269 h 485775"/>
                    <a:gd name="connsiteX22" fmla="*/ 301852 w 361950"/>
                    <a:gd name="connsiteY22" fmla="*/ 161174 h 485775"/>
                    <a:gd name="connsiteX23" fmla="*/ 287278 w 361950"/>
                    <a:gd name="connsiteY23" fmla="*/ 220896 h 485775"/>
                    <a:gd name="connsiteX24" fmla="*/ 248988 w 361950"/>
                    <a:gd name="connsiteY24" fmla="*/ 460640 h 485775"/>
                    <a:gd name="connsiteX25" fmla="*/ 221461 w 361950"/>
                    <a:gd name="connsiteY25" fmla="*/ 485214 h 485775"/>
                    <a:gd name="connsiteX26" fmla="*/ 196124 w 361950"/>
                    <a:gd name="connsiteY26" fmla="*/ 458449 h 485775"/>
                    <a:gd name="connsiteX27" fmla="*/ 196219 w 361950"/>
                    <a:gd name="connsiteY27" fmla="*/ 284808 h 485775"/>
                    <a:gd name="connsiteX28" fmla="*/ 196124 w 361950"/>
                    <a:gd name="connsiteY28" fmla="*/ 270616 h 485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61950" h="485775">
                      <a:moveTo>
                        <a:pt x="196124" y="270616"/>
                      </a:moveTo>
                      <a:cubicBezTo>
                        <a:pt x="191647" y="270616"/>
                        <a:pt x="188695" y="270616"/>
                        <a:pt x="185170" y="270616"/>
                      </a:cubicBezTo>
                      <a:cubicBezTo>
                        <a:pt x="184980" y="273188"/>
                        <a:pt x="184599" y="275379"/>
                        <a:pt x="184599" y="277569"/>
                      </a:cubicBezTo>
                      <a:cubicBezTo>
                        <a:pt x="184599" y="336243"/>
                        <a:pt x="184599" y="394917"/>
                        <a:pt x="184504" y="453496"/>
                      </a:cubicBezTo>
                      <a:cubicBezTo>
                        <a:pt x="184504" y="473308"/>
                        <a:pt x="174312" y="485119"/>
                        <a:pt x="157929" y="485310"/>
                      </a:cubicBezTo>
                      <a:cubicBezTo>
                        <a:pt x="143927" y="485405"/>
                        <a:pt x="133926" y="477309"/>
                        <a:pt x="131354" y="462259"/>
                      </a:cubicBezTo>
                      <a:cubicBezTo>
                        <a:pt x="124591" y="423302"/>
                        <a:pt x="118114" y="384345"/>
                        <a:pt x="111637" y="345387"/>
                      </a:cubicBezTo>
                      <a:cubicBezTo>
                        <a:pt x="103732" y="298143"/>
                        <a:pt x="96302" y="250804"/>
                        <a:pt x="87730" y="203751"/>
                      </a:cubicBezTo>
                      <a:cubicBezTo>
                        <a:pt x="85253" y="190035"/>
                        <a:pt x="79157" y="176890"/>
                        <a:pt x="74395" y="162793"/>
                      </a:cubicBezTo>
                      <a:cubicBezTo>
                        <a:pt x="68965" y="173652"/>
                        <a:pt x="63441" y="184701"/>
                        <a:pt x="57726" y="195654"/>
                      </a:cubicBezTo>
                      <a:cubicBezTo>
                        <a:pt x="49915" y="210704"/>
                        <a:pt x="36199" y="214990"/>
                        <a:pt x="21531" y="207084"/>
                      </a:cubicBezTo>
                      <a:cubicBezTo>
                        <a:pt x="7529" y="199560"/>
                        <a:pt x="3338" y="185748"/>
                        <a:pt x="10768" y="171461"/>
                      </a:cubicBezTo>
                      <a:cubicBezTo>
                        <a:pt x="31913" y="130694"/>
                        <a:pt x="53154" y="89927"/>
                        <a:pt x="74299" y="49065"/>
                      </a:cubicBezTo>
                      <a:cubicBezTo>
                        <a:pt x="88492" y="21537"/>
                        <a:pt x="110685" y="7155"/>
                        <a:pt x="142022" y="7250"/>
                      </a:cubicBezTo>
                      <a:cubicBezTo>
                        <a:pt x="172883" y="7440"/>
                        <a:pt x="203744" y="7631"/>
                        <a:pt x="234605" y="7155"/>
                      </a:cubicBezTo>
                      <a:cubicBezTo>
                        <a:pt x="259656" y="6774"/>
                        <a:pt x="279563" y="16489"/>
                        <a:pt x="292136" y="37730"/>
                      </a:cubicBezTo>
                      <a:cubicBezTo>
                        <a:pt x="306995" y="62876"/>
                        <a:pt x="319949" y="89165"/>
                        <a:pt x="333665" y="114978"/>
                      </a:cubicBezTo>
                      <a:cubicBezTo>
                        <a:pt x="342047" y="130789"/>
                        <a:pt x="350620" y="146410"/>
                        <a:pt x="358144" y="162603"/>
                      </a:cubicBezTo>
                      <a:cubicBezTo>
                        <a:pt x="361002" y="168889"/>
                        <a:pt x="362716" y="176509"/>
                        <a:pt x="362240" y="183367"/>
                      </a:cubicBezTo>
                      <a:cubicBezTo>
                        <a:pt x="361383" y="196702"/>
                        <a:pt x="353477" y="204989"/>
                        <a:pt x="342619" y="206799"/>
                      </a:cubicBezTo>
                      <a:cubicBezTo>
                        <a:pt x="331951" y="208704"/>
                        <a:pt x="322616" y="203084"/>
                        <a:pt x="316520" y="190892"/>
                      </a:cubicBezTo>
                      <a:cubicBezTo>
                        <a:pt x="311567" y="181081"/>
                        <a:pt x="306805" y="171175"/>
                        <a:pt x="301947" y="161269"/>
                      </a:cubicBezTo>
                      <a:cubicBezTo>
                        <a:pt x="301661" y="160793"/>
                        <a:pt x="300709" y="160602"/>
                        <a:pt x="301852" y="161174"/>
                      </a:cubicBezTo>
                      <a:cubicBezTo>
                        <a:pt x="296994" y="180795"/>
                        <a:pt x="290612" y="200607"/>
                        <a:pt x="287278" y="220896"/>
                      </a:cubicBezTo>
                      <a:cubicBezTo>
                        <a:pt x="274039" y="300715"/>
                        <a:pt x="261561" y="380725"/>
                        <a:pt x="248988" y="460640"/>
                      </a:cubicBezTo>
                      <a:cubicBezTo>
                        <a:pt x="246511" y="476451"/>
                        <a:pt x="236605" y="485691"/>
                        <a:pt x="221461" y="485214"/>
                      </a:cubicBezTo>
                      <a:cubicBezTo>
                        <a:pt x="206887" y="484833"/>
                        <a:pt x="196219" y="474356"/>
                        <a:pt x="196124" y="458449"/>
                      </a:cubicBezTo>
                      <a:cubicBezTo>
                        <a:pt x="195838" y="400537"/>
                        <a:pt x="196124" y="342720"/>
                        <a:pt x="196219" y="284808"/>
                      </a:cubicBezTo>
                      <a:cubicBezTo>
                        <a:pt x="196124" y="280427"/>
                        <a:pt x="196124" y="275950"/>
                        <a:pt x="196124" y="27061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  <p:sp>
              <p:nvSpPr>
                <p:cNvPr id="82" name="Freeform: Shape 229">
                  <a:extLst>
                    <a:ext uri="{FF2B5EF4-FFF2-40B4-BE49-F238E27FC236}">
                      <a16:creationId xmlns:a16="http://schemas.microsoft.com/office/drawing/2014/main" id="{D75B5440-CA8A-2840-84C0-87C787CE1148}"/>
                    </a:ext>
                  </a:extLst>
                </p:cNvPr>
                <p:cNvSpPr/>
                <p:nvPr/>
              </p:nvSpPr>
              <p:spPr>
                <a:xfrm>
                  <a:off x="6047795" y="3117055"/>
                  <a:ext cx="104775" cy="104775"/>
                </a:xfrm>
                <a:custGeom>
                  <a:avLst/>
                  <a:gdLst>
                    <a:gd name="connsiteX0" fmla="*/ 54396 w 104775"/>
                    <a:gd name="connsiteY0" fmla="*/ 102300 h 104775"/>
                    <a:gd name="connsiteX1" fmla="*/ 7152 w 104775"/>
                    <a:gd name="connsiteY1" fmla="*/ 53913 h 104775"/>
                    <a:gd name="connsiteX2" fmla="*/ 54872 w 104775"/>
                    <a:gd name="connsiteY2" fmla="*/ 7145 h 104775"/>
                    <a:gd name="connsiteX3" fmla="*/ 102116 w 104775"/>
                    <a:gd name="connsiteY3" fmla="*/ 54389 h 104775"/>
                    <a:gd name="connsiteX4" fmla="*/ 54396 w 104775"/>
                    <a:gd name="connsiteY4" fmla="*/ 102300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775" h="104775">
                      <a:moveTo>
                        <a:pt x="54396" y="102300"/>
                      </a:moveTo>
                      <a:cubicBezTo>
                        <a:pt x="28011" y="102109"/>
                        <a:pt x="6675" y="80297"/>
                        <a:pt x="7152" y="53913"/>
                      </a:cubicBezTo>
                      <a:cubicBezTo>
                        <a:pt x="7723" y="27910"/>
                        <a:pt x="29059" y="6955"/>
                        <a:pt x="54872" y="7145"/>
                      </a:cubicBezTo>
                      <a:cubicBezTo>
                        <a:pt x="80780" y="7240"/>
                        <a:pt x="102021" y="28481"/>
                        <a:pt x="102116" y="54389"/>
                      </a:cubicBezTo>
                      <a:cubicBezTo>
                        <a:pt x="102211" y="80773"/>
                        <a:pt x="80685" y="102395"/>
                        <a:pt x="54396" y="102300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78" name="Oval 77"/>
              <p:cNvSpPr/>
              <p:nvPr/>
            </p:nvSpPr>
            <p:spPr>
              <a:xfrm>
                <a:off x="3037091" y="1854615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59" name="Freeform: Shape 158">
              <a:extLst>
                <a:ext uri="{FF2B5EF4-FFF2-40B4-BE49-F238E27FC236}">
                  <a16:creationId xmlns:a16="http://schemas.microsoft.com/office/drawing/2014/main" id="{8F6C0738-72C5-6A42-9776-24C72905AA14}"/>
                </a:ext>
              </a:extLst>
            </p:cNvPr>
            <p:cNvSpPr/>
            <p:nvPr/>
          </p:nvSpPr>
          <p:spPr>
            <a:xfrm>
              <a:off x="3672568" y="1891169"/>
              <a:ext cx="164805" cy="185143"/>
            </a:xfrm>
            <a:custGeom>
              <a:avLst/>
              <a:gdLst>
                <a:gd name="connsiteX0" fmla="*/ 441960 w 447675"/>
                <a:gd name="connsiteY0" fmla="*/ 233023 h 457200"/>
                <a:gd name="connsiteX1" fmla="*/ 433959 w 447675"/>
                <a:gd name="connsiteY1" fmla="*/ 201400 h 457200"/>
                <a:gd name="connsiteX2" fmla="*/ 445199 w 447675"/>
                <a:gd name="connsiteY2" fmla="*/ 171016 h 457200"/>
                <a:gd name="connsiteX3" fmla="*/ 445199 w 447675"/>
                <a:gd name="connsiteY3" fmla="*/ 170730 h 457200"/>
                <a:gd name="connsiteX4" fmla="*/ 434626 w 447675"/>
                <a:gd name="connsiteY4" fmla="*/ 140059 h 457200"/>
                <a:gd name="connsiteX5" fmla="*/ 443008 w 447675"/>
                <a:gd name="connsiteY5" fmla="*/ 108532 h 457200"/>
                <a:gd name="connsiteX6" fmla="*/ 442913 w 447675"/>
                <a:gd name="connsiteY6" fmla="*/ 107579 h 457200"/>
                <a:gd name="connsiteX7" fmla="*/ 427196 w 447675"/>
                <a:gd name="connsiteY7" fmla="*/ 76432 h 457200"/>
                <a:gd name="connsiteX8" fmla="*/ 428149 w 447675"/>
                <a:gd name="connsiteY8" fmla="*/ 37189 h 457200"/>
                <a:gd name="connsiteX9" fmla="*/ 427577 w 447675"/>
                <a:gd name="connsiteY9" fmla="*/ 35856 h 457200"/>
                <a:gd name="connsiteX10" fmla="*/ 365379 w 447675"/>
                <a:gd name="connsiteY10" fmla="*/ 11567 h 457200"/>
                <a:gd name="connsiteX11" fmla="*/ 361474 w 447675"/>
                <a:gd name="connsiteY11" fmla="*/ 13472 h 457200"/>
                <a:gd name="connsiteX12" fmla="*/ 306991 w 447675"/>
                <a:gd name="connsiteY12" fmla="*/ 18425 h 457200"/>
                <a:gd name="connsiteX13" fmla="*/ 306610 w 447675"/>
                <a:gd name="connsiteY13" fmla="*/ 18806 h 457200"/>
                <a:gd name="connsiteX14" fmla="*/ 290322 w 447675"/>
                <a:gd name="connsiteY14" fmla="*/ 45952 h 457200"/>
                <a:gd name="connsiteX15" fmla="*/ 266033 w 447675"/>
                <a:gd name="connsiteY15" fmla="*/ 54906 h 457200"/>
                <a:gd name="connsiteX16" fmla="*/ 265176 w 447675"/>
                <a:gd name="connsiteY16" fmla="*/ 55573 h 457200"/>
                <a:gd name="connsiteX17" fmla="*/ 251651 w 447675"/>
                <a:gd name="connsiteY17" fmla="*/ 70813 h 457200"/>
                <a:gd name="connsiteX18" fmla="*/ 234506 w 447675"/>
                <a:gd name="connsiteY18" fmla="*/ 70241 h 457200"/>
                <a:gd name="connsiteX19" fmla="*/ 232410 w 447675"/>
                <a:gd name="connsiteY19" fmla="*/ 70622 h 457200"/>
                <a:gd name="connsiteX20" fmla="*/ 232315 w 447675"/>
                <a:gd name="connsiteY20" fmla="*/ 70622 h 457200"/>
                <a:gd name="connsiteX21" fmla="*/ 213931 w 447675"/>
                <a:gd name="connsiteY21" fmla="*/ 78052 h 457200"/>
                <a:gd name="connsiteX22" fmla="*/ 194786 w 447675"/>
                <a:gd name="connsiteY22" fmla="*/ 68622 h 457200"/>
                <a:gd name="connsiteX23" fmla="*/ 194024 w 447675"/>
                <a:gd name="connsiteY23" fmla="*/ 68431 h 457200"/>
                <a:gd name="connsiteX24" fmla="*/ 172879 w 447675"/>
                <a:gd name="connsiteY24" fmla="*/ 68146 h 457200"/>
                <a:gd name="connsiteX25" fmla="*/ 156591 w 447675"/>
                <a:gd name="connsiteY25" fmla="*/ 51191 h 457200"/>
                <a:gd name="connsiteX26" fmla="*/ 156686 w 447675"/>
                <a:gd name="connsiteY26" fmla="*/ 50905 h 457200"/>
                <a:gd name="connsiteX27" fmla="*/ 121253 w 447675"/>
                <a:gd name="connsiteY27" fmla="*/ 43762 h 457200"/>
                <a:gd name="connsiteX28" fmla="*/ 74009 w 447675"/>
                <a:gd name="connsiteY28" fmla="*/ 19473 h 457200"/>
                <a:gd name="connsiteX29" fmla="*/ 71533 w 447675"/>
                <a:gd name="connsiteY29" fmla="*/ 19759 h 457200"/>
                <a:gd name="connsiteX30" fmla="*/ 30861 w 447675"/>
                <a:gd name="connsiteY30" fmla="*/ 71575 h 457200"/>
                <a:gd name="connsiteX31" fmla="*/ 7144 w 447675"/>
                <a:gd name="connsiteY31" fmla="*/ 112818 h 457200"/>
                <a:gd name="connsiteX32" fmla="*/ 7144 w 447675"/>
                <a:gd name="connsiteY32" fmla="*/ 113770 h 457200"/>
                <a:gd name="connsiteX33" fmla="*/ 16764 w 447675"/>
                <a:gd name="connsiteY33" fmla="*/ 142345 h 457200"/>
                <a:gd name="connsiteX34" fmla="*/ 7144 w 447675"/>
                <a:gd name="connsiteY34" fmla="*/ 171016 h 457200"/>
                <a:gd name="connsiteX35" fmla="*/ 7144 w 447675"/>
                <a:gd name="connsiteY35" fmla="*/ 171968 h 457200"/>
                <a:gd name="connsiteX36" fmla="*/ 16764 w 447675"/>
                <a:gd name="connsiteY36" fmla="*/ 200543 h 457200"/>
                <a:gd name="connsiteX37" fmla="*/ 7144 w 447675"/>
                <a:gd name="connsiteY37" fmla="*/ 229309 h 457200"/>
                <a:gd name="connsiteX38" fmla="*/ 7144 w 447675"/>
                <a:gd name="connsiteY38" fmla="*/ 230261 h 457200"/>
                <a:gd name="connsiteX39" fmla="*/ 16955 w 447675"/>
                <a:gd name="connsiteY39" fmla="*/ 258931 h 457200"/>
                <a:gd name="connsiteX40" fmla="*/ 7144 w 447675"/>
                <a:gd name="connsiteY40" fmla="*/ 287506 h 457200"/>
                <a:gd name="connsiteX41" fmla="*/ 7144 w 447675"/>
                <a:gd name="connsiteY41" fmla="*/ 287983 h 457200"/>
                <a:gd name="connsiteX42" fmla="*/ 54769 w 447675"/>
                <a:gd name="connsiteY42" fmla="*/ 335417 h 457200"/>
                <a:gd name="connsiteX43" fmla="*/ 102394 w 447675"/>
                <a:gd name="connsiteY43" fmla="*/ 287506 h 457200"/>
                <a:gd name="connsiteX44" fmla="*/ 92583 w 447675"/>
                <a:gd name="connsiteY44" fmla="*/ 258836 h 457200"/>
                <a:gd name="connsiteX45" fmla="*/ 102394 w 447675"/>
                <a:gd name="connsiteY45" fmla="*/ 230261 h 457200"/>
                <a:gd name="connsiteX46" fmla="*/ 102394 w 447675"/>
                <a:gd name="connsiteY46" fmla="*/ 229309 h 457200"/>
                <a:gd name="connsiteX47" fmla="*/ 92488 w 447675"/>
                <a:gd name="connsiteY47" fmla="*/ 200257 h 457200"/>
                <a:gd name="connsiteX48" fmla="*/ 102394 w 447675"/>
                <a:gd name="connsiteY48" fmla="*/ 171016 h 457200"/>
                <a:gd name="connsiteX49" fmla="*/ 92488 w 447675"/>
                <a:gd name="connsiteY49" fmla="*/ 141964 h 457200"/>
                <a:gd name="connsiteX50" fmla="*/ 100108 w 447675"/>
                <a:gd name="connsiteY50" fmla="*/ 127391 h 457200"/>
                <a:gd name="connsiteX51" fmla="*/ 103823 w 447675"/>
                <a:gd name="connsiteY51" fmla="*/ 130153 h 457200"/>
                <a:gd name="connsiteX52" fmla="*/ 105918 w 447675"/>
                <a:gd name="connsiteY52" fmla="*/ 131487 h 457200"/>
                <a:gd name="connsiteX53" fmla="*/ 141351 w 447675"/>
                <a:gd name="connsiteY53" fmla="*/ 137678 h 457200"/>
                <a:gd name="connsiteX54" fmla="*/ 171736 w 447675"/>
                <a:gd name="connsiteY54" fmla="*/ 160824 h 457200"/>
                <a:gd name="connsiteX55" fmla="*/ 172784 w 447675"/>
                <a:gd name="connsiteY55" fmla="*/ 161110 h 457200"/>
                <a:gd name="connsiteX56" fmla="*/ 210312 w 447675"/>
                <a:gd name="connsiteY56" fmla="*/ 154347 h 457200"/>
                <a:gd name="connsiteX57" fmla="*/ 248603 w 447675"/>
                <a:gd name="connsiteY57" fmla="*/ 164348 h 457200"/>
                <a:gd name="connsiteX58" fmla="*/ 283178 w 447675"/>
                <a:gd name="connsiteY58" fmla="*/ 140440 h 457200"/>
                <a:gd name="connsiteX59" fmla="*/ 321278 w 447675"/>
                <a:gd name="connsiteY59" fmla="*/ 132439 h 457200"/>
                <a:gd name="connsiteX60" fmla="*/ 322040 w 447675"/>
                <a:gd name="connsiteY60" fmla="*/ 131868 h 457200"/>
                <a:gd name="connsiteX61" fmla="*/ 340709 w 447675"/>
                <a:gd name="connsiteY61" fmla="*/ 102817 h 457200"/>
                <a:gd name="connsiteX62" fmla="*/ 349282 w 447675"/>
                <a:gd name="connsiteY62" fmla="*/ 101293 h 457200"/>
                <a:gd name="connsiteX63" fmla="*/ 348139 w 447675"/>
                <a:gd name="connsiteY63" fmla="*/ 116818 h 457200"/>
                <a:gd name="connsiteX64" fmla="*/ 358521 w 447675"/>
                <a:gd name="connsiteY64" fmla="*/ 142536 h 457200"/>
                <a:gd name="connsiteX65" fmla="*/ 349949 w 447675"/>
                <a:gd name="connsiteY65" fmla="*/ 169111 h 457200"/>
                <a:gd name="connsiteX66" fmla="*/ 349949 w 447675"/>
                <a:gd name="connsiteY66" fmla="*/ 170730 h 457200"/>
                <a:gd name="connsiteX67" fmla="*/ 358045 w 447675"/>
                <a:gd name="connsiteY67" fmla="*/ 197305 h 457200"/>
                <a:gd name="connsiteX68" fmla="*/ 347091 w 447675"/>
                <a:gd name="connsiteY68" fmla="*/ 223117 h 457200"/>
                <a:gd name="connsiteX69" fmla="*/ 346900 w 447675"/>
                <a:gd name="connsiteY69" fmla="*/ 224737 h 457200"/>
                <a:gd name="connsiteX70" fmla="*/ 352425 w 447675"/>
                <a:gd name="connsiteY70" fmla="*/ 251502 h 457200"/>
                <a:gd name="connsiteX71" fmla="*/ 338900 w 447675"/>
                <a:gd name="connsiteY71" fmla="*/ 274933 h 457200"/>
                <a:gd name="connsiteX72" fmla="*/ 337471 w 447675"/>
                <a:gd name="connsiteY72" fmla="*/ 287316 h 457200"/>
                <a:gd name="connsiteX73" fmla="*/ 330422 w 447675"/>
                <a:gd name="connsiteY73" fmla="*/ 290650 h 457200"/>
                <a:gd name="connsiteX74" fmla="*/ 311753 w 447675"/>
                <a:gd name="connsiteY74" fmla="*/ 279791 h 457200"/>
                <a:gd name="connsiteX75" fmla="*/ 310610 w 447675"/>
                <a:gd name="connsiteY75" fmla="*/ 279410 h 457200"/>
                <a:gd name="connsiteX76" fmla="*/ 281464 w 447675"/>
                <a:gd name="connsiteY76" fmla="*/ 279886 h 457200"/>
                <a:gd name="connsiteX77" fmla="*/ 255175 w 447675"/>
                <a:gd name="connsiteY77" fmla="*/ 261408 h 457200"/>
                <a:gd name="connsiteX78" fmla="*/ 213074 w 447675"/>
                <a:gd name="connsiteY78" fmla="*/ 268742 h 457200"/>
                <a:gd name="connsiteX79" fmla="*/ 158306 w 447675"/>
                <a:gd name="connsiteY79" fmla="*/ 269123 h 457200"/>
                <a:gd name="connsiteX80" fmla="*/ 154781 w 447675"/>
                <a:gd name="connsiteY80" fmla="*/ 271790 h 457200"/>
                <a:gd name="connsiteX81" fmla="*/ 148590 w 447675"/>
                <a:gd name="connsiteY81" fmla="*/ 338846 h 457200"/>
                <a:gd name="connsiteX82" fmla="*/ 149924 w 447675"/>
                <a:gd name="connsiteY82" fmla="*/ 340370 h 457200"/>
                <a:gd name="connsiteX83" fmla="*/ 151257 w 447675"/>
                <a:gd name="connsiteY83" fmla="*/ 382566 h 457200"/>
                <a:gd name="connsiteX84" fmla="*/ 152019 w 447675"/>
                <a:gd name="connsiteY84" fmla="*/ 383900 h 457200"/>
                <a:gd name="connsiteX85" fmla="*/ 174498 w 447675"/>
                <a:gd name="connsiteY85" fmla="*/ 404474 h 457200"/>
                <a:gd name="connsiteX86" fmla="*/ 203930 w 447675"/>
                <a:gd name="connsiteY86" fmla="*/ 427619 h 457200"/>
                <a:gd name="connsiteX87" fmla="*/ 207931 w 447675"/>
                <a:gd name="connsiteY87" fmla="*/ 453813 h 457200"/>
                <a:gd name="connsiteX88" fmla="*/ 223171 w 447675"/>
                <a:gd name="connsiteY88" fmla="*/ 398282 h 457200"/>
                <a:gd name="connsiteX89" fmla="*/ 240983 w 447675"/>
                <a:gd name="connsiteY89" fmla="*/ 354848 h 457200"/>
                <a:gd name="connsiteX90" fmla="*/ 258032 w 447675"/>
                <a:gd name="connsiteY90" fmla="*/ 352277 h 457200"/>
                <a:gd name="connsiteX91" fmla="*/ 283274 w 447675"/>
                <a:gd name="connsiteY91" fmla="*/ 370564 h 457200"/>
                <a:gd name="connsiteX92" fmla="*/ 284036 w 447675"/>
                <a:gd name="connsiteY92" fmla="*/ 370755 h 457200"/>
                <a:gd name="connsiteX93" fmla="*/ 321564 w 447675"/>
                <a:gd name="connsiteY93" fmla="*/ 366659 h 457200"/>
                <a:gd name="connsiteX94" fmla="*/ 366808 w 447675"/>
                <a:gd name="connsiteY94" fmla="*/ 377994 h 457200"/>
                <a:gd name="connsiteX95" fmla="*/ 367760 w 447675"/>
                <a:gd name="connsiteY95" fmla="*/ 377708 h 457200"/>
                <a:gd name="connsiteX96" fmla="*/ 402908 w 447675"/>
                <a:gd name="connsiteY96" fmla="*/ 330845 h 457200"/>
                <a:gd name="connsiteX97" fmla="*/ 431673 w 447675"/>
                <a:gd name="connsiteY97" fmla="*/ 298079 h 457200"/>
                <a:gd name="connsiteX98" fmla="*/ 431959 w 447675"/>
                <a:gd name="connsiteY98" fmla="*/ 296841 h 457200"/>
                <a:gd name="connsiteX99" fmla="*/ 427577 w 447675"/>
                <a:gd name="connsiteY99" fmla="*/ 263218 h 457200"/>
                <a:gd name="connsiteX100" fmla="*/ 442055 w 447675"/>
                <a:gd name="connsiteY100" fmla="*/ 233309 h 457200"/>
                <a:gd name="connsiteX101" fmla="*/ 441960 w 447675"/>
                <a:gd name="connsiteY101" fmla="*/ 23302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47675" h="457200">
                  <a:moveTo>
                    <a:pt x="441960" y="233023"/>
                  </a:moveTo>
                  <a:cubicBezTo>
                    <a:pt x="443198" y="221403"/>
                    <a:pt x="440055" y="210354"/>
                    <a:pt x="433959" y="201400"/>
                  </a:cubicBezTo>
                  <a:cubicBezTo>
                    <a:pt x="440912" y="193209"/>
                    <a:pt x="445103" y="182541"/>
                    <a:pt x="445199" y="171016"/>
                  </a:cubicBezTo>
                  <a:lnTo>
                    <a:pt x="445199" y="170730"/>
                  </a:lnTo>
                  <a:cubicBezTo>
                    <a:pt x="445389" y="159109"/>
                    <a:pt x="441389" y="148441"/>
                    <a:pt x="434626" y="140059"/>
                  </a:cubicBezTo>
                  <a:cubicBezTo>
                    <a:pt x="440817" y="131201"/>
                    <a:pt x="444056" y="120152"/>
                    <a:pt x="443008" y="108532"/>
                  </a:cubicBezTo>
                  <a:lnTo>
                    <a:pt x="442913" y="107579"/>
                  </a:lnTo>
                  <a:cubicBezTo>
                    <a:pt x="441770" y="95006"/>
                    <a:pt x="435864" y="84052"/>
                    <a:pt x="427196" y="76432"/>
                  </a:cubicBezTo>
                  <a:cubicBezTo>
                    <a:pt x="432911" y="64526"/>
                    <a:pt x="433673" y="50334"/>
                    <a:pt x="428149" y="37189"/>
                  </a:cubicBezTo>
                  <a:cubicBezTo>
                    <a:pt x="428054" y="36999"/>
                    <a:pt x="427673" y="35951"/>
                    <a:pt x="427577" y="35856"/>
                  </a:cubicBezTo>
                  <a:cubicBezTo>
                    <a:pt x="417100" y="11853"/>
                    <a:pt x="389382" y="1185"/>
                    <a:pt x="365379" y="11567"/>
                  </a:cubicBezTo>
                  <a:cubicBezTo>
                    <a:pt x="364046" y="12139"/>
                    <a:pt x="362712" y="12805"/>
                    <a:pt x="361474" y="13472"/>
                  </a:cubicBezTo>
                  <a:cubicBezTo>
                    <a:pt x="344615" y="3757"/>
                    <a:pt x="322707" y="5090"/>
                    <a:pt x="306991" y="18425"/>
                  </a:cubicBezTo>
                  <a:lnTo>
                    <a:pt x="306610" y="18806"/>
                  </a:lnTo>
                  <a:cubicBezTo>
                    <a:pt x="297942" y="26045"/>
                    <a:pt x="292418" y="35665"/>
                    <a:pt x="290322" y="45952"/>
                  </a:cubicBezTo>
                  <a:cubicBezTo>
                    <a:pt x="281845" y="46619"/>
                    <a:pt x="273463" y="49572"/>
                    <a:pt x="266033" y="54906"/>
                  </a:cubicBezTo>
                  <a:cubicBezTo>
                    <a:pt x="265938" y="55001"/>
                    <a:pt x="265367" y="55382"/>
                    <a:pt x="265176" y="55573"/>
                  </a:cubicBezTo>
                  <a:cubicBezTo>
                    <a:pt x="259461" y="59764"/>
                    <a:pt x="254889" y="65002"/>
                    <a:pt x="251651" y="70813"/>
                  </a:cubicBezTo>
                  <a:cubicBezTo>
                    <a:pt x="246221" y="69574"/>
                    <a:pt x="240411" y="69384"/>
                    <a:pt x="234506" y="70241"/>
                  </a:cubicBezTo>
                  <a:cubicBezTo>
                    <a:pt x="234125" y="70336"/>
                    <a:pt x="232791" y="70527"/>
                    <a:pt x="232410" y="70622"/>
                  </a:cubicBezTo>
                  <a:lnTo>
                    <a:pt x="232315" y="70622"/>
                  </a:lnTo>
                  <a:cubicBezTo>
                    <a:pt x="225552" y="71860"/>
                    <a:pt x="219361" y="74432"/>
                    <a:pt x="213931" y="78052"/>
                  </a:cubicBezTo>
                  <a:cubicBezTo>
                    <a:pt x="208502" y="73670"/>
                    <a:pt x="202025" y="70336"/>
                    <a:pt x="194786" y="68622"/>
                  </a:cubicBezTo>
                  <a:lnTo>
                    <a:pt x="194024" y="68431"/>
                  </a:lnTo>
                  <a:cubicBezTo>
                    <a:pt x="186881" y="66717"/>
                    <a:pt x="179642" y="66717"/>
                    <a:pt x="172879" y="68146"/>
                  </a:cubicBezTo>
                  <a:cubicBezTo>
                    <a:pt x="169069" y="61478"/>
                    <a:pt x="163640" y="55573"/>
                    <a:pt x="156591" y="51191"/>
                  </a:cubicBezTo>
                  <a:lnTo>
                    <a:pt x="156686" y="50905"/>
                  </a:lnTo>
                  <a:cubicBezTo>
                    <a:pt x="145828" y="43666"/>
                    <a:pt x="133160" y="41476"/>
                    <a:pt x="121253" y="43762"/>
                  </a:cubicBezTo>
                  <a:cubicBezTo>
                    <a:pt x="112205" y="27283"/>
                    <a:pt x="93821" y="17282"/>
                    <a:pt x="74009" y="19473"/>
                  </a:cubicBezTo>
                  <a:lnTo>
                    <a:pt x="71533" y="19759"/>
                  </a:lnTo>
                  <a:cubicBezTo>
                    <a:pt x="46292" y="23569"/>
                    <a:pt x="28385" y="46429"/>
                    <a:pt x="30861" y="71575"/>
                  </a:cubicBezTo>
                  <a:cubicBezTo>
                    <a:pt x="16669" y="79861"/>
                    <a:pt x="7144" y="95197"/>
                    <a:pt x="7144" y="112818"/>
                  </a:cubicBezTo>
                  <a:lnTo>
                    <a:pt x="7144" y="113770"/>
                  </a:lnTo>
                  <a:cubicBezTo>
                    <a:pt x="7144" y="124534"/>
                    <a:pt x="10763" y="134440"/>
                    <a:pt x="16764" y="142345"/>
                  </a:cubicBezTo>
                  <a:cubicBezTo>
                    <a:pt x="10763" y="150251"/>
                    <a:pt x="7144" y="160252"/>
                    <a:pt x="7144" y="171016"/>
                  </a:cubicBezTo>
                  <a:lnTo>
                    <a:pt x="7144" y="171968"/>
                  </a:lnTo>
                  <a:cubicBezTo>
                    <a:pt x="7144" y="182731"/>
                    <a:pt x="10763" y="192637"/>
                    <a:pt x="16764" y="200543"/>
                  </a:cubicBezTo>
                  <a:cubicBezTo>
                    <a:pt x="10763" y="208544"/>
                    <a:pt x="7144" y="218450"/>
                    <a:pt x="7144" y="229309"/>
                  </a:cubicBezTo>
                  <a:lnTo>
                    <a:pt x="7144" y="230261"/>
                  </a:lnTo>
                  <a:cubicBezTo>
                    <a:pt x="7144" y="241024"/>
                    <a:pt x="10859" y="250930"/>
                    <a:pt x="16955" y="258931"/>
                  </a:cubicBezTo>
                  <a:cubicBezTo>
                    <a:pt x="10859" y="266837"/>
                    <a:pt x="7144" y="276743"/>
                    <a:pt x="7144" y="287506"/>
                  </a:cubicBezTo>
                  <a:lnTo>
                    <a:pt x="7144" y="287983"/>
                  </a:lnTo>
                  <a:cubicBezTo>
                    <a:pt x="7144" y="314272"/>
                    <a:pt x="28480" y="335417"/>
                    <a:pt x="54769" y="335417"/>
                  </a:cubicBezTo>
                  <a:cubicBezTo>
                    <a:pt x="81058" y="335417"/>
                    <a:pt x="102394" y="313891"/>
                    <a:pt x="102394" y="287506"/>
                  </a:cubicBezTo>
                  <a:cubicBezTo>
                    <a:pt x="102394" y="276743"/>
                    <a:pt x="98679" y="266837"/>
                    <a:pt x="92583" y="258836"/>
                  </a:cubicBezTo>
                  <a:cubicBezTo>
                    <a:pt x="98679" y="250930"/>
                    <a:pt x="102394" y="241024"/>
                    <a:pt x="102394" y="230261"/>
                  </a:cubicBezTo>
                  <a:lnTo>
                    <a:pt x="102394" y="229309"/>
                  </a:lnTo>
                  <a:cubicBezTo>
                    <a:pt x="102394" y="218355"/>
                    <a:pt x="98679" y="208354"/>
                    <a:pt x="92488" y="200257"/>
                  </a:cubicBezTo>
                  <a:cubicBezTo>
                    <a:pt x="98679" y="192066"/>
                    <a:pt x="102394" y="181969"/>
                    <a:pt x="102394" y="171016"/>
                  </a:cubicBezTo>
                  <a:cubicBezTo>
                    <a:pt x="102394" y="160062"/>
                    <a:pt x="98679" y="149965"/>
                    <a:pt x="92488" y="141964"/>
                  </a:cubicBezTo>
                  <a:cubicBezTo>
                    <a:pt x="95822" y="137583"/>
                    <a:pt x="98393" y="132725"/>
                    <a:pt x="100108" y="127391"/>
                  </a:cubicBezTo>
                  <a:cubicBezTo>
                    <a:pt x="101251" y="128344"/>
                    <a:pt x="102489" y="129296"/>
                    <a:pt x="103823" y="130153"/>
                  </a:cubicBezTo>
                  <a:lnTo>
                    <a:pt x="105918" y="131487"/>
                  </a:lnTo>
                  <a:cubicBezTo>
                    <a:pt x="116872" y="138250"/>
                    <a:pt x="129635" y="140155"/>
                    <a:pt x="141351" y="137678"/>
                  </a:cubicBezTo>
                  <a:cubicBezTo>
                    <a:pt x="147542" y="148918"/>
                    <a:pt x="158306" y="157585"/>
                    <a:pt x="171736" y="160824"/>
                  </a:cubicBezTo>
                  <a:lnTo>
                    <a:pt x="172784" y="161110"/>
                  </a:lnTo>
                  <a:cubicBezTo>
                    <a:pt x="186214" y="164348"/>
                    <a:pt x="199739" y="161491"/>
                    <a:pt x="210312" y="154347"/>
                  </a:cubicBezTo>
                  <a:cubicBezTo>
                    <a:pt x="220599" y="162824"/>
                    <a:pt x="234410" y="166825"/>
                    <a:pt x="248603" y="164348"/>
                  </a:cubicBezTo>
                  <a:cubicBezTo>
                    <a:pt x="263747" y="162062"/>
                    <a:pt x="276225" y="152918"/>
                    <a:pt x="283178" y="140440"/>
                  </a:cubicBezTo>
                  <a:cubicBezTo>
                    <a:pt x="295942" y="143203"/>
                    <a:pt x="309848" y="140726"/>
                    <a:pt x="321278" y="132439"/>
                  </a:cubicBezTo>
                  <a:lnTo>
                    <a:pt x="322040" y="131868"/>
                  </a:lnTo>
                  <a:cubicBezTo>
                    <a:pt x="332042" y="124534"/>
                    <a:pt x="338423" y="114056"/>
                    <a:pt x="340709" y="102817"/>
                  </a:cubicBezTo>
                  <a:cubicBezTo>
                    <a:pt x="343567" y="102626"/>
                    <a:pt x="346520" y="102055"/>
                    <a:pt x="349282" y="101293"/>
                  </a:cubicBezTo>
                  <a:cubicBezTo>
                    <a:pt x="348044" y="106246"/>
                    <a:pt x="347663" y="111484"/>
                    <a:pt x="348139" y="116818"/>
                  </a:cubicBezTo>
                  <a:cubicBezTo>
                    <a:pt x="348996" y="126629"/>
                    <a:pt x="352806" y="135487"/>
                    <a:pt x="358521" y="142536"/>
                  </a:cubicBezTo>
                  <a:cubicBezTo>
                    <a:pt x="353187" y="150061"/>
                    <a:pt x="350044" y="159205"/>
                    <a:pt x="349949" y="169111"/>
                  </a:cubicBezTo>
                  <a:cubicBezTo>
                    <a:pt x="349949" y="169301"/>
                    <a:pt x="349949" y="170539"/>
                    <a:pt x="349949" y="170730"/>
                  </a:cubicBezTo>
                  <a:cubicBezTo>
                    <a:pt x="349949" y="180636"/>
                    <a:pt x="352901" y="189780"/>
                    <a:pt x="358045" y="197305"/>
                  </a:cubicBezTo>
                  <a:cubicBezTo>
                    <a:pt x="352139" y="204353"/>
                    <a:pt x="348139" y="213211"/>
                    <a:pt x="347091" y="223117"/>
                  </a:cubicBezTo>
                  <a:lnTo>
                    <a:pt x="346900" y="224737"/>
                  </a:lnTo>
                  <a:cubicBezTo>
                    <a:pt x="346043" y="234357"/>
                    <a:pt x="348139" y="243596"/>
                    <a:pt x="352425" y="251502"/>
                  </a:cubicBezTo>
                  <a:cubicBezTo>
                    <a:pt x="345948" y="257693"/>
                    <a:pt x="341186" y="265694"/>
                    <a:pt x="338900" y="274933"/>
                  </a:cubicBezTo>
                  <a:cubicBezTo>
                    <a:pt x="337852" y="279029"/>
                    <a:pt x="337375" y="283220"/>
                    <a:pt x="337471" y="287316"/>
                  </a:cubicBezTo>
                  <a:cubicBezTo>
                    <a:pt x="334994" y="288268"/>
                    <a:pt x="332613" y="289316"/>
                    <a:pt x="330422" y="290650"/>
                  </a:cubicBezTo>
                  <a:cubicBezTo>
                    <a:pt x="325279" y="285792"/>
                    <a:pt x="318992" y="281982"/>
                    <a:pt x="311753" y="279791"/>
                  </a:cubicBezTo>
                  <a:lnTo>
                    <a:pt x="310610" y="279410"/>
                  </a:lnTo>
                  <a:cubicBezTo>
                    <a:pt x="300704" y="276457"/>
                    <a:pt x="290608" y="276743"/>
                    <a:pt x="281464" y="279886"/>
                  </a:cubicBezTo>
                  <a:cubicBezTo>
                    <a:pt x="275368" y="271123"/>
                    <a:pt x="266224" y="264456"/>
                    <a:pt x="255175" y="261408"/>
                  </a:cubicBezTo>
                  <a:cubicBezTo>
                    <a:pt x="240221" y="256836"/>
                    <a:pt x="224695" y="260074"/>
                    <a:pt x="213074" y="268742"/>
                  </a:cubicBezTo>
                  <a:cubicBezTo>
                    <a:pt x="196977" y="257598"/>
                    <a:pt x="175069" y="257122"/>
                    <a:pt x="158306" y="269123"/>
                  </a:cubicBezTo>
                  <a:cubicBezTo>
                    <a:pt x="157067" y="269980"/>
                    <a:pt x="155924" y="270838"/>
                    <a:pt x="154781" y="271790"/>
                  </a:cubicBezTo>
                  <a:cubicBezTo>
                    <a:pt x="134588" y="288554"/>
                    <a:pt x="131731" y="318653"/>
                    <a:pt x="148590" y="338846"/>
                  </a:cubicBezTo>
                  <a:cubicBezTo>
                    <a:pt x="149066" y="339323"/>
                    <a:pt x="149447" y="339894"/>
                    <a:pt x="149924" y="340370"/>
                  </a:cubicBezTo>
                  <a:cubicBezTo>
                    <a:pt x="144018" y="353419"/>
                    <a:pt x="143923" y="368945"/>
                    <a:pt x="151257" y="382566"/>
                  </a:cubicBezTo>
                  <a:cubicBezTo>
                    <a:pt x="151352" y="382756"/>
                    <a:pt x="151924" y="383804"/>
                    <a:pt x="152019" y="383900"/>
                  </a:cubicBezTo>
                  <a:cubicBezTo>
                    <a:pt x="157258" y="393425"/>
                    <a:pt x="165259" y="400378"/>
                    <a:pt x="174498" y="404474"/>
                  </a:cubicBezTo>
                  <a:cubicBezTo>
                    <a:pt x="177165" y="417237"/>
                    <a:pt x="195167" y="420761"/>
                    <a:pt x="203930" y="427619"/>
                  </a:cubicBezTo>
                  <a:cubicBezTo>
                    <a:pt x="215075" y="436382"/>
                    <a:pt x="207931" y="453813"/>
                    <a:pt x="207931" y="453813"/>
                  </a:cubicBezTo>
                  <a:cubicBezTo>
                    <a:pt x="228981" y="436478"/>
                    <a:pt x="227838" y="414094"/>
                    <a:pt x="223171" y="398282"/>
                  </a:cubicBezTo>
                  <a:cubicBezTo>
                    <a:pt x="236411" y="387805"/>
                    <a:pt x="242983" y="371231"/>
                    <a:pt x="240983" y="354848"/>
                  </a:cubicBezTo>
                  <a:cubicBezTo>
                    <a:pt x="246793" y="355039"/>
                    <a:pt x="252603" y="354181"/>
                    <a:pt x="258032" y="352277"/>
                  </a:cubicBezTo>
                  <a:cubicBezTo>
                    <a:pt x="263938" y="360754"/>
                    <a:pt x="272606" y="367326"/>
                    <a:pt x="283274" y="370564"/>
                  </a:cubicBezTo>
                  <a:lnTo>
                    <a:pt x="284036" y="370755"/>
                  </a:lnTo>
                  <a:cubicBezTo>
                    <a:pt x="297085" y="374755"/>
                    <a:pt x="310610" y="372851"/>
                    <a:pt x="321564" y="366659"/>
                  </a:cubicBezTo>
                  <a:cubicBezTo>
                    <a:pt x="333280" y="377613"/>
                    <a:pt x="350234" y="382471"/>
                    <a:pt x="366808" y="377994"/>
                  </a:cubicBezTo>
                  <a:lnTo>
                    <a:pt x="367760" y="377708"/>
                  </a:lnTo>
                  <a:cubicBezTo>
                    <a:pt x="389287" y="371803"/>
                    <a:pt x="403289" y="352181"/>
                    <a:pt x="402908" y="330845"/>
                  </a:cubicBezTo>
                  <a:cubicBezTo>
                    <a:pt x="416719" y="325416"/>
                    <a:pt x="427863" y="313605"/>
                    <a:pt x="431673" y="298079"/>
                  </a:cubicBezTo>
                  <a:lnTo>
                    <a:pt x="431959" y="296841"/>
                  </a:lnTo>
                  <a:cubicBezTo>
                    <a:pt x="434816" y="284935"/>
                    <a:pt x="433007" y="273124"/>
                    <a:pt x="427577" y="263218"/>
                  </a:cubicBezTo>
                  <a:cubicBezTo>
                    <a:pt x="435578" y="255598"/>
                    <a:pt x="440912" y="245120"/>
                    <a:pt x="442055" y="233309"/>
                  </a:cubicBezTo>
                  <a:lnTo>
                    <a:pt x="441960" y="233023"/>
                  </a:lnTo>
                  <a:close/>
                </a:path>
              </a:pathLst>
            </a:custGeom>
            <a:solidFill>
              <a:srgbClr val="1E70B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 sz="1467" dirty="0">
                <a:latin typeface="Arial" panose="020B0604020202020204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3635956" y="1852813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3661799" y="2198513"/>
              <a:ext cx="240001" cy="251310"/>
              <a:chOff x="3656928" y="2244240"/>
              <a:chExt cx="240001" cy="251310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AB1F0595-EDB1-E140-8678-83C6ACDF320C}"/>
                  </a:ext>
                </a:extLst>
              </p:cNvPr>
              <p:cNvGrpSpPr/>
              <p:nvPr/>
            </p:nvGrpSpPr>
            <p:grpSpPr>
              <a:xfrm>
                <a:off x="3724599" y="2281411"/>
                <a:ext cx="105751" cy="168566"/>
                <a:chOff x="7356475" y="1863725"/>
                <a:chExt cx="842977" cy="1290635"/>
              </a:xfrm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63500" sx="102000" sy="102000" algn="ctr" rotWithShape="0">
                  <a:schemeClr val="tx2">
                    <a:alpha val="16000"/>
                  </a:schemeClr>
                </a:outerShdw>
              </a:effectLst>
            </p:grpSpPr>
            <p:sp>
              <p:nvSpPr>
                <p:cNvPr id="69" name="Freeform 84">
                  <a:extLst>
                    <a:ext uri="{FF2B5EF4-FFF2-40B4-BE49-F238E27FC236}">
                      <a16:creationId xmlns:a16="http://schemas.microsoft.com/office/drawing/2014/main" id="{24139977-DB1A-1847-AC7E-616EF836A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2841" y="2068516"/>
                  <a:ext cx="836611" cy="1085844"/>
                </a:xfrm>
                <a:custGeom>
                  <a:avLst/>
                  <a:gdLst>
                    <a:gd name="T0" fmla="*/ 798 w 1101"/>
                    <a:gd name="T1" fmla="*/ 286 h 1430"/>
                    <a:gd name="T2" fmla="*/ 907 w 1101"/>
                    <a:gd name="T3" fmla="*/ 196 h 1430"/>
                    <a:gd name="T4" fmla="*/ 980 w 1101"/>
                    <a:gd name="T5" fmla="*/ 84 h 1430"/>
                    <a:gd name="T6" fmla="*/ 892 w 1101"/>
                    <a:gd name="T7" fmla="*/ 14 h 1430"/>
                    <a:gd name="T8" fmla="*/ 444 w 1101"/>
                    <a:gd name="T9" fmla="*/ 465 h 1430"/>
                    <a:gd name="T10" fmla="*/ 128 w 1101"/>
                    <a:gd name="T11" fmla="*/ 733 h 1430"/>
                    <a:gd name="T12" fmla="*/ 85 w 1101"/>
                    <a:gd name="T13" fmla="*/ 911 h 1430"/>
                    <a:gd name="T14" fmla="*/ 858 w 1101"/>
                    <a:gd name="T15" fmla="*/ 1418 h 1430"/>
                    <a:gd name="T16" fmla="*/ 1086 w 1101"/>
                    <a:gd name="T17" fmla="*/ 974 h 1430"/>
                    <a:gd name="T18" fmla="*/ 798 w 1101"/>
                    <a:gd name="T19" fmla="*/ 286 h 1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01" h="1430">
                      <a:moveTo>
                        <a:pt x="798" y="286"/>
                      </a:moveTo>
                      <a:cubicBezTo>
                        <a:pt x="810" y="269"/>
                        <a:pt x="866" y="215"/>
                        <a:pt x="907" y="196"/>
                      </a:cubicBezTo>
                      <a:cubicBezTo>
                        <a:pt x="948" y="177"/>
                        <a:pt x="997" y="169"/>
                        <a:pt x="980" y="84"/>
                      </a:cubicBezTo>
                      <a:cubicBezTo>
                        <a:pt x="963" y="0"/>
                        <a:pt x="892" y="14"/>
                        <a:pt x="892" y="14"/>
                      </a:cubicBezTo>
                      <a:cubicBezTo>
                        <a:pt x="635" y="58"/>
                        <a:pt x="490" y="334"/>
                        <a:pt x="444" y="465"/>
                      </a:cubicBezTo>
                      <a:cubicBezTo>
                        <a:pt x="398" y="596"/>
                        <a:pt x="257" y="683"/>
                        <a:pt x="128" y="733"/>
                      </a:cubicBezTo>
                      <a:cubicBezTo>
                        <a:pt x="0" y="784"/>
                        <a:pt x="85" y="911"/>
                        <a:pt x="85" y="911"/>
                      </a:cubicBezTo>
                      <a:cubicBezTo>
                        <a:pt x="359" y="1345"/>
                        <a:pt x="708" y="1406"/>
                        <a:pt x="858" y="1418"/>
                      </a:cubicBezTo>
                      <a:cubicBezTo>
                        <a:pt x="1009" y="1430"/>
                        <a:pt x="1072" y="1376"/>
                        <a:pt x="1086" y="974"/>
                      </a:cubicBezTo>
                      <a:cubicBezTo>
                        <a:pt x="1101" y="572"/>
                        <a:pt x="798" y="286"/>
                        <a:pt x="798" y="286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  <p:sp>
              <p:nvSpPr>
                <p:cNvPr id="70" name="Freeform 85">
                  <a:extLst>
                    <a:ext uri="{FF2B5EF4-FFF2-40B4-BE49-F238E27FC236}">
                      <a16:creationId xmlns:a16="http://schemas.microsoft.com/office/drawing/2014/main" id="{D1585969-832E-9045-8B44-66F08B70DF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475" y="2106613"/>
                  <a:ext cx="241300" cy="544513"/>
                </a:xfrm>
                <a:custGeom>
                  <a:avLst/>
                  <a:gdLst>
                    <a:gd name="T0" fmla="*/ 139 w 317"/>
                    <a:gd name="T1" fmla="*/ 632 h 716"/>
                    <a:gd name="T2" fmla="*/ 317 w 317"/>
                    <a:gd name="T3" fmla="*/ 529 h 716"/>
                    <a:gd name="T4" fmla="*/ 252 w 317"/>
                    <a:gd name="T5" fmla="*/ 238 h 716"/>
                    <a:gd name="T6" fmla="*/ 220 w 317"/>
                    <a:gd name="T7" fmla="*/ 10 h 716"/>
                    <a:gd name="T8" fmla="*/ 121 w 317"/>
                    <a:gd name="T9" fmla="*/ 78 h 716"/>
                    <a:gd name="T10" fmla="*/ 157 w 317"/>
                    <a:gd name="T11" fmla="*/ 182 h 716"/>
                    <a:gd name="T12" fmla="*/ 121 w 317"/>
                    <a:gd name="T13" fmla="*/ 361 h 716"/>
                    <a:gd name="T14" fmla="*/ 36 w 317"/>
                    <a:gd name="T15" fmla="*/ 716 h 716"/>
                    <a:gd name="T16" fmla="*/ 139 w 317"/>
                    <a:gd name="T17" fmla="*/ 632 h 7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7" h="716">
                      <a:moveTo>
                        <a:pt x="139" y="632"/>
                      </a:moveTo>
                      <a:cubicBezTo>
                        <a:pt x="237" y="593"/>
                        <a:pt x="317" y="529"/>
                        <a:pt x="317" y="529"/>
                      </a:cubicBezTo>
                      <a:cubicBezTo>
                        <a:pt x="317" y="529"/>
                        <a:pt x="232" y="350"/>
                        <a:pt x="252" y="238"/>
                      </a:cubicBezTo>
                      <a:cubicBezTo>
                        <a:pt x="271" y="127"/>
                        <a:pt x="261" y="20"/>
                        <a:pt x="220" y="10"/>
                      </a:cubicBezTo>
                      <a:cubicBezTo>
                        <a:pt x="179" y="0"/>
                        <a:pt x="111" y="5"/>
                        <a:pt x="121" y="78"/>
                      </a:cubicBezTo>
                      <a:cubicBezTo>
                        <a:pt x="121" y="78"/>
                        <a:pt x="184" y="97"/>
                        <a:pt x="157" y="182"/>
                      </a:cubicBezTo>
                      <a:cubicBezTo>
                        <a:pt x="130" y="267"/>
                        <a:pt x="111" y="331"/>
                        <a:pt x="121" y="361"/>
                      </a:cubicBezTo>
                      <a:cubicBezTo>
                        <a:pt x="121" y="361"/>
                        <a:pt x="0" y="541"/>
                        <a:pt x="36" y="716"/>
                      </a:cubicBezTo>
                      <a:cubicBezTo>
                        <a:pt x="36" y="716"/>
                        <a:pt x="49" y="668"/>
                        <a:pt x="139" y="632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  <p:sp>
              <p:nvSpPr>
                <p:cNvPr id="71" name="Freeform 86">
                  <a:extLst>
                    <a:ext uri="{FF2B5EF4-FFF2-40B4-BE49-F238E27FC236}">
                      <a16:creationId xmlns:a16="http://schemas.microsoft.com/office/drawing/2014/main" id="{33C54B1A-1670-4043-B393-8D0093E88D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7613" y="1863725"/>
                  <a:ext cx="420688" cy="611188"/>
                </a:xfrm>
                <a:custGeom>
                  <a:avLst/>
                  <a:gdLst>
                    <a:gd name="T0" fmla="*/ 143 w 555"/>
                    <a:gd name="T1" fmla="*/ 679 h 805"/>
                    <a:gd name="T2" fmla="*/ 272 w 555"/>
                    <a:gd name="T3" fmla="*/ 454 h 805"/>
                    <a:gd name="T4" fmla="*/ 332 w 555"/>
                    <a:gd name="T5" fmla="*/ 254 h 805"/>
                    <a:gd name="T6" fmla="*/ 463 w 555"/>
                    <a:gd name="T7" fmla="*/ 277 h 805"/>
                    <a:gd name="T8" fmla="*/ 555 w 555"/>
                    <a:gd name="T9" fmla="*/ 236 h 805"/>
                    <a:gd name="T10" fmla="*/ 400 w 555"/>
                    <a:gd name="T11" fmla="*/ 105 h 805"/>
                    <a:gd name="T12" fmla="*/ 386 w 555"/>
                    <a:gd name="T13" fmla="*/ 39 h 805"/>
                    <a:gd name="T14" fmla="*/ 349 w 555"/>
                    <a:gd name="T15" fmla="*/ 44 h 805"/>
                    <a:gd name="T16" fmla="*/ 306 w 555"/>
                    <a:gd name="T17" fmla="*/ 119 h 805"/>
                    <a:gd name="T18" fmla="*/ 272 w 555"/>
                    <a:gd name="T19" fmla="*/ 34 h 805"/>
                    <a:gd name="T20" fmla="*/ 231 w 555"/>
                    <a:gd name="T21" fmla="*/ 42 h 805"/>
                    <a:gd name="T22" fmla="*/ 209 w 555"/>
                    <a:gd name="T23" fmla="*/ 136 h 805"/>
                    <a:gd name="T24" fmla="*/ 146 w 555"/>
                    <a:gd name="T25" fmla="*/ 93 h 805"/>
                    <a:gd name="T26" fmla="*/ 80 w 555"/>
                    <a:gd name="T27" fmla="*/ 93 h 805"/>
                    <a:gd name="T28" fmla="*/ 88 w 555"/>
                    <a:gd name="T29" fmla="*/ 238 h 805"/>
                    <a:gd name="T30" fmla="*/ 15 w 555"/>
                    <a:gd name="T31" fmla="*/ 514 h 805"/>
                    <a:gd name="T32" fmla="*/ 85 w 555"/>
                    <a:gd name="T33" fmla="*/ 805 h 805"/>
                    <a:gd name="T34" fmla="*/ 143 w 555"/>
                    <a:gd name="T35" fmla="*/ 679 h 8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5" h="805">
                      <a:moveTo>
                        <a:pt x="143" y="679"/>
                      </a:moveTo>
                      <a:cubicBezTo>
                        <a:pt x="177" y="575"/>
                        <a:pt x="272" y="454"/>
                        <a:pt x="272" y="454"/>
                      </a:cubicBezTo>
                      <a:cubicBezTo>
                        <a:pt x="272" y="454"/>
                        <a:pt x="267" y="274"/>
                        <a:pt x="332" y="254"/>
                      </a:cubicBezTo>
                      <a:cubicBezTo>
                        <a:pt x="398" y="234"/>
                        <a:pt x="463" y="277"/>
                        <a:pt x="463" y="277"/>
                      </a:cubicBezTo>
                      <a:cubicBezTo>
                        <a:pt x="555" y="236"/>
                        <a:pt x="555" y="236"/>
                        <a:pt x="555" y="236"/>
                      </a:cubicBezTo>
                      <a:cubicBezTo>
                        <a:pt x="517" y="148"/>
                        <a:pt x="422" y="119"/>
                        <a:pt x="400" y="105"/>
                      </a:cubicBezTo>
                      <a:cubicBezTo>
                        <a:pt x="378" y="90"/>
                        <a:pt x="386" y="39"/>
                        <a:pt x="386" y="39"/>
                      </a:cubicBezTo>
                      <a:cubicBezTo>
                        <a:pt x="378" y="10"/>
                        <a:pt x="345" y="20"/>
                        <a:pt x="349" y="44"/>
                      </a:cubicBezTo>
                      <a:cubicBezTo>
                        <a:pt x="354" y="68"/>
                        <a:pt x="342" y="119"/>
                        <a:pt x="306" y="119"/>
                      </a:cubicBezTo>
                      <a:cubicBezTo>
                        <a:pt x="269" y="119"/>
                        <a:pt x="272" y="34"/>
                        <a:pt x="272" y="34"/>
                      </a:cubicBezTo>
                      <a:cubicBezTo>
                        <a:pt x="238" y="0"/>
                        <a:pt x="231" y="42"/>
                        <a:pt x="231" y="42"/>
                      </a:cubicBezTo>
                      <a:cubicBezTo>
                        <a:pt x="231" y="42"/>
                        <a:pt x="243" y="127"/>
                        <a:pt x="209" y="136"/>
                      </a:cubicBezTo>
                      <a:cubicBezTo>
                        <a:pt x="175" y="146"/>
                        <a:pt x="146" y="93"/>
                        <a:pt x="146" y="93"/>
                      </a:cubicBezTo>
                      <a:cubicBezTo>
                        <a:pt x="146" y="93"/>
                        <a:pt x="122" y="42"/>
                        <a:pt x="80" y="93"/>
                      </a:cubicBezTo>
                      <a:cubicBezTo>
                        <a:pt x="39" y="144"/>
                        <a:pt x="80" y="168"/>
                        <a:pt x="88" y="238"/>
                      </a:cubicBezTo>
                      <a:cubicBezTo>
                        <a:pt x="95" y="308"/>
                        <a:pt x="29" y="391"/>
                        <a:pt x="15" y="514"/>
                      </a:cubicBezTo>
                      <a:cubicBezTo>
                        <a:pt x="0" y="638"/>
                        <a:pt x="85" y="805"/>
                        <a:pt x="85" y="805"/>
                      </a:cubicBezTo>
                      <a:cubicBezTo>
                        <a:pt x="85" y="805"/>
                        <a:pt x="109" y="783"/>
                        <a:pt x="143" y="679"/>
                      </a:cubicBezTo>
                      <a:close/>
                    </a:path>
                  </a:pathLst>
                </a:custGeom>
                <a:solidFill>
                  <a:srgbClr val="1E70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467" dirty="0">
                    <a:latin typeface="Arial" panose="020B0604020202020204"/>
                  </a:endParaRPr>
                </a:p>
              </p:txBody>
            </p:sp>
          </p:grpSp>
          <p:sp>
            <p:nvSpPr>
              <p:cNvPr id="68" name="Oval 67"/>
              <p:cNvSpPr/>
              <p:nvPr/>
            </p:nvSpPr>
            <p:spPr>
              <a:xfrm>
                <a:off x="3656928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59641" y="2193111"/>
              <a:ext cx="240001" cy="251310"/>
              <a:chOff x="3037091" y="2244240"/>
              <a:chExt cx="240001" cy="251310"/>
            </a:xfrm>
          </p:grpSpPr>
          <p:pic>
            <p:nvPicPr>
              <p:cNvPr id="65" name="Graphic 64">
                <a:extLst>
                  <a:ext uri="{FF2B5EF4-FFF2-40B4-BE49-F238E27FC236}">
                    <a16:creationId xmlns:a16="http://schemas.microsoft.com/office/drawing/2014/main" id="{66551585-9E95-3745-8A00-10D3B69019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97559" y="2298538"/>
                <a:ext cx="112896" cy="161057"/>
              </a:xfrm>
              <a:prstGeom prst="rect">
                <a:avLst/>
              </a:prstGeom>
              <a:solidFill>
                <a:srgbClr val="1E70B2"/>
              </a:solidFill>
            </p:spPr>
          </p:pic>
          <p:sp>
            <p:nvSpPr>
              <p:cNvPr id="66" name="Oval 65"/>
              <p:cNvSpPr/>
              <p:nvPr/>
            </p:nvSpPr>
            <p:spPr>
              <a:xfrm>
                <a:off x="3037091" y="2244240"/>
                <a:ext cx="240001" cy="251310"/>
              </a:xfrm>
              <a:prstGeom prst="ellipse">
                <a:avLst/>
              </a:prstGeom>
              <a:noFill/>
              <a:ln>
                <a:solidFill>
                  <a:srgbClr val="1E70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63" name="Oval 62"/>
            <p:cNvSpPr/>
            <p:nvPr/>
          </p:nvSpPr>
          <p:spPr>
            <a:xfrm>
              <a:off x="3365205" y="1714790"/>
              <a:ext cx="240001" cy="251310"/>
            </a:xfrm>
            <a:prstGeom prst="ellipse">
              <a:avLst/>
            </a:prstGeom>
            <a:noFill/>
            <a:ln>
              <a:solidFill>
                <a:srgbClr val="1E70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400" dirty="0"/>
            </a:p>
          </p:txBody>
        </p:sp>
        <p:pic>
          <p:nvPicPr>
            <p:cNvPr id="64" name="Graphic 55">
              <a:extLst>
                <a:ext uri="{FF2B5EF4-FFF2-40B4-BE49-F238E27FC236}">
                  <a16:creationId xmlns:a16="http://schemas.microsoft.com/office/drawing/2014/main" id="{69EC1B32-3E55-1F48-8A7A-2353834E1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27954" y="1766468"/>
              <a:ext cx="113860" cy="139958"/>
            </a:xfrm>
            <a:prstGeom prst="rect">
              <a:avLst/>
            </a:prstGeom>
            <a:solidFill>
              <a:srgbClr val="1E70B2"/>
            </a:solidFill>
          </p:spPr>
        </p:pic>
      </p:grpSp>
      <p:sp>
        <p:nvSpPr>
          <p:cNvPr id="83" name="Title 1"/>
          <p:cNvSpPr txBox="1">
            <a:spLocks/>
          </p:cNvSpPr>
          <p:nvPr/>
        </p:nvSpPr>
        <p:spPr>
          <a:xfrm>
            <a:off x="1075543" y="276901"/>
            <a:ext cx="10972800" cy="12812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sz="3600" spc="0" dirty="0"/>
              <a:t>Gastrointestinální komorbidity</a:t>
            </a:r>
            <a:endParaRPr lang="en-US" sz="3600" dirty="0"/>
          </a:p>
        </p:txBody>
      </p:sp>
      <p:sp>
        <p:nvSpPr>
          <p:cNvPr id="93" name="Rectangle 92">
            <a:hlinkClick r:id="" action="ppaction://noaction"/>
          </p:cNvPr>
          <p:cNvSpPr/>
          <p:nvPr/>
        </p:nvSpPr>
        <p:spPr>
          <a:xfrm>
            <a:off x="163690" y="0"/>
            <a:ext cx="854221" cy="889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/>
          </a:p>
        </p:txBody>
      </p:sp>
      <p:sp>
        <p:nvSpPr>
          <p:cNvPr id="95" name="Rectangle 94"/>
          <p:cNvSpPr/>
          <p:nvPr/>
        </p:nvSpPr>
        <p:spPr>
          <a:xfrm>
            <a:off x="1382413" y="2616201"/>
            <a:ext cx="1019998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Prevalence </a:t>
            </a:r>
            <a:r>
              <a:rPr lang="en-US" b="1" dirty="0">
                <a:solidFill>
                  <a:schemeClr val="accent1"/>
                </a:solidFill>
              </a:rPr>
              <a:t>Crohnovy choroby </a:t>
            </a:r>
            <a:r>
              <a:rPr lang="en-US" dirty="0"/>
              <a:t>je u pacientů s HS </a:t>
            </a:r>
            <a:r>
              <a:rPr lang="en-US" b="1" dirty="0">
                <a:solidFill>
                  <a:schemeClr val="accent1"/>
                </a:solidFill>
              </a:rPr>
              <a:t>o 0,8 % vyšší </a:t>
            </a:r>
            <a:r>
              <a:rPr lang="en-US" dirty="0"/>
              <a:t>než v běžné populaci.</a:t>
            </a:r>
            <a:r>
              <a:rPr lang="en-US" baseline="30000" dirty="0"/>
              <a:t>2</a:t>
            </a:r>
            <a:r>
              <a:rPr lang="cs-CZ" baseline="30000" dirty="0"/>
              <a:t>,</a:t>
            </a:r>
            <a:r>
              <a:rPr lang="en-US" baseline="30000" dirty="0"/>
              <a:t>3</a:t>
            </a:r>
            <a:endParaRPr lang="en-US" dirty="0"/>
          </a:p>
          <a:p>
            <a:endParaRPr lang="en-US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Odhadovaná prevalence </a:t>
            </a:r>
            <a:r>
              <a:rPr lang="cs-CZ" b="1" dirty="0">
                <a:solidFill>
                  <a:srgbClr val="2568B9"/>
                </a:solidFill>
              </a:rPr>
              <a:t>U</a:t>
            </a:r>
            <a:r>
              <a:rPr lang="en-US" b="1" dirty="0" err="1">
                <a:solidFill>
                  <a:srgbClr val="2568B9"/>
                </a:solidFill>
              </a:rPr>
              <a:t>lcerózní</a:t>
            </a:r>
            <a:r>
              <a:rPr lang="en-US" b="1" dirty="0">
                <a:solidFill>
                  <a:srgbClr val="2568B9"/>
                </a:solidFill>
              </a:rPr>
              <a:t> kolitidy </a:t>
            </a:r>
            <a:r>
              <a:rPr lang="en-US" dirty="0"/>
              <a:t>je u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dirty="0"/>
              <a:t>pacientů s HS </a:t>
            </a:r>
            <a:r>
              <a:rPr lang="en-US" b="1" dirty="0">
                <a:solidFill>
                  <a:schemeClr val="accent1"/>
                </a:solidFill>
              </a:rPr>
              <a:t>o 1,3 % vyšší </a:t>
            </a:r>
            <a:r>
              <a:rPr lang="en-US" dirty="0"/>
              <a:t>než v běžné populaci . </a:t>
            </a:r>
            <a:r>
              <a:rPr lang="en-US" baseline="30000" dirty="0"/>
              <a:t>2</a:t>
            </a:r>
          </a:p>
          <a:p>
            <a:endParaRPr lang="en-US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Vyšší výskyt </a:t>
            </a:r>
            <a:r>
              <a:rPr lang="en-US" b="1" dirty="0">
                <a:solidFill>
                  <a:schemeClr val="accent1"/>
                </a:solidFill>
              </a:rPr>
              <a:t>Crohnovy </a:t>
            </a:r>
            <a:r>
              <a:rPr lang="en-US" b="1" dirty="0" err="1">
                <a:solidFill>
                  <a:schemeClr val="accent1"/>
                </a:solidFill>
              </a:rPr>
              <a:t>choroby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cs-CZ" b="1" dirty="0">
                <a:solidFill>
                  <a:schemeClr val="accent1"/>
                </a:solidFill>
              </a:rPr>
              <a:t>byl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pozorován u pacientů s HS ve věku </a:t>
            </a:r>
            <a:r>
              <a:rPr lang="en-US" b="1" dirty="0">
                <a:solidFill>
                  <a:schemeClr val="accent1"/>
                </a:solidFill>
              </a:rPr>
              <a:t>45 až 64 let, </a:t>
            </a:r>
            <a:r>
              <a:rPr lang="en-US" dirty="0"/>
              <a:t>kteří jsou </a:t>
            </a:r>
            <a:r>
              <a:rPr lang="en-US" b="1" dirty="0">
                <a:solidFill>
                  <a:schemeClr val="accent1"/>
                </a:solidFill>
              </a:rPr>
              <a:t>běloši, kuřáci tabáku a neobézní.</a:t>
            </a:r>
            <a:r>
              <a:rPr lang="en-US" baseline="30000" dirty="0"/>
              <a:t>4</a:t>
            </a:r>
            <a:endParaRPr lang="en-US" dirty="0"/>
          </a:p>
          <a:p>
            <a:endParaRPr lang="en-US" dirty="0"/>
          </a:p>
          <a:p>
            <a:pPr marL="228594" indent="-228594">
              <a:buFont typeface="Wingdings" panose="05000000000000000000" pitchFamily="2" charset="2"/>
              <a:buChar char="§"/>
            </a:pPr>
            <a:r>
              <a:rPr lang="en-US" dirty="0"/>
              <a:t>Vyšší výskyt HS </a:t>
            </a:r>
            <a:r>
              <a:rPr lang="en-US" b="1" dirty="0">
                <a:solidFill>
                  <a:schemeClr val="accent1"/>
                </a:solidFill>
              </a:rPr>
              <a:t>(6,6 %) </a:t>
            </a:r>
            <a:r>
              <a:rPr lang="en-US" dirty="0"/>
              <a:t>je</a:t>
            </a:r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cs-CZ" dirty="0"/>
              <a:t>také</a:t>
            </a:r>
            <a:r>
              <a:rPr lang="cs-CZ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dirty="0" err="1"/>
              <a:t>uváděn</a:t>
            </a:r>
            <a:r>
              <a:rPr lang="en-US" dirty="0"/>
              <a:t> u pacientů s </a:t>
            </a:r>
            <a:r>
              <a:rPr lang="en-US" b="1" dirty="0">
                <a:solidFill>
                  <a:schemeClr val="accent1"/>
                </a:solidFill>
              </a:rPr>
              <a:t>perianální píštělí . </a:t>
            </a:r>
            <a:r>
              <a:rPr lang="en-US" baseline="30000" dirty="0"/>
              <a:t>5</a:t>
            </a:r>
          </a:p>
          <a:p>
            <a:endParaRPr lang="en-US" dirty="0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DDC441C-5E34-8746-BF14-B178BB33331F}"/>
              </a:ext>
            </a:extLst>
          </p:cNvPr>
          <p:cNvGrpSpPr>
            <a:grpSpLocks noChangeAspect="1"/>
          </p:cNvGrpSpPr>
          <p:nvPr/>
        </p:nvGrpSpPr>
        <p:grpSpPr>
          <a:xfrm>
            <a:off x="812801" y="2844871"/>
            <a:ext cx="569612" cy="569612"/>
            <a:chOff x="9461318" y="4300556"/>
            <a:chExt cx="472570" cy="472570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C2AC3905-9B4E-D640-9DF2-E800EB56E65F}"/>
                </a:ext>
              </a:extLst>
            </p:cNvPr>
            <p:cNvSpPr/>
            <p:nvPr/>
          </p:nvSpPr>
          <p:spPr>
            <a:xfrm>
              <a:off x="9461318" y="4300556"/>
              <a:ext cx="472570" cy="472570"/>
            </a:xfrm>
            <a:prstGeom prst="ellipse">
              <a:avLst/>
            </a:prstGeom>
            <a:solidFill>
              <a:srgbClr val="0460A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467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sp>
          <p:nvSpPr>
            <p:cNvPr id="79" name="Freeform: Shape 158">
              <a:extLst>
                <a:ext uri="{FF2B5EF4-FFF2-40B4-BE49-F238E27FC236}">
                  <a16:creationId xmlns:a16="http://schemas.microsoft.com/office/drawing/2014/main" id="{8F6C0738-72C5-6A42-9776-24C72905AA14}"/>
                </a:ext>
              </a:extLst>
            </p:cNvPr>
            <p:cNvSpPr/>
            <p:nvPr/>
          </p:nvSpPr>
          <p:spPr>
            <a:xfrm>
              <a:off x="9564147" y="4417039"/>
              <a:ext cx="266911" cy="272590"/>
            </a:xfrm>
            <a:custGeom>
              <a:avLst/>
              <a:gdLst>
                <a:gd name="connsiteX0" fmla="*/ 441960 w 447675"/>
                <a:gd name="connsiteY0" fmla="*/ 233023 h 457200"/>
                <a:gd name="connsiteX1" fmla="*/ 433959 w 447675"/>
                <a:gd name="connsiteY1" fmla="*/ 201400 h 457200"/>
                <a:gd name="connsiteX2" fmla="*/ 445199 w 447675"/>
                <a:gd name="connsiteY2" fmla="*/ 171016 h 457200"/>
                <a:gd name="connsiteX3" fmla="*/ 445199 w 447675"/>
                <a:gd name="connsiteY3" fmla="*/ 170730 h 457200"/>
                <a:gd name="connsiteX4" fmla="*/ 434626 w 447675"/>
                <a:gd name="connsiteY4" fmla="*/ 140059 h 457200"/>
                <a:gd name="connsiteX5" fmla="*/ 443008 w 447675"/>
                <a:gd name="connsiteY5" fmla="*/ 108532 h 457200"/>
                <a:gd name="connsiteX6" fmla="*/ 442913 w 447675"/>
                <a:gd name="connsiteY6" fmla="*/ 107579 h 457200"/>
                <a:gd name="connsiteX7" fmla="*/ 427196 w 447675"/>
                <a:gd name="connsiteY7" fmla="*/ 76432 h 457200"/>
                <a:gd name="connsiteX8" fmla="*/ 428149 w 447675"/>
                <a:gd name="connsiteY8" fmla="*/ 37189 h 457200"/>
                <a:gd name="connsiteX9" fmla="*/ 427577 w 447675"/>
                <a:gd name="connsiteY9" fmla="*/ 35856 h 457200"/>
                <a:gd name="connsiteX10" fmla="*/ 365379 w 447675"/>
                <a:gd name="connsiteY10" fmla="*/ 11567 h 457200"/>
                <a:gd name="connsiteX11" fmla="*/ 361474 w 447675"/>
                <a:gd name="connsiteY11" fmla="*/ 13472 h 457200"/>
                <a:gd name="connsiteX12" fmla="*/ 306991 w 447675"/>
                <a:gd name="connsiteY12" fmla="*/ 18425 h 457200"/>
                <a:gd name="connsiteX13" fmla="*/ 306610 w 447675"/>
                <a:gd name="connsiteY13" fmla="*/ 18806 h 457200"/>
                <a:gd name="connsiteX14" fmla="*/ 290322 w 447675"/>
                <a:gd name="connsiteY14" fmla="*/ 45952 h 457200"/>
                <a:gd name="connsiteX15" fmla="*/ 266033 w 447675"/>
                <a:gd name="connsiteY15" fmla="*/ 54906 h 457200"/>
                <a:gd name="connsiteX16" fmla="*/ 265176 w 447675"/>
                <a:gd name="connsiteY16" fmla="*/ 55573 h 457200"/>
                <a:gd name="connsiteX17" fmla="*/ 251651 w 447675"/>
                <a:gd name="connsiteY17" fmla="*/ 70813 h 457200"/>
                <a:gd name="connsiteX18" fmla="*/ 234506 w 447675"/>
                <a:gd name="connsiteY18" fmla="*/ 70241 h 457200"/>
                <a:gd name="connsiteX19" fmla="*/ 232410 w 447675"/>
                <a:gd name="connsiteY19" fmla="*/ 70622 h 457200"/>
                <a:gd name="connsiteX20" fmla="*/ 232315 w 447675"/>
                <a:gd name="connsiteY20" fmla="*/ 70622 h 457200"/>
                <a:gd name="connsiteX21" fmla="*/ 213931 w 447675"/>
                <a:gd name="connsiteY21" fmla="*/ 78052 h 457200"/>
                <a:gd name="connsiteX22" fmla="*/ 194786 w 447675"/>
                <a:gd name="connsiteY22" fmla="*/ 68622 h 457200"/>
                <a:gd name="connsiteX23" fmla="*/ 194024 w 447675"/>
                <a:gd name="connsiteY23" fmla="*/ 68431 h 457200"/>
                <a:gd name="connsiteX24" fmla="*/ 172879 w 447675"/>
                <a:gd name="connsiteY24" fmla="*/ 68146 h 457200"/>
                <a:gd name="connsiteX25" fmla="*/ 156591 w 447675"/>
                <a:gd name="connsiteY25" fmla="*/ 51191 h 457200"/>
                <a:gd name="connsiteX26" fmla="*/ 156686 w 447675"/>
                <a:gd name="connsiteY26" fmla="*/ 50905 h 457200"/>
                <a:gd name="connsiteX27" fmla="*/ 121253 w 447675"/>
                <a:gd name="connsiteY27" fmla="*/ 43762 h 457200"/>
                <a:gd name="connsiteX28" fmla="*/ 74009 w 447675"/>
                <a:gd name="connsiteY28" fmla="*/ 19473 h 457200"/>
                <a:gd name="connsiteX29" fmla="*/ 71533 w 447675"/>
                <a:gd name="connsiteY29" fmla="*/ 19759 h 457200"/>
                <a:gd name="connsiteX30" fmla="*/ 30861 w 447675"/>
                <a:gd name="connsiteY30" fmla="*/ 71575 h 457200"/>
                <a:gd name="connsiteX31" fmla="*/ 7144 w 447675"/>
                <a:gd name="connsiteY31" fmla="*/ 112818 h 457200"/>
                <a:gd name="connsiteX32" fmla="*/ 7144 w 447675"/>
                <a:gd name="connsiteY32" fmla="*/ 113770 h 457200"/>
                <a:gd name="connsiteX33" fmla="*/ 16764 w 447675"/>
                <a:gd name="connsiteY33" fmla="*/ 142345 h 457200"/>
                <a:gd name="connsiteX34" fmla="*/ 7144 w 447675"/>
                <a:gd name="connsiteY34" fmla="*/ 171016 h 457200"/>
                <a:gd name="connsiteX35" fmla="*/ 7144 w 447675"/>
                <a:gd name="connsiteY35" fmla="*/ 171968 h 457200"/>
                <a:gd name="connsiteX36" fmla="*/ 16764 w 447675"/>
                <a:gd name="connsiteY36" fmla="*/ 200543 h 457200"/>
                <a:gd name="connsiteX37" fmla="*/ 7144 w 447675"/>
                <a:gd name="connsiteY37" fmla="*/ 229309 h 457200"/>
                <a:gd name="connsiteX38" fmla="*/ 7144 w 447675"/>
                <a:gd name="connsiteY38" fmla="*/ 230261 h 457200"/>
                <a:gd name="connsiteX39" fmla="*/ 16955 w 447675"/>
                <a:gd name="connsiteY39" fmla="*/ 258931 h 457200"/>
                <a:gd name="connsiteX40" fmla="*/ 7144 w 447675"/>
                <a:gd name="connsiteY40" fmla="*/ 287506 h 457200"/>
                <a:gd name="connsiteX41" fmla="*/ 7144 w 447675"/>
                <a:gd name="connsiteY41" fmla="*/ 287983 h 457200"/>
                <a:gd name="connsiteX42" fmla="*/ 54769 w 447675"/>
                <a:gd name="connsiteY42" fmla="*/ 335417 h 457200"/>
                <a:gd name="connsiteX43" fmla="*/ 102394 w 447675"/>
                <a:gd name="connsiteY43" fmla="*/ 287506 h 457200"/>
                <a:gd name="connsiteX44" fmla="*/ 92583 w 447675"/>
                <a:gd name="connsiteY44" fmla="*/ 258836 h 457200"/>
                <a:gd name="connsiteX45" fmla="*/ 102394 w 447675"/>
                <a:gd name="connsiteY45" fmla="*/ 230261 h 457200"/>
                <a:gd name="connsiteX46" fmla="*/ 102394 w 447675"/>
                <a:gd name="connsiteY46" fmla="*/ 229309 h 457200"/>
                <a:gd name="connsiteX47" fmla="*/ 92488 w 447675"/>
                <a:gd name="connsiteY47" fmla="*/ 200257 h 457200"/>
                <a:gd name="connsiteX48" fmla="*/ 102394 w 447675"/>
                <a:gd name="connsiteY48" fmla="*/ 171016 h 457200"/>
                <a:gd name="connsiteX49" fmla="*/ 92488 w 447675"/>
                <a:gd name="connsiteY49" fmla="*/ 141964 h 457200"/>
                <a:gd name="connsiteX50" fmla="*/ 100108 w 447675"/>
                <a:gd name="connsiteY50" fmla="*/ 127391 h 457200"/>
                <a:gd name="connsiteX51" fmla="*/ 103823 w 447675"/>
                <a:gd name="connsiteY51" fmla="*/ 130153 h 457200"/>
                <a:gd name="connsiteX52" fmla="*/ 105918 w 447675"/>
                <a:gd name="connsiteY52" fmla="*/ 131487 h 457200"/>
                <a:gd name="connsiteX53" fmla="*/ 141351 w 447675"/>
                <a:gd name="connsiteY53" fmla="*/ 137678 h 457200"/>
                <a:gd name="connsiteX54" fmla="*/ 171736 w 447675"/>
                <a:gd name="connsiteY54" fmla="*/ 160824 h 457200"/>
                <a:gd name="connsiteX55" fmla="*/ 172784 w 447675"/>
                <a:gd name="connsiteY55" fmla="*/ 161110 h 457200"/>
                <a:gd name="connsiteX56" fmla="*/ 210312 w 447675"/>
                <a:gd name="connsiteY56" fmla="*/ 154347 h 457200"/>
                <a:gd name="connsiteX57" fmla="*/ 248603 w 447675"/>
                <a:gd name="connsiteY57" fmla="*/ 164348 h 457200"/>
                <a:gd name="connsiteX58" fmla="*/ 283178 w 447675"/>
                <a:gd name="connsiteY58" fmla="*/ 140440 h 457200"/>
                <a:gd name="connsiteX59" fmla="*/ 321278 w 447675"/>
                <a:gd name="connsiteY59" fmla="*/ 132439 h 457200"/>
                <a:gd name="connsiteX60" fmla="*/ 322040 w 447675"/>
                <a:gd name="connsiteY60" fmla="*/ 131868 h 457200"/>
                <a:gd name="connsiteX61" fmla="*/ 340709 w 447675"/>
                <a:gd name="connsiteY61" fmla="*/ 102817 h 457200"/>
                <a:gd name="connsiteX62" fmla="*/ 349282 w 447675"/>
                <a:gd name="connsiteY62" fmla="*/ 101293 h 457200"/>
                <a:gd name="connsiteX63" fmla="*/ 348139 w 447675"/>
                <a:gd name="connsiteY63" fmla="*/ 116818 h 457200"/>
                <a:gd name="connsiteX64" fmla="*/ 358521 w 447675"/>
                <a:gd name="connsiteY64" fmla="*/ 142536 h 457200"/>
                <a:gd name="connsiteX65" fmla="*/ 349949 w 447675"/>
                <a:gd name="connsiteY65" fmla="*/ 169111 h 457200"/>
                <a:gd name="connsiteX66" fmla="*/ 349949 w 447675"/>
                <a:gd name="connsiteY66" fmla="*/ 170730 h 457200"/>
                <a:gd name="connsiteX67" fmla="*/ 358045 w 447675"/>
                <a:gd name="connsiteY67" fmla="*/ 197305 h 457200"/>
                <a:gd name="connsiteX68" fmla="*/ 347091 w 447675"/>
                <a:gd name="connsiteY68" fmla="*/ 223117 h 457200"/>
                <a:gd name="connsiteX69" fmla="*/ 346900 w 447675"/>
                <a:gd name="connsiteY69" fmla="*/ 224737 h 457200"/>
                <a:gd name="connsiteX70" fmla="*/ 352425 w 447675"/>
                <a:gd name="connsiteY70" fmla="*/ 251502 h 457200"/>
                <a:gd name="connsiteX71" fmla="*/ 338900 w 447675"/>
                <a:gd name="connsiteY71" fmla="*/ 274933 h 457200"/>
                <a:gd name="connsiteX72" fmla="*/ 337471 w 447675"/>
                <a:gd name="connsiteY72" fmla="*/ 287316 h 457200"/>
                <a:gd name="connsiteX73" fmla="*/ 330422 w 447675"/>
                <a:gd name="connsiteY73" fmla="*/ 290650 h 457200"/>
                <a:gd name="connsiteX74" fmla="*/ 311753 w 447675"/>
                <a:gd name="connsiteY74" fmla="*/ 279791 h 457200"/>
                <a:gd name="connsiteX75" fmla="*/ 310610 w 447675"/>
                <a:gd name="connsiteY75" fmla="*/ 279410 h 457200"/>
                <a:gd name="connsiteX76" fmla="*/ 281464 w 447675"/>
                <a:gd name="connsiteY76" fmla="*/ 279886 h 457200"/>
                <a:gd name="connsiteX77" fmla="*/ 255175 w 447675"/>
                <a:gd name="connsiteY77" fmla="*/ 261408 h 457200"/>
                <a:gd name="connsiteX78" fmla="*/ 213074 w 447675"/>
                <a:gd name="connsiteY78" fmla="*/ 268742 h 457200"/>
                <a:gd name="connsiteX79" fmla="*/ 158306 w 447675"/>
                <a:gd name="connsiteY79" fmla="*/ 269123 h 457200"/>
                <a:gd name="connsiteX80" fmla="*/ 154781 w 447675"/>
                <a:gd name="connsiteY80" fmla="*/ 271790 h 457200"/>
                <a:gd name="connsiteX81" fmla="*/ 148590 w 447675"/>
                <a:gd name="connsiteY81" fmla="*/ 338846 h 457200"/>
                <a:gd name="connsiteX82" fmla="*/ 149924 w 447675"/>
                <a:gd name="connsiteY82" fmla="*/ 340370 h 457200"/>
                <a:gd name="connsiteX83" fmla="*/ 151257 w 447675"/>
                <a:gd name="connsiteY83" fmla="*/ 382566 h 457200"/>
                <a:gd name="connsiteX84" fmla="*/ 152019 w 447675"/>
                <a:gd name="connsiteY84" fmla="*/ 383900 h 457200"/>
                <a:gd name="connsiteX85" fmla="*/ 174498 w 447675"/>
                <a:gd name="connsiteY85" fmla="*/ 404474 h 457200"/>
                <a:gd name="connsiteX86" fmla="*/ 203930 w 447675"/>
                <a:gd name="connsiteY86" fmla="*/ 427619 h 457200"/>
                <a:gd name="connsiteX87" fmla="*/ 207931 w 447675"/>
                <a:gd name="connsiteY87" fmla="*/ 453813 h 457200"/>
                <a:gd name="connsiteX88" fmla="*/ 223171 w 447675"/>
                <a:gd name="connsiteY88" fmla="*/ 398282 h 457200"/>
                <a:gd name="connsiteX89" fmla="*/ 240983 w 447675"/>
                <a:gd name="connsiteY89" fmla="*/ 354848 h 457200"/>
                <a:gd name="connsiteX90" fmla="*/ 258032 w 447675"/>
                <a:gd name="connsiteY90" fmla="*/ 352277 h 457200"/>
                <a:gd name="connsiteX91" fmla="*/ 283274 w 447675"/>
                <a:gd name="connsiteY91" fmla="*/ 370564 h 457200"/>
                <a:gd name="connsiteX92" fmla="*/ 284036 w 447675"/>
                <a:gd name="connsiteY92" fmla="*/ 370755 h 457200"/>
                <a:gd name="connsiteX93" fmla="*/ 321564 w 447675"/>
                <a:gd name="connsiteY93" fmla="*/ 366659 h 457200"/>
                <a:gd name="connsiteX94" fmla="*/ 366808 w 447675"/>
                <a:gd name="connsiteY94" fmla="*/ 377994 h 457200"/>
                <a:gd name="connsiteX95" fmla="*/ 367760 w 447675"/>
                <a:gd name="connsiteY95" fmla="*/ 377708 h 457200"/>
                <a:gd name="connsiteX96" fmla="*/ 402908 w 447675"/>
                <a:gd name="connsiteY96" fmla="*/ 330845 h 457200"/>
                <a:gd name="connsiteX97" fmla="*/ 431673 w 447675"/>
                <a:gd name="connsiteY97" fmla="*/ 298079 h 457200"/>
                <a:gd name="connsiteX98" fmla="*/ 431959 w 447675"/>
                <a:gd name="connsiteY98" fmla="*/ 296841 h 457200"/>
                <a:gd name="connsiteX99" fmla="*/ 427577 w 447675"/>
                <a:gd name="connsiteY99" fmla="*/ 263218 h 457200"/>
                <a:gd name="connsiteX100" fmla="*/ 442055 w 447675"/>
                <a:gd name="connsiteY100" fmla="*/ 233309 h 457200"/>
                <a:gd name="connsiteX101" fmla="*/ 441960 w 447675"/>
                <a:gd name="connsiteY101" fmla="*/ 23302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47675" h="457200">
                  <a:moveTo>
                    <a:pt x="441960" y="233023"/>
                  </a:moveTo>
                  <a:cubicBezTo>
                    <a:pt x="443198" y="221403"/>
                    <a:pt x="440055" y="210354"/>
                    <a:pt x="433959" y="201400"/>
                  </a:cubicBezTo>
                  <a:cubicBezTo>
                    <a:pt x="440912" y="193209"/>
                    <a:pt x="445103" y="182541"/>
                    <a:pt x="445199" y="171016"/>
                  </a:cubicBezTo>
                  <a:lnTo>
                    <a:pt x="445199" y="170730"/>
                  </a:lnTo>
                  <a:cubicBezTo>
                    <a:pt x="445389" y="159109"/>
                    <a:pt x="441389" y="148441"/>
                    <a:pt x="434626" y="140059"/>
                  </a:cubicBezTo>
                  <a:cubicBezTo>
                    <a:pt x="440817" y="131201"/>
                    <a:pt x="444056" y="120152"/>
                    <a:pt x="443008" y="108532"/>
                  </a:cubicBezTo>
                  <a:lnTo>
                    <a:pt x="442913" y="107579"/>
                  </a:lnTo>
                  <a:cubicBezTo>
                    <a:pt x="441770" y="95006"/>
                    <a:pt x="435864" y="84052"/>
                    <a:pt x="427196" y="76432"/>
                  </a:cubicBezTo>
                  <a:cubicBezTo>
                    <a:pt x="432911" y="64526"/>
                    <a:pt x="433673" y="50334"/>
                    <a:pt x="428149" y="37189"/>
                  </a:cubicBezTo>
                  <a:cubicBezTo>
                    <a:pt x="428054" y="36999"/>
                    <a:pt x="427673" y="35951"/>
                    <a:pt x="427577" y="35856"/>
                  </a:cubicBezTo>
                  <a:cubicBezTo>
                    <a:pt x="417100" y="11853"/>
                    <a:pt x="389382" y="1185"/>
                    <a:pt x="365379" y="11567"/>
                  </a:cubicBezTo>
                  <a:cubicBezTo>
                    <a:pt x="364046" y="12139"/>
                    <a:pt x="362712" y="12805"/>
                    <a:pt x="361474" y="13472"/>
                  </a:cubicBezTo>
                  <a:cubicBezTo>
                    <a:pt x="344615" y="3757"/>
                    <a:pt x="322707" y="5090"/>
                    <a:pt x="306991" y="18425"/>
                  </a:cubicBezTo>
                  <a:lnTo>
                    <a:pt x="306610" y="18806"/>
                  </a:lnTo>
                  <a:cubicBezTo>
                    <a:pt x="297942" y="26045"/>
                    <a:pt x="292418" y="35665"/>
                    <a:pt x="290322" y="45952"/>
                  </a:cubicBezTo>
                  <a:cubicBezTo>
                    <a:pt x="281845" y="46619"/>
                    <a:pt x="273463" y="49572"/>
                    <a:pt x="266033" y="54906"/>
                  </a:cubicBezTo>
                  <a:cubicBezTo>
                    <a:pt x="265938" y="55001"/>
                    <a:pt x="265367" y="55382"/>
                    <a:pt x="265176" y="55573"/>
                  </a:cubicBezTo>
                  <a:cubicBezTo>
                    <a:pt x="259461" y="59764"/>
                    <a:pt x="254889" y="65002"/>
                    <a:pt x="251651" y="70813"/>
                  </a:cubicBezTo>
                  <a:cubicBezTo>
                    <a:pt x="246221" y="69574"/>
                    <a:pt x="240411" y="69384"/>
                    <a:pt x="234506" y="70241"/>
                  </a:cubicBezTo>
                  <a:cubicBezTo>
                    <a:pt x="234125" y="70336"/>
                    <a:pt x="232791" y="70527"/>
                    <a:pt x="232410" y="70622"/>
                  </a:cubicBezTo>
                  <a:lnTo>
                    <a:pt x="232315" y="70622"/>
                  </a:lnTo>
                  <a:cubicBezTo>
                    <a:pt x="225552" y="71860"/>
                    <a:pt x="219361" y="74432"/>
                    <a:pt x="213931" y="78052"/>
                  </a:cubicBezTo>
                  <a:cubicBezTo>
                    <a:pt x="208502" y="73670"/>
                    <a:pt x="202025" y="70336"/>
                    <a:pt x="194786" y="68622"/>
                  </a:cubicBezTo>
                  <a:lnTo>
                    <a:pt x="194024" y="68431"/>
                  </a:lnTo>
                  <a:cubicBezTo>
                    <a:pt x="186881" y="66717"/>
                    <a:pt x="179642" y="66717"/>
                    <a:pt x="172879" y="68146"/>
                  </a:cubicBezTo>
                  <a:cubicBezTo>
                    <a:pt x="169069" y="61478"/>
                    <a:pt x="163640" y="55573"/>
                    <a:pt x="156591" y="51191"/>
                  </a:cubicBezTo>
                  <a:lnTo>
                    <a:pt x="156686" y="50905"/>
                  </a:lnTo>
                  <a:cubicBezTo>
                    <a:pt x="145828" y="43666"/>
                    <a:pt x="133160" y="41476"/>
                    <a:pt x="121253" y="43762"/>
                  </a:cubicBezTo>
                  <a:cubicBezTo>
                    <a:pt x="112205" y="27283"/>
                    <a:pt x="93821" y="17282"/>
                    <a:pt x="74009" y="19473"/>
                  </a:cubicBezTo>
                  <a:lnTo>
                    <a:pt x="71533" y="19759"/>
                  </a:lnTo>
                  <a:cubicBezTo>
                    <a:pt x="46292" y="23569"/>
                    <a:pt x="28385" y="46429"/>
                    <a:pt x="30861" y="71575"/>
                  </a:cubicBezTo>
                  <a:cubicBezTo>
                    <a:pt x="16669" y="79861"/>
                    <a:pt x="7144" y="95197"/>
                    <a:pt x="7144" y="112818"/>
                  </a:cubicBezTo>
                  <a:lnTo>
                    <a:pt x="7144" y="113770"/>
                  </a:lnTo>
                  <a:cubicBezTo>
                    <a:pt x="7144" y="124534"/>
                    <a:pt x="10763" y="134440"/>
                    <a:pt x="16764" y="142345"/>
                  </a:cubicBezTo>
                  <a:cubicBezTo>
                    <a:pt x="10763" y="150251"/>
                    <a:pt x="7144" y="160252"/>
                    <a:pt x="7144" y="171016"/>
                  </a:cubicBezTo>
                  <a:lnTo>
                    <a:pt x="7144" y="171968"/>
                  </a:lnTo>
                  <a:cubicBezTo>
                    <a:pt x="7144" y="182731"/>
                    <a:pt x="10763" y="192637"/>
                    <a:pt x="16764" y="200543"/>
                  </a:cubicBezTo>
                  <a:cubicBezTo>
                    <a:pt x="10763" y="208544"/>
                    <a:pt x="7144" y="218450"/>
                    <a:pt x="7144" y="229309"/>
                  </a:cubicBezTo>
                  <a:lnTo>
                    <a:pt x="7144" y="230261"/>
                  </a:lnTo>
                  <a:cubicBezTo>
                    <a:pt x="7144" y="241024"/>
                    <a:pt x="10859" y="250930"/>
                    <a:pt x="16955" y="258931"/>
                  </a:cubicBezTo>
                  <a:cubicBezTo>
                    <a:pt x="10859" y="266837"/>
                    <a:pt x="7144" y="276743"/>
                    <a:pt x="7144" y="287506"/>
                  </a:cubicBezTo>
                  <a:lnTo>
                    <a:pt x="7144" y="287983"/>
                  </a:lnTo>
                  <a:cubicBezTo>
                    <a:pt x="7144" y="314272"/>
                    <a:pt x="28480" y="335417"/>
                    <a:pt x="54769" y="335417"/>
                  </a:cubicBezTo>
                  <a:cubicBezTo>
                    <a:pt x="81058" y="335417"/>
                    <a:pt x="102394" y="313891"/>
                    <a:pt x="102394" y="287506"/>
                  </a:cubicBezTo>
                  <a:cubicBezTo>
                    <a:pt x="102394" y="276743"/>
                    <a:pt x="98679" y="266837"/>
                    <a:pt x="92583" y="258836"/>
                  </a:cubicBezTo>
                  <a:cubicBezTo>
                    <a:pt x="98679" y="250930"/>
                    <a:pt x="102394" y="241024"/>
                    <a:pt x="102394" y="230261"/>
                  </a:cubicBezTo>
                  <a:lnTo>
                    <a:pt x="102394" y="229309"/>
                  </a:lnTo>
                  <a:cubicBezTo>
                    <a:pt x="102394" y="218355"/>
                    <a:pt x="98679" y="208354"/>
                    <a:pt x="92488" y="200257"/>
                  </a:cubicBezTo>
                  <a:cubicBezTo>
                    <a:pt x="98679" y="192066"/>
                    <a:pt x="102394" y="181969"/>
                    <a:pt x="102394" y="171016"/>
                  </a:cubicBezTo>
                  <a:cubicBezTo>
                    <a:pt x="102394" y="160062"/>
                    <a:pt x="98679" y="149965"/>
                    <a:pt x="92488" y="141964"/>
                  </a:cubicBezTo>
                  <a:cubicBezTo>
                    <a:pt x="95822" y="137583"/>
                    <a:pt x="98393" y="132725"/>
                    <a:pt x="100108" y="127391"/>
                  </a:cubicBezTo>
                  <a:cubicBezTo>
                    <a:pt x="101251" y="128344"/>
                    <a:pt x="102489" y="129296"/>
                    <a:pt x="103823" y="130153"/>
                  </a:cubicBezTo>
                  <a:lnTo>
                    <a:pt x="105918" y="131487"/>
                  </a:lnTo>
                  <a:cubicBezTo>
                    <a:pt x="116872" y="138250"/>
                    <a:pt x="129635" y="140155"/>
                    <a:pt x="141351" y="137678"/>
                  </a:cubicBezTo>
                  <a:cubicBezTo>
                    <a:pt x="147542" y="148918"/>
                    <a:pt x="158306" y="157585"/>
                    <a:pt x="171736" y="160824"/>
                  </a:cubicBezTo>
                  <a:lnTo>
                    <a:pt x="172784" y="161110"/>
                  </a:lnTo>
                  <a:cubicBezTo>
                    <a:pt x="186214" y="164348"/>
                    <a:pt x="199739" y="161491"/>
                    <a:pt x="210312" y="154347"/>
                  </a:cubicBezTo>
                  <a:cubicBezTo>
                    <a:pt x="220599" y="162824"/>
                    <a:pt x="234410" y="166825"/>
                    <a:pt x="248603" y="164348"/>
                  </a:cubicBezTo>
                  <a:cubicBezTo>
                    <a:pt x="263747" y="162062"/>
                    <a:pt x="276225" y="152918"/>
                    <a:pt x="283178" y="140440"/>
                  </a:cubicBezTo>
                  <a:cubicBezTo>
                    <a:pt x="295942" y="143203"/>
                    <a:pt x="309848" y="140726"/>
                    <a:pt x="321278" y="132439"/>
                  </a:cubicBezTo>
                  <a:lnTo>
                    <a:pt x="322040" y="131868"/>
                  </a:lnTo>
                  <a:cubicBezTo>
                    <a:pt x="332042" y="124534"/>
                    <a:pt x="338423" y="114056"/>
                    <a:pt x="340709" y="102817"/>
                  </a:cubicBezTo>
                  <a:cubicBezTo>
                    <a:pt x="343567" y="102626"/>
                    <a:pt x="346520" y="102055"/>
                    <a:pt x="349282" y="101293"/>
                  </a:cubicBezTo>
                  <a:cubicBezTo>
                    <a:pt x="348044" y="106246"/>
                    <a:pt x="347663" y="111484"/>
                    <a:pt x="348139" y="116818"/>
                  </a:cubicBezTo>
                  <a:cubicBezTo>
                    <a:pt x="348996" y="126629"/>
                    <a:pt x="352806" y="135487"/>
                    <a:pt x="358521" y="142536"/>
                  </a:cubicBezTo>
                  <a:cubicBezTo>
                    <a:pt x="353187" y="150061"/>
                    <a:pt x="350044" y="159205"/>
                    <a:pt x="349949" y="169111"/>
                  </a:cubicBezTo>
                  <a:cubicBezTo>
                    <a:pt x="349949" y="169301"/>
                    <a:pt x="349949" y="170539"/>
                    <a:pt x="349949" y="170730"/>
                  </a:cubicBezTo>
                  <a:cubicBezTo>
                    <a:pt x="349949" y="180636"/>
                    <a:pt x="352901" y="189780"/>
                    <a:pt x="358045" y="197305"/>
                  </a:cubicBezTo>
                  <a:cubicBezTo>
                    <a:pt x="352139" y="204353"/>
                    <a:pt x="348139" y="213211"/>
                    <a:pt x="347091" y="223117"/>
                  </a:cubicBezTo>
                  <a:lnTo>
                    <a:pt x="346900" y="224737"/>
                  </a:lnTo>
                  <a:cubicBezTo>
                    <a:pt x="346043" y="234357"/>
                    <a:pt x="348139" y="243596"/>
                    <a:pt x="352425" y="251502"/>
                  </a:cubicBezTo>
                  <a:cubicBezTo>
                    <a:pt x="345948" y="257693"/>
                    <a:pt x="341186" y="265694"/>
                    <a:pt x="338900" y="274933"/>
                  </a:cubicBezTo>
                  <a:cubicBezTo>
                    <a:pt x="337852" y="279029"/>
                    <a:pt x="337375" y="283220"/>
                    <a:pt x="337471" y="287316"/>
                  </a:cubicBezTo>
                  <a:cubicBezTo>
                    <a:pt x="334994" y="288268"/>
                    <a:pt x="332613" y="289316"/>
                    <a:pt x="330422" y="290650"/>
                  </a:cubicBezTo>
                  <a:cubicBezTo>
                    <a:pt x="325279" y="285792"/>
                    <a:pt x="318992" y="281982"/>
                    <a:pt x="311753" y="279791"/>
                  </a:cubicBezTo>
                  <a:lnTo>
                    <a:pt x="310610" y="279410"/>
                  </a:lnTo>
                  <a:cubicBezTo>
                    <a:pt x="300704" y="276457"/>
                    <a:pt x="290608" y="276743"/>
                    <a:pt x="281464" y="279886"/>
                  </a:cubicBezTo>
                  <a:cubicBezTo>
                    <a:pt x="275368" y="271123"/>
                    <a:pt x="266224" y="264456"/>
                    <a:pt x="255175" y="261408"/>
                  </a:cubicBezTo>
                  <a:cubicBezTo>
                    <a:pt x="240221" y="256836"/>
                    <a:pt x="224695" y="260074"/>
                    <a:pt x="213074" y="268742"/>
                  </a:cubicBezTo>
                  <a:cubicBezTo>
                    <a:pt x="196977" y="257598"/>
                    <a:pt x="175069" y="257122"/>
                    <a:pt x="158306" y="269123"/>
                  </a:cubicBezTo>
                  <a:cubicBezTo>
                    <a:pt x="157067" y="269980"/>
                    <a:pt x="155924" y="270838"/>
                    <a:pt x="154781" y="271790"/>
                  </a:cubicBezTo>
                  <a:cubicBezTo>
                    <a:pt x="134588" y="288554"/>
                    <a:pt x="131731" y="318653"/>
                    <a:pt x="148590" y="338846"/>
                  </a:cubicBezTo>
                  <a:cubicBezTo>
                    <a:pt x="149066" y="339323"/>
                    <a:pt x="149447" y="339894"/>
                    <a:pt x="149924" y="340370"/>
                  </a:cubicBezTo>
                  <a:cubicBezTo>
                    <a:pt x="144018" y="353419"/>
                    <a:pt x="143923" y="368945"/>
                    <a:pt x="151257" y="382566"/>
                  </a:cubicBezTo>
                  <a:cubicBezTo>
                    <a:pt x="151352" y="382756"/>
                    <a:pt x="151924" y="383804"/>
                    <a:pt x="152019" y="383900"/>
                  </a:cubicBezTo>
                  <a:cubicBezTo>
                    <a:pt x="157258" y="393425"/>
                    <a:pt x="165259" y="400378"/>
                    <a:pt x="174498" y="404474"/>
                  </a:cubicBezTo>
                  <a:cubicBezTo>
                    <a:pt x="177165" y="417237"/>
                    <a:pt x="195167" y="420761"/>
                    <a:pt x="203930" y="427619"/>
                  </a:cubicBezTo>
                  <a:cubicBezTo>
                    <a:pt x="215075" y="436382"/>
                    <a:pt x="207931" y="453813"/>
                    <a:pt x="207931" y="453813"/>
                  </a:cubicBezTo>
                  <a:cubicBezTo>
                    <a:pt x="228981" y="436478"/>
                    <a:pt x="227838" y="414094"/>
                    <a:pt x="223171" y="398282"/>
                  </a:cubicBezTo>
                  <a:cubicBezTo>
                    <a:pt x="236411" y="387805"/>
                    <a:pt x="242983" y="371231"/>
                    <a:pt x="240983" y="354848"/>
                  </a:cubicBezTo>
                  <a:cubicBezTo>
                    <a:pt x="246793" y="355039"/>
                    <a:pt x="252603" y="354181"/>
                    <a:pt x="258032" y="352277"/>
                  </a:cubicBezTo>
                  <a:cubicBezTo>
                    <a:pt x="263938" y="360754"/>
                    <a:pt x="272606" y="367326"/>
                    <a:pt x="283274" y="370564"/>
                  </a:cubicBezTo>
                  <a:lnTo>
                    <a:pt x="284036" y="370755"/>
                  </a:lnTo>
                  <a:cubicBezTo>
                    <a:pt x="297085" y="374755"/>
                    <a:pt x="310610" y="372851"/>
                    <a:pt x="321564" y="366659"/>
                  </a:cubicBezTo>
                  <a:cubicBezTo>
                    <a:pt x="333280" y="377613"/>
                    <a:pt x="350234" y="382471"/>
                    <a:pt x="366808" y="377994"/>
                  </a:cubicBezTo>
                  <a:lnTo>
                    <a:pt x="367760" y="377708"/>
                  </a:lnTo>
                  <a:cubicBezTo>
                    <a:pt x="389287" y="371803"/>
                    <a:pt x="403289" y="352181"/>
                    <a:pt x="402908" y="330845"/>
                  </a:cubicBezTo>
                  <a:cubicBezTo>
                    <a:pt x="416719" y="325416"/>
                    <a:pt x="427863" y="313605"/>
                    <a:pt x="431673" y="298079"/>
                  </a:cubicBezTo>
                  <a:lnTo>
                    <a:pt x="431959" y="296841"/>
                  </a:lnTo>
                  <a:cubicBezTo>
                    <a:pt x="434816" y="284935"/>
                    <a:pt x="433007" y="273124"/>
                    <a:pt x="427577" y="263218"/>
                  </a:cubicBezTo>
                  <a:cubicBezTo>
                    <a:pt x="435578" y="255598"/>
                    <a:pt x="440912" y="245120"/>
                    <a:pt x="442055" y="233309"/>
                  </a:cubicBezTo>
                  <a:lnTo>
                    <a:pt x="441960" y="233023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 sz="1467" dirty="0">
                <a:latin typeface="Arial" panose="020B0604020202020204"/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582072" y="6086158"/>
            <a:ext cx="7090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HS, hidradenitis suppurativa</a:t>
            </a:r>
            <a:endParaRPr lang="en-US" sz="800" strike="sngStrike" dirty="0">
              <a:solidFill>
                <a:srgbClr val="FF0000"/>
              </a:solidFill>
            </a:endParaRPr>
          </a:p>
          <a:p>
            <a:r>
              <a:rPr lang="en-US" sz="800" dirty="0"/>
              <a:t>1. </a:t>
            </a:r>
            <a:r>
              <a:rPr lang="en-US" sz="800" dirty="0">
                <a:hlinkClick r:id="rId10"/>
              </a:rPr>
              <a:t>Bonomo L, et al. </a:t>
            </a:r>
            <a:r>
              <a:rPr lang="en-US" sz="800" i="1" dirty="0">
                <a:hlinkClick r:id="rId10"/>
              </a:rPr>
              <a:t>Int J Dermatol</a:t>
            </a:r>
            <a:r>
              <a:rPr lang="en-US" sz="800" dirty="0">
                <a:hlinkClick r:id="rId10"/>
              </a:rPr>
              <a:t>. 2018;57(5):547-552</a:t>
            </a:r>
            <a:r>
              <a:rPr lang="en-US" sz="800" dirty="0"/>
              <a:t>; 2. </a:t>
            </a:r>
            <a:r>
              <a:rPr lang="en-US" sz="800" dirty="0">
                <a:hlinkClick r:id="rId11"/>
              </a:rPr>
              <a:t>Thyssen JP, et al. </a:t>
            </a:r>
            <a:r>
              <a:rPr lang="en-US" sz="800" i="1" dirty="0">
                <a:hlinkClick r:id="rId11"/>
              </a:rPr>
              <a:t>J Invest Dermatol. </a:t>
            </a:r>
            <a:r>
              <a:rPr lang="en-US" sz="800" dirty="0">
                <a:hlinkClick r:id="rId11"/>
              </a:rPr>
              <a:t>2017;137(5):1060-1064</a:t>
            </a:r>
            <a:r>
              <a:rPr lang="en-US" sz="800" dirty="0"/>
              <a:t>; 3. </a:t>
            </a:r>
            <a:r>
              <a:rPr lang="en-US" sz="800" dirty="0">
                <a:hlinkClick r:id="rId11"/>
              </a:rPr>
              <a:t>Egeberg A, et al. </a:t>
            </a:r>
            <a:r>
              <a:rPr lang="en-US" sz="800" i="1" dirty="0">
                <a:hlinkClick r:id="rId11"/>
              </a:rPr>
              <a:t>J Invest Dermatol</a:t>
            </a:r>
            <a:r>
              <a:rPr lang="en-US" sz="800" dirty="0">
                <a:hlinkClick r:id="rId11"/>
              </a:rPr>
              <a:t>. 2017;137(5):1060-1064</a:t>
            </a:r>
            <a:r>
              <a:rPr lang="en-US" sz="800" dirty="0"/>
              <a:t>; 4. </a:t>
            </a:r>
            <a:r>
              <a:rPr lang="en-US" sz="800" dirty="0">
                <a:hlinkClick r:id="rId12"/>
              </a:rPr>
              <a:t>Garg A, et al. </a:t>
            </a:r>
            <a:r>
              <a:rPr lang="en-US" sz="800" i="1" dirty="0">
                <a:hlinkClick r:id="rId12"/>
              </a:rPr>
              <a:t>JAMA Dermatol</a:t>
            </a:r>
            <a:r>
              <a:rPr lang="en-US" sz="800" dirty="0">
                <a:hlinkClick r:id="rId12"/>
              </a:rPr>
              <a:t>. 2018;154:814-818</a:t>
            </a:r>
            <a:r>
              <a:rPr lang="en-US" sz="800" dirty="0"/>
              <a:t>; 5. </a:t>
            </a:r>
            <a:r>
              <a:rPr lang="en-US" sz="800" dirty="0">
                <a:hlinkClick r:id="rId13"/>
              </a:rPr>
              <a:t>Ardon CB, et al. </a:t>
            </a:r>
            <a:r>
              <a:rPr lang="en-US" sz="800" i="1" dirty="0">
                <a:hlinkClick r:id="rId13"/>
              </a:rPr>
              <a:t>Int J Colorectal Dis</a:t>
            </a:r>
            <a:r>
              <a:rPr lang="en-US" sz="800" dirty="0">
                <a:hlinkClick r:id="rId13"/>
              </a:rPr>
              <a:t>. 2019;34(7):1337-1339</a:t>
            </a:r>
            <a:r>
              <a:rPr lang="en-US" sz="800" dirty="0">
                <a:latin typeface="AdvSTONE-R"/>
              </a:rPr>
              <a:t>.</a:t>
            </a:r>
            <a:endParaRPr lang="en-US" sz="800" dirty="0"/>
          </a:p>
        </p:txBody>
      </p:sp>
      <p:sp>
        <p:nvSpPr>
          <p:cNvPr id="40" name="Rectangle 39">
            <a:hlinkClick r:id="rId14" action="ppaction://hlinksldjump"/>
          </p:cNvPr>
          <p:cNvSpPr/>
          <p:nvPr/>
        </p:nvSpPr>
        <p:spPr>
          <a:xfrm>
            <a:off x="11593301" y="1"/>
            <a:ext cx="598699" cy="651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42" name="Slide Number Placeholder 4">
            <a:extLst>
              <a:ext uri="{FF2B5EF4-FFF2-40B4-BE49-F238E27FC236}">
                <a16:creationId xmlns:a16="http://schemas.microsoft.com/office/drawing/2014/main" id="{6614E9AF-EDCE-4EB2-83FD-753353DBB3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89" y="6527800"/>
            <a:ext cx="570783" cy="330200"/>
          </a:xfrm>
        </p:spPr>
        <p:txBody>
          <a:bodyPr anchor="ctr"/>
          <a:lstStyle/>
          <a:p>
            <a:pPr algn="ctr"/>
            <a:fld id="{47547CF9-5B10-D24F-A8D7-45A9778164F7}" type="slidenum">
              <a:rPr lang="uk-UA" smtClean="0"/>
              <a:t>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26736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</TotalTime>
  <Words>4314</Words>
  <Application>Microsoft Office PowerPoint</Application>
  <PresentationFormat>Širokoúhlá obrazovka</PresentationFormat>
  <Paragraphs>492</Paragraphs>
  <Slides>32</Slides>
  <Notes>16</Notes>
  <HiddenSlides>1</HiddenSlides>
  <MMClips>0</MMClips>
  <ScaleCrop>false</ScaleCrop>
  <HeadingPairs>
    <vt:vector size="8" baseType="variant">
      <vt:variant>
        <vt:lpstr>Použitá písma</vt:lpstr>
      </vt:variant>
      <vt:variant>
        <vt:i4>11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2</vt:i4>
      </vt:variant>
    </vt:vector>
  </HeadingPairs>
  <TitlesOfParts>
    <vt:vector size="45" baseType="lpstr">
      <vt:lpstr>AdvSTONE-R</vt:lpstr>
      <vt:lpstr>arial</vt:lpstr>
      <vt:lpstr>arial</vt:lpstr>
      <vt:lpstr>Arial Black</vt:lpstr>
      <vt:lpstr>BlinkMacSystemFont</vt:lpstr>
      <vt:lpstr>Calibri</vt:lpstr>
      <vt:lpstr>Calibri Light</vt:lpstr>
      <vt:lpstr>Footlight MT Light</vt:lpstr>
      <vt:lpstr>Guardian TextSans Web</vt:lpstr>
      <vt:lpstr>volta_modern_display55_roman</vt:lpstr>
      <vt:lpstr>Wingdings</vt:lpstr>
      <vt:lpstr>Motiv Office</vt:lpstr>
      <vt:lpstr>think-cell Slide</vt:lpstr>
      <vt:lpstr>Prezentace aplikace PowerPoint</vt:lpstr>
      <vt:lpstr>HS je poměrně časté, ale nedostatečně diagnostikované onemocnění</vt:lpstr>
      <vt:lpstr>Prezentace aplikace PowerPoint</vt:lpstr>
      <vt:lpstr>Prezentace aplikace PowerPoint</vt:lpstr>
      <vt:lpstr>Prezentace aplikace PowerPoint</vt:lpstr>
      <vt:lpstr>Spojení HS a metabolického syndromu</vt:lpstr>
      <vt:lpstr>Kardiovaskulární komorbidity</vt:lpstr>
      <vt:lpstr>Spojení HS a chronických zánětlivých onemocnění</vt:lpstr>
      <vt:lpstr>Prezentace aplikace PowerPoint</vt:lpstr>
      <vt:lpstr>Spojení HS a chronických zánětlivých onemocnění</vt:lpstr>
      <vt:lpstr>Prezentace aplikace PowerPoint</vt:lpstr>
      <vt:lpstr>Revmatologické komorbidity spondyloartropatie (SpA)</vt:lpstr>
      <vt:lpstr>Risk of Inflammatory Arthritis After a New Diagnosis of Hidradenitis Suppurativa Maria C. Schneeweiss et al. JAMA Dermatol. 2020;156(3):342-345. doi:10.1001/jamadermatol.2019.4590  </vt:lpstr>
      <vt:lpstr>HS ve spojení se SpA — výsledky z multicentrické národní  prospektivní studie Pascal Richette et al. The Journal of Rheumatology 2014; 41:3; doi:10.3899/jrheum.130977</vt:lpstr>
      <vt:lpstr>Revmatologické komorbidity</vt:lpstr>
      <vt:lpstr>Spojení HS a chronických zánětlivých onemocnění</vt:lpstr>
      <vt:lpstr>HS s spojení s psoriázou</vt:lpstr>
      <vt:lpstr>                  Management</vt:lpstr>
      <vt:lpstr>Prezentace aplikace PowerPoint</vt:lpstr>
      <vt:lpstr>Prezentace aplikace PowerPoint</vt:lpstr>
      <vt:lpstr>Prezentace aplikace PowerPoint</vt:lpstr>
      <vt:lpstr>Další asociace</vt:lpstr>
      <vt:lpstr>Autoinflamatorní syndromy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Závěr:</vt:lpstr>
      <vt:lpstr>Děkuji za pozornost</vt:lpstr>
      <vt:lpstr>Zkrácená informace o přípravk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dradenitis suppurativa ve spojení s komorbiditami</dc:title>
  <dc:creator>Jiřík Hori</dc:creator>
  <cp:lastModifiedBy>Jiřík Hori</cp:lastModifiedBy>
  <cp:revision>6</cp:revision>
  <dcterms:created xsi:type="dcterms:W3CDTF">2023-11-05T07:55:16Z</dcterms:created>
  <dcterms:modified xsi:type="dcterms:W3CDTF">2024-01-02T16:0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2-15T12:38:09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65a9fd4a-b5ec-4cb0-a3e9-1a36d48358a0</vt:lpwstr>
  </property>
  <property fmtid="{D5CDD505-2E9C-101B-9397-08002B2CF9AE}" pid="8" name="MSIP_Label_3c9bec58-8084-492e-8360-0e1cfe36408c_ContentBits">
    <vt:lpwstr>0</vt:lpwstr>
  </property>
</Properties>
</file>